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7"/>
  </p:notesMasterIdLst>
  <p:handoutMasterIdLst>
    <p:handoutMasterId r:id="rId18"/>
  </p:handoutMasterIdLst>
  <p:sldIdLst>
    <p:sldId id="440" r:id="rId2"/>
    <p:sldId id="400" r:id="rId3"/>
    <p:sldId id="407" r:id="rId4"/>
    <p:sldId id="381" r:id="rId5"/>
    <p:sldId id="417" r:id="rId6"/>
    <p:sldId id="351" r:id="rId7"/>
    <p:sldId id="300" r:id="rId8"/>
    <p:sldId id="411" r:id="rId9"/>
    <p:sldId id="279" r:id="rId10"/>
    <p:sldId id="408" r:id="rId11"/>
    <p:sldId id="282" r:id="rId12"/>
    <p:sldId id="450" r:id="rId13"/>
    <p:sldId id="449" r:id="rId14"/>
    <p:sldId id="403" r:id="rId15"/>
    <p:sldId id="451" r:id="rId16"/>
  </p:sldIdLst>
  <p:sldSz cx="10693400" cy="7561263"/>
  <p:notesSz cx="6797675" cy="9928225"/>
  <p:defaultTextStyle>
    <a:defPPr>
      <a:defRPr lang="de-DE"/>
    </a:defPPr>
    <a:lvl1pPr marL="0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21528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43056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564584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086112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607640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129168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650696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172224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134">
          <p15:clr>
            <a:srgbClr val="A4A3A4"/>
          </p15:clr>
        </p15:guide>
        <p15:guide id="2" orient="horz" pos="4309">
          <p15:clr>
            <a:srgbClr val="A4A3A4"/>
          </p15:clr>
        </p15:guide>
        <p15:guide id="3" orient="horz" pos="1179">
          <p15:clr>
            <a:srgbClr val="A4A3A4"/>
          </p15:clr>
        </p15:guide>
        <p15:guide id="4" pos="261">
          <p15:clr>
            <a:srgbClr val="A4A3A4"/>
          </p15:clr>
        </p15:guide>
        <p15:guide id="5" pos="6520">
          <p15:clr>
            <a:srgbClr val="A4A3A4"/>
          </p15:clr>
        </p15:guide>
        <p15:guide id="6" pos="502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5050"/>
    <a:srgbClr val="FF9900"/>
    <a:srgbClr val="CC00CC"/>
    <a:srgbClr val="FF3399"/>
    <a:srgbClr val="FFFF99"/>
    <a:srgbClr val="CC0000"/>
    <a:srgbClr val="FF7C80"/>
    <a:srgbClr val="3399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1565" autoAdjust="0"/>
    <p:restoredTop sz="94660"/>
  </p:normalViewPr>
  <p:slideViewPr>
    <p:cSldViewPr showGuides="1">
      <p:cViewPr varScale="1">
        <p:scale>
          <a:sx n="99" d="100"/>
          <a:sy n="99" d="100"/>
        </p:scale>
        <p:origin x="474" y="78"/>
      </p:cViewPr>
      <p:guideLst>
        <p:guide orient="horz" pos="1134"/>
        <p:guide orient="horz" pos="4309"/>
        <p:guide orient="horz" pos="1179"/>
        <p:guide pos="261"/>
        <p:guide pos="6520"/>
        <p:guide pos="5024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124" d="100"/>
          <a:sy n="124" d="100"/>
        </p:scale>
        <p:origin x="-4872" y="-96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4AF086-F5D1-4B2B-974B-137F67199254}" type="datetimeFigureOut">
              <a:rPr lang="de-DE" smtClean="0"/>
              <a:t>07.05.2018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261A62E-9387-45A8-B301-36C824CFF00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4933380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9BCF6D8-0BE9-482F-BAE2-7729D792116B}" type="datetimeFigureOut">
              <a:rPr lang="de-DE" smtClean="0"/>
              <a:t>07.05.2018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766763" y="744538"/>
            <a:ext cx="526415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891A2D2-6429-4035-AE39-82514C8CDB9E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6682627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628650" indent="-17145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1085850" indent="-17145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543050" indent="-17145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2000250" indent="-17145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891A2D2-6429-4035-AE39-82514C8CDB9E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395720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 smtClean="0">
                <a:solidFill>
                  <a:schemeClr val="accent1"/>
                </a:solidFill>
              </a:rPr>
              <a:t>IUMI</a:t>
            </a:r>
            <a:r>
              <a:rPr lang="de-DE" baseline="0" dirty="0" smtClean="0">
                <a:solidFill>
                  <a:schemeClr val="accent1"/>
                </a:solidFill>
              </a:rPr>
              <a:t> MEMBER INDIA:</a:t>
            </a:r>
            <a:br>
              <a:rPr lang="de-DE" baseline="0" dirty="0" smtClean="0">
                <a:solidFill>
                  <a:schemeClr val="accent1"/>
                </a:solidFill>
              </a:rPr>
            </a:br>
            <a:r>
              <a:rPr lang="de-DE" baseline="0" dirty="0" smtClean="0">
                <a:solidFill>
                  <a:schemeClr val="accent1"/>
                </a:solidFill>
              </a:rPr>
              <a:t>Mr. </a:t>
            </a:r>
            <a:r>
              <a:rPr lang="de-DE" dirty="0" err="1" smtClean="0">
                <a:solidFill>
                  <a:schemeClr val="accent1"/>
                </a:solidFill>
              </a:rPr>
              <a:t>Sanjiv</a:t>
            </a:r>
            <a:r>
              <a:rPr lang="de-DE" dirty="0" smtClean="0">
                <a:solidFill>
                  <a:schemeClr val="accent1"/>
                </a:solidFill>
              </a:rPr>
              <a:t> Singh</a:t>
            </a:r>
            <a:br>
              <a:rPr lang="de-DE" dirty="0" smtClean="0">
                <a:solidFill>
                  <a:schemeClr val="accent1"/>
                </a:solidFill>
              </a:rPr>
            </a:br>
            <a:r>
              <a:rPr lang="de-DE" dirty="0" smtClean="0"/>
              <a:t>Cargo </a:t>
            </a:r>
            <a:r>
              <a:rPr lang="de-DE" dirty="0" err="1" smtClean="0"/>
              <a:t>Committee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en-US" dirty="0" smtClean="0"/>
              <a:t>New India Assurance Co. Ltd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Mumbai, </a:t>
            </a:r>
            <a:r>
              <a:rPr lang="de-DE" dirty="0" err="1" smtClean="0"/>
              <a:t>India</a:t>
            </a:r>
            <a:endParaRPr lang="de-DE" dirty="0" smtClean="0"/>
          </a:p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7FF6A70-AFEF-4048-8555-DD8A005F215B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240281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 smtClean="0">
                <a:solidFill>
                  <a:schemeClr val="accent1"/>
                </a:solidFill>
              </a:rPr>
              <a:t>IUMI</a:t>
            </a:r>
            <a:r>
              <a:rPr lang="de-DE" baseline="0" dirty="0" smtClean="0">
                <a:solidFill>
                  <a:schemeClr val="accent1"/>
                </a:solidFill>
              </a:rPr>
              <a:t> MEMBER INDIA:</a:t>
            </a:r>
            <a:br>
              <a:rPr lang="de-DE" baseline="0" dirty="0" smtClean="0">
                <a:solidFill>
                  <a:schemeClr val="accent1"/>
                </a:solidFill>
              </a:rPr>
            </a:br>
            <a:r>
              <a:rPr lang="de-DE" baseline="0" dirty="0" smtClean="0">
                <a:solidFill>
                  <a:schemeClr val="accent1"/>
                </a:solidFill>
              </a:rPr>
              <a:t>Mr. </a:t>
            </a:r>
            <a:r>
              <a:rPr lang="de-DE" dirty="0" err="1" smtClean="0">
                <a:solidFill>
                  <a:schemeClr val="accent1"/>
                </a:solidFill>
              </a:rPr>
              <a:t>Sanjiv</a:t>
            </a:r>
            <a:r>
              <a:rPr lang="de-DE" dirty="0" smtClean="0">
                <a:solidFill>
                  <a:schemeClr val="accent1"/>
                </a:solidFill>
              </a:rPr>
              <a:t> Singh</a:t>
            </a:r>
            <a:br>
              <a:rPr lang="de-DE" dirty="0" smtClean="0">
                <a:solidFill>
                  <a:schemeClr val="accent1"/>
                </a:solidFill>
              </a:rPr>
            </a:br>
            <a:r>
              <a:rPr lang="de-DE" dirty="0" smtClean="0"/>
              <a:t>Cargo </a:t>
            </a:r>
            <a:r>
              <a:rPr lang="de-DE" dirty="0" err="1" smtClean="0"/>
              <a:t>Committee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en-US" dirty="0" smtClean="0"/>
              <a:t>New India Assurance Co. Ltd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Mumbai, </a:t>
            </a:r>
            <a:r>
              <a:rPr lang="de-DE" dirty="0" err="1" smtClean="0"/>
              <a:t>India</a:t>
            </a:r>
            <a:endParaRPr lang="de-DE" dirty="0" smtClean="0"/>
          </a:p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7FF6A70-AFEF-4048-8555-DD8A005F215B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112051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 smtClean="0">
                <a:solidFill>
                  <a:schemeClr val="accent1"/>
                </a:solidFill>
              </a:rPr>
              <a:t>IUMI</a:t>
            </a:r>
            <a:r>
              <a:rPr lang="de-DE" baseline="0" dirty="0" smtClean="0">
                <a:solidFill>
                  <a:schemeClr val="accent1"/>
                </a:solidFill>
              </a:rPr>
              <a:t> MEMBER INDIA:</a:t>
            </a:r>
            <a:br>
              <a:rPr lang="de-DE" baseline="0" dirty="0" smtClean="0">
                <a:solidFill>
                  <a:schemeClr val="accent1"/>
                </a:solidFill>
              </a:rPr>
            </a:br>
            <a:r>
              <a:rPr lang="de-DE" baseline="0" dirty="0" smtClean="0">
                <a:solidFill>
                  <a:schemeClr val="accent1"/>
                </a:solidFill>
              </a:rPr>
              <a:t>Mr. </a:t>
            </a:r>
            <a:r>
              <a:rPr lang="de-DE" dirty="0" err="1" smtClean="0">
                <a:solidFill>
                  <a:schemeClr val="accent1"/>
                </a:solidFill>
              </a:rPr>
              <a:t>Sanjiv</a:t>
            </a:r>
            <a:r>
              <a:rPr lang="de-DE" dirty="0" smtClean="0">
                <a:solidFill>
                  <a:schemeClr val="accent1"/>
                </a:solidFill>
              </a:rPr>
              <a:t> Singh</a:t>
            </a:r>
            <a:br>
              <a:rPr lang="de-DE" dirty="0" smtClean="0">
                <a:solidFill>
                  <a:schemeClr val="accent1"/>
                </a:solidFill>
              </a:rPr>
            </a:br>
            <a:r>
              <a:rPr lang="de-DE" dirty="0" smtClean="0"/>
              <a:t>Cargo </a:t>
            </a:r>
            <a:r>
              <a:rPr lang="de-DE" dirty="0" err="1" smtClean="0"/>
              <a:t>Committee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en-US" dirty="0" smtClean="0"/>
              <a:t>New India Assurance Co. Ltd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Mumbai, </a:t>
            </a:r>
            <a:r>
              <a:rPr lang="de-DE" dirty="0" err="1" smtClean="0"/>
              <a:t>India</a:t>
            </a:r>
            <a:endParaRPr lang="de-DE" dirty="0" smtClean="0"/>
          </a:p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7FF6A70-AFEF-4048-8555-DD8A005F215B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477564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05000"/>
              </a:lnSpc>
            </a:pPr>
            <a:r>
              <a:rPr lang="en-US" sz="1200" dirty="0" smtClean="0">
                <a:solidFill>
                  <a:schemeClr val="accent1"/>
                </a:solidFill>
              </a:rPr>
              <a:t>London </a:t>
            </a:r>
          </a:p>
          <a:p>
            <a:pPr>
              <a:lnSpc>
                <a:spcPct val="105000"/>
              </a:lnSpc>
            </a:pPr>
            <a:r>
              <a:rPr lang="en-US" sz="1200" dirty="0" smtClean="0">
                <a:solidFill>
                  <a:schemeClr val="accent1"/>
                </a:solidFill>
              </a:rPr>
              <a:t>Dublin</a:t>
            </a:r>
          </a:p>
          <a:p>
            <a:pPr>
              <a:lnSpc>
                <a:spcPct val="105000"/>
              </a:lnSpc>
            </a:pPr>
            <a:r>
              <a:rPr lang="en-US" sz="1200" dirty="0" smtClean="0">
                <a:solidFill>
                  <a:schemeClr val="accent1"/>
                </a:solidFill>
              </a:rPr>
              <a:t>Hamburg</a:t>
            </a:r>
          </a:p>
          <a:p>
            <a:pPr>
              <a:lnSpc>
                <a:spcPct val="105000"/>
              </a:lnSpc>
            </a:pPr>
            <a:r>
              <a:rPr lang="en-US" sz="1200" dirty="0" smtClean="0">
                <a:solidFill>
                  <a:schemeClr val="accent1"/>
                </a:solidFill>
              </a:rPr>
              <a:t>Brussels</a:t>
            </a:r>
          </a:p>
          <a:p>
            <a:pPr>
              <a:lnSpc>
                <a:spcPct val="105000"/>
              </a:lnSpc>
            </a:pPr>
            <a:r>
              <a:rPr lang="en-US" sz="1200" dirty="0" smtClean="0">
                <a:solidFill>
                  <a:schemeClr val="accent1"/>
                </a:solidFill>
              </a:rPr>
              <a:t>HK</a:t>
            </a:r>
          </a:p>
          <a:p>
            <a:pPr>
              <a:lnSpc>
                <a:spcPct val="105000"/>
              </a:lnSpc>
            </a:pPr>
            <a:r>
              <a:rPr lang="en-US" sz="1200" dirty="0" smtClean="0">
                <a:solidFill>
                  <a:schemeClr val="accent1"/>
                </a:solidFill>
              </a:rPr>
              <a:t>Singapore</a:t>
            </a:r>
          </a:p>
          <a:p>
            <a:pPr>
              <a:lnSpc>
                <a:spcPct val="105000"/>
              </a:lnSpc>
            </a:pPr>
            <a:r>
              <a:rPr lang="en-US" sz="1200" dirty="0" smtClean="0">
                <a:solidFill>
                  <a:schemeClr val="accent1"/>
                </a:solidFill>
              </a:rPr>
              <a:t>Tokyo</a:t>
            </a:r>
          </a:p>
          <a:p>
            <a:pPr>
              <a:lnSpc>
                <a:spcPct val="105000"/>
              </a:lnSpc>
            </a:pPr>
            <a:r>
              <a:rPr lang="en-US" sz="1200" dirty="0" smtClean="0">
                <a:solidFill>
                  <a:schemeClr val="accent1"/>
                </a:solidFill>
              </a:rPr>
              <a:t>Mumbai</a:t>
            </a:r>
          </a:p>
          <a:p>
            <a:pPr>
              <a:lnSpc>
                <a:spcPct val="105000"/>
              </a:lnSpc>
            </a:pPr>
            <a:r>
              <a:rPr lang="en-US" sz="1200" dirty="0" smtClean="0">
                <a:solidFill>
                  <a:schemeClr val="accent1"/>
                </a:solidFill>
              </a:rPr>
              <a:t>Montreal</a:t>
            </a:r>
          </a:p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891A2D2-6429-4035-AE39-82514C8CDB9E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882455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891A2D2-6429-4035-AE39-82514C8CDB9E}" type="slidenum">
              <a:rPr lang="de-DE" smtClean="0"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774808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414338" y="5276968"/>
            <a:ext cx="7920694" cy="591895"/>
          </a:xfrm>
        </p:spPr>
        <p:txBody>
          <a:bodyPr/>
          <a:lstStyle>
            <a:lvl1pPr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en-US" noProof="0" dirty="0" smtClean="0"/>
              <a:t>Headline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4338" y="5924381"/>
            <a:ext cx="7920694" cy="916158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  <a:lvl2pPr marL="5215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3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5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61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7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91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506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22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Subtitle</a:t>
            </a:r>
            <a:endParaRPr lang="en-US" noProof="0" dirty="0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900369" y="5376801"/>
            <a:ext cx="1250900" cy="1667496"/>
          </a:xfrm>
          <a:prstGeom prst="rect">
            <a:avLst/>
          </a:prstGeom>
        </p:spPr>
      </p:pic>
      <p:sp>
        <p:nvSpPr>
          <p:cNvPr id="9" name="Bildplatzhalter 7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0693400" cy="4968762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 noProof="0" smtClean="0"/>
              <a:t>Bild durch Klicken auf Symbol hinzufüge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28769614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Headline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gray"/>
        <p:txBody>
          <a:bodyPr/>
          <a:lstStyle>
            <a:lvl1pPr marL="266700" indent="-266700">
              <a:buClr>
                <a:schemeClr val="accent1"/>
              </a:buClr>
              <a:buFont typeface="+mj-lt"/>
              <a:buAutoNum type="arabicPeriod"/>
              <a:defRPr>
                <a:solidFill>
                  <a:schemeClr val="accent1"/>
                </a:solidFill>
              </a:defRPr>
            </a:lvl1pPr>
            <a:lvl2pPr marL="407988" indent="-138113">
              <a:buClr>
                <a:schemeClr val="accent1"/>
              </a:buClr>
              <a:defRPr>
                <a:solidFill>
                  <a:schemeClr val="accent1"/>
                </a:solidFill>
              </a:defRPr>
            </a:lvl2pPr>
            <a:lvl3pPr marL="538163" indent="-142875">
              <a:buClr>
                <a:schemeClr val="accent1"/>
              </a:buClr>
              <a:tabLst/>
              <a:defRPr>
                <a:solidFill>
                  <a:schemeClr val="accent1"/>
                </a:solidFill>
              </a:defRPr>
            </a:lvl3pPr>
            <a:lvl4pPr marL="682625" indent="-139700">
              <a:buClr>
                <a:schemeClr val="accent1"/>
              </a:buClr>
              <a:defRPr>
                <a:solidFill>
                  <a:schemeClr val="accent1"/>
                </a:solidFill>
              </a:defRPr>
            </a:lvl4pPr>
            <a:lvl5pPr marL="793750" indent="-133350">
              <a:buClr>
                <a:schemeClr val="accent1"/>
              </a:buCl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24CD81D8-2559-4902-8233-D7ED0B1DF898}" type="datetime1">
              <a:rPr lang="en-SG" noProof="0" smtClean="0"/>
              <a:t>7/5/2018</a:t>
            </a:fld>
            <a:endParaRPr lang="en-US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it-IT" noProof="0" smtClean="0"/>
              <a:t>GIA - IUMI Asia Forum 2018 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BDB53FF6-FF3D-4151-807B-E12E15B22EBF}" type="slidenum">
              <a:rPr lang="en-US" noProof="0" smtClean="0"/>
              <a:t>‹Nr.›</a:t>
            </a:fld>
            <a:endParaRPr lang="en-US" noProof="0" dirty="0"/>
          </a:p>
        </p:txBody>
      </p:sp>
      <p:sp>
        <p:nvSpPr>
          <p:cNvPr id="7" name="Textplatzhalter 9"/>
          <p:cNvSpPr>
            <a:spLocks noGrp="1"/>
          </p:cNvSpPr>
          <p:nvPr>
            <p:ph type="body" sz="quarter" idx="14" hasCustomPrompt="1"/>
          </p:nvPr>
        </p:nvSpPr>
        <p:spPr>
          <a:xfrm>
            <a:off x="414337" y="828303"/>
            <a:ext cx="7237413" cy="77037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200"/>
            </a:lvl1pPr>
          </a:lstStyle>
          <a:p>
            <a:pPr lvl="0"/>
            <a:r>
              <a:rPr lang="de-DE" dirty="0" err="1" smtClean="0"/>
              <a:t>Subli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2793129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172075" y="302801"/>
            <a:ext cx="7986655" cy="12602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3" name="Datumsplatzhalter 12"/>
          <p:cNvSpPr>
            <a:spLocks noGrp="1"/>
          </p:cNvSpPr>
          <p:nvPr>
            <p:ph type="dt" sz="half" idx="10"/>
          </p:nvPr>
        </p:nvSpPr>
        <p:spPr>
          <a:xfrm>
            <a:off x="250628" y="6773632"/>
            <a:ext cx="1420217" cy="23629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5E33302-A900-463B-90F5-AD7B37AE530B}" type="datetime1">
              <a:rPr lang="en-SG" smtClean="0"/>
              <a:t>7/5/2018</a:t>
            </a:fld>
            <a:endParaRPr lang="en-US" dirty="0"/>
          </a:p>
        </p:txBody>
      </p:sp>
      <p:sp>
        <p:nvSpPr>
          <p:cNvPr id="4" name="Fußzeilenplatzhalter 13"/>
          <p:cNvSpPr>
            <a:spLocks noGrp="1"/>
          </p:cNvSpPr>
          <p:nvPr>
            <p:ph type="ftr" sz="quarter" idx="11"/>
          </p:nvPr>
        </p:nvSpPr>
        <p:spPr>
          <a:xfrm>
            <a:off x="250628" y="6064764"/>
            <a:ext cx="1420217" cy="63010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it-IT" smtClean="0"/>
              <a:t>GIA - IUMI Asia Forum 2018 </a:t>
            </a:r>
            <a:endParaRPr lang="en-US" dirty="0"/>
          </a:p>
        </p:txBody>
      </p:sp>
      <p:sp>
        <p:nvSpPr>
          <p:cNvPr id="5" name="Foliennummernplatzhalter 14"/>
          <p:cNvSpPr>
            <a:spLocks noGrp="1"/>
          </p:cNvSpPr>
          <p:nvPr>
            <p:ph type="sldNum" sz="quarter" idx="12"/>
          </p:nvPr>
        </p:nvSpPr>
        <p:spPr>
          <a:xfrm>
            <a:off x="250628" y="7088685"/>
            <a:ext cx="1420217" cy="23629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Page </a:t>
            </a:r>
            <a:fld id="{D9FB4C2C-3D78-47A1-A5EF-2186DFF218C8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515775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lines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D04E86-B29B-FE49-97F3-F26F7B403400}" type="slidenum">
              <a:rPr lang="en-US" smtClean="0"/>
              <a:t>‹Nr.›</a:t>
            </a:fld>
            <a:endParaRPr lang="en-US" dirty="0"/>
          </a:p>
        </p:txBody>
      </p:sp>
      <p:sp>
        <p:nvSpPr>
          <p:cNvPr id="6" name="Datumsplatzhalter 4"/>
          <p:cNvSpPr>
            <a:spLocks noGrp="1"/>
          </p:cNvSpPr>
          <p:nvPr>
            <p:ph type="dt" sz="half" idx="10"/>
          </p:nvPr>
        </p:nvSpPr>
        <p:spPr>
          <a:xfrm>
            <a:off x="9033427" y="7008172"/>
            <a:ext cx="879552" cy="402567"/>
          </a:xfrm>
          <a:prstGeom prst="rect">
            <a:avLst/>
          </a:prstGeom>
        </p:spPr>
        <p:txBody>
          <a:bodyPr anchor="ctr"/>
          <a:lstStyle>
            <a:lvl1pPr algn="l">
              <a:defRPr sz="992">
                <a:solidFill>
                  <a:schemeClr val="bg1"/>
                </a:solidFill>
              </a:defRPr>
            </a:lvl1pPr>
          </a:lstStyle>
          <a:p>
            <a:fld id="{5234C968-6CD9-4D00-8F7D-FB5B41C3468D}" type="datetime3">
              <a:rPr lang="en-US" smtClean="0"/>
              <a:t>7 May 2018</a:t>
            </a:fld>
            <a:endParaRPr lang="en-US" dirty="0"/>
          </a:p>
        </p:txBody>
      </p:sp>
      <p:sp>
        <p:nvSpPr>
          <p:cNvPr id="7" name="Textplatzhalter 2"/>
          <p:cNvSpPr>
            <a:spLocks noGrp="1"/>
          </p:cNvSpPr>
          <p:nvPr>
            <p:ph type="body" idx="1" hasCustomPrompt="1"/>
          </p:nvPr>
        </p:nvSpPr>
        <p:spPr>
          <a:xfrm>
            <a:off x="534671" y="2274952"/>
            <a:ext cx="8102236" cy="4478844"/>
          </a:xfrm>
        </p:spPr>
        <p:txBody>
          <a:bodyPr anchor="t">
            <a:noAutofit/>
          </a:bodyPr>
          <a:lstStyle>
            <a:lvl1pPr marL="0" indent="0">
              <a:buFont typeface="Wingdings" charset="2"/>
              <a:buNone/>
              <a:defRPr sz="2646">
                <a:solidFill>
                  <a:srgbClr val="043E7F"/>
                </a:solidFill>
              </a:defRPr>
            </a:lvl1pPr>
            <a:lvl2pPr marL="504063" indent="0">
              <a:buNone/>
              <a:defRPr sz="1985">
                <a:solidFill>
                  <a:schemeClr val="tx1">
                    <a:tint val="75000"/>
                  </a:schemeClr>
                </a:solidFill>
              </a:defRPr>
            </a:lvl2pPr>
            <a:lvl3pPr marL="1008126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3pPr>
            <a:lvl4pPr marL="1512189" indent="0">
              <a:buNone/>
              <a:defRPr sz="1544">
                <a:solidFill>
                  <a:schemeClr val="tx1">
                    <a:tint val="75000"/>
                  </a:schemeClr>
                </a:solidFill>
              </a:defRPr>
            </a:lvl4pPr>
            <a:lvl5pPr marL="2016252" indent="0">
              <a:buNone/>
              <a:defRPr sz="1544">
                <a:solidFill>
                  <a:schemeClr val="tx1">
                    <a:tint val="75000"/>
                  </a:schemeClr>
                </a:solidFill>
              </a:defRPr>
            </a:lvl5pPr>
            <a:lvl6pPr marL="2520315" indent="0">
              <a:buNone/>
              <a:defRPr sz="1544">
                <a:solidFill>
                  <a:schemeClr val="tx1">
                    <a:tint val="75000"/>
                  </a:schemeClr>
                </a:solidFill>
              </a:defRPr>
            </a:lvl6pPr>
            <a:lvl7pPr marL="3024378" indent="0">
              <a:buNone/>
              <a:defRPr sz="1544">
                <a:solidFill>
                  <a:schemeClr val="tx1">
                    <a:tint val="75000"/>
                  </a:schemeClr>
                </a:solidFill>
              </a:defRPr>
            </a:lvl7pPr>
            <a:lvl8pPr marL="3528441" indent="0">
              <a:buNone/>
              <a:defRPr sz="1544">
                <a:solidFill>
                  <a:schemeClr val="tx1">
                    <a:tint val="75000"/>
                  </a:schemeClr>
                </a:solidFill>
              </a:defRPr>
            </a:lvl8pPr>
            <a:lvl9pPr marL="4032504" indent="0">
              <a:buNone/>
              <a:defRPr sz="1544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Your text without any bullet points</a:t>
            </a:r>
          </a:p>
        </p:txBody>
      </p:sp>
      <p:sp>
        <p:nvSpPr>
          <p:cNvPr id="8" name="Titel 1"/>
          <p:cNvSpPr>
            <a:spLocks noGrp="1"/>
          </p:cNvSpPr>
          <p:nvPr>
            <p:ph type="title" hasCustomPrompt="1"/>
          </p:nvPr>
        </p:nvSpPr>
        <p:spPr>
          <a:xfrm>
            <a:off x="534671" y="302802"/>
            <a:ext cx="8102237" cy="1709307"/>
          </a:xfrm>
        </p:spPr>
        <p:txBody>
          <a:bodyPr anchor="b"/>
          <a:lstStyle>
            <a:lvl1pPr>
              <a:defRPr b="0">
                <a:solidFill>
                  <a:srgbClr val="C20D20"/>
                </a:solidFill>
              </a:defRPr>
            </a:lvl1pPr>
          </a:lstStyle>
          <a:p>
            <a:r>
              <a:rPr lang="en-US" dirty="0" smtClean="0"/>
              <a:t>Slide heading</a:t>
            </a:r>
            <a:br>
              <a:rPr lang="en-US" dirty="0" smtClean="0"/>
            </a:br>
            <a:r>
              <a:rPr lang="en-US" dirty="0" smtClean="0"/>
              <a:t>second li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698995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Headline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D7910346-9891-460A-90BB-B19CC13A2303}" type="datetime1">
              <a:rPr lang="en-SG" noProof="0" smtClean="0"/>
              <a:t>7/5/2018</a:t>
            </a:fld>
            <a:endParaRPr lang="en-US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it-IT" noProof="0" smtClean="0"/>
              <a:t>GIA - IUMI Asia Forum 2018 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BDB53FF6-FF3D-4151-807B-E12E15B22EBF}" type="slidenum">
              <a:rPr lang="en-US" noProof="0" smtClean="0"/>
              <a:t>‹Nr.›</a:t>
            </a:fld>
            <a:endParaRPr lang="en-US" noProof="0" dirty="0"/>
          </a:p>
        </p:txBody>
      </p:sp>
      <p:sp>
        <p:nvSpPr>
          <p:cNvPr id="7" name="Textplatzhalter 9"/>
          <p:cNvSpPr>
            <a:spLocks noGrp="1"/>
          </p:cNvSpPr>
          <p:nvPr>
            <p:ph type="body" sz="quarter" idx="14" hasCustomPrompt="1"/>
          </p:nvPr>
        </p:nvSpPr>
        <p:spPr>
          <a:xfrm>
            <a:off x="414337" y="828303"/>
            <a:ext cx="7237413" cy="77037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2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err="1" smtClean="0"/>
              <a:t>Subli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4909139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414338" y="3018241"/>
            <a:ext cx="7920694" cy="1014418"/>
          </a:xfrm>
        </p:spPr>
        <p:txBody>
          <a:bodyPr/>
          <a:lstStyle>
            <a:lvl1pPr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en-US" noProof="0" dirty="0" smtClean="0"/>
              <a:t>Headline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4338" y="4059570"/>
            <a:ext cx="7920694" cy="2780968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1pPr>
            <a:lvl2pPr marL="5215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3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5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61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7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91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506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22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Subtitle</a:t>
            </a:r>
            <a:endParaRPr lang="en-US" noProof="0" dirty="0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900369" y="5376801"/>
            <a:ext cx="1250900" cy="1667496"/>
          </a:xfrm>
          <a:prstGeom prst="rect">
            <a:avLst/>
          </a:prstGeom>
        </p:spPr>
      </p:pic>
      <p:sp>
        <p:nvSpPr>
          <p:cNvPr id="9" name="Bildplatzhalter 7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0693400" cy="2700510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 noProof="0" smtClean="0"/>
              <a:t>Bild durch Klicken auf Symbol hinzufüge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3863098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3 colu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Headline</a:t>
            </a:r>
            <a:endParaRPr lang="en-US" noProof="0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0AA0CFD5-5520-4E6E-813B-F22F15A13EB7}" type="datetime1">
              <a:rPr lang="en-SG" noProof="0" smtClean="0"/>
              <a:t>7/5/2018</a:t>
            </a:fld>
            <a:endParaRPr lang="en-US" noProof="0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it-IT" noProof="0" smtClean="0"/>
              <a:t>GIA - IUMI Asia Forum 2018 </a:t>
            </a:r>
            <a:endParaRPr lang="en-US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BDB53FF6-FF3D-4151-807B-E12E15B22EBF}" type="slidenum">
              <a:rPr lang="en-US" noProof="0" smtClean="0"/>
              <a:t>‹Nr.›</a:t>
            </a:fld>
            <a:endParaRPr lang="en-US" noProof="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414338" y="1800224"/>
            <a:ext cx="2268537" cy="5040313"/>
          </a:xfrm>
        </p:spPr>
        <p:txBody>
          <a:bodyPr tIns="3600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2898521" y="1800224"/>
            <a:ext cx="2268537" cy="5040313"/>
          </a:xfrm>
        </p:spPr>
        <p:txBody>
          <a:bodyPr tIns="3600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5"/>
          </p:nvPr>
        </p:nvSpPr>
        <p:spPr>
          <a:xfrm>
            <a:off x="5382704" y="1800224"/>
            <a:ext cx="2268537" cy="5040313"/>
          </a:xfrm>
        </p:spPr>
        <p:txBody>
          <a:bodyPr tIns="3600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6" hasCustomPrompt="1"/>
          </p:nvPr>
        </p:nvSpPr>
        <p:spPr>
          <a:xfrm>
            <a:off x="414337" y="828303"/>
            <a:ext cx="7237413" cy="77037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200"/>
            </a:lvl1pPr>
          </a:lstStyle>
          <a:p>
            <a:pPr lvl="0"/>
            <a:r>
              <a:rPr lang="de-DE" dirty="0" err="1" smtClean="0"/>
              <a:t>Subli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1431703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Headline</a:t>
            </a:r>
            <a:endParaRPr lang="en-US" noProof="0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46CC4841-17C7-496E-8680-2C96890E0977}" type="datetime1">
              <a:rPr lang="en-SG" noProof="0" smtClean="0"/>
              <a:t>7/5/2018</a:t>
            </a:fld>
            <a:endParaRPr lang="en-US" noProof="0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it-IT" noProof="0" smtClean="0"/>
              <a:t>GIA - IUMI Asia Forum 2018 </a:t>
            </a:r>
            <a:endParaRPr lang="en-US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BDB53FF6-FF3D-4151-807B-E12E15B22EBF}" type="slidenum">
              <a:rPr lang="en-US" noProof="0" smtClean="0"/>
              <a:t>‹Nr.›</a:t>
            </a:fld>
            <a:endParaRPr lang="en-US" noProof="0" dirty="0"/>
          </a:p>
        </p:txBody>
      </p:sp>
      <p:sp>
        <p:nvSpPr>
          <p:cNvPr id="6" name="Textplatzhalter 9"/>
          <p:cNvSpPr>
            <a:spLocks noGrp="1"/>
          </p:cNvSpPr>
          <p:nvPr>
            <p:ph type="body" sz="quarter" idx="14" hasCustomPrompt="1"/>
          </p:nvPr>
        </p:nvSpPr>
        <p:spPr>
          <a:xfrm>
            <a:off x="414337" y="828303"/>
            <a:ext cx="7237413" cy="77037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200"/>
            </a:lvl1pPr>
          </a:lstStyle>
          <a:p>
            <a:pPr lvl="0"/>
            <a:r>
              <a:rPr lang="de-DE" dirty="0" err="1" smtClean="0"/>
              <a:t>Subli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549285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3496770F-F511-4180-A545-6F54727F522B}" type="datetime1">
              <a:rPr lang="en-SG" noProof="0" smtClean="0"/>
              <a:t>7/5/2018</a:t>
            </a:fld>
            <a:endParaRPr lang="en-US" noProof="0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it-IT" noProof="0" smtClean="0"/>
              <a:t>GIA - IUMI Asia Forum 2018 </a:t>
            </a:r>
            <a:endParaRPr lang="en-US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BDB53FF6-FF3D-4151-807B-E12E15B22EBF}" type="slidenum">
              <a:rPr lang="en-US" noProof="0" smtClean="0"/>
              <a:t>‹Nr.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7410244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Headline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gray">
          <a:xfrm>
            <a:off x="414337" y="1800225"/>
            <a:ext cx="5148387" cy="5040313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EE52D14C-66E8-462F-A610-19F9955F5F0F}" type="datetime1">
              <a:rPr lang="en-SG" noProof="0" smtClean="0"/>
              <a:t>7/5/2018</a:t>
            </a:fld>
            <a:endParaRPr lang="en-US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it-IT" noProof="0" smtClean="0"/>
              <a:t>GIA - IUMI Asia Forum 2018 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BDB53FF6-FF3D-4151-807B-E12E15B22EBF}" type="slidenum">
              <a:rPr lang="en-US" noProof="0" smtClean="0"/>
              <a:t>‹Nr.›</a:t>
            </a:fld>
            <a:endParaRPr lang="en-US" noProof="0" dirty="0"/>
          </a:p>
        </p:txBody>
      </p:sp>
      <p:sp>
        <p:nvSpPr>
          <p:cNvPr id="7" name="Textplatzhalter 9"/>
          <p:cNvSpPr>
            <a:spLocks noGrp="1"/>
          </p:cNvSpPr>
          <p:nvPr>
            <p:ph type="body" sz="quarter" idx="14" hasCustomPrompt="1"/>
          </p:nvPr>
        </p:nvSpPr>
        <p:spPr>
          <a:xfrm>
            <a:off x="414337" y="828303"/>
            <a:ext cx="7237413" cy="77037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200"/>
            </a:lvl1pPr>
          </a:lstStyle>
          <a:p>
            <a:pPr lvl="0"/>
            <a:r>
              <a:rPr lang="de-DE" dirty="0" err="1" smtClean="0"/>
              <a:t>Subline</a:t>
            </a:r>
            <a:endParaRPr lang="de-DE" dirty="0"/>
          </a:p>
        </p:txBody>
      </p:sp>
      <p:sp>
        <p:nvSpPr>
          <p:cNvPr id="9" name="Bildplatzhalter 7"/>
          <p:cNvSpPr>
            <a:spLocks noGrp="1"/>
          </p:cNvSpPr>
          <p:nvPr>
            <p:ph type="pic" sz="quarter" idx="13"/>
          </p:nvPr>
        </p:nvSpPr>
        <p:spPr>
          <a:xfrm>
            <a:off x="5778748" y="1871663"/>
            <a:ext cx="4571752" cy="2953083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961140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Headline</a:t>
            </a:r>
            <a:endParaRPr lang="en-US" noProof="0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BA31B625-7586-4A75-939A-175695F35A05}" type="datetime1">
              <a:rPr lang="en-SG" noProof="0" smtClean="0"/>
              <a:t>7/5/2018</a:t>
            </a:fld>
            <a:endParaRPr lang="en-US" noProof="0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it-IT" noProof="0" smtClean="0"/>
              <a:t>GIA - IUMI Asia Forum 2018 </a:t>
            </a:r>
            <a:endParaRPr lang="en-US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BDB53FF6-FF3D-4151-807B-E12E15B22EBF}" type="slidenum">
              <a:rPr lang="en-US" noProof="0" smtClean="0"/>
              <a:t>‹Nr.›</a:t>
            </a:fld>
            <a:endParaRPr lang="en-US" noProof="0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/>
          </p:nvPr>
        </p:nvSpPr>
        <p:spPr>
          <a:xfrm>
            <a:off x="414338" y="1871663"/>
            <a:ext cx="9936162" cy="4968875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4" hasCustomPrompt="1"/>
          </p:nvPr>
        </p:nvSpPr>
        <p:spPr>
          <a:xfrm>
            <a:off x="414337" y="828303"/>
            <a:ext cx="7237413" cy="77037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200"/>
            </a:lvl1pPr>
          </a:lstStyle>
          <a:p>
            <a:pPr lvl="0"/>
            <a:r>
              <a:rPr lang="de-DE" dirty="0" err="1" smtClean="0"/>
              <a:t>Subli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4487510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cal slide">
    <p:bg bwMode="gray"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Headline</a:t>
            </a:r>
            <a:endParaRPr lang="en-US" noProof="0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ED7615CF-A2CB-47ED-A12E-6C24FAB5F2AB}" type="datetime1">
              <a:rPr lang="en-SG" noProof="0" smtClean="0"/>
              <a:t>7/5/2018</a:t>
            </a:fld>
            <a:endParaRPr lang="en-US" noProof="0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it-IT" noProof="0" smtClean="0"/>
              <a:t>GIA - IUMI Asia Forum 2018 </a:t>
            </a:r>
            <a:endParaRPr lang="en-US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BDB53FF6-FF3D-4151-807B-E12E15B22EBF}" type="slidenum">
              <a:rPr lang="en-US" noProof="0" smtClean="0"/>
              <a:t>‹Nr.›</a:t>
            </a:fld>
            <a:endParaRPr lang="en-US" noProof="0" dirty="0"/>
          </a:p>
        </p:txBody>
      </p:sp>
      <p:sp>
        <p:nvSpPr>
          <p:cNvPr id="6" name="Textplatzhalter 9"/>
          <p:cNvSpPr>
            <a:spLocks noGrp="1"/>
          </p:cNvSpPr>
          <p:nvPr>
            <p:ph type="body" sz="quarter" idx="14" hasCustomPrompt="1"/>
          </p:nvPr>
        </p:nvSpPr>
        <p:spPr>
          <a:xfrm>
            <a:off x="414337" y="828303"/>
            <a:ext cx="7237413" cy="77037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200"/>
            </a:lvl1pPr>
          </a:lstStyle>
          <a:p>
            <a:pPr lvl="0"/>
            <a:r>
              <a:rPr lang="de-DE" dirty="0" err="1" smtClean="0"/>
              <a:t>Subline</a:t>
            </a:r>
            <a:endParaRPr lang="de-DE" dirty="0"/>
          </a:p>
        </p:txBody>
      </p:sp>
      <p:sp>
        <p:nvSpPr>
          <p:cNvPr id="7" name="Rechteck 6"/>
          <p:cNvSpPr/>
          <p:nvPr userDrawn="1"/>
        </p:nvSpPr>
        <p:spPr bwMode="gray">
          <a:xfrm>
            <a:off x="414338" y="1871663"/>
            <a:ext cx="9936162" cy="49688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315660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414337" y="324176"/>
            <a:ext cx="7237413" cy="50412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 smtClean="0"/>
              <a:t>Headline</a:t>
            </a:r>
            <a:endParaRPr lang="en-US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414337" y="1800225"/>
            <a:ext cx="7561263" cy="5040313"/>
          </a:xfrm>
          <a:prstGeom prst="rect">
            <a:avLst/>
          </a:prstGeom>
        </p:spPr>
        <p:txBody>
          <a:bodyPr vert="horz" lIns="0" tIns="28800" rIns="0" bIns="0" rtlCol="0" anchor="t" anchorCtr="0">
            <a:noAutofit/>
          </a:bodyPr>
          <a:lstStyle/>
          <a:p>
            <a:pPr lvl="0"/>
            <a:r>
              <a:rPr lang="en-US" noProof="0" dirty="0" err="1" smtClean="0"/>
              <a:t>Textmasterformat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Fünf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 bwMode="gray">
          <a:xfrm>
            <a:off x="1242245" y="7011465"/>
            <a:ext cx="1584175" cy="21602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fld id="{455CB958-4C8D-4A60-B0BD-EC0BF718069C}" type="datetime1">
              <a:rPr lang="en-SG" noProof="0" smtClean="0"/>
              <a:t>7/5/2018</a:t>
            </a:fld>
            <a:endParaRPr lang="en-US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2898428" y="7011465"/>
            <a:ext cx="7452072" cy="21602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it-IT" noProof="0" smtClean="0"/>
              <a:t>GIA - IUMI Asia Forum 2018 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414339" y="7011465"/>
            <a:ext cx="755898" cy="21602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fld id="{BDB53FF6-FF3D-4151-807B-E12E15B22EBF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66980" y="413077"/>
            <a:ext cx="2304000" cy="864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55701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1" r:id="rId3"/>
    <p:sldLayoutId id="2147483656" r:id="rId4"/>
    <p:sldLayoutId id="2147483654" r:id="rId5"/>
    <p:sldLayoutId id="2147483655" r:id="rId6"/>
    <p:sldLayoutId id="2147483658" r:id="rId7"/>
    <p:sldLayoutId id="2147483657" r:id="rId8"/>
    <p:sldLayoutId id="2147483659" r:id="rId9"/>
    <p:sldLayoutId id="2147483660" r:id="rId10"/>
    <p:sldLayoutId id="2147483663" r:id="rId11"/>
    <p:sldLayoutId id="2147483666" r:id="rId12"/>
  </p:sldLayoutIdLst>
  <p:hf hdr="0" ftr="0" dt="0"/>
  <p:txStyles>
    <p:titleStyle>
      <a:lvl1pPr algn="l" defTabSz="1043056" rtl="0" eaLnBrk="1" latinLnBrk="0" hangingPunct="1">
        <a:spcBef>
          <a:spcPct val="0"/>
        </a:spcBef>
        <a:buNone/>
        <a:defRPr sz="26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33350" indent="-133350" algn="l" defTabSz="1043056" rtl="0" eaLnBrk="1" latinLnBrk="0" hangingPunct="1">
        <a:lnSpc>
          <a:spcPct val="105000"/>
        </a:lnSpc>
        <a:spcBef>
          <a:spcPts val="0"/>
        </a:spcBef>
        <a:spcAft>
          <a:spcPts val="1200"/>
        </a:spcAft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269875" indent="-138113" algn="l" defTabSz="1043056" rtl="0" eaLnBrk="1" latinLnBrk="0" hangingPunct="1">
        <a:lnSpc>
          <a:spcPct val="105000"/>
        </a:lnSpc>
        <a:spcBef>
          <a:spcPts val="0"/>
        </a:spcBef>
        <a:spcAft>
          <a:spcPts val="1200"/>
        </a:spcAft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407988" indent="-142875" algn="l" defTabSz="1043056" rtl="0" eaLnBrk="1" latinLnBrk="0" hangingPunct="1">
        <a:lnSpc>
          <a:spcPct val="105000"/>
        </a:lnSpc>
        <a:spcBef>
          <a:spcPts val="0"/>
        </a:spcBef>
        <a:spcAft>
          <a:spcPts val="1200"/>
        </a:spcAft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39700" algn="l" defTabSz="1043056" rtl="0" eaLnBrk="1" latinLnBrk="0" hangingPunct="1">
        <a:lnSpc>
          <a:spcPct val="105000"/>
        </a:lnSpc>
        <a:spcBef>
          <a:spcPts val="0"/>
        </a:spcBef>
        <a:spcAft>
          <a:spcPts val="1200"/>
        </a:spcAft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671513" indent="-133350" algn="l" defTabSz="1043056" rtl="0" eaLnBrk="1" latinLnBrk="0" hangingPunct="1">
        <a:lnSpc>
          <a:spcPct val="105000"/>
        </a:lnSpc>
        <a:spcBef>
          <a:spcPts val="0"/>
        </a:spcBef>
        <a:spcAft>
          <a:spcPts val="1200"/>
        </a:spcAft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868404" indent="-260764" algn="l" defTabSz="1043056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89932" indent="-260764" algn="l" defTabSz="1043056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911460" indent="-260764" algn="l" defTabSz="1043056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432988" indent="-260764" algn="l" defTabSz="1043056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52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305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458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6112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7640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916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5069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222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02737" y="4164913"/>
            <a:ext cx="9900914" cy="936104"/>
          </a:xfrm>
        </p:spPr>
        <p:txBody>
          <a:bodyPr/>
          <a:lstStyle/>
          <a:p>
            <a:r>
              <a:rPr lang="de-DE" dirty="0"/>
              <a:t>IUMI Update 2018 - </a:t>
            </a:r>
            <a:br>
              <a:rPr lang="de-DE" dirty="0"/>
            </a:br>
            <a:r>
              <a:rPr lang="de-DE" dirty="0" err="1"/>
              <a:t>Disruptive</a:t>
            </a:r>
            <a:r>
              <a:rPr lang="de-DE" dirty="0"/>
              <a:t> Forces in Marine Insurance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402737" y="5463346"/>
            <a:ext cx="7920694" cy="393270"/>
          </a:xfrm>
        </p:spPr>
        <p:txBody>
          <a:bodyPr/>
          <a:lstStyle/>
          <a:p>
            <a:r>
              <a:rPr lang="de-DE" sz="2000" dirty="0" smtClean="0"/>
              <a:t>The 22nd </a:t>
            </a:r>
            <a:r>
              <a:rPr lang="de-DE" sz="2000" dirty="0" err="1" smtClean="0"/>
              <a:t>Biennial</a:t>
            </a:r>
            <a:r>
              <a:rPr lang="de-DE" sz="2000" dirty="0" smtClean="0"/>
              <a:t> Board </a:t>
            </a:r>
            <a:r>
              <a:rPr lang="de-DE" sz="2000" dirty="0" err="1" smtClean="0"/>
              <a:t>of</a:t>
            </a:r>
            <a:r>
              <a:rPr lang="de-DE" sz="2000" dirty="0" smtClean="0"/>
              <a:t> Marine </a:t>
            </a:r>
            <a:r>
              <a:rPr lang="de-DE" sz="2000" dirty="0" err="1" smtClean="0"/>
              <a:t>Underwriters</a:t>
            </a:r>
            <a:r>
              <a:rPr lang="de-DE" sz="2000" dirty="0" smtClean="0"/>
              <a:t> Seminar</a:t>
            </a:r>
            <a:endParaRPr lang="en-US" sz="2000" dirty="0" smtClean="0"/>
          </a:p>
        </p:txBody>
      </p:sp>
      <p:pic>
        <p:nvPicPr>
          <p:cNvPr id="5" name="Bildplatzhalter 4"/>
          <p:cNvPicPr>
            <a:picLocks noGrp="1" noChangeAspect="1"/>
          </p:cNvPicPr>
          <p:nvPr>
            <p:ph type="pic" sz="quarter" idx="13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009" b="15009"/>
          <a:stretch>
            <a:fillRect/>
          </a:stretch>
        </p:blipFill>
        <p:spPr>
          <a:xfrm>
            <a:off x="0" y="-242379"/>
            <a:ext cx="10693400" cy="4140670"/>
          </a:xfrm>
        </p:spPr>
      </p:pic>
      <p:sp>
        <p:nvSpPr>
          <p:cNvPr id="4" name="Rechteck 3"/>
          <p:cNvSpPr/>
          <p:nvPr/>
        </p:nvSpPr>
        <p:spPr>
          <a:xfrm>
            <a:off x="306140" y="6459503"/>
            <a:ext cx="2808312" cy="798971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600"/>
              </a:spcAft>
            </a:pPr>
            <a:r>
              <a:rPr lang="en-US" sz="1800" dirty="0">
                <a:solidFill>
                  <a:schemeClr val="tx1"/>
                </a:solidFill>
              </a:rPr>
              <a:t>Dieter Berg</a:t>
            </a:r>
          </a:p>
          <a:p>
            <a:r>
              <a:rPr lang="de-DE" sz="1500" dirty="0">
                <a:solidFill>
                  <a:schemeClr val="tx1"/>
                </a:solidFill>
              </a:rPr>
              <a:t>Munich Re</a:t>
            </a:r>
            <a:endParaRPr lang="en-US" sz="1500" dirty="0">
              <a:solidFill>
                <a:schemeClr val="tx1"/>
              </a:solidFill>
            </a:endParaRPr>
          </a:p>
          <a:p>
            <a:r>
              <a:rPr lang="en-US" sz="1500" dirty="0">
                <a:solidFill>
                  <a:schemeClr val="tx1"/>
                </a:solidFill>
              </a:rPr>
              <a:t>IUMI President</a:t>
            </a:r>
          </a:p>
        </p:txBody>
      </p:sp>
      <p:sp>
        <p:nvSpPr>
          <p:cNvPr id="6" name="Untertitel 2"/>
          <p:cNvSpPr txBox="1">
            <a:spLocks/>
          </p:cNvSpPr>
          <p:nvPr/>
        </p:nvSpPr>
        <p:spPr bwMode="gray">
          <a:xfrm>
            <a:off x="402737" y="5789458"/>
            <a:ext cx="7920694" cy="333684"/>
          </a:xfrm>
          <a:prstGeom prst="rect">
            <a:avLst/>
          </a:prstGeom>
        </p:spPr>
        <p:txBody>
          <a:bodyPr vert="horz" lIns="0" tIns="28800" rIns="0" bIns="0" rtlCol="0" anchor="t" anchorCtr="0">
            <a:noAutofit/>
          </a:bodyPr>
          <a:lstStyle>
            <a:lvl1pPr marL="0" indent="0" algn="l" defTabSz="1043056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indent="0" algn="ctr" defTabSz="1043056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043056" indent="0" algn="ctr" defTabSz="1043056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564584" indent="0" algn="ctr" defTabSz="1043056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86112" indent="0" algn="ctr" defTabSz="1043056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607640" indent="0" algn="ctr" defTabSz="1043056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3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3129168" indent="0" algn="ctr" defTabSz="1043056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3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650696" indent="0" algn="ctr" defTabSz="1043056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3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4172224" indent="0" algn="ctr" defTabSz="1043056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3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San Francisco</a:t>
            </a:r>
            <a:r>
              <a:rPr lang="de-DE" smtClean="0"/>
              <a:t>, May </a:t>
            </a:r>
            <a:r>
              <a:rPr lang="de-DE" dirty="0" smtClean="0"/>
              <a:t>3, 2018</a:t>
            </a:r>
            <a:endParaRPr lang="en-US" dirty="0" smtClean="0"/>
          </a:p>
          <a:p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1191419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>
                <a:solidFill>
                  <a:srgbClr val="0000A0"/>
                </a:solidFill>
              </a:rPr>
              <a:t>IUMI – GROW THE GLOBAL </a:t>
            </a:r>
            <a:r>
              <a:rPr lang="en-US" sz="2800" dirty="0" smtClean="0">
                <a:solidFill>
                  <a:srgbClr val="0000A0"/>
                </a:solidFill>
              </a:rPr>
              <a:t>FOOTPRINT</a:t>
            </a:r>
            <a:br>
              <a:rPr lang="en-US" sz="2800" dirty="0" smtClean="0">
                <a:solidFill>
                  <a:srgbClr val="0000A0"/>
                </a:solidFill>
              </a:rPr>
            </a:br>
            <a:r>
              <a:rPr lang="en-US" dirty="0">
                <a:solidFill>
                  <a:schemeClr val="tx1"/>
                </a:solidFill>
                <a:latin typeface="Arial (Kopfzeilen)"/>
              </a:rPr>
              <a:t>Focus on Asia !</a:t>
            </a:r>
            <a:r>
              <a:rPr lang="en-US" sz="2800" dirty="0" smtClean="0">
                <a:solidFill>
                  <a:srgbClr val="0000A0"/>
                </a:solidFill>
                <a:latin typeface="Arial (Kopfzeilen)"/>
              </a:rPr>
              <a:t/>
            </a:r>
            <a:br>
              <a:rPr lang="en-US" sz="2800" dirty="0" smtClean="0">
                <a:solidFill>
                  <a:srgbClr val="0000A0"/>
                </a:solidFill>
                <a:latin typeface="Arial (Kopfzeilen)"/>
              </a:rPr>
            </a:br>
            <a:endParaRPr lang="en-US" sz="2800" dirty="0">
              <a:solidFill>
                <a:schemeClr val="tx1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B53FF6-FF3D-4151-807B-E12E15B22EBF}" type="slidenum">
              <a:rPr lang="en-US" noProof="0" smtClean="0"/>
              <a:t>10</a:t>
            </a:fld>
            <a:endParaRPr lang="en-US" noProof="0" dirty="0"/>
          </a:p>
        </p:txBody>
      </p:sp>
      <p:sp>
        <p:nvSpPr>
          <p:cNvPr id="7" name="內容版面配置區 2"/>
          <p:cNvSpPr txBox="1">
            <a:spLocks/>
          </p:cNvSpPr>
          <p:nvPr/>
        </p:nvSpPr>
        <p:spPr>
          <a:xfrm>
            <a:off x="414335" y="1824256"/>
            <a:ext cx="9756901" cy="857844"/>
          </a:xfrm>
          <a:prstGeom prst="rect">
            <a:avLst/>
          </a:prstGeom>
          <a:solidFill>
            <a:srgbClr val="6699FF"/>
          </a:solidFill>
          <a:ln w="28575">
            <a:noFill/>
          </a:ln>
        </p:spPr>
        <p:txBody>
          <a:bodyPr>
            <a:normAutofit/>
          </a:bodyPr>
          <a:lstStyle>
            <a:lvl1pPr marL="133350" indent="-133350" algn="l" defTabSz="1043056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indent="-138113" algn="l" defTabSz="1043056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7988" indent="-142875" algn="l" defTabSz="1043056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39700" algn="l" defTabSz="1043056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71513" indent="-133350" algn="l" defTabSz="1043056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8404" indent="-260764" algn="l" defTabSz="104305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932" indent="-260764" algn="l" defTabSz="104305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1460" indent="-260764" algn="l" defTabSz="104305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988" indent="-260764" algn="l" defTabSz="104305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99050" lvl="1" indent="0">
              <a:lnSpc>
                <a:spcPts val="2000"/>
              </a:lnSpc>
              <a:spcBef>
                <a:spcPts val="1800"/>
              </a:spcBef>
              <a:buClr>
                <a:srgbClr val="505050"/>
              </a:buClr>
              <a:buFont typeface="Arial" panose="020B0604020202020204" pitchFamily="34" charset="0"/>
              <a:buNone/>
            </a:pPr>
            <a:r>
              <a:rPr kumimoji="0" lang="en-US" altLang="zh-TW" sz="2200" dirty="0" smtClean="0">
                <a:solidFill>
                  <a:schemeClr val="bg1"/>
                </a:solidFill>
                <a:latin typeface="Arial"/>
              </a:rPr>
              <a:t>November 2016</a:t>
            </a:r>
          </a:p>
          <a:p>
            <a:pPr marL="398463" lvl="1" indent="0">
              <a:lnSpc>
                <a:spcPts val="2000"/>
              </a:lnSpc>
              <a:spcBef>
                <a:spcPts val="600"/>
              </a:spcBef>
              <a:spcAft>
                <a:spcPts val="0"/>
              </a:spcAft>
              <a:buClr>
                <a:srgbClr val="505050"/>
              </a:buClr>
              <a:buFont typeface="Arial" panose="020B0604020202020204" pitchFamily="34" charset="0"/>
              <a:buNone/>
            </a:pPr>
            <a:r>
              <a:rPr kumimoji="0" lang="en-US" altLang="zh-TW" sz="2200" b="1" dirty="0" smtClean="0">
                <a:solidFill>
                  <a:schemeClr val="bg1"/>
                </a:solidFill>
                <a:latin typeface="Arial"/>
              </a:rPr>
              <a:t>Set-up of the first IUMI branch office:  </a:t>
            </a:r>
            <a:r>
              <a:rPr kumimoji="0" lang="en-US" altLang="zh-TW" sz="2200" b="1" u="sng" dirty="0" smtClean="0">
                <a:solidFill>
                  <a:schemeClr val="bg1"/>
                </a:solidFill>
                <a:latin typeface="Arial"/>
              </a:rPr>
              <a:t>IUMI Asia hub </a:t>
            </a:r>
            <a:r>
              <a:rPr kumimoji="0" lang="en-US" altLang="zh-TW" sz="2200" b="1" dirty="0" smtClean="0">
                <a:solidFill>
                  <a:schemeClr val="bg1"/>
                </a:solidFill>
                <a:latin typeface="Arial"/>
              </a:rPr>
              <a:t>in Hong Kong</a:t>
            </a:r>
          </a:p>
          <a:p>
            <a:pPr>
              <a:buClr>
                <a:srgbClr val="505050"/>
              </a:buClr>
            </a:pPr>
            <a:endParaRPr kumimoji="0" lang="en-US" altLang="zh-TW" sz="2481" b="1" dirty="0" smtClean="0">
              <a:solidFill>
                <a:srgbClr val="FFFF00"/>
              </a:solidFill>
              <a:latin typeface="Arial"/>
            </a:endParaRPr>
          </a:p>
          <a:p>
            <a:pPr>
              <a:buClr>
                <a:srgbClr val="505050"/>
              </a:buClr>
            </a:pPr>
            <a:endParaRPr kumimoji="0" lang="en-US" altLang="zh-TW" sz="2481" b="1" dirty="0">
              <a:solidFill>
                <a:srgbClr val="505050"/>
              </a:solidFill>
              <a:latin typeface="Arial"/>
            </a:endParaRPr>
          </a:p>
        </p:txBody>
      </p:sp>
      <p:pic>
        <p:nvPicPr>
          <p:cNvPr id="8" name="Content Placeholder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14337" y="2774619"/>
            <a:ext cx="4646645" cy="11853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內容版面配置區 2"/>
          <p:cNvSpPr txBox="1">
            <a:spLocks/>
          </p:cNvSpPr>
          <p:nvPr/>
        </p:nvSpPr>
        <p:spPr>
          <a:xfrm>
            <a:off x="414337" y="4613226"/>
            <a:ext cx="9756900" cy="860968"/>
          </a:xfrm>
          <a:prstGeom prst="rect">
            <a:avLst/>
          </a:prstGeom>
          <a:solidFill>
            <a:srgbClr val="6699FF"/>
          </a:solidFill>
          <a:ln w="28575">
            <a:noFill/>
          </a:ln>
        </p:spPr>
        <p:txBody>
          <a:bodyPr>
            <a:normAutofit/>
          </a:bodyPr>
          <a:lstStyle>
            <a:lvl1pPr marL="133350" indent="-133350" algn="l" defTabSz="1043056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indent="-138113" algn="l" defTabSz="1043056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7988" indent="-142875" algn="l" defTabSz="1043056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39700" algn="l" defTabSz="1043056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71513" indent="-133350" algn="l" defTabSz="1043056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8404" indent="-260764" algn="l" defTabSz="104305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932" indent="-260764" algn="l" defTabSz="104305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1460" indent="-260764" algn="l" defTabSz="104305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988" indent="-260764" algn="l" defTabSz="104305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99050" lvl="1" indent="0">
              <a:lnSpc>
                <a:spcPts val="2000"/>
              </a:lnSpc>
              <a:spcBef>
                <a:spcPts val="1800"/>
              </a:spcBef>
              <a:buClr>
                <a:srgbClr val="505050"/>
              </a:buClr>
              <a:buFont typeface="Arial" panose="020B0604020202020204" pitchFamily="34" charset="0"/>
              <a:buNone/>
            </a:pPr>
            <a:r>
              <a:rPr lang="en-US" altLang="zh-TW" sz="2200" dirty="0" smtClean="0">
                <a:solidFill>
                  <a:schemeClr val="bg1"/>
                </a:solidFill>
                <a:latin typeface="Arial"/>
              </a:rPr>
              <a:t>May</a:t>
            </a:r>
            <a:r>
              <a:rPr kumimoji="0" lang="en-US" altLang="zh-TW" sz="2200" dirty="0" smtClean="0">
                <a:solidFill>
                  <a:schemeClr val="bg1"/>
                </a:solidFill>
                <a:latin typeface="Arial"/>
              </a:rPr>
              <a:t> 2018</a:t>
            </a:r>
          </a:p>
          <a:p>
            <a:pPr marL="398463" lvl="1" indent="0">
              <a:lnSpc>
                <a:spcPts val="2000"/>
              </a:lnSpc>
              <a:spcBef>
                <a:spcPts val="600"/>
              </a:spcBef>
              <a:spcAft>
                <a:spcPts val="0"/>
              </a:spcAft>
              <a:buClr>
                <a:srgbClr val="505050"/>
              </a:buClr>
              <a:buFont typeface="Arial" panose="020B0604020202020204" pitchFamily="34" charset="0"/>
              <a:buNone/>
            </a:pPr>
            <a:r>
              <a:rPr kumimoji="0" lang="en-US" altLang="zh-TW" sz="2200" b="1" dirty="0" smtClean="0">
                <a:solidFill>
                  <a:schemeClr val="bg1"/>
                </a:solidFill>
                <a:latin typeface="Arial"/>
              </a:rPr>
              <a:t>Launch of an annual local IUMI conference in Asia:  </a:t>
            </a:r>
            <a:r>
              <a:rPr kumimoji="0" lang="en-US" altLang="zh-TW" sz="2200" b="1" u="sng" dirty="0" smtClean="0">
                <a:solidFill>
                  <a:schemeClr val="bg1"/>
                </a:solidFill>
                <a:latin typeface="Arial"/>
              </a:rPr>
              <a:t>IUMI Asia Forum</a:t>
            </a:r>
          </a:p>
          <a:p>
            <a:pPr>
              <a:buClr>
                <a:srgbClr val="505050"/>
              </a:buClr>
            </a:pPr>
            <a:endParaRPr kumimoji="0" lang="en-US" altLang="zh-TW" sz="2481" b="1" dirty="0" smtClean="0">
              <a:solidFill>
                <a:srgbClr val="FFFF00"/>
              </a:solidFill>
              <a:latin typeface="Arial"/>
            </a:endParaRPr>
          </a:p>
          <a:p>
            <a:pPr>
              <a:buClr>
                <a:srgbClr val="505050"/>
              </a:buClr>
            </a:pPr>
            <a:endParaRPr kumimoji="0" lang="en-US" altLang="zh-TW" sz="2481" b="1" dirty="0">
              <a:solidFill>
                <a:srgbClr val="505050"/>
              </a:solidFill>
              <a:latin typeface="Arial"/>
            </a:endParaRP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4337" y="5553623"/>
            <a:ext cx="4646905" cy="1185383"/>
          </a:xfrm>
          <a:prstGeom prst="rect">
            <a:avLst/>
          </a:prstGeom>
        </p:spPr>
      </p:pic>
      <p:sp>
        <p:nvSpPr>
          <p:cNvPr id="13" name="Textfeld 12"/>
          <p:cNvSpPr txBox="1"/>
          <p:nvPr/>
        </p:nvSpPr>
        <p:spPr>
          <a:xfrm>
            <a:off x="2899212" y="6574623"/>
            <a:ext cx="2228495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age: </a:t>
            </a:r>
            <a:r>
              <a:rPr lang="en-US" sz="600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mpkinsoupsauce</a:t>
            </a:r>
            <a:r>
              <a:rPr lang="en-US" sz="6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/ </a:t>
            </a:r>
            <a:r>
              <a:rPr lang="en-US" sz="600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acklee</a:t>
            </a:r>
            <a:r>
              <a:rPr lang="en-US" sz="6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/ Wikimedia Commons</a:t>
            </a:r>
            <a:endParaRPr lang="en-US" sz="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55088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 smtClean="0">
                <a:solidFill>
                  <a:srgbClr val="0000A0"/>
                </a:solidFill>
              </a:rPr>
              <a:t>COMMUNICATION STRATEGY</a:t>
            </a:r>
            <a:endParaRPr lang="de-DE" sz="280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B53FF6-FF3D-4151-807B-E12E15B22EBF}" type="slidenum">
              <a:rPr lang="en-US" noProof="0" smtClean="0"/>
              <a:t>11</a:t>
            </a:fld>
            <a:endParaRPr lang="en-US" noProof="0" dirty="0"/>
          </a:p>
        </p:txBody>
      </p:sp>
      <p:sp>
        <p:nvSpPr>
          <p:cNvPr id="16" name="Inhaltsplatzhalter 2"/>
          <p:cNvSpPr txBox="1">
            <a:spLocks/>
          </p:cNvSpPr>
          <p:nvPr/>
        </p:nvSpPr>
        <p:spPr>
          <a:xfrm>
            <a:off x="564326" y="1784226"/>
            <a:ext cx="8820174" cy="4385796"/>
          </a:xfrm>
          <a:prstGeom prst="rect">
            <a:avLst/>
          </a:prstGeom>
        </p:spPr>
        <p:txBody>
          <a:bodyPr vert="horz" lIns="100817" tIns="50408" rIns="100817" bIns="50408" rtlCol="0" anchor="t">
            <a:noAutofit/>
          </a:bodyPr>
          <a:lstStyle>
            <a:lvl1pPr marL="0" indent="0" algn="l" defTabSz="457200" rtl="0" eaLnBrk="1" latinLnBrk="0" hangingPunct="1">
              <a:spcBef>
                <a:spcPts val="10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charset="2"/>
              <a:buNone/>
              <a:defRPr lang="de-DE" sz="2400" kern="1200">
                <a:solidFill>
                  <a:srgbClr val="043E7F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457200" rtl="0" eaLnBrk="1" latinLnBrk="0" hangingPunct="1">
              <a:spcBef>
                <a:spcPts val="0"/>
              </a:spcBef>
              <a:buClrTx/>
              <a:buSzPct val="91000"/>
              <a:buFont typeface="Wingdings" charset="2"/>
              <a:buNone/>
              <a:defRPr lang="de-DE"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457200" rtl="0" eaLnBrk="1" latinLnBrk="0" hangingPunct="1">
              <a:spcBef>
                <a:spcPct val="20000"/>
              </a:spcBef>
              <a:buSzPct val="77000"/>
              <a:buFont typeface="Symbol" charset="2"/>
              <a:buNone/>
              <a:defRPr lang="de-DE"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457200" rtl="0" eaLnBrk="1" latinLnBrk="0" hangingPunct="1">
              <a:spcBef>
                <a:spcPct val="20000"/>
              </a:spcBef>
              <a:buFont typeface="Lucida Grande"/>
              <a:buNone/>
              <a:defRPr lang="de-DE"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457200" rtl="0" eaLnBrk="1" latinLnBrk="0" hangingPunct="1">
              <a:spcBef>
                <a:spcPct val="20000"/>
              </a:spcBef>
              <a:buFont typeface="Arial"/>
              <a:buNone/>
              <a:defRPr lang="de-DE" sz="1400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457200" rtl="0" eaLnBrk="1" latinLnBrk="0" hangingPunct="1">
              <a:spcBef>
                <a:spcPct val="20000"/>
              </a:spcBef>
              <a:buFont typeface="Arial"/>
              <a:buNone/>
              <a:defRPr lang="de-DE"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lang="de-DE"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Tx/>
            </a:pPr>
            <a:endParaRPr kumimoji="0" lang="en-US" sz="2205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7" name="Inhaltsplatzhalter 2"/>
          <p:cNvSpPr txBox="1">
            <a:spLocks/>
          </p:cNvSpPr>
          <p:nvPr/>
        </p:nvSpPr>
        <p:spPr>
          <a:xfrm>
            <a:off x="321650" y="1956653"/>
            <a:ext cx="10129074" cy="2649944"/>
          </a:xfrm>
          <a:prstGeom prst="rect">
            <a:avLst/>
          </a:prstGeom>
        </p:spPr>
        <p:txBody>
          <a:bodyPr vert="horz" lIns="100817" tIns="50408" rIns="100817" bIns="50408" rtlCol="0" anchor="t">
            <a:noAutofit/>
          </a:bodyPr>
          <a:lstStyle>
            <a:lvl1pPr marL="0" indent="0" algn="l" defTabSz="457200" rtl="0" eaLnBrk="1" latinLnBrk="0" hangingPunct="1">
              <a:spcBef>
                <a:spcPts val="10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" charset="2"/>
              <a:buNone/>
              <a:defRPr lang="de-DE" sz="2400" kern="1200">
                <a:solidFill>
                  <a:srgbClr val="043E7F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457200" rtl="0" eaLnBrk="1" latinLnBrk="0" hangingPunct="1">
              <a:spcBef>
                <a:spcPts val="0"/>
              </a:spcBef>
              <a:buClrTx/>
              <a:buSzPct val="91000"/>
              <a:buFont typeface="Wingdings" charset="2"/>
              <a:buNone/>
              <a:defRPr lang="de-DE"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457200" rtl="0" eaLnBrk="1" latinLnBrk="0" hangingPunct="1">
              <a:spcBef>
                <a:spcPct val="20000"/>
              </a:spcBef>
              <a:buSzPct val="77000"/>
              <a:buFont typeface="Symbol" charset="2"/>
              <a:buNone/>
              <a:defRPr lang="de-DE"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457200" rtl="0" eaLnBrk="1" latinLnBrk="0" hangingPunct="1">
              <a:spcBef>
                <a:spcPct val="20000"/>
              </a:spcBef>
              <a:buFont typeface="Lucida Grande"/>
              <a:buNone/>
              <a:defRPr lang="de-DE"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457200" rtl="0" eaLnBrk="1" latinLnBrk="0" hangingPunct="1">
              <a:spcBef>
                <a:spcPct val="20000"/>
              </a:spcBef>
              <a:buFont typeface="Arial"/>
              <a:buNone/>
              <a:defRPr lang="de-DE" sz="1400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457200" rtl="0" eaLnBrk="1" latinLnBrk="0" hangingPunct="1">
              <a:spcBef>
                <a:spcPct val="20000"/>
              </a:spcBef>
              <a:buFont typeface="Arial"/>
              <a:buNone/>
              <a:defRPr lang="de-DE"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lang="de-DE"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505050"/>
              </a:buClr>
            </a:pPr>
            <a:r>
              <a:rPr kumimoji="0" lang="en-US" b="1" dirty="0">
                <a:solidFill>
                  <a:srgbClr val="505050"/>
                </a:solidFill>
                <a:latin typeface="Arial"/>
              </a:rPr>
              <a:t>Communication to the market</a:t>
            </a:r>
          </a:p>
          <a:p>
            <a:pPr>
              <a:buClrTx/>
            </a:pPr>
            <a:r>
              <a:rPr kumimoji="0" lang="en-US" dirty="0" smtClean="0">
                <a:solidFill>
                  <a:srgbClr val="505050"/>
                </a:solidFill>
                <a:latin typeface="Arial"/>
              </a:rPr>
              <a:t>	   </a:t>
            </a:r>
            <a:r>
              <a:rPr kumimoji="0" lang="en-US" sz="2200" dirty="0" smtClean="0">
                <a:solidFill>
                  <a:srgbClr val="505050"/>
                </a:solidFill>
                <a:latin typeface="Arial"/>
              </a:rPr>
              <a:t>IUMI </a:t>
            </a:r>
            <a:r>
              <a:rPr kumimoji="0" lang="en-US" sz="2200" dirty="0">
                <a:solidFill>
                  <a:srgbClr val="505050"/>
                </a:solidFill>
                <a:latin typeface="Arial"/>
              </a:rPr>
              <a:t>is the voice of the marine insurance industry</a:t>
            </a:r>
          </a:p>
          <a:p>
            <a:pPr>
              <a:buClrTx/>
            </a:pPr>
            <a:r>
              <a:rPr kumimoji="0" lang="en-US" sz="2200" dirty="0" smtClean="0">
                <a:solidFill>
                  <a:srgbClr val="505050"/>
                </a:solidFill>
                <a:latin typeface="Arial"/>
              </a:rPr>
              <a:t>	   Media work / press / public </a:t>
            </a:r>
            <a:r>
              <a:rPr kumimoji="0" lang="en-US" sz="2200" dirty="0">
                <a:solidFill>
                  <a:srgbClr val="505050"/>
                </a:solidFill>
                <a:latin typeface="Arial"/>
              </a:rPr>
              <a:t>relations</a:t>
            </a:r>
          </a:p>
          <a:p>
            <a:pPr>
              <a:buClrTx/>
            </a:pPr>
            <a:r>
              <a:rPr kumimoji="0" lang="en-US" sz="2200" dirty="0" smtClean="0">
                <a:solidFill>
                  <a:srgbClr val="505050"/>
                </a:solidFill>
                <a:latin typeface="Arial"/>
              </a:rPr>
              <a:t>	   Raise </a:t>
            </a:r>
            <a:r>
              <a:rPr kumimoji="0" lang="en-US" sz="2200" dirty="0">
                <a:solidFill>
                  <a:srgbClr val="505050"/>
                </a:solidFill>
                <a:latin typeface="Arial"/>
              </a:rPr>
              <a:t>the public awareness of excellent work of the </a:t>
            </a:r>
            <a:r>
              <a:rPr kumimoji="0" lang="en-US" sz="2200" dirty="0" smtClean="0">
                <a:solidFill>
                  <a:srgbClr val="505050"/>
                </a:solidFill>
                <a:latin typeface="Arial"/>
              </a:rPr>
              <a:t>Technical </a:t>
            </a:r>
            <a:r>
              <a:rPr kumimoji="0" lang="en-US" sz="2200" dirty="0">
                <a:solidFill>
                  <a:srgbClr val="505050"/>
                </a:solidFill>
                <a:latin typeface="Arial"/>
              </a:rPr>
              <a:t>C</a:t>
            </a:r>
            <a:r>
              <a:rPr kumimoji="0" lang="en-US" sz="2200" dirty="0" smtClean="0">
                <a:solidFill>
                  <a:srgbClr val="505050"/>
                </a:solidFill>
                <a:latin typeface="Arial"/>
              </a:rPr>
              <a:t>ommittees</a:t>
            </a:r>
          </a:p>
          <a:p>
            <a:pPr>
              <a:spcBef>
                <a:spcPts val="662"/>
              </a:spcBef>
              <a:buClrTx/>
            </a:pPr>
            <a:r>
              <a:rPr kumimoji="0" lang="en-US" sz="1985" dirty="0" smtClean="0">
                <a:latin typeface="Arial"/>
              </a:rPr>
              <a:t>	</a:t>
            </a:r>
            <a:r>
              <a:rPr kumimoji="0" lang="en-US" sz="2646" b="1" dirty="0" smtClean="0">
                <a:latin typeface="Arial"/>
              </a:rPr>
              <a:t> 	</a:t>
            </a:r>
            <a:endParaRPr kumimoji="0" lang="en-US" sz="2646" dirty="0" smtClean="0">
              <a:latin typeface="Arial"/>
            </a:endParaRPr>
          </a:p>
          <a:p>
            <a:pPr>
              <a:buClr>
                <a:srgbClr val="505050"/>
              </a:buClr>
            </a:pPr>
            <a:endParaRPr kumimoji="0" lang="en-US" sz="2646" dirty="0">
              <a:latin typeface="Arial"/>
            </a:endParaRPr>
          </a:p>
        </p:txBody>
      </p:sp>
      <p:sp>
        <p:nvSpPr>
          <p:cNvPr id="18" name="Pfeil nach rechts 17"/>
          <p:cNvSpPr/>
          <p:nvPr/>
        </p:nvSpPr>
        <p:spPr>
          <a:xfrm>
            <a:off x="507696" y="2644481"/>
            <a:ext cx="302008" cy="280644"/>
          </a:xfrm>
          <a:prstGeom prst="rightArrow">
            <a:avLst/>
          </a:prstGeom>
          <a:gradFill flip="none" rotWithShape="1">
            <a:gsLst>
              <a:gs pos="0">
                <a:sysClr val="window" lastClr="FFFFFF">
                  <a:shade val="30000"/>
                  <a:satMod val="115000"/>
                </a:sysClr>
              </a:gs>
              <a:gs pos="50000">
                <a:sysClr val="window" lastClr="FFFFFF">
                  <a:shade val="67500"/>
                  <a:satMod val="115000"/>
                </a:sysClr>
              </a:gs>
              <a:gs pos="100000">
                <a:sysClr val="window" lastClr="FFFFFF">
                  <a:shade val="100000"/>
                  <a:satMod val="115000"/>
                </a:sysClr>
              </a:gs>
            </a:gsLst>
            <a:lin ang="10800000" scaled="1"/>
            <a:tileRect/>
          </a:gradFill>
          <a:ln w="9525" cap="flat" cmpd="sng" algn="ctr">
            <a:solidFill>
              <a:srgbClr val="505050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39095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39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19" name="Pfeil nach rechts 18"/>
          <p:cNvSpPr/>
          <p:nvPr/>
        </p:nvSpPr>
        <p:spPr>
          <a:xfrm>
            <a:off x="507493" y="3191479"/>
            <a:ext cx="302008" cy="280644"/>
          </a:xfrm>
          <a:prstGeom prst="rightArrow">
            <a:avLst/>
          </a:prstGeom>
          <a:gradFill flip="none" rotWithShape="1">
            <a:gsLst>
              <a:gs pos="0">
                <a:sysClr val="window" lastClr="FFFFFF">
                  <a:shade val="30000"/>
                  <a:satMod val="115000"/>
                </a:sysClr>
              </a:gs>
              <a:gs pos="50000">
                <a:sysClr val="window" lastClr="FFFFFF">
                  <a:shade val="67500"/>
                  <a:satMod val="115000"/>
                </a:sysClr>
              </a:gs>
              <a:gs pos="100000">
                <a:sysClr val="window" lastClr="FFFFFF">
                  <a:shade val="100000"/>
                  <a:satMod val="115000"/>
                </a:sysClr>
              </a:gs>
            </a:gsLst>
            <a:lin ang="10800000" scaled="1"/>
            <a:tileRect/>
          </a:gradFill>
          <a:ln w="9525" cap="flat" cmpd="sng" algn="ctr">
            <a:solidFill>
              <a:srgbClr val="505050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39095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39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29" name="Pfeil nach rechts 28"/>
          <p:cNvSpPr/>
          <p:nvPr/>
        </p:nvSpPr>
        <p:spPr>
          <a:xfrm>
            <a:off x="507493" y="3750894"/>
            <a:ext cx="302008" cy="280644"/>
          </a:xfrm>
          <a:prstGeom prst="rightArrow">
            <a:avLst/>
          </a:prstGeom>
          <a:gradFill flip="none" rotWithShape="1">
            <a:gsLst>
              <a:gs pos="0">
                <a:sysClr val="window" lastClr="FFFFFF">
                  <a:shade val="30000"/>
                  <a:satMod val="115000"/>
                </a:sysClr>
              </a:gs>
              <a:gs pos="50000">
                <a:sysClr val="window" lastClr="FFFFFF">
                  <a:shade val="67500"/>
                  <a:satMod val="115000"/>
                </a:sysClr>
              </a:gs>
              <a:gs pos="100000">
                <a:sysClr val="window" lastClr="FFFFFF">
                  <a:shade val="100000"/>
                  <a:satMod val="115000"/>
                </a:sysClr>
              </a:gs>
            </a:gsLst>
            <a:lin ang="10800000" scaled="1"/>
            <a:tileRect/>
          </a:gradFill>
          <a:ln w="9525" cap="flat" cmpd="sng" algn="ctr">
            <a:solidFill>
              <a:srgbClr val="505050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39095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39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30" name="Pfeil nach rechts 29"/>
          <p:cNvSpPr/>
          <p:nvPr/>
        </p:nvSpPr>
        <p:spPr>
          <a:xfrm>
            <a:off x="514198" y="5683062"/>
            <a:ext cx="302008" cy="280644"/>
          </a:xfrm>
          <a:prstGeom prst="rightArrow">
            <a:avLst/>
          </a:prstGeom>
          <a:gradFill flip="none" rotWithShape="1">
            <a:gsLst>
              <a:gs pos="0">
                <a:sysClr val="window" lastClr="FFFFFF">
                  <a:shade val="30000"/>
                  <a:satMod val="115000"/>
                </a:sysClr>
              </a:gs>
              <a:gs pos="50000">
                <a:sysClr val="window" lastClr="FFFFFF">
                  <a:shade val="67500"/>
                  <a:satMod val="115000"/>
                </a:sysClr>
              </a:gs>
              <a:gs pos="100000">
                <a:sysClr val="window" lastClr="FFFFFF">
                  <a:shade val="100000"/>
                  <a:satMod val="115000"/>
                </a:sysClr>
              </a:gs>
            </a:gsLst>
            <a:lin ang="10800000" scaled="1"/>
            <a:tileRect/>
          </a:gradFill>
          <a:ln w="9525" cap="flat" cmpd="sng" algn="ctr">
            <a:solidFill>
              <a:srgbClr val="505050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39095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39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31" name="Pfeil nach rechts 30"/>
          <p:cNvSpPr/>
          <p:nvPr/>
        </p:nvSpPr>
        <p:spPr>
          <a:xfrm>
            <a:off x="507493" y="6244846"/>
            <a:ext cx="302008" cy="280644"/>
          </a:xfrm>
          <a:prstGeom prst="rightArrow">
            <a:avLst/>
          </a:prstGeom>
          <a:gradFill flip="none" rotWithShape="1">
            <a:gsLst>
              <a:gs pos="0">
                <a:sysClr val="window" lastClr="FFFFFF">
                  <a:shade val="30000"/>
                  <a:satMod val="115000"/>
                </a:sysClr>
              </a:gs>
              <a:gs pos="50000">
                <a:sysClr val="window" lastClr="FFFFFF">
                  <a:shade val="67500"/>
                  <a:satMod val="115000"/>
                </a:sysClr>
              </a:gs>
              <a:gs pos="100000">
                <a:sysClr val="window" lastClr="FFFFFF">
                  <a:shade val="100000"/>
                  <a:satMod val="115000"/>
                </a:sysClr>
              </a:gs>
            </a:gsLst>
            <a:lin ang="10800000" scaled="1"/>
            <a:tileRect/>
          </a:gradFill>
          <a:ln w="9525" cap="flat" cmpd="sng" algn="ctr">
            <a:solidFill>
              <a:srgbClr val="505050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39095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39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32" name="Rechteck 31"/>
          <p:cNvSpPr/>
          <p:nvPr/>
        </p:nvSpPr>
        <p:spPr>
          <a:xfrm rot="20852415">
            <a:off x="7872479" y="1775107"/>
            <a:ext cx="2323027" cy="304561"/>
          </a:xfrm>
          <a:prstGeom prst="rect">
            <a:avLst/>
          </a:prstGeom>
          <a:solidFill>
            <a:srgbClr val="009999"/>
          </a:solidFill>
          <a:ln w="9525" cap="flat" cmpd="sng" algn="ctr">
            <a:solidFill>
              <a:srgbClr val="0000A0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algn="ctr"/>
            <a:r>
              <a:rPr lang="en-US" sz="1800" b="1" kern="0" dirty="0">
                <a:solidFill>
                  <a:prstClr val="white"/>
                </a:solidFill>
                <a:latin typeface="Arial"/>
              </a:rPr>
              <a:t>Top Priorities  </a:t>
            </a:r>
            <a:r>
              <a:rPr lang="en-US" sz="1800" b="1" kern="0" dirty="0" smtClean="0">
                <a:solidFill>
                  <a:prstClr val="white"/>
                </a:solidFill>
                <a:latin typeface="Arial"/>
              </a:rPr>
              <a:t>2018</a:t>
            </a:r>
            <a:endParaRPr lang="en-US" sz="1800" b="1" kern="0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33" name="Stern mit 8 Zacken 32"/>
          <p:cNvSpPr/>
          <p:nvPr/>
        </p:nvSpPr>
        <p:spPr>
          <a:xfrm rot="20689545">
            <a:off x="7548311" y="1755050"/>
            <a:ext cx="428545" cy="373184"/>
          </a:xfrm>
          <a:prstGeom prst="star8">
            <a:avLst>
              <a:gd name="adj" fmla="val 28846"/>
            </a:avLst>
          </a:prstGeom>
          <a:solidFill>
            <a:srgbClr val="00B0F0"/>
          </a:solidFill>
          <a:ln w="9525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eaLnBrk="0" hangingPunct="0">
              <a:spcBef>
                <a:spcPts val="662"/>
              </a:spcBef>
            </a:pPr>
            <a:r>
              <a:rPr lang="en-US" b="1" kern="0" dirty="0">
                <a:solidFill>
                  <a:prstClr val="white"/>
                </a:solidFill>
                <a:latin typeface="Arial"/>
              </a:rPr>
              <a:t>2</a:t>
            </a:r>
          </a:p>
        </p:txBody>
      </p:sp>
      <p:sp>
        <p:nvSpPr>
          <p:cNvPr id="34" name="Inhaltsplatzhalter 2"/>
          <p:cNvSpPr txBox="1">
            <a:spLocks/>
          </p:cNvSpPr>
          <p:nvPr/>
        </p:nvSpPr>
        <p:spPr>
          <a:xfrm>
            <a:off x="321650" y="4665130"/>
            <a:ext cx="9417538" cy="2103348"/>
          </a:xfrm>
          <a:prstGeom prst="rect">
            <a:avLst/>
          </a:prstGeom>
        </p:spPr>
        <p:txBody>
          <a:bodyPr vert="horz" lIns="100817" tIns="50408" rIns="100817" bIns="50408" rtlCol="0">
            <a:noAutofit/>
          </a:bodyPr>
          <a:lstStyle>
            <a:lvl1pPr marL="257175" indent="-257175" algn="l" defTabSz="342900" rtl="0" eaLnBrk="1" latinLnBrk="0" hangingPunct="1">
              <a:spcBef>
                <a:spcPts val="750"/>
              </a:spcBef>
              <a:spcAft>
                <a:spcPts val="450"/>
              </a:spcAft>
              <a:buClr>
                <a:schemeClr val="accent2"/>
              </a:buClr>
              <a:buSzPct val="100000"/>
              <a:buFont typeface="Wingdings" charset="2"/>
              <a:buChar char="§"/>
              <a:defRPr lang="de-DE"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57213" indent="-214313" algn="l" defTabSz="342900" rtl="0" eaLnBrk="1" latinLnBrk="0" hangingPunct="1">
              <a:spcBef>
                <a:spcPts val="0"/>
              </a:spcBef>
              <a:buClrTx/>
              <a:buSzPct val="91000"/>
              <a:buFont typeface="Wingdings" charset="2"/>
              <a:buChar char="Ø"/>
              <a:defRPr lang="de-DE"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342900" rtl="0" eaLnBrk="1" latinLnBrk="0" hangingPunct="1">
              <a:spcBef>
                <a:spcPct val="20000"/>
              </a:spcBef>
              <a:buSzPct val="77000"/>
              <a:buFont typeface="Symbol" charset="2"/>
              <a:buChar char="-"/>
              <a:defRPr lang="de-DE" sz="18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342900" rtl="0" eaLnBrk="1" latinLnBrk="0" hangingPunct="1">
              <a:spcBef>
                <a:spcPct val="20000"/>
              </a:spcBef>
              <a:buFont typeface="Lucida Grande"/>
              <a:buChar char="»"/>
              <a:defRPr lang="de-DE" sz="18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371600" indent="0" algn="l" defTabSz="342900" rtl="0" eaLnBrk="1" latinLnBrk="0" hangingPunct="1">
              <a:spcBef>
                <a:spcPct val="20000"/>
              </a:spcBef>
              <a:buFont typeface="Arial"/>
              <a:buNone/>
              <a:defRPr lang="de-DE" sz="15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14500" indent="0" algn="l" defTabSz="342900" rtl="0" eaLnBrk="1" latinLnBrk="0" hangingPunct="1">
              <a:spcBef>
                <a:spcPct val="20000"/>
              </a:spcBef>
              <a:buFont typeface="Arial"/>
              <a:buNone/>
              <a:defRPr lang="de-DE" sz="15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057400" indent="0" algn="l" defTabSz="342900" rtl="0" eaLnBrk="1" latinLnBrk="0" hangingPunct="1">
              <a:spcBef>
                <a:spcPct val="20000"/>
              </a:spcBef>
              <a:buFont typeface="Arial"/>
              <a:buNone/>
              <a:defRPr lang="de-DE" sz="135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662"/>
              </a:spcBef>
              <a:buClrTx/>
              <a:buFont typeface="Wingdings" charset="2"/>
              <a:buNone/>
            </a:pPr>
            <a:r>
              <a:rPr kumimoji="0" lang="en-US" sz="2400" b="1" dirty="0">
                <a:solidFill>
                  <a:srgbClr val="505050"/>
                </a:solidFill>
                <a:latin typeface="Arial"/>
              </a:rPr>
              <a:t>Visibility - advocate the interests of the global </a:t>
            </a:r>
            <a:r>
              <a:rPr kumimoji="0" lang="en-US" sz="2400" b="1" dirty="0" smtClean="0">
                <a:solidFill>
                  <a:srgbClr val="505050"/>
                </a:solidFill>
                <a:latin typeface="Arial"/>
              </a:rPr>
              <a:t>marine (insurance</a:t>
            </a:r>
            <a:r>
              <a:rPr kumimoji="0" lang="en-US" sz="2400" b="1" dirty="0">
                <a:solidFill>
                  <a:srgbClr val="505050"/>
                </a:solidFill>
                <a:latin typeface="Arial"/>
              </a:rPr>
              <a:t>) industry</a:t>
            </a:r>
          </a:p>
          <a:p>
            <a:pPr marL="0" lvl="4" defTabSz="457200">
              <a:spcBef>
                <a:spcPts val="1000"/>
              </a:spcBef>
              <a:spcAft>
                <a:spcPts val="600"/>
              </a:spcAft>
              <a:buSzPct val="100000"/>
            </a:pPr>
            <a:r>
              <a:rPr kumimoji="0" lang="en-US" sz="2400" dirty="0" smtClean="0">
                <a:solidFill>
                  <a:srgbClr val="505050"/>
                </a:solidFill>
                <a:latin typeface="Arial"/>
              </a:rPr>
              <a:t>	   </a:t>
            </a:r>
            <a:r>
              <a:rPr kumimoji="0" lang="en-US" sz="2200" dirty="0" smtClean="0">
                <a:solidFill>
                  <a:srgbClr val="505050"/>
                </a:solidFill>
                <a:latin typeface="Arial"/>
              </a:rPr>
              <a:t>Continuous </a:t>
            </a:r>
            <a:r>
              <a:rPr kumimoji="0" lang="en-US" sz="2200" dirty="0">
                <a:solidFill>
                  <a:srgbClr val="505050"/>
                </a:solidFill>
                <a:latin typeface="Arial"/>
              </a:rPr>
              <a:t>presence in relevant forums </a:t>
            </a:r>
          </a:p>
          <a:p>
            <a:pPr marL="0" lvl="4" defTabSz="457200">
              <a:spcBef>
                <a:spcPts val="1000"/>
              </a:spcBef>
              <a:spcAft>
                <a:spcPts val="600"/>
              </a:spcAft>
              <a:buSzPct val="100000"/>
            </a:pPr>
            <a:r>
              <a:rPr kumimoji="0" lang="en-US" sz="2200" dirty="0" smtClean="0">
                <a:solidFill>
                  <a:srgbClr val="505050"/>
                </a:solidFill>
                <a:latin typeface="Arial"/>
              </a:rPr>
              <a:t>	    Addressable </a:t>
            </a:r>
            <a:r>
              <a:rPr kumimoji="0" lang="en-US" sz="2200" dirty="0">
                <a:solidFill>
                  <a:srgbClr val="505050"/>
                </a:solidFill>
                <a:latin typeface="Arial"/>
              </a:rPr>
              <a:t>and responsive</a:t>
            </a:r>
          </a:p>
          <a:p>
            <a:pPr>
              <a:buClr>
                <a:srgbClr val="505050"/>
              </a:buClr>
              <a:buFont typeface="Wingdings" charset="2"/>
              <a:buNone/>
            </a:pPr>
            <a:endParaRPr kumimoji="0" lang="en-US" sz="1985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069691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 smtClean="0">
                <a:solidFill>
                  <a:srgbClr val="0000A0"/>
                </a:solidFill>
              </a:rPr>
              <a:t>IUMI EDUCATION</a:t>
            </a:r>
            <a:endParaRPr lang="de-DE" sz="280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B53FF6-FF3D-4151-807B-E12E15B22EBF}" type="slidenum">
              <a:rPr lang="en-US" noProof="0" smtClean="0"/>
              <a:t>12</a:t>
            </a:fld>
            <a:endParaRPr lang="en-US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4"/>
          </p:nvPr>
        </p:nvSpPr>
        <p:spPr>
          <a:xfrm>
            <a:off x="410249" y="782895"/>
            <a:ext cx="7237413" cy="770370"/>
          </a:xfrm>
        </p:spPr>
        <p:txBody>
          <a:bodyPr/>
          <a:lstStyle/>
          <a:p>
            <a:r>
              <a:rPr lang="en-US" dirty="0">
                <a:solidFill>
                  <a:srgbClr val="505050"/>
                </a:solidFill>
              </a:rPr>
              <a:t>Developing an education program for the global marine insurance industry</a:t>
            </a:r>
            <a:endParaRPr lang="de-DE" dirty="0"/>
          </a:p>
        </p:txBody>
      </p:sp>
      <p:sp>
        <p:nvSpPr>
          <p:cNvPr id="14" name="Rechteck 13"/>
          <p:cNvSpPr/>
          <p:nvPr/>
        </p:nvSpPr>
        <p:spPr>
          <a:xfrm>
            <a:off x="7691924" y="1377381"/>
            <a:ext cx="1547664" cy="529070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hteck 15"/>
          <p:cNvSpPr/>
          <p:nvPr/>
        </p:nvSpPr>
        <p:spPr>
          <a:xfrm>
            <a:off x="7651750" y="1844824"/>
            <a:ext cx="1547664" cy="50036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Pfeil nach rechts 21"/>
          <p:cNvSpPr/>
          <p:nvPr/>
        </p:nvSpPr>
        <p:spPr>
          <a:xfrm>
            <a:off x="409327" y="1856959"/>
            <a:ext cx="302008" cy="280644"/>
          </a:xfrm>
          <a:prstGeom prst="rightArrow">
            <a:avLst/>
          </a:prstGeom>
          <a:gradFill flip="none" rotWithShape="1">
            <a:gsLst>
              <a:gs pos="0">
                <a:sysClr val="window" lastClr="FFFFFF">
                  <a:shade val="30000"/>
                  <a:satMod val="115000"/>
                </a:sysClr>
              </a:gs>
              <a:gs pos="50000">
                <a:sysClr val="window" lastClr="FFFFFF">
                  <a:shade val="67500"/>
                  <a:satMod val="115000"/>
                </a:sysClr>
              </a:gs>
              <a:gs pos="100000">
                <a:sysClr val="window" lastClr="FFFFFF">
                  <a:shade val="100000"/>
                  <a:satMod val="115000"/>
                </a:sysClr>
              </a:gs>
            </a:gsLst>
            <a:lin ang="10800000" scaled="1"/>
            <a:tileRect/>
          </a:gradFill>
          <a:ln w="9525" cap="flat" cmpd="sng" algn="ctr">
            <a:solidFill>
              <a:srgbClr val="505050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39095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39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23" name="Pfeil nach rechts 22"/>
          <p:cNvSpPr/>
          <p:nvPr/>
        </p:nvSpPr>
        <p:spPr>
          <a:xfrm>
            <a:off x="409327" y="2255567"/>
            <a:ext cx="302008" cy="280644"/>
          </a:xfrm>
          <a:prstGeom prst="rightArrow">
            <a:avLst/>
          </a:prstGeom>
          <a:gradFill flip="none" rotWithShape="1">
            <a:gsLst>
              <a:gs pos="0">
                <a:sysClr val="window" lastClr="FFFFFF">
                  <a:shade val="30000"/>
                  <a:satMod val="115000"/>
                </a:sysClr>
              </a:gs>
              <a:gs pos="50000">
                <a:sysClr val="window" lastClr="FFFFFF">
                  <a:shade val="67500"/>
                  <a:satMod val="115000"/>
                </a:sysClr>
              </a:gs>
              <a:gs pos="100000">
                <a:sysClr val="window" lastClr="FFFFFF">
                  <a:shade val="100000"/>
                  <a:satMod val="115000"/>
                </a:sysClr>
              </a:gs>
            </a:gsLst>
            <a:lin ang="10800000" scaled="1"/>
            <a:tileRect/>
          </a:gradFill>
          <a:ln w="9525" cap="flat" cmpd="sng" algn="ctr">
            <a:solidFill>
              <a:srgbClr val="505050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39095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39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15" name="Rechteck 14"/>
          <p:cNvSpPr/>
          <p:nvPr/>
        </p:nvSpPr>
        <p:spPr>
          <a:xfrm>
            <a:off x="-125908" y="2952182"/>
            <a:ext cx="295232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55600" lvl="1" indent="68263" defTabSz="1043056">
              <a:spcBef>
                <a:spcPts val="441"/>
              </a:spcBef>
            </a:pPr>
            <a:r>
              <a:rPr kumimoji="0" lang="en-US" sz="2400" b="1" dirty="0" smtClean="0">
                <a:solidFill>
                  <a:srgbClr val="505050"/>
                </a:solidFill>
                <a:latin typeface="Arial"/>
              </a:rPr>
              <a:t>Achievements</a:t>
            </a:r>
            <a:endParaRPr kumimoji="0" lang="en-US" sz="2400" b="1" dirty="0">
              <a:solidFill>
                <a:srgbClr val="505050"/>
              </a:solidFill>
              <a:latin typeface="Arial"/>
            </a:endParaRPr>
          </a:p>
        </p:txBody>
      </p:sp>
      <p:sp>
        <p:nvSpPr>
          <p:cNvPr id="18" name="Rechteck 17"/>
          <p:cNvSpPr/>
          <p:nvPr/>
        </p:nvSpPr>
        <p:spPr>
          <a:xfrm>
            <a:off x="370866" y="3432131"/>
            <a:ext cx="10150831" cy="3958141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87313" indent="365125">
              <a:lnSpc>
                <a:spcPct val="150000"/>
              </a:lnSpc>
              <a:spcBef>
                <a:spcPts val="600"/>
              </a:spcBef>
            </a:pPr>
            <a:r>
              <a:rPr lang="en-US" sz="2200" dirty="0" smtClean="0"/>
              <a:t> Webinars </a:t>
            </a:r>
          </a:p>
          <a:p>
            <a:pPr>
              <a:tabLst>
                <a:tab pos="539750" algn="l"/>
              </a:tabLst>
            </a:pPr>
            <a:r>
              <a:rPr lang="en-US" sz="2200" dirty="0"/>
              <a:t>	</a:t>
            </a:r>
            <a:r>
              <a:rPr lang="en-US" sz="2200" i="1" dirty="0" smtClean="0"/>
              <a:t>   -  </a:t>
            </a:r>
            <a:r>
              <a:rPr lang="en-US" sz="1800" i="1" dirty="0" smtClean="0"/>
              <a:t>started 6/2016: 25 webinars /</a:t>
            </a:r>
          </a:p>
          <a:p>
            <a:pPr marL="722313">
              <a:tabLst>
                <a:tab pos="539750" algn="l"/>
              </a:tabLst>
            </a:pPr>
            <a:r>
              <a:rPr lang="en-US" sz="1800" i="1" dirty="0"/>
              <a:t> </a:t>
            </a:r>
            <a:r>
              <a:rPr lang="en-US" sz="1800" i="1" dirty="0" smtClean="0"/>
              <a:t>-   &gt; 3.000 participants from 56 countries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2200" dirty="0" smtClean="0"/>
              <a:t>       IUMI </a:t>
            </a:r>
            <a:r>
              <a:rPr lang="en-US" sz="2200" dirty="0"/>
              <a:t>website </a:t>
            </a:r>
            <a:r>
              <a:rPr lang="en-US" sz="2200" dirty="0" smtClean="0"/>
              <a:t>– new database </a:t>
            </a:r>
            <a:endParaRPr lang="en-US" sz="2200" dirty="0"/>
          </a:p>
          <a:p>
            <a:pPr marL="355600" lvl="1" indent="-355600">
              <a:buClr>
                <a:srgbClr val="505050"/>
              </a:buClr>
              <a:buSzPct val="100000"/>
              <a:defRPr/>
            </a:pPr>
            <a:r>
              <a:rPr lang="en-US" sz="1800" dirty="0">
                <a:solidFill>
                  <a:srgbClr val="505050"/>
                </a:solidFill>
              </a:rPr>
              <a:t>         </a:t>
            </a:r>
            <a:r>
              <a:rPr lang="en-US" sz="1800" dirty="0" smtClean="0">
                <a:solidFill>
                  <a:srgbClr val="505050"/>
                </a:solidFill>
              </a:rPr>
              <a:t>   -  </a:t>
            </a:r>
            <a:r>
              <a:rPr lang="en-US" sz="1800" i="1" dirty="0">
                <a:solidFill>
                  <a:srgbClr val="505050"/>
                </a:solidFill>
              </a:rPr>
              <a:t>statistics / former </a:t>
            </a:r>
            <a:r>
              <a:rPr lang="en-US" sz="1800" i="1" dirty="0" smtClean="0">
                <a:solidFill>
                  <a:srgbClr val="505050"/>
                </a:solidFill>
              </a:rPr>
              <a:t>conferences’ presentations / </a:t>
            </a:r>
            <a:r>
              <a:rPr lang="en-US" sz="1800" i="1" dirty="0">
                <a:solidFill>
                  <a:srgbClr val="505050"/>
                </a:solidFill>
              </a:rPr>
              <a:t>search function by keyword </a:t>
            </a:r>
          </a:p>
          <a:p>
            <a:pPr marL="452438">
              <a:spcBef>
                <a:spcPts val="600"/>
              </a:spcBef>
            </a:pPr>
            <a:r>
              <a:rPr lang="en-US" sz="2200" dirty="0" smtClean="0"/>
              <a:t> Executive </a:t>
            </a:r>
            <a:r>
              <a:rPr lang="en-US" sz="2200" dirty="0"/>
              <a:t>C</a:t>
            </a:r>
            <a:r>
              <a:rPr lang="en-US" sz="2200" dirty="0" smtClean="0"/>
              <a:t>ertificate </a:t>
            </a:r>
            <a:r>
              <a:rPr lang="en-US" sz="2200" dirty="0"/>
              <a:t>in Marine </a:t>
            </a:r>
            <a:r>
              <a:rPr lang="en-US" sz="2200" dirty="0" smtClean="0"/>
              <a:t>Insurance (</a:t>
            </a:r>
            <a:r>
              <a:rPr lang="en-US" sz="1800" i="1" dirty="0" smtClean="0"/>
              <a:t>Hong </a:t>
            </a:r>
            <a:r>
              <a:rPr lang="en-US" sz="1800" i="1" dirty="0"/>
              <a:t>Kong </a:t>
            </a:r>
            <a:r>
              <a:rPr lang="en-US" sz="1800" i="1" dirty="0" smtClean="0"/>
              <a:t>Fed. of Ins. + HK University)</a:t>
            </a:r>
          </a:p>
          <a:p>
            <a:pPr marL="452438">
              <a:spcBef>
                <a:spcPts val="600"/>
              </a:spcBef>
            </a:pPr>
            <a:r>
              <a:rPr lang="en-US" sz="2200" dirty="0" smtClean="0"/>
              <a:t> Marine </a:t>
            </a:r>
            <a:r>
              <a:rPr lang="en-US" sz="2200" dirty="0"/>
              <a:t>Insurance </a:t>
            </a:r>
            <a:r>
              <a:rPr lang="en-US" sz="2200" dirty="0" smtClean="0"/>
              <a:t>Fundamentals </a:t>
            </a:r>
            <a:r>
              <a:rPr lang="en-US" sz="1800" i="1" dirty="0" smtClean="0"/>
              <a:t>(The Institutes, USA)</a:t>
            </a:r>
            <a:endParaRPr lang="en-US" sz="1800" i="1" dirty="0"/>
          </a:p>
          <a:p>
            <a:pPr marL="539750">
              <a:spcBef>
                <a:spcPts val="600"/>
              </a:spcBef>
            </a:pPr>
            <a:r>
              <a:rPr lang="de-DE" sz="2200" dirty="0" smtClean="0"/>
              <a:t>IUMI e-</a:t>
            </a:r>
            <a:r>
              <a:rPr lang="de-DE" sz="2200" dirty="0" err="1" smtClean="0"/>
              <a:t>Learing</a:t>
            </a:r>
            <a:endParaRPr lang="en-US" sz="2200" dirty="0" smtClean="0"/>
          </a:p>
          <a:p>
            <a:pPr indent="539750">
              <a:spcBef>
                <a:spcPts val="600"/>
              </a:spcBef>
            </a:pPr>
            <a:r>
              <a:rPr lang="en-US" sz="1800" i="1" dirty="0" smtClean="0"/>
              <a:t>   -   IUMI Cargo Tutorial is online !   </a:t>
            </a:r>
          </a:p>
          <a:p>
            <a:pPr indent="539750">
              <a:spcBef>
                <a:spcPts val="600"/>
              </a:spcBef>
            </a:pPr>
            <a:r>
              <a:rPr lang="en-US" sz="1800" i="1" dirty="0" smtClean="0"/>
              <a:t>   -   IUMI Hull Tutorial </a:t>
            </a:r>
            <a:r>
              <a:rPr lang="en-US" sz="1800" i="1" dirty="0"/>
              <a:t>in </a:t>
            </a:r>
            <a:r>
              <a:rPr lang="en-US" sz="1800" i="1" dirty="0" smtClean="0"/>
              <a:t>Q3/2018)</a:t>
            </a:r>
            <a:endParaRPr lang="en-US" sz="1800" i="1" dirty="0"/>
          </a:p>
        </p:txBody>
      </p:sp>
      <p:sp>
        <p:nvSpPr>
          <p:cNvPr id="20" name="Rechteck 19"/>
          <p:cNvSpPr/>
          <p:nvPr/>
        </p:nvSpPr>
        <p:spPr>
          <a:xfrm>
            <a:off x="909592" y="1786175"/>
            <a:ext cx="4869156" cy="804626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R="0" lvl="0" defTabSz="104305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62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2200" b="0" i="0" u="none" strike="noStrike" kern="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ar on talents</a:t>
            </a:r>
          </a:p>
          <a:p>
            <a:pPr marL="0" marR="0" lvl="0" indent="0" defTabSz="104305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62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2200" b="0" i="0" u="none" strike="noStrike" kern="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rong demand from IUMI member</a:t>
            </a:r>
            <a:r>
              <a:rPr lang="en-US" sz="2200" kern="0" dirty="0">
                <a:solidFill>
                  <a:srgbClr val="505050"/>
                </a:solidFill>
                <a:latin typeface="Arial"/>
              </a:rPr>
              <a:t>s</a:t>
            </a:r>
            <a:endParaRPr kumimoji="0" lang="en-US" sz="2200" b="0" i="0" u="none" strike="noStrike" kern="0" cap="none" spc="0" normalizeH="0" baseline="0" noProof="0" dirty="0" smtClean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Rechteck 16"/>
          <p:cNvSpPr/>
          <p:nvPr/>
        </p:nvSpPr>
        <p:spPr>
          <a:xfrm rot="20852415">
            <a:off x="7305310" y="2465726"/>
            <a:ext cx="2323027" cy="304561"/>
          </a:xfrm>
          <a:prstGeom prst="rect">
            <a:avLst/>
          </a:prstGeom>
          <a:solidFill>
            <a:srgbClr val="009999"/>
          </a:solidFill>
          <a:ln w="9525" cap="flat" cmpd="sng" algn="ctr">
            <a:solidFill>
              <a:srgbClr val="0000A0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algn="ctr"/>
            <a:r>
              <a:rPr lang="en-US" sz="1800" b="1" kern="0" dirty="0">
                <a:solidFill>
                  <a:prstClr val="white"/>
                </a:solidFill>
                <a:latin typeface="Arial"/>
              </a:rPr>
              <a:t>Top Priorities  </a:t>
            </a:r>
            <a:r>
              <a:rPr lang="en-US" sz="1800" b="1" kern="0" dirty="0" smtClean="0">
                <a:solidFill>
                  <a:prstClr val="white"/>
                </a:solidFill>
                <a:latin typeface="Arial"/>
              </a:rPr>
              <a:t>2018</a:t>
            </a:r>
            <a:endParaRPr lang="en-US" sz="1800" b="1" kern="0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21" name="Stern mit 8 Zacken 20"/>
          <p:cNvSpPr/>
          <p:nvPr/>
        </p:nvSpPr>
        <p:spPr>
          <a:xfrm rot="20689545">
            <a:off x="7043230" y="2423977"/>
            <a:ext cx="428545" cy="373184"/>
          </a:xfrm>
          <a:prstGeom prst="star8">
            <a:avLst>
              <a:gd name="adj" fmla="val 28846"/>
            </a:avLst>
          </a:prstGeom>
          <a:solidFill>
            <a:srgbClr val="00B0F0"/>
          </a:solidFill>
          <a:ln w="9525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eaLnBrk="0" hangingPunct="0">
              <a:spcBef>
                <a:spcPts val="662"/>
              </a:spcBef>
            </a:pPr>
            <a:r>
              <a:rPr lang="de-DE" b="1" kern="0" dirty="0">
                <a:solidFill>
                  <a:prstClr val="white"/>
                </a:solidFill>
                <a:latin typeface="Arial"/>
              </a:rPr>
              <a:t>3</a:t>
            </a:r>
            <a:endParaRPr lang="en-US" b="1" kern="0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26" name="Gleichschenkliges Dreieck 25"/>
          <p:cNvSpPr/>
          <p:nvPr/>
        </p:nvSpPr>
        <p:spPr>
          <a:xfrm rot="5400000">
            <a:off x="431526" y="3725520"/>
            <a:ext cx="279354" cy="183188"/>
          </a:xfrm>
          <a:prstGeom prst="triangle">
            <a:avLst/>
          </a:prstGeom>
          <a:gradFill rotWithShape="1">
            <a:gsLst>
              <a:gs pos="0">
                <a:srgbClr val="6E7898"/>
              </a:gs>
              <a:gs pos="100000">
                <a:srgbClr val="14335F">
                  <a:tint val="50000"/>
                  <a:shade val="100000"/>
                  <a:satMod val="350000"/>
                </a:srgbClr>
              </a:gs>
            </a:gsLst>
            <a:lin ang="16200000" scaled="0"/>
          </a:gradFill>
          <a:ln w="9525" cap="flat" cmpd="sng" algn="ctr">
            <a:solidFill>
              <a:srgbClr val="14335F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algn="ctr" defTabSz="504063"/>
            <a:endParaRPr lang="en-US" sz="1985" kern="0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28" name="Gleichschenkliges Dreieck 27"/>
          <p:cNvSpPr/>
          <p:nvPr/>
        </p:nvSpPr>
        <p:spPr>
          <a:xfrm rot="5400000">
            <a:off x="420956" y="4798998"/>
            <a:ext cx="279354" cy="183188"/>
          </a:xfrm>
          <a:prstGeom prst="triangle">
            <a:avLst/>
          </a:prstGeom>
          <a:gradFill rotWithShape="1">
            <a:gsLst>
              <a:gs pos="0">
                <a:srgbClr val="6E7898"/>
              </a:gs>
              <a:gs pos="100000">
                <a:srgbClr val="14335F">
                  <a:tint val="50000"/>
                  <a:shade val="100000"/>
                  <a:satMod val="350000"/>
                </a:srgbClr>
              </a:gs>
            </a:gsLst>
            <a:lin ang="16200000" scaled="0"/>
          </a:gradFill>
          <a:ln w="9525" cap="flat" cmpd="sng" algn="ctr">
            <a:solidFill>
              <a:srgbClr val="14335F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algn="ctr" defTabSz="504063"/>
            <a:endParaRPr lang="en-US" sz="1985" kern="0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29" name="Gleichschenkliges Dreieck 28"/>
          <p:cNvSpPr/>
          <p:nvPr/>
        </p:nvSpPr>
        <p:spPr>
          <a:xfrm rot="5400000">
            <a:off x="444036" y="5531053"/>
            <a:ext cx="279354" cy="183188"/>
          </a:xfrm>
          <a:prstGeom prst="triangle">
            <a:avLst/>
          </a:prstGeom>
          <a:gradFill rotWithShape="1">
            <a:gsLst>
              <a:gs pos="0">
                <a:srgbClr val="6E7898"/>
              </a:gs>
              <a:gs pos="100000">
                <a:srgbClr val="14335F">
                  <a:tint val="50000"/>
                  <a:shade val="100000"/>
                  <a:satMod val="350000"/>
                </a:srgbClr>
              </a:gs>
            </a:gsLst>
            <a:lin ang="16200000" scaled="0"/>
          </a:gradFill>
          <a:ln w="9525" cap="flat" cmpd="sng" algn="ctr">
            <a:solidFill>
              <a:srgbClr val="14335F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algn="ctr" defTabSz="504063"/>
            <a:endParaRPr lang="en-US" sz="1985" kern="0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3" name="Rechteck 2"/>
          <p:cNvSpPr/>
          <p:nvPr/>
        </p:nvSpPr>
        <p:spPr>
          <a:xfrm>
            <a:off x="380445" y="6890538"/>
            <a:ext cx="242598" cy="289373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r>
              <a:rPr lang="de-DE" sz="1800" dirty="0" smtClean="0">
                <a:solidFill>
                  <a:schemeClr val="tx1"/>
                </a:solidFill>
              </a:rPr>
              <a:t> </a:t>
            </a:r>
            <a:endParaRPr lang="en-US" sz="1800" dirty="0" err="1" smtClean="0">
              <a:solidFill>
                <a:schemeClr val="tx1"/>
              </a:solidFill>
            </a:endParaRPr>
          </a:p>
        </p:txBody>
      </p:sp>
      <p:sp>
        <p:nvSpPr>
          <p:cNvPr id="30" name="Gleichschenkliges Dreieck 29"/>
          <p:cNvSpPr/>
          <p:nvPr/>
        </p:nvSpPr>
        <p:spPr>
          <a:xfrm rot="5400000">
            <a:off x="420654" y="5966082"/>
            <a:ext cx="279354" cy="183188"/>
          </a:xfrm>
          <a:prstGeom prst="triangle">
            <a:avLst/>
          </a:prstGeom>
          <a:gradFill rotWithShape="1">
            <a:gsLst>
              <a:gs pos="0">
                <a:srgbClr val="6E7898"/>
              </a:gs>
              <a:gs pos="100000">
                <a:srgbClr val="14335F">
                  <a:tint val="50000"/>
                  <a:shade val="100000"/>
                  <a:satMod val="350000"/>
                </a:srgbClr>
              </a:gs>
            </a:gsLst>
            <a:lin ang="16200000" scaled="0"/>
          </a:gradFill>
          <a:ln w="9525" cap="flat" cmpd="sng" algn="ctr">
            <a:solidFill>
              <a:srgbClr val="14335F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algn="ctr" defTabSz="504063"/>
            <a:endParaRPr lang="en-US" sz="1985" kern="0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31" name="Gleichschenkliges Dreieck 30"/>
          <p:cNvSpPr/>
          <p:nvPr/>
        </p:nvSpPr>
        <p:spPr>
          <a:xfrm rot="5400000">
            <a:off x="431526" y="6356160"/>
            <a:ext cx="279354" cy="183188"/>
          </a:xfrm>
          <a:prstGeom prst="triangle">
            <a:avLst/>
          </a:prstGeom>
          <a:gradFill rotWithShape="1">
            <a:gsLst>
              <a:gs pos="0">
                <a:srgbClr val="6E7898"/>
              </a:gs>
              <a:gs pos="100000">
                <a:srgbClr val="14335F">
                  <a:tint val="50000"/>
                  <a:shade val="100000"/>
                  <a:satMod val="350000"/>
                </a:srgbClr>
              </a:gs>
            </a:gsLst>
            <a:lin ang="16200000" scaled="0"/>
          </a:gradFill>
          <a:ln w="9525" cap="flat" cmpd="sng" algn="ctr">
            <a:solidFill>
              <a:srgbClr val="14335F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algn="ctr" defTabSz="504063"/>
            <a:endParaRPr lang="en-US" sz="1985" kern="0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24" name="Stern mit 5 Zacken 23"/>
          <p:cNvSpPr/>
          <p:nvPr/>
        </p:nvSpPr>
        <p:spPr>
          <a:xfrm rot="20726745">
            <a:off x="4628889" y="6263990"/>
            <a:ext cx="1625480" cy="1124984"/>
          </a:xfrm>
          <a:prstGeom prst="star5">
            <a:avLst/>
          </a:prstGeom>
          <a:solidFill>
            <a:srgbClr val="FFFF00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r>
              <a:rPr lang="de-DE" sz="1000" dirty="0" smtClean="0">
                <a:solidFill>
                  <a:srgbClr val="FF5050"/>
                </a:solidFill>
              </a:rPr>
              <a:t>New </a:t>
            </a:r>
            <a:r>
              <a:rPr lang="de-DE" sz="1000" dirty="0" err="1" smtClean="0">
                <a:solidFill>
                  <a:srgbClr val="FF5050"/>
                </a:solidFill>
              </a:rPr>
              <a:t>training</a:t>
            </a:r>
            <a:endParaRPr lang="en-US" sz="1000" dirty="0" err="1" smtClean="0">
              <a:solidFill>
                <a:srgbClr val="FF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89535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14339" y="478247"/>
            <a:ext cx="7237413" cy="504127"/>
          </a:xfrm>
        </p:spPr>
        <p:txBody>
          <a:bodyPr/>
          <a:lstStyle/>
          <a:p>
            <a:r>
              <a:rPr lang="en-US" sz="2800" dirty="0" smtClean="0"/>
              <a:t>The President’s </a:t>
            </a:r>
            <a:r>
              <a:rPr lang="en-US" sz="2800" dirty="0"/>
              <a:t>V</a:t>
            </a:r>
            <a:r>
              <a:rPr lang="en-US" sz="2800" dirty="0" smtClean="0"/>
              <a:t>iew</a:t>
            </a:r>
            <a:r>
              <a:rPr lang="de-DE" dirty="0"/>
              <a:t/>
            </a:r>
            <a:br>
              <a:rPr lang="de-DE" dirty="0"/>
            </a:br>
            <a:endParaRPr lang="de-DE" dirty="0"/>
          </a:p>
        </p:txBody>
      </p:sp>
      <p:sp>
        <p:nvSpPr>
          <p:cNvPr id="12" name="Rechteck 11"/>
          <p:cNvSpPr/>
          <p:nvPr/>
        </p:nvSpPr>
        <p:spPr>
          <a:xfrm>
            <a:off x="1026220" y="3492599"/>
            <a:ext cx="853244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spcAft>
                <a:spcPts val="0"/>
              </a:spcAft>
              <a:buClrTx/>
            </a:pPr>
            <a:r>
              <a:rPr lang="en-US" sz="3600" b="1" dirty="0"/>
              <a:t>Disruptive Forces in Marine </a:t>
            </a:r>
            <a:r>
              <a:rPr lang="en-US" sz="3600" b="1" dirty="0" smtClean="0"/>
              <a:t>Insurance</a:t>
            </a:r>
            <a:endParaRPr lang="en-US" sz="3600" b="1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B53FF6-FF3D-4151-807B-E12E15B22EBF}" type="slidenum">
              <a:rPr lang="en-US" noProof="0" smtClean="0"/>
              <a:t>13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786142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>
                <a:solidFill>
                  <a:srgbClr val="0000A0"/>
                </a:solidFill>
                <a:latin typeface="Arial (Kopfzeilen)"/>
              </a:rPr>
              <a:t>IUMI CAPE TOWN CONFERENCE 2018 </a:t>
            </a:r>
            <a:r>
              <a:rPr lang="en-US" sz="2800" i="1" dirty="0" smtClean="0">
                <a:solidFill>
                  <a:schemeClr val="tx1"/>
                </a:solidFill>
                <a:latin typeface="Arial (Kopfzeilen)"/>
              </a:rPr>
              <a:t>Save the date</a:t>
            </a:r>
            <a:r>
              <a:rPr lang="en-US" sz="2800" dirty="0" smtClean="0">
                <a:solidFill>
                  <a:srgbClr val="0000A0"/>
                </a:solidFill>
                <a:latin typeface="Arial (Kopfzeilen)"/>
              </a:rPr>
              <a:t/>
            </a:r>
            <a:br>
              <a:rPr lang="en-US" sz="2800" dirty="0" smtClean="0">
                <a:solidFill>
                  <a:srgbClr val="0000A0"/>
                </a:solidFill>
                <a:latin typeface="Arial (Kopfzeilen)"/>
              </a:rPr>
            </a:br>
            <a:endParaRPr lang="en-US" sz="2800" dirty="0">
              <a:solidFill>
                <a:schemeClr val="tx1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B53FF6-FF3D-4151-807B-E12E15B22EBF}" type="slidenum">
              <a:rPr lang="en-US" noProof="0" smtClean="0"/>
              <a:t>14</a:t>
            </a:fld>
            <a:endParaRPr lang="en-US" noProof="0" dirty="0"/>
          </a:p>
        </p:txBody>
      </p:sp>
      <p:pic>
        <p:nvPicPr>
          <p:cNvPr id="14" name="Grafik 1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9744" y="1432138"/>
            <a:ext cx="9889252" cy="5876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18633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sz="2800" dirty="0" err="1" smtClean="0"/>
              <a:t>Thank</a:t>
            </a:r>
            <a:r>
              <a:rPr lang="de-DE" sz="2800" dirty="0" smtClean="0"/>
              <a:t> </a:t>
            </a:r>
            <a:r>
              <a:rPr lang="de-DE" sz="2800" dirty="0" err="1" smtClean="0"/>
              <a:t>you</a:t>
            </a:r>
            <a:r>
              <a:rPr lang="de-DE" sz="2800" dirty="0" smtClean="0"/>
              <a:t> !</a:t>
            </a:r>
            <a:endParaRPr lang="de-DE" sz="2800" dirty="0"/>
          </a:p>
        </p:txBody>
      </p:sp>
      <p:pic>
        <p:nvPicPr>
          <p:cNvPr id="5" name="Bildplatzhalter 4"/>
          <p:cNvPicPr>
            <a:picLocks noGrp="1" noChangeAspect="1"/>
          </p:cNvPicPr>
          <p:nvPr>
            <p:ph type="pic"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" r="32"/>
          <a:stretch>
            <a:fillRect/>
          </a:stretch>
        </p:blipFill>
        <p:spPr/>
      </p:pic>
      <p:sp>
        <p:nvSpPr>
          <p:cNvPr id="6" name="Untertitel 2"/>
          <p:cNvSpPr txBox="1">
            <a:spLocks/>
          </p:cNvSpPr>
          <p:nvPr/>
        </p:nvSpPr>
        <p:spPr bwMode="gray">
          <a:xfrm>
            <a:off x="402737" y="6300911"/>
            <a:ext cx="2135651" cy="1080120"/>
          </a:xfrm>
          <a:prstGeom prst="rect">
            <a:avLst/>
          </a:prstGeom>
        </p:spPr>
        <p:txBody>
          <a:bodyPr vert="horz" lIns="0" tIns="28800" rIns="0" bIns="0" rtlCol="0" anchor="t" anchorCtr="0">
            <a:noAutofit/>
          </a:bodyPr>
          <a:lstStyle>
            <a:lvl1pPr marL="0" indent="0" algn="l" defTabSz="1043056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indent="0" algn="ctr" defTabSz="1043056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043056" indent="0" algn="ctr" defTabSz="1043056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564584" indent="0" algn="ctr" defTabSz="1043056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86112" indent="0" algn="ctr" defTabSz="1043056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607640" indent="0" algn="ctr" defTabSz="1043056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3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3129168" indent="0" algn="ctr" defTabSz="1043056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3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650696" indent="0" algn="ctr" defTabSz="1043056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3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4172224" indent="0" algn="ctr" defTabSz="1043056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3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2000" dirty="0" smtClean="0"/>
              <a:t>Dieter Berg</a:t>
            </a:r>
          </a:p>
          <a:p>
            <a:r>
              <a:rPr lang="de-DE" sz="2000" dirty="0" err="1" smtClean="0"/>
              <a:t>Munich</a:t>
            </a:r>
            <a:r>
              <a:rPr lang="de-DE" sz="2000" dirty="0" smtClean="0"/>
              <a:t> Re</a:t>
            </a:r>
          </a:p>
          <a:p>
            <a:r>
              <a:rPr lang="de-DE" sz="2000" dirty="0" smtClean="0"/>
              <a:t>IUMI </a:t>
            </a:r>
            <a:r>
              <a:rPr lang="de-DE" sz="2000" dirty="0" err="1" smtClean="0"/>
              <a:t>President</a:t>
            </a:r>
            <a:endParaRPr lang="de-DE" sz="2000" dirty="0" smtClean="0"/>
          </a:p>
          <a:p>
            <a:endParaRPr lang="en-US" dirty="0" smtClean="0"/>
          </a:p>
          <a:p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0022010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2171014" y="302801"/>
            <a:ext cx="8232903" cy="1260210"/>
          </a:xfrm>
        </p:spPr>
        <p:txBody>
          <a:bodyPr/>
          <a:lstStyle/>
          <a:p>
            <a:r>
              <a:rPr lang="en-US" dirty="0"/>
              <a:t>International Union of Marine Insurance</a:t>
            </a:r>
            <a:br>
              <a:rPr lang="en-US" dirty="0"/>
            </a:br>
            <a:endParaRPr lang="en-US" dirty="0"/>
          </a:p>
        </p:txBody>
      </p:sp>
      <p:sp>
        <p:nvSpPr>
          <p:cNvPr id="13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414339" y="7011465"/>
            <a:ext cx="755898" cy="216024"/>
          </a:xfrm>
        </p:spPr>
        <p:txBody>
          <a:bodyPr/>
          <a:lstStyle/>
          <a:p>
            <a:r>
              <a:rPr lang="en-US" dirty="0"/>
              <a:t>2</a:t>
            </a:r>
            <a:endParaRPr lang="en-US" noProof="0" dirty="0"/>
          </a:p>
        </p:txBody>
      </p:sp>
      <p:sp>
        <p:nvSpPr>
          <p:cNvPr id="3" name="Rechteck 2"/>
          <p:cNvSpPr/>
          <p:nvPr/>
        </p:nvSpPr>
        <p:spPr>
          <a:xfrm>
            <a:off x="1026220" y="756295"/>
            <a:ext cx="3687163" cy="56188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0" hangingPunct="0">
              <a:lnSpc>
                <a:spcPct val="120000"/>
              </a:lnSpc>
              <a:spcBef>
                <a:spcPts val="882"/>
              </a:spcBef>
            </a:pPr>
            <a:r>
              <a:rPr lang="en-US" sz="2800" dirty="0" smtClean="0">
                <a:solidFill>
                  <a:schemeClr val="accent1"/>
                </a:solidFill>
              </a:rPr>
              <a:t>PRESIDENT OF IUMI</a:t>
            </a:r>
            <a:endParaRPr lang="en-US" sz="2800" dirty="0">
              <a:solidFill>
                <a:schemeClr val="accent1"/>
              </a:solidFill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1690183" y="2268463"/>
            <a:ext cx="3615016" cy="3888432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5000"/>
              </a:lnSpc>
            </a:pPr>
            <a:r>
              <a:rPr lang="en-US" sz="2800" b="1" dirty="0" smtClean="0">
                <a:solidFill>
                  <a:schemeClr val="tx1"/>
                </a:solidFill>
              </a:rPr>
              <a:t>Dieter Berg</a:t>
            </a:r>
          </a:p>
          <a:p>
            <a:pPr>
              <a:lnSpc>
                <a:spcPct val="105000"/>
              </a:lnSpc>
            </a:pPr>
            <a:endParaRPr lang="de-DE" sz="1800" b="1" dirty="0">
              <a:solidFill>
                <a:schemeClr val="tx1"/>
              </a:solidFill>
            </a:endParaRPr>
          </a:p>
          <a:p>
            <a:pPr>
              <a:lnSpc>
                <a:spcPct val="105000"/>
              </a:lnSpc>
            </a:pPr>
            <a:r>
              <a:rPr lang="en-US" sz="2000" dirty="0" smtClean="0">
                <a:solidFill>
                  <a:schemeClr val="tx1"/>
                </a:solidFill>
              </a:rPr>
              <a:t>Senior Executive Manager</a:t>
            </a:r>
          </a:p>
          <a:p>
            <a:pPr>
              <a:lnSpc>
                <a:spcPct val="105000"/>
              </a:lnSpc>
            </a:pPr>
            <a:r>
              <a:rPr lang="en-US" sz="2000" dirty="0">
                <a:solidFill>
                  <a:schemeClr val="tx1"/>
                </a:solidFill>
              </a:rPr>
              <a:t>	</a:t>
            </a:r>
          </a:p>
          <a:p>
            <a:pPr>
              <a:lnSpc>
                <a:spcPct val="105000"/>
              </a:lnSpc>
            </a:pPr>
            <a:r>
              <a:rPr lang="en-US" sz="2000" dirty="0" smtClean="0">
                <a:solidFill>
                  <a:schemeClr val="tx1"/>
                </a:solidFill>
              </a:rPr>
              <a:t>Global Marine </a:t>
            </a:r>
            <a:r>
              <a:rPr lang="en-US" sz="2000" dirty="0">
                <a:solidFill>
                  <a:schemeClr val="tx1"/>
                </a:solidFill>
              </a:rPr>
              <a:t>Partnership             </a:t>
            </a:r>
            <a:endParaRPr lang="en-US" sz="2000" dirty="0" smtClean="0">
              <a:solidFill>
                <a:schemeClr val="tx1"/>
              </a:solidFill>
            </a:endParaRPr>
          </a:p>
          <a:p>
            <a:pPr>
              <a:lnSpc>
                <a:spcPct val="105000"/>
              </a:lnSpc>
            </a:pPr>
            <a:r>
              <a:rPr lang="en-US" sz="2000" dirty="0" smtClean="0">
                <a:solidFill>
                  <a:schemeClr val="tx1"/>
                </a:solidFill>
              </a:rPr>
              <a:t>Munich </a:t>
            </a:r>
            <a:r>
              <a:rPr lang="en-US" sz="2000" dirty="0">
                <a:solidFill>
                  <a:schemeClr val="tx1"/>
                </a:solidFill>
              </a:rPr>
              <a:t>Re, Munich</a:t>
            </a:r>
          </a:p>
          <a:p>
            <a:pPr algn="ctr">
              <a:lnSpc>
                <a:spcPct val="105000"/>
              </a:lnSpc>
            </a:pPr>
            <a:endParaRPr lang="en-US" sz="1800" dirty="0" smtClean="0">
              <a:solidFill>
                <a:schemeClr val="tx1"/>
              </a:solidFill>
            </a:endParaRPr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05203" y="2268463"/>
            <a:ext cx="4091334" cy="3888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97552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2171014" y="302801"/>
            <a:ext cx="8232903" cy="1260210"/>
          </a:xfrm>
        </p:spPr>
        <p:txBody>
          <a:bodyPr/>
          <a:lstStyle/>
          <a:p>
            <a:r>
              <a:rPr lang="en-US" dirty="0"/>
              <a:t>International Union of Marine Insurance</a:t>
            </a:r>
            <a:br>
              <a:rPr lang="en-US" dirty="0"/>
            </a:br>
            <a:endParaRPr lang="en-US" dirty="0"/>
          </a:p>
        </p:txBody>
      </p:sp>
      <p:sp>
        <p:nvSpPr>
          <p:cNvPr id="13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414339" y="7011465"/>
            <a:ext cx="755898" cy="216024"/>
          </a:xfrm>
        </p:spPr>
        <p:txBody>
          <a:bodyPr/>
          <a:lstStyle/>
          <a:p>
            <a:r>
              <a:rPr lang="en-US" dirty="0"/>
              <a:t>2</a:t>
            </a:r>
            <a:endParaRPr lang="en-US" noProof="0" dirty="0"/>
          </a:p>
        </p:txBody>
      </p:sp>
      <p:sp>
        <p:nvSpPr>
          <p:cNvPr id="3" name="Rechteck 2"/>
          <p:cNvSpPr/>
          <p:nvPr/>
        </p:nvSpPr>
        <p:spPr>
          <a:xfrm>
            <a:off x="1026220" y="756295"/>
            <a:ext cx="3687163" cy="56188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0" hangingPunct="0">
              <a:lnSpc>
                <a:spcPct val="120000"/>
              </a:lnSpc>
              <a:spcBef>
                <a:spcPts val="882"/>
              </a:spcBef>
            </a:pPr>
            <a:r>
              <a:rPr lang="en-US" sz="2800" dirty="0" smtClean="0">
                <a:solidFill>
                  <a:schemeClr val="accent1"/>
                </a:solidFill>
              </a:rPr>
              <a:t>PRESIDENT OF IUMI</a:t>
            </a:r>
            <a:endParaRPr lang="en-US" sz="2800" dirty="0">
              <a:solidFill>
                <a:schemeClr val="accent1"/>
              </a:solidFill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1690183" y="2268463"/>
            <a:ext cx="3615016" cy="3888432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5000"/>
              </a:lnSpc>
            </a:pPr>
            <a:r>
              <a:rPr lang="en-US" sz="2800" b="1" dirty="0" smtClean="0">
                <a:solidFill>
                  <a:schemeClr val="tx1"/>
                </a:solidFill>
              </a:rPr>
              <a:t>Dieter Berg</a:t>
            </a:r>
          </a:p>
          <a:p>
            <a:pPr>
              <a:lnSpc>
                <a:spcPct val="105000"/>
              </a:lnSpc>
            </a:pPr>
            <a:endParaRPr lang="de-DE" sz="1800" b="1" dirty="0">
              <a:solidFill>
                <a:schemeClr val="tx1"/>
              </a:solidFill>
            </a:endParaRPr>
          </a:p>
          <a:p>
            <a:pPr>
              <a:lnSpc>
                <a:spcPct val="105000"/>
              </a:lnSpc>
            </a:pPr>
            <a:r>
              <a:rPr lang="en-US" sz="2000" dirty="0" smtClean="0">
                <a:solidFill>
                  <a:schemeClr val="tx1"/>
                </a:solidFill>
              </a:rPr>
              <a:t>Senior Executive Manager</a:t>
            </a:r>
          </a:p>
          <a:p>
            <a:pPr>
              <a:lnSpc>
                <a:spcPct val="105000"/>
              </a:lnSpc>
            </a:pPr>
            <a:r>
              <a:rPr lang="en-US" sz="2000" dirty="0">
                <a:solidFill>
                  <a:schemeClr val="tx1"/>
                </a:solidFill>
              </a:rPr>
              <a:t>	</a:t>
            </a:r>
          </a:p>
          <a:p>
            <a:pPr>
              <a:lnSpc>
                <a:spcPct val="105000"/>
              </a:lnSpc>
            </a:pPr>
            <a:r>
              <a:rPr lang="en-US" sz="2000" dirty="0" smtClean="0">
                <a:solidFill>
                  <a:schemeClr val="tx1"/>
                </a:solidFill>
              </a:rPr>
              <a:t>Global Marine </a:t>
            </a:r>
            <a:r>
              <a:rPr lang="en-US" sz="2000" dirty="0">
                <a:solidFill>
                  <a:schemeClr val="tx1"/>
                </a:solidFill>
              </a:rPr>
              <a:t>Partnership             </a:t>
            </a:r>
            <a:endParaRPr lang="en-US" sz="2000" dirty="0" smtClean="0">
              <a:solidFill>
                <a:schemeClr val="tx1"/>
              </a:solidFill>
            </a:endParaRPr>
          </a:p>
          <a:p>
            <a:pPr>
              <a:lnSpc>
                <a:spcPct val="105000"/>
              </a:lnSpc>
            </a:pPr>
            <a:r>
              <a:rPr lang="en-US" sz="2000" dirty="0" smtClean="0">
                <a:solidFill>
                  <a:schemeClr val="tx1"/>
                </a:solidFill>
              </a:rPr>
              <a:t>Munich </a:t>
            </a:r>
            <a:r>
              <a:rPr lang="en-US" sz="2000" dirty="0">
                <a:solidFill>
                  <a:schemeClr val="tx1"/>
                </a:solidFill>
              </a:rPr>
              <a:t>Re, Munich</a:t>
            </a:r>
          </a:p>
          <a:p>
            <a:pPr algn="ctr">
              <a:lnSpc>
                <a:spcPct val="105000"/>
              </a:lnSpc>
            </a:pPr>
            <a:endParaRPr lang="en-US" sz="1800" dirty="0" smtClean="0">
              <a:solidFill>
                <a:schemeClr val="tx1"/>
              </a:solidFill>
            </a:endParaRPr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34532" y="1862171"/>
            <a:ext cx="5417989" cy="5149294"/>
          </a:xfrm>
          <a:prstGeom prst="rect">
            <a:avLst/>
          </a:prstGeom>
        </p:spPr>
      </p:pic>
      <p:sp>
        <p:nvSpPr>
          <p:cNvPr id="2" name="Ellipse 1"/>
          <p:cNvSpPr/>
          <p:nvPr/>
        </p:nvSpPr>
        <p:spPr>
          <a:xfrm>
            <a:off x="5130676" y="1412884"/>
            <a:ext cx="2057725" cy="2016224"/>
          </a:xfrm>
          <a:prstGeom prst="ellipse">
            <a:avLst/>
          </a:prstGeom>
          <a:noFill/>
          <a:ln w="76200">
            <a:solidFill>
              <a:srgbClr val="FF5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en-US" sz="1800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97987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2171014" y="302801"/>
            <a:ext cx="8232903" cy="1260210"/>
          </a:xfrm>
        </p:spPr>
        <p:txBody>
          <a:bodyPr/>
          <a:lstStyle/>
          <a:p>
            <a:r>
              <a:rPr lang="en-US" dirty="0"/>
              <a:t>International Union of Marine Insurance</a:t>
            </a:r>
            <a:br>
              <a:rPr lang="en-US" dirty="0"/>
            </a:br>
            <a:endParaRPr lang="en-US" dirty="0"/>
          </a:p>
        </p:txBody>
      </p:sp>
      <p:sp>
        <p:nvSpPr>
          <p:cNvPr id="13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414339" y="7011465"/>
            <a:ext cx="755898" cy="216024"/>
          </a:xfrm>
        </p:spPr>
        <p:txBody>
          <a:bodyPr/>
          <a:lstStyle/>
          <a:p>
            <a:r>
              <a:rPr lang="en-US" dirty="0"/>
              <a:t>2</a:t>
            </a:r>
            <a:endParaRPr lang="en-US" noProof="0" dirty="0"/>
          </a:p>
        </p:txBody>
      </p:sp>
      <p:sp>
        <p:nvSpPr>
          <p:cNvPr id="7" name="Abgerundetes Rechteck 6"/>
          <p:cNvSpPr/>
          <p:nvPr/>
        </p:nvSpPr>
        <p:spPr>
          <a:xfrm>
            <a:off x="7722964" y="2052439"/>
            <a:ext cx="720080" cy="448616"/>
          </a:xfrm>
          <a:prstGeom prst="roundRect">
            <a:avLst/>
          </a:prstGeom>
          <a:solidFill>
            <a:srgbClr val="F6F7FB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en-US" sz="1800" dirty="0" err="1" smtClean="0">
              <a:solidFill>
                <a:schemeClr val="tx1"/>
              </a:solidFill>
            </a:endParaRPr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7331" y="2079871"/>
            <a:ext cx="10377116" cy="4612052"/>
          </a:xfrm>
          <a:prstGeom prst="rect">
            <a:avLst/>
          </a:prstGeom>
          <a:solidFill>
            <a:srgbClr val="DFDEE9"/>
          </a:solidFill>
        </p:spPr>
      </p:pic>
      <p:sp>
        <p:nvSpPr>
          <p:cNvPr id="5" name="Rechteck 4"/>
          <p:cNvSpPr/>
          <p:nvPr/>
        </p:nvSpPr>
        <p:spPr>
          <a:xfrm>
            <a:off x="7074892" y="2168447"/>
            <a:ext cx="1105272" cy="360040"/>
          </a:xfrm>
          <a:prstGeom prst="rect">
            <a:avLst/>
          </a:prstGeom>
          <a:solidFill>
            <a:srgbClr val="DDDDE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5000"/>
              </a:lnSpc>
            </a:pPr>
            <a:endParaRPr lang="en-US" sz="1800" dirty="0" err="1" smtClean="0">
              <a:solidFill>
                <a:schemeClr val="tx1"/>
              </a:solidFill>
            </a:endParaRPr>
          </a:p>
        </p:txBody>
      </p:sp>
      <p:sp>
        <p:nvSpPr>
          <p:cNvPr id="11" name="Freihandform 10"/>
          <p:cNvSpPr/>
          <p:nvPr/>
        </p:nvSpPr>
        <p:spPr>
          <a:xfrm>
            <a:off x="7751135" y="2158409"/>
            <a:ext cx="467832" cy="186070"/>
          </a:xfrm>
          <a:custGeom>
            <a:avLst/>
            <a:gdLst>
              <a:gd name="connsiteX0" fmla="*/ 425302 w 467832"/>
              <a:gd name="connsiteY0" fmla="*/ 186070 h 186070"/>
              <a:gd name="connsiteX1" fmla="*/ 425302 w 467832"/>
              <a:gd name="connsiteY1" fmla="*/ 186070 h 186070"/>
              <a:gd name="connsiteX2" fmla="*/ 340242 w 467832"/>
              <a:gd name="connsiteY2" fmla="*/ 148856 h 186070"/>
              <a:gd name="connsiteX3" fmla="*/ 324293 w 467832"/>
              <a:gd name="connsiteY3" fmla="*/ 138224 h 186070"/>
              <a:gd name="connsiteX4" fmla="*/ 308344 w 467832"/>
              <a:gd name="connsiteY4" fmla="*/ 132907 h 186070"/>
              <a:gd name="connsiteX5" fmla="*/ 287079 w 467832"/>
              <a:gd name="connsiteY5" fmla="*/ 122275 h 186070"/>
              <a:gd name="connsiteX6" fmla="*/ 239232 w 467832"/>
              <a:gd name="connsiteY6" fmla="*/ 101010 h 186070"/>
              <a:gd name="connsiteX7" fmla="*/ 207335 w 467832"/>
              <a:gd name="connsiteY7" fmla="*/ 74428 h 186070"/>
              <a:gd name="connsiteX8" fmla="*/ 159488 w 467832"/>
              <a:gd name="connsiteY8" fmla="*/ 47847 h 186070"/>
              <a:gd name="connsiteX9" fmla="*/ 143539 w 467832"/>
              <a:gd name="connsiteY9" fmla="*/ 37214 h 186070"/>
              <a:gd name="connsiteX10" fmla="*/ 79744 w 467832"/>
              <a:gd name="connsiteY10" fmla="*/ 21265 h 186070"/>
              <a:gd name="connsiteX11" fmla="*/ 63795 w 467832"/>
              <a:gd name="connsiteY11" fmla="*/ 15949 h 186070"/>
              <a:gd name="connsiteX12" fmla="*/ 0 w 467832"/>
              <a:gd name="connsiteY12" fmla="*/ 10633 h 186070"/>
              <a:gd name="connsiteX13" fmla="*/ 42530 w 467832"/>
              <a:gd name="connsiteY13" fmla="*/ 21265 h 186070"/>
              <a:gd name="connsiteX14" fmla="*/ 58479 w 467832"/>
              <a:gd name="connsiteY14" fmla="*/ 31898 h 186070"/>
              <a:gd name="connsiteX15" fmla="*/ 132907 w 467832"/>
              <a:gd name="connsiteY15" fmla="*/ 58479 h 186070"/>
              <a:gd name="connsiteX16" fmla="*/ 148856 w 467832"/>
              <a:gd name="connsiteY16" fmla="*/ 74428 h 186070"/>
              <a:gd name="connsiteX17" fmla="*/ 164805 w 467832"/>
              <a:gd name="connsiteY17" fmla="*/ 79744 h 186070"/>
              <a:gd name="connsiteX18" fmla="*/ 239232 w 467832"/>
              <a:gd name="connsiteY18" fmla="*/ 101010 h 186070"/>
              <a:gd name="connsiteX19" fmla="*/ 260498 w 467832"/>
              <a:gd name="connsiteY19" fmla="*/ 116958 h 186070"/>
              <a:gd name="connsiteX20" fmla="*/ 366823 w 467832"/>
              <a:gd name="connsiteY20" fmla="*/ 132907 h 186070"/>
              <a:gd name="connsiteX21" fmla="*/ 377456 w 467832"/>
              <a:gd name="connsiteY21" fmla="*/ 148856 h 186070"/>
              <a:gd name="connsiteX22" fmla="*/ 382772 w 467832"/>
              <a:gd name="connsiteY22" fmla="*/ 164805 h 186070"/>
              <a:gd name="connsiteX23" fmla="*/ 398721 w 467832"/>
              <a:gd name="connsiteY23" fmla="*/ 170121 h 186070"/>
              <a:gd name="connsiteX24" fmla="*/ 446567 w 467832"/>
              <a:gd name="connsiteY24" fmla="*/ 180754 h 186070"/>
              <a:gd name="connsiteX25" fmla="*/ 467832 w 467832"/>
              <a:gd name="connsiteY25" fmla="*/ 186070 h 186070"/>
              <a:gd name="connsiteX26" fmla="*/ 462516 w 467832"/>
              <a:gd name="connsiteY26" fmla="*/ 148856 h 186070"/>
              <a:gd name="connsiteX27" fmla="*/ 451884 w 467832"/>
              <a:gd name="connsiteY27" fmla="*/ 90377 h 186070"/>
              <a:gd name="connsiteX28" fmla="*/ 446567 w 467832"/>
              <a:gd name="connsiteY28" fmla="*/ 42531 h 186070"/>
              <a:gd name="connsiteX29" fmla="*/ 430618 w 467832"/>
              <a:gd name="connsiteY29" fmla="*/ 5317 h 186070"/>
              <a:gd name="connsiteX30" fmla="*/ 313660 w 467832"/>
              <a:gd name="connsiteY30" fmla="*/ 0 h 186070"/>
              <a:gd name="connsiteX31" fmla="*/ 207335 w 467832"/>
              <a:gd name="connsiteY31" fmla="*/ 5317 h 186070"/>
              <a:gd name="connsiteX32" fmla="*/ 186070 w 467832"/>
              <a:gd name="connsiteY32" fmla="*/ 10633 h 186070"/>
              <a:gd name="connsiteX33" fmla="*/ 95693 w 467832"/>
              <a:gd name="connsiteY33" fmla="*/ 15949 h 186070"/>
              <a:gd name="connsiteX34" fmla="*/ 95693 w 467832"/>
              <a:gd name="connsiteY34" fmla="*/ 15949 h 1860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467832" h="186070">
                <a:moveTo>
                  <a:pt x="425302" y="186070"/>
                </a:moveTo>
                <a:lnTo>
                  <a:pt x="425302" y="186070"/>
                </a:lnTo>
                <a:cubicBezTo>
                  <a:pt x="396949" y="173665"/>
                  <a:pt x="365993" y="166022"/>
                  <a:pt x="340242" y="148856"/>
                </a:cubicBezTo>
                <a:cubicBezTo>
                  <a:pt x="334926" y="145312"/>
                  <a:pt x="330008" y="141081"/>
                  <a:pt x="324293" y="138224"/>
                </a:cubicBezTo>
                <a:cubicBezTo>
                  <a:pt x="319281" y="135718"/>
                  <a:pt x="313495" y="135115"/>
                  <a:pt x="308344" y="132907"/>
                </a:cubicBezTo>
                <a:cubicBezTo>
                  <a:pt x="301060" y="129785"/>
                  <a:pt x="294321" y="125494"/>
                  <a:pt x="287079" y="122275"/>
                </a:cubicBezTo>
                <a:cubicBezTo>
                  <a:pt x="261464" y="110891"/>
                  <a:pt x="262120" y="114089"/>
                  <a:pt x="239232" y="101010"/>
                </a:cubicBezTo>
                <a:cubicBezTo>
                  <a:pt x="208552" y="83479"/>
                  <a:pt x="237777" y="98105"/>
                  <a:pt x="207335" y="74428"/>
                </a:cubicBezTo>
                <a:cubicBezTo>
                  <a:pt x="179914" y="53101"/>
                  <a:pt x="183552" y="55868"/>
                  <a:pt x="159488" y="47847"/>
                </a:cubicBezTo>
                <a:cubicBezTo>
                  <a:pt x="154172" y="44303"/>
                  <a:pt x="149378" y="39809"/>
                  <a:pt x="143539" y="37214"/>
                </a:cubicBezTo>
                <a:cubicBezTo>
                  <a:pt x="111318" y="22894"/>
                  <a:pt x="113173" y="28694"/>
                  <a:pt x="79744" y="21265"/>
                </a:cubicBezTo>
                <a:cubicBezTo>
                  <a:pt x="74274" y="20049"/>
                  <a:pt x="69350" y="16690"/>
                  <a:pt x="63795" y="15949"/>
                </a:cubicBezTo>
                <a:cubicBezTo>
                  <a:pt x="42643" y="13129"/>
                  <a:pt x="21265" y="12405"/>
                  <a:pt x="0" y="10633"/>
                </a:cubicBezTo>
                <a:cubicBezTo>
                  <a:pt x="10108" y="12655"/>
                  <a:pt x="31633" y="15817"/>
                  <a:pt x="42530" y="21265"/>
                </a:cubicBezTo>
                <a:cubicBezTo>
                  <a:pt x="48245" y="24122"/>
                  <a:pt x="52474" y="29714"/>
                  <a:pt x="58479" y="31898"/>
                </a:cubicBezTo>
                <a:cubicBezTo>
                  <a:pt x="157611" y="67947"/>
                  <a:pt x="51275" y="17666"/>
                  <a:pt x="132907" y="58479"/>
                </a:cubicBezTo>
                <a:cubicBezTo>
                  <a:pt x="138223" y="63795"/>
                  <a:pt x="142600" y="70258"/>
                  <a:pt x="148856" y="74428"/>
                </a:cubicBezTo>
                <a:cubicBezTo>
                  <a:pt x="153519" y="77536"/>
                  <a:pt x="159539" y="77829"/>
                  <a:pt x="164805" y="79744"/>
                </a:cubicBezTo>
                <a:cubicBezTo>
                  <a:pt x="220466" y="99984"/>
                  <a:pt x="190237" y="92843"/>
                  <a:pt x="239232" y="101010"/>
                </a:cubicBezTo>
                <a:cubicBezTo>
                  <a:pt x="246321" y="106326"/>
                  <a:pt x="251828" y="115133"/>
                  <a:pt x="260498" y="116958"/>
                </a:cubicBezTo>
                <a:cubicBezTo>
                  <a:pt x="417538" y="150019"/>
                  <a:pt x="291229" y="102671"/>
                  <a:pt x="366823" y="132907"/>
                </a:cubicBezTo>
                <a:cubicBezTo>
                  <a:pt x="370367" y="138223"/>
                  <a:pt x="374599" y="143141"/>
                  <a:pt x="377456" y="148856"/>
                </a:cubicBezTo>
                <a:cubicBezTo>
                  <a:pt x="379962" y="153868"/>
                  <a:pt x="378809" y="160842"/>
                  <a:pt x="382772" y="164805"/>
                </a:cubicBezTo>
                <a:cubicBezTo>
                  <a:pt x="386735" y="168768"/>
                  <a:pt x="393333" y="168581"/>
                  <a:pt x="398721" y="170121"/>
                </a:cubicBezTo>
                <a:cubicBezTo>
                  <a:pt x="421423" y="176608"/>
                  <a:pt x="421885" y="175269"/>
                  <a:pt x="446567" y="180754"/>
                </a:cubicBezTo>
                <a:cubicBezTo>
                  <a:pt x="453699" y="182339"/>
                  <a:pt x="460744" y="184298"/>
                  <a:pt x="467832" y="186070"/>
                </a:cubicBezTo>
                <a:cubicBezTo>
                  <a:pt x="466060" y="173665"/>
                  <a:pt x="464576" y="161216"/>
                  <a:pt x="462516" y="148856"/>
                </a:cubicBezTo>
                <a:cubicBezTo>
                  <a:pt x="459259" y="129313"/>
                  <a:pt x="454823" y="109970"/>
                  <a:pt x="451884" y="90377"/>
                </a:cubicBezTo>
                <a:cubicBezTo>
                  <a:pt x="449504" y="74508"/>
                  <a:pt x="449205" y="58359"/>
                  <a:pt x="446567" y="42531"/>
                </a:cubicBezTo>
                <a:cubicBezTo>
                  <a:pt x="445670" y="37152"/>
                  <a:pt x="433963" y="6014"/>
                  <a:pt x="430618" y="5317"/>
                </a:cubicBezTo>
                <a:cubicBezTo>
                  <a:pt x="392412" y="-2643"/>
                  <a:pt x="352646" y="1772"/>
                  <a:pt x="313660" y="0"/>
                </a:cubicBezTo>
                <a:cubicBezTo>
                  <a:pt x="278218" y="1772"/>
                  <a:pt x="242698" y="2370"/>
                  <a:pt x="207335" y="5317"/>
                </a:cubicBezTo>
                <a:cubicBezTo>
                  <a:pt x="200054" y="5924"/>
                  <a:pt x="193344" y="9940"/>
                  <a:pt x="186070" y="10633"/>
                </a:cubicBezTo>
                <a:cubicBezTo>
                  <a:pt x="156028" y="13494"/>
                  <a:pt x="95693" y="15949"/>
                  <a:pt x="95693" y="15949"/>
                </a:cubicBezTo>
                <a:lnTo>
                  <a:pt x="95693" y="15949"/>
                </a:lnTo>
              </a:path>
            </a:pathLst>
          </a:custGeom>
          <a:solidFill>
            <a:srgbClr val="E3D3E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53354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23862" y="324176"/>
            <a:ext cx="7237413" cy="504127"/>
          </a:xfrm>
        </p:spPr>
        <p:txBody>
          <a:bodyPr/>
          <a:lstStyle/>
          <a:p>
            <a:r>
              <a:rPr lang="en-US" sz="2800" dirty="0" smtClean="0">
                <a:solidFill>
                  <a:srgbClr val="0000A0"/>
                </a:solidFill>
              </a:rPr>
              <a:t>AIMU AT IUMI</a:t>
            </a:r>
            <a:endParaRPr lang="de-DE" sz="280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B53FF6-FF3D-4151-807B-E12E15B22EBF}" type="slidenum">
              <a:rPr lang="en-US" noProof="0" smtClean="0"/>
              <a:t>5</a:t>
            </a:fld>
            <a:endParaRPr lang="en-US" noProof="0" dirty="0"/>
          </a:p>
        </p:txBody>
      </p:sp>
      <p:graphicFrame>
        <p:nvGraphicFramePr>
          <p:cNvPr id="5" name="Tabelle 4"/>
          <p:cNvGraphicFramePr>
            <a:graphicFrameLocks noGrp="1"/>
          </p:cNvGraphicFramePr>
          <p:nvPr>
            <p:extLst/>
          </p:nvPr>
        </p:nvGraphicFramePr>
        <p:xfrm>
          <a:off x="423862" y="1764407"/>
          <a:ext cx="10107414" cy="5060262"/>
        </p:xfrm>
        <a:graphic>
          <a:graphicData uri="http://schemas.openxmlformats.org/drawingml/2006/table">
            <a:tbl>
              <a:tblPr/>
              <a:tblGrid>
                <a:gridCol w="5053707"/>
                <a:gridCol w="5053707"/>
              </a:tblGrid>
              <a:tr h="374177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xecutive Committee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600" b="1" i="0" u="none" strike="noStrike">
                          <a:solidFill>
                            <a:srgbClr val="505050"/>
                          </a:solidFill>
                          <a:effectLst/>
                          <a:latin typeface="Arial" panose="020B0604020202020204" pitchFamily="34" charset="0"/>
                        </a:rPr>
                        <a:t>Frank Costa, Berkley Offshore, New York, NY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7F0"/>
                    </a:solidFill>
                  </a:tcPr>
                </a:tc>
              </a:tr>
              <a:tr h="404112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echnical Committees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600" b="1" i="0" u="none" strike="noStrike">
                          <a:solidFill>
                            <a:srgbClr val="50505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7F0"/>
                    </a:solidFill>
                  </a:tcPr>
                </a:tc>
              </a:tr>
              <a:tr h="344243">
                <a:tc rowSpan="2">
                  <a:txBody>
                    <a:bodyPr/>
                    <a:lstStyle/>
                    <a:p>
                      <a:pPr algn="l" rtl="0" fontAlgn="ctr"/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argo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7F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600" b="1" i="0" u="none" strike="noStrike">
                          <a:solidFill>
                            <a:srgbClr val="505050"/>
                          </a:solidFill>
                          <a:effectLst/>
                          <a:latin typeface="Arial" panose="020B0604020202020204" pitchFamily="34" charset="0"/>
                        </a:rPr>
                        <a:t>Sean M. Dalton, Munich Re America, New York, NY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7F0"/>
                    </a:solidFill>
                  </a:tcPr>
                </a:tc>
              </a:tr>
              <a:tr h="47559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600" b="1" i="0" u="none" strike="noStrike" dirty="0">
                          <a:solidFill>
                            <a:srgbClr val="505050"/>
                          </a:solidFill>
                          <a:effectLst/>
                          <a:latin typeface="Arial" panose="020B0604020202020204" pitchFamily="34" charset="0"/>
                        </a:rPr>
                        <a:t>Isabelle </a:t>
                      </a:r>
                      <a:r>
                        <a:rPr lang="en-US" sz="1600" b="1" i="0" u="none" strike="noStrike" dirty="0" err="1">
                          <a:solidFill>
                            <a:srgbClr val="505050"/>
                          </a:solidFill>
                          <a:effectLst/>
                          <a:latin typeface="Arial" panose="020B0604020202020204" pitchFamily="34" charset="0"/>
                        </a:rPr>
                        <a:t>Therrien</a:t>
                      </a:r>
                      <a:r>
                        <a:rPr lang="en-US" sz="1600" b="1" i="0" u="none" strike="noStrike" dirty="0">
                          <a:solidFill>
                            <a:srgbClr val="505050"/>
                          </a:solidFill>
                          <a:effectLst/>
                          <a:latin typeface="Arial" panose="020B0604020202020204" pitchFamily="34" charset="0"/>
                        </a:rPr>
                        <a:t>, </a:t>
                      </a:r>
                      <a:r>
                        <a:rPr lang="en-US" sz="1600" b="1" i="0" u="none" strike="noStrike" dirty="0" err="1">
                          <a:solidFill>
                            <a:srgbClr val="505050"/>
                          </a:solidFill>
                          <a:effectLst/>
                          <a:latin typeface="Arial" panose="020B0604020202020204" pitchFamily="34" charset="0"/>
                        </a:rPr>
                        <a:t>Falvey</a:t>
                      </a:r>
                      <a:r>
                        <a:rPr lang="en-US" sz="1600" b="1" i="0" u="none" strike="noStrike" dirty="0">
                          <a:solidFill>
                            <a:srgbClr val="505050"/>
                          </a:solidFill>
                          <a:effectLst/>
                          <a:latin typeface="Arial" panose="020B0604020202020204" pitchFamily="34" charset="0"/>
                        </a:rPr>
                        <a:t> Ins. Group, Oakville, Ontario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7F0"/>
                    </a:solidFill>
                  </a:tcPr>
                </a:tc>
              </a:tr>
              <a:tr h="344243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acts &amp; Figures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600" b="1" i="0" u="none" strike="noStrike">
                          <a:solidFill>
                            <a:srgbClr val="505050"/>
                          </a:solidFill>
                          <a:effectLst/>
                          <a:latin typeface="Arial" panose="020B0604020202020204" pitchFamily="34" charset="0"/>
                        </a:rPr>
                        <a:t>Erika Schoch, Swiss Re America, Armonk, NY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  <a:tr h="344243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ull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7F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600" b="1" i="0" u="none" strike="noStrike">
                          <a:solidFill>
                            <a:srgbClr val="505050"/>
                          </a:solidFill>
                          <a:effectLst/>
                          <a:latin typeface="Arial" panose="020B0604020202020204" pitchFamily="34" charset="0"/>
                        </a:rPr>
                        <a:t>Michael J. McKenna, Navigators, New York, NY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7F0"/>
                    </a:solidFill>
                  </a:tcPr>
                </a:tc>
              </a:tr>
              <a:tr h="344243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nland Hull / Fishing / Yachting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600" b="1" i="0" u="none" strike="noStrike">
                          <a:solidFill>
                            <a:srgbClr val="505050"/>
                          </a:solidFill>
                          <a:effectLst/>
                          <a:latin typeface="Arial" panose="020B0604020202020204" pitchFamily="34" charset="0"/>
                        </a:rPr>
                        <a:t>Michael Csorba, GAIG, New York, NY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  <a:tr h="344243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egal / Liability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7F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600" b="1" i="0" u="none" strike="noStrike">
                          <a:solidFill>
                            <a:srgbClr val="505050"/>
                          </a:solidFill>
                          <a:effectLst/>
                          <a:latin typeface="Arial" panose="020B0604020202020204" pitchFamily="34" charset="0"/>
                        </a:rPr>
                        <a:t>Brian Murphy, Berkley Offshore, New York, NY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7F0"/>
                    </a:solidFill>
                  </a:tcPr>
                </a:tc>
              </a:tr>
              <a:tr h="344243">
                <a:tc rowSpan="2">
                  <a:txBody>
                    <a:bodyPr/>
                    <a:lstStyle/>
                    <a:p>
                      <a:pPr algn="l" rtl="0" fontAlgn="ctr"/>
                      <a:r>
                        <a:rPr lang="en-US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oss Prevention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600" b="1" i="0" u="none" strike="noStrike">
                          <a:solidFill>
                            <a:srgbClr val="505050"/>
                          </a:solidFill>
                          <a:effectLst/>
                          <a:latin typeface="Arial" panose="020B0604020202020204" pitchFamily="34" charset="0"/>
                        </a:rPr>
                        <a:t>John Miklus, AIMU, New York, NY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  <a:tr h="344243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600" b="1" i="0" u="none" strike="noStrike">
                          <a:solidFill>
                            <a:srgbClr val="505050"/>
                          </a:solidFill>
                          <a:effectLst/>
                          <a:latin typeface="Arial" panose="020B0604020202020204" pitchFamily="34" charset="0"/>
                        </a:rPr>
                        <a:t>Barry Tarnef, Chubb, Philadelphia, PA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  <a:tr h="344243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omination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7F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600" b="1" i="0" u="none" strike="noStrike">
                          <a:solidFill>
                            <a:srgbClr val="505050"/>
                          </a:solidFill>
                          <a:effectLst/>
                          <a:latin typeface="Arial" panose="020B0604020202020204" pitchFamily="34" charset="0"/>
                        </a:rPr>
                        <a:t>Dennis Marvin, AIG, Berkeley Heights, NJ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7F0"/>
                    </a:solidFill>
                  </a:tcPr>
                </a:tc>
              </a:tr>
              <a:tr h="344243">
                <a:tc rowSpan="2">
                  <a:txBody>
                    <a:bodyPr/>
                    <a:lstStyle/>
                    <a:p>
                      <a:pPr algn="l" rtl="0" fontAlgn="ctr"/>
                      <a:r>
                        <a:rPr lang="en-US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ducation Forum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600" b="1" i="0" u="none" strike="noStrike">
                          <a:solidFill>
                            <a:srgbClr val="505050"/>
                          </a:solidFill>
                          <a:effectLst/>
                          <a:latin typeface="Arial" panose="020B0604020202020204" pitchFamily="34" charset="0"/>
                        </a:rPr>
                        <a:t>John Miklus, AIMU, New York, NY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  <a:tr h="344243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600" b="1" i="0" u="none" strike="noStrike">
                          <a:solidFill>
                            <a:srgbClr val="505050"/>
                          </a:solidFill>
                          <a:effectLst/>
                          <a:latin typeface="Arial" panose="020B0604020202020204" pitchFamily="34" charset="0"/>
                        </a:rPr>
                        <a:t>Frank Costa, Berkley Offshore, New York, NY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  <a:tr h="344243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alvage Forum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7F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600" b="1" i="0" u="none" strike="noStrike" dirty="0">
                          <a:solidFill>
                            <a:srgbClr val="505050"/>
                          </a:solidFill>
                          <a:effectLst/>
                          <a:latin typeface="Arial" panose="020B0604020202020204" pitchFamily="34" charset="0"/>
                        </a:rPr>
                        <a:t>Joseph G. Grasso, Wiggin &amp; Dana, Philadelphia, PA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7F0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081891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14336" y="324176"/>
            <a:ext cx="7237413" cy="504127"/>
          </a:xfrm>
        </p:spPr>
        <p:txBody>
          <a:bodyPr/>
          <a:lstStyle/>
          <a:p>
            <a:r>
              <a:rPr lang="de-DE" sz="2800" dirty="0" smtClean="0"/>
              <a:t>AGENDA</a:t>
            </a:r>
            <a:endParaRPr lang="en-US" sz="280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B53FF6-FF3D-4151-807B-E12E15B22EBF}" type="slidenum">
              <a:rPr lang="en-US" noProof="0" smtClean="0"/>
              <a:t>6</a:t>
            </a:fld>
            <a:endParaRPr lang="en-US" noProof="0" dirty="0"/>
          </a:p>
        </p:txBody>
      </p:sp>
      <p:sp useBgFill="1">
        <p:nvSpPr>
          <p:cNvPr id="7" name="Inhaltsplatzhalter 6"/>
          <p:cNvSpPr txBox="1">
            <a:spLocks/>
          </p:cNvSpPr>
          <p:nvPr/>
        </p:nvSpPr>
        <p:spPr>
          <a:xfrm>
            <a:off x="1242244" y="2988543"/>
            <a:ext cx="7452941" cy="3394036"/>
          </a:xfrm>
          <a:prstGeom prst="rect">
            <a:avLst/>
          </a:prstGeom>
        </p:spPr>
        <p:txBody>
          <a:bodyPr lIns="180000" tIns="144000" rIns="72000" bIns="36000"/>
          <a:lstStyle>
            <a:lvl1pPr marL="342900" indent="-342900" algn="l" rtl="0" eaLnBrk="0" fontAlgn="base" hangingPunct="0"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31825" indent="-269875" algn="l" rtl="0" eaLnBrk="0" fontAlgn="base" hangingPunct="0"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47738" indent="-315913" algn="l" rtl="0" eaLnBrk="0" fontAlgn="base" hangingPunct="0"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1800"/>
              </a:spcBef>
              <a:buClrTx/>
              <a:buNone/>
            </a:pPr>
            <a:r>
              <a:rPr lang="en-US" sz="2800" b="1" dirty="0" smtClean="0"/>
              <a:t>1.  IUMI 2018</a:t>
            </a:r>
          </a:p>
          <a:p>
            <a:pPr marL="890588" lvl="2" indent="-285750">
              <a:spcBef>
                <a:spcPts val="0"/>
              </a:spcBef>
              <a:buClrTx/>
              <a:buFont typeface="Arial" panose="020B0604020202020204" pitchFamily="34" charset="0"/>
              <a:buChar char="−"/>
            </a:pPr>
            <a:r>
              <a:rPr lang="en-US" sz="2400" dirty="0" smtClean="0"/>
              <a:t>Top priorities</a:t>
            </a:r>
          </a:p>
          <a:p>
            <a:pPr marL="890588" lvl="2" indent="-285750">
              <a:spcBef>
                <a:spcPts val="0"/>
              </a:spcBef>
              <a:buClrTx/>
              <a:buFont typeface="Arial" panose="020B0604020202020204" pitchFamily="34" charset="0"/>
              <a:buChar char="−"/>
            </a:pPr>
            <a:endParaRPr lang="en-US" sz="2400" dirty="0" smtClean="0"/>
          </a:p>
          <a:p>
            <a:pPr marL="0" indent="0">
              <a:lnSpc>
                <a:spcPct val="150000"/>
              </a:lnSpc>
              <a:spcAft>
                <a:spcPts val="0"/>
              </a:spcAft>
              <a:buClrTx/>
              <a:buNone/>
            </a:pPr>
            <a:r>
              <a:rPr lang="en-US" sz="2800" b="1" dirty="0" smtClean="0"/>
              <a:t>2. Disruptive forces in marine </a:t>
            </a:r>
            <a:r>
              <a:rPr lang="en-US" sz="2800" b="1" dirty="0"/>
              <a:t>i</a:t>
            </a:r>
            <a:r>
              <a:rPr lang="en-US" sz="2800" b="1" dirty="0" smtClean="0"/>
              <a:t>nsurance</a:t>
            </a:r>
          </a:p>
          <a:p>
            <a:pPr marL="890588" lvl="2" indent="-285750">
              <a:lnSpc>
                <a:spcPct val="150000"/>
              </a:lnSpc>
              <a:spcBef>
                <a:spcPts val="0"/>
              </a:spcBef>
              <a:buClrTx/>
              <a:buFont typeface="Arial" panose="020B0604020202020204" pitchFamily="34" charset="0"/>
              <a:buChar char="−"/>
            </a:pPr>
            <a:r>
              <a:rPr lang="en-US" sz="2400" dirty="0" smtClean="0"/>
              <a:t>President’s view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11052640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 smtClean="0">
                <a:solidFill>
                  <a:srgbClr val="0000A0"/>
                </a:solidFill>
              </a:rPr>
              <a:t>IUMI – STRATEGIC TARGETS</a:t>
            </a:r>
            <a:endParaRPr lang="de-DE" sz="280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B53FF6-FF3D-4151-807B-E12E15B22EBF}" type="slidenum">
              <a:rPr lang="en-US" noProof="0" smtClean="0"/>
              <a:t>7</a:t>
            </a:fld>
            <a:endParaRPr lang="en-US" noProof="0" dirty="0"/>
          </a:p>
        </p:txBody>
      </p:sp>
      <p:sp>
        <p:nvSpPr>
          <p:cNvPr id="10" name="Textplatzhalter 5"/>
          <p:cNvSpPr txBox="1">
            <a:spLocks noGrp="1"/>
          </p:cNvSpPr>
          <p:nvPr>
            <p:ph idx="1"/>
          </p:nvPr>
        </p:nvSpPr>
        <p:spPr>
          <a:xfrm>
            <a:off x="464956" y="1752588"/>
            <a:ext cx="6228507" cy="5040313"/>
          </a:xfrm>
          <a:prstGeom prst="rect">
            <a:avLst/>
          </a:prstGeom>
        </p:spPr>
        <p:txBody>
          <a:bodyPr/>
          <a:lstStyle>
            <a:lvl1pPr marL="133350" indent="-133350" algn="l" defTabSz="1043056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indent="-138113" algn="l" defTabSz="1043056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7988" indent="-142875" algn="l" defTabSz="1043056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39700" algn="l" defTabSz="1043056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71513" indent="-133350" algn="l" defTabSz="1043056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8404" indent="-260764" algn="l" defTabSz="104305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932" indent="-260764" algn="l" defTabSz="104305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1460" indent="-260764" algn="l" defTabSz="104305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988" indent="-260764" algn="l" defTabSz="104305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Clr>
                <a:srgbClr val="505050"/>
              </a:buClr>
              <a:buNone/>
            </a:pPr>
            <a:endParaRPr kumimoji="0" lang="en-US" sz="2400" dirty="0" smtClean="0">
              <a:solidFill>
                <a:srgbClr val="505050"/>
              </a:solidFill>
              <a:latin typeface="Arial"/>
            </a:endParaRPr>
          </a:p>
          <a:p>
            <a:pPr marL="0" indent="0">
              <a:buClr>
                <a:srgbClr val="505050"/>
              </a:buClr>
              <a:buNone/>
            </a:pPr>
            <a:endParaRPr kumimoji="0" lang="en-US" sz="2800" dirty="0" smtClean="0">
              <a:solidFill>
                <a:srgbClr val="505050"/>
              </a:solidFill>
              <a:latin typeface="Arial"/>
            </a:endParaRPr>
          </a:p>
          <a:p>
            <a:pPr>
              <a:buClr>
                <a:srgbClr val="505050"/>
              </a:buClr>
            </a:pPr>
            <a:r>
              <a:rPr kumimoji="0" lang="en-US" sz="2800" dirty="0" smtClean="0">
                <a:solidFill>
                  <a:srgbClr val="505050"/>
                </a:solidFill>
                <a:latin typeface="Arial"/>
              </a:rPr>
              <a:t>  Intensify IUMI’s presence globally</a:t>
            </a:r>
          </a:p>
          <a:p>
            <a:pPr marL="0" indent="0">
              <a:buClr>
                <a:srgbClr val="505050"/>
              </a:buClr>
              <a:buFont typeface="Arial" panose="020B0604020202020204" pitchFamily="34" charset="0"/>
              <a:buNone/>
            </a:pPr>
            <a:endParaRPr kumimoji="0" lang="en-US" sz="2800" dirty="0" smtClean="0">
              <a:solidFill>
                <a:srgbClr val="505050"/>
              </a:solidFill>
              <a:latin typeface="Arial"/>
            </a:endParaRPr>
          </a:p>
          <a:p>
            <a:pPr>
              <a:buClr>
                <a:srgbClr val="505050"/>
              </a:buClr>
            </a:pPr>
            <a:r>
              <a:rPr kumimoji="0" lang="en-US" sz="2800" dirty="0" smtClean="0">
                <a:solidFill>
                  <a:srgbClr val="505050"/>
                </a:solidFill>
                <a:latin typeface="Arial"/>
              </a:rPr>
              <a:t>  Communication strategy</a:t>
            </a:r>
          </a:p>
          <a:p>
            <a:pPr>
              <a:buClr>
                <a:srgbClr val="505050"/>
              </a:buClr>
            </a:pPr>
            <a:endParaRPr kumimoji="0" lang="de-DE" sz="2800" dirty="0" smtClean="0">
              <a:solidFill>
                <a:srgbClr val="505050"/>
              </a:solidFill>
              <a:latin typeface="Arial"/>
            </a:endParaRPr>
          </a:p>
          <a:p>
            <a:pPr>
              <a:buClr>
                <a:srgbClr val="505050"/>
              </a:buClr>
            </a:pPr>
            <a:r>
              <a:rPr kumimoji="0" lang="en-US" sz="2800" dirty="0" smtClean="0">
                <a:solidFill>
                  <a:srgbClr val="505050"/>
                </a:solidFill>
                <a:latin typeface="Arial"/>
              </a:rPr>
              <a:t>  Education program</a:t>
            </a:r>
          </a:p>
          <a:p>
            <a:pPr>
              <a:buClr>
                <a:srgbClr val="505050"/>
              </a:buClr>
            </a:pPr>
            <a:endParaRPr kumimoji="0" lang="en-US" sz="3200" dirty="0">
              <a:solidFill>
                <a:srgbClr val="505050"/>
              </a:solidFill>
              <a:latin typeface="Arial"/>
            </a:endParaRPr>
          </a:p>
        </p:txBody>
      </p:sp>
      <p:grpSp>
        <p:nvGrpSpPr>
          <p:cNvPr id="17" name="Gruppieren 16"/>
          <p:cNvGrpSpPr/>
          <p:nvPr/>
        </p:nvGrpSpPr>
        <p:grpSpPr>
          <a:xfrm>
            <a:off x="3906540" y="2277406"/>
            <a:ext cx="4452493" cy="3269677"/>
            <a:chOff x="4541576" y="2349640"/>
            <a:chExt cx="4452493" cy="3269677"/>
          </a:xfrm>
        </p:grpSpPr>
        <p:sp>
          <p:nvSpPr>
            <p:cNvPr id="11" name="Rechteck 10"/>
            <p:cNvSpPr/>
            <p:nvPr/>
          </p:nvSpPr>
          <p:spPr>
            <a:xfrm rot="20852415">
              <a:off x="6671042" y="2417546"/>
              <a:ext cx="2323027" cy="304561"/>
            </a:xfrm>
            <a:prstGeom prst="rect">
              <a:avLst/>
            </a:prstGeom>
            <a:solidFill>
              <a:srgbClr val="009999"/>
            </a:solidFill>
            <a:ln w="9525" cap="flat" cmpd="sng" algn="ctr">
              <a:solidFill>
                <a:srgbClr val="0000A0">
                  <a:shade val="95000"/>
                  <a:satMod val="105000"/>
                </a:srgbClr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rtlCol="0" anchor="ctr"/>
            <a:lstStyle/>
            <a:p>
              <a:pPr algn="ctr"/>
              <a:r>
                <a:rPr lang="en-US" sz="1800" b="1" kern="0" dirty="0">
                  <a:solidFill>
                    <a:prstClr val="white"/>
                  </a:solidFill>
                  <a:latin typeface="Arial"/>
                </a:rPr>
                <a:t>Top Priorities  </a:t>
              </a:r>
              <a:r>
                <a:rPr lang="en-US" sz="1800" b="1" kern="0" dirty="0" smtClean="0">
                  <a:solidFill>
                    <a:prstClr val="white"/>
                  </a:solidFill>
                  <a:latin typeface="Arial"/>
                </a:rPr>
                <a:t>2018</a:t>
              </a:r>
            </a:p>
          </p:txBody>
        </p:sp>
        <p:sp>
          <p:nvSpPr>
            <p:cNvPr id="12" name="Stern mit 8 Zacken 11"/>
            <p:cNvSpPr/>
            <p:nvPr/>
          </p:nvSpPr>
          <p:spPr>
            <a:xfrm rot="20689545">
              <a:off x="6566828" y="2349640"/>
              <a:ext cx="428545" cy="373184"/>
            </a:xfrm>
            <a:prstGeom prst="star8">
              <a:avLst>
                <a:gd name="adj" fmla="val 28846"/>
              </a:avLst>
            </a:prstGeom>
            <a:solidFill>
              <a:srgbClr val="00B0F0"/>
            </a:solidFill>
            <a:ln w="9525" cap="flat" cmpd="sng" algn="ctr">
              <a:noFill/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 eaLnBrk="0" hangingPunct="0">
                <a:spcBef>
                  <a:spcPts val="662"/>
                </a:spcBef>
              </a:pPr>
              <a:r>
                <a:rPr lang="en-US" b="1" kern="0" dirty="0">
                  <a:solidFill>
                    <a:prstClr val="white"/>
                  </a:solidFill>
                  <a:latin typeface="Arial"/>
                </a:rPr>
                <a:t>1</a:t>
              </a:r>
            </a:p>
          </p:txBody>
        </p:sp>
        <p:sp>
          <p:nvSpPr>
            <p:cNvPr id="13" name="Rechteck 12"/>
            <p:cNvSpPr/>
            <p:nvPr/>
          </p:nvSpPr>
          <p:spPr>
            <a:xfrm rot="20852415">
              <a:off x="5504029" y="3882434"/>
              <a:ext cx="2323027" cy="304561"/>
            </a:xfrm>
            <a:prstGeom prst="rect">
              <a:avLst/>
            </a:prstGeom>
            <a:solidFill>
              <a:srgbClr val="009999"/>
            </a:solidFill>
            <a:ln w="9525" cap="flat" cmpd="sng" algn="ctr">
              <a:solidFill>
                <a:srgbClr val="0000A0">
                  <a:shade val="95000"/>
                  <a:satMod val="105000"/>
                </a:srgbClr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rtlCol="0" anchor="ctr"/>
            <a:lstStyle/>
            <a:p>
              <a:pPr algn="ctr"/>
              <a:r>
                <a:rPr lang="en-US" sz="1800" b="1" kern="0" dirty="0">
                  <a:solidFill>
                    <a:prstClr val="white"/>
                  </a:solidFill>
                  <a:latin typeface="Arial"/>
                </a:rPr>
                <a:t>Top Priorities  </a:t>
              </a:r>
              <a:r>
                <a:rPr lang="en-US" sz="1800" b="1" kern="0" dirty="0" smtClean="0">
                  <a:solidFill>
                    <a:prstClr val="white"/>
                  </a:solidFill>
                  <a:latin typeface="Arial"/>
                </a:rPr>
                <a:t>2018</a:t>
              </a:r>
              <a:endParaRPr lang="en-US" sz="1800" b="1" kern="0" dirty="0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14" name="Stern mit 8 Zacken 13"/>
            <p:cNvSpPr/>
            <p:nvPr/>
          </p:nvSpPr>
          <p:spPr>
            <a:xfrm rot="20689545">
              <a:off x="5399815" y="3814528"/>
              <a:ext cx="428545" cy="373184"/>
            </a:xfrm>
            <a:prstGeom prst="star8">
              <a:avLst>
                <a:gd name="adj" fmla="val 28846"/>
              </a:avLst>
            </a:prstGeom>
            <a:solidFill>
              <a:srgbClr val="00B0F0"/>
            </a:solidFill>
            <a:ln w="9525" cap="flat" cmpd="sng" algn="ctr">
              <a:noFill/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 eaLnBrk="0" hangingPunct="0">
                <a:spcBef>
                  <a:spcPts val="662"/>
                </a:spcBef>
              </a:pPr>
              <a:r>
                <a:rPr lang="en-US" b="1" kern="0" dirty="0">
                  <a:solidFill>
                    <a:prstClr val="white"/>
                  </a:solidFill>
                  <a:latin typeface="Arial"/>
                </a:rPr>
                <a:t>2</a:t>
              </a:r>
            </a:p>
          </p:txBody>
        </p:sp>
        <p:sp>
          <p:nvSpPr>
            <p:cNvPr id="15" name="Rechteck 14"/>
            <p:cNvSpPr/>
            <p:nvPr/>
          </p:nvSpPr>
          <p:spPr>
            <a:xfrm rot="20852415">
              <a:off x="4645790" y="5314039"/>
              <a:ext cx="2323027" cy="304561"/>
            </a:xfrm>
            <a:prstGeom prst="rect">
              <a:avLst/>
            </a:prstGeom>
            <a:solidFill>
              <a:srgbClr val="009999"/>
            </a:solidFill>
            <a:ln w="9525" cap="flat" cmpd="sng" algn="ctr">
              <a:solidFill>
                <a:srgbClr val="0000A0">
                  <a:shade val="95000"/>
                  <a:satMod val="105000"/>
                </a:srgbClr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rtlCol="0" anchor="ctr"/>
            <a:lstStyle/>
            <a:p>
              <a:pPr algn="ctr"/>
              <a:r>
                <a:rPr lang="en-US" sz="1800" b="1" kern="0" dirty="0">
                  <a:solidFill>
                    <a:prstClr val="white"/>
                  </a:solidFill>
                  <a:latin typeface="Arial"/>
                </a:rPr>
                <a:t>Top Priorities  </a:t>
              </a:r>
              <a:r>
                <a:rPr lang="en-US" sz="1800" b="1" kern="0" dirty="0" smtClean="0">
                  <a:solidFill>
                    <a:prstClr val="white"/>
                  </a:solidFill>
                  <a:latin typeface="Arial"/>
                </a:rPr>
                <a:t>2018</a:t>
              </a:r>
              <a:endParaRPr lang="en-US" sz="1800" b="1" kern="0" dirty="0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16" name="Stern mit 8 Zacken 15"/>
            <p:cNvSpPr/>
            <p:nvPr/>
          </p:nvSpPr>
          <p:spPr>
            <a:xfrm rot="20689545">
              <a:off x="4541576" y="5246133"/>
              <a:ext cx="428545" cy="373184"/>
            </a:xfrm>
            <a:prstGeom prst="star8">
              <a:avLst>
                <a:gd name="adj" fmla="val 28846"/>
              </a:avLst>
            </a:prstGeom>
            <a:solidFill>
              <a:srgbClr val="00B0F0"/>
            </a:solidFill>
            <a:ln w="9525" cap="flat" cmpd="sng" algn="ctr">
              <a:noFill/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 eaLnBrk="0" hangingPunct="0">
                <a:spcBef>
                  <a:spcPts val="662"/>
                </a:spcBef>
              </a:pPr>
              <a:r>
                <a:rPr lang="en-US" b="1" kern="0" dirty="0">
                  <a:solidFill>
                    <a:prstClr val="white"/>
                  </a:solidFill>
                  <a:latin typeface="Arial"/>
                </a:rPr>
                <a:t>3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4655062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D04E86-B29B-FE49-97F3-F26F7B403400}" type="slidenum">
              <a:rPr lang="en-US" smtClean="0"/>
              <a:t>8</a:t>
            </a:fld>
            <a:endParaRPr lang="en-US" dirty="0"/>
          </a:p>
        </p:txBody>
      </p:sp>
      <p:sp>
        <p:nvSpPr>
          <p:cNvPr id="6" name="Rectangle 245"/>
          <p:cNvSpPr>
            <a:spLocks noChangeArrowheads="1"/>
          </p:cNvSpPr>
          <p:nvPr/>
        </p:nvSpPr>
        <p:spPr bwMode="auto">
          <a:xfrm>
            <a:off x="6610281" y="3744507"/>
            <a:ext cx="59538" cy="59538"/>
          </a:xfrm>
          <a:prstGeom prst="ellipse">
            <a:avLst/>
          </a:prstGeom>
          <a:solidFill>
            <a:schemeClr val="accent1"/>
          </a:solidFill>
          <a:ln w="6">
            <a:noFill/>
            <a:miter lim="800000"/>
            <a:headEnd/>
            <a:tailEnd/>
          </a:ln>
          <a:effectLst>
            <a:outerShdw blurRad="50800" dist="12700" dir="2700000" algn="tl" rotWithShape="0">
              <a:schemeClr val="accent1">
                <a:lumMod val="50000"/>
                <a:alpha val="22000"/>
              </a:schemeClr>
            </a:outerShdw>
          </a:effectLst>
        </p:spPr>
        <p:txBody>
          <a:bodyPr/>
          <a:lstStyle/>
          <a:p>
            <a:pPr>
              <a:defRPr/>
            </a:pPr>
            <a:endParaRPr lang="en-US" sz="2315" dirty="0">
              <a:solidFill>
                <a:prstClr val="black"/>
              </a:solidFill>
            </a:endParaRPr>
          </a:p>
        </p:txBody>
      </p:sp>
      <p:sp>
        <p:nvSpPr>
          <p:cNvPr id="8" name="Rectangle 252"/>
          <p:cNvSpPr>
            <a:spLocks noChangeArrowheads="1"/>
          </p:cNvSpPr>
          <p:nvPr/>
        </p:nvSpPr>
        <p:spPr bwMode="auto">
          <a:xfrm>
            <a:off x="5778574" y="3973382"/>
            <a:ext cx="59538" cy="59538"/>
          </a:xfrm>
          <a:prstGeom prst="ellipse">
            <a:avLst/>
          </a:prstGeom>
          <a:solidFill>
            <a:schemeClr val="accent1"/>
          </a:solidFill>
          <a:ln w="6">
            <a:noFill/>
            <a:miter lim="800000"/>
            <a:headEnd/>
            <a:tailEnd/>
          </a:ln>
          <a:effectLst>
            <a:outerShdw blurRad="50800" dist="12700" dir="2700000" algn="tl" rotWithShape="0">
              <a:schemeClr val="accent1">
                <a:lumMod val="50000"/>
                <a:alpha val="22000"/>
              </a:schemeClr>
            </a:outerShdw>
          </a:effectLst>
        </p:spPr>
        <p:txBody>
          <a:bodyPr/>
          <a:lstStyle/>
          <a:p>
            <a:pPr>
              <a:defRPr/>
            </a:pPr>
            <a:endParaRPr lang="en-US" sz="2315" dirty="0">
              <a:solidFill>
                <a:prstClr val="black"/>
              </a:solidFill>
            </a:endParaRPr>
          </a:p>
        </p:txBody>
      </p:sp>
      <p:grpSp>
        <p:nvGrpSpPr>
          <p:cNvPr id="9" name="Gruppieren 628"/>
          <p:cNvGrpSpPr/>
          <p:nvPr/>
        </p:nvGrpSpPr>
        <p:grpSpPr>
          <a:xfrm>
            <a:off x="711323" y="1323391"/>
            <a:ext cx="9781866" cy="5341369"/>
            <a:chOff x="304800" y="1115159"/>
            <a:chExt cx="8534400" cy="4194438"/>
          </a:xfrm>
        </p:grpSpPr>
        <p:sp>
          <p:nvSpPr>
            <p:cNvPr id="10" name="Freeform 24966"/>
            <p:cNvSpPr>
              <a:spLocks/>
            </p:cNvSpPr>
            <p:nvPr/>
          </p:nvSpPr>
          <p:spPr bwMode="auto">
            <a:xfrm>
              <a:off x="8237853" y="4182505"/>
              <a:ext cx="20519" cy="25411"/>
            </a:xfrm>
            <a:custGeom>
              <a:avLst/>
              <a:gdLst>
                <a:gd name="T0" fmla="*/ 51 w 55"/>
                <a:gd name="T1" fmla="*/ 42 h 68"/>
                <a:gd name="T2" fmla="*/ 44 w 55"/>
                <a:gd name="T3" fmla="*/ 30 h 68"/>
                <a:gd name="T4" fmla="*/ 35 w 55"/>
                <a:gd name="T5" fmla="*/ 19 h 68"/>
                <a:gd name="T6" fmla="*/ 21 w 55"/>
                <a:gd name="T7" fmla="*/ 11 h 68"/>
                <a:gd name="T8" fmla="*/ 9 w 55"/>
                <a:gd name="T9" fmla="*/ 0 h 68"/>
                <a:gd name="T10" fmla="*/ 6 w 55"/>
                <a:gd name="T11" fmla="*/ 21 h 68"/>
                <a:gd name="T12" fmla="*/ 10 w 55"/>
                <a:gd name="T13" fmla="*/ 38 h 68"/>
                <a:gd name="T14" fmla="*/ 16 w 55"/>
                <a:gd name="T15" fmla="*/ 56 h 68"/>
                <a:gd name="T16" fmla="*/ 28 w 55"/>
                <a:gd name="T17" fmla="*/ 65 h 68"/>
                <a:gd name="T18" fmla="*/ 48 w 55"/>
                <a:gd name="T19" fmla="*/ 62 h 68"/>
                <a:gd name="T20" fmla="*/ 51 w 55"/>
                <a:gd name="T21" fmla="*/ 42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5" h="68">
                  <a:moveTo>
                    <a:pt x="51" y="42"/>
                  </a:moveTo>
                  <a:cubicBezTo>
                    <a:pt x="51" y="42"/>
                    <a:pt x="47" y="39"/>
                    <a:pt x="44" y="30"/>
                  </a:cubicBezTo>
                  <a:cubicBezTo>
                    <a:pt x="41" y="21"/>
                    <a:pt x="43" y="21"/>
                    <a:pt x="35" y="19"/>
                  </a:cubicBezTo>
                  <a:cubicBezTo>
                    <a:pt x="27" y="17"/>
                    <a:pt x="25" y="15"/>
                    <a:pt x="21" y="11"/>
                  </a:cubicBezTo>
                  <a:cubicBezTo>
                    <a:pt x="17" y="6"/>
                    <a:pt x="13" y="0"/>
                    <a:pt x="9" y="0"/>
                  </a:cubicBezTo>
                  <a:cubicBezTo>
                    <a:pt x="5" y="0"/>
                    <a:pt x="0" y="15"/>
                    <a:pt x="6" y="21"/>
                  </a:cubicBezTo>
                  <a:cubicBezTo>
                    <a:pt x="13" y="26"/>
                    <a:pt x="10" y="31"/>
                    <a:pt x="10" y="38"/>
                  </a:cubicBezTo>
                  <a:cubicBezTo>
                    <a:pt x="10" y="45"/>
                    <a:pt x="11" y="54"/>
                    <a:pt x="16" y="56"/>
                  </a:cubicBezTo>
                  <a:cubicBezTo>
                    <a:pt x="22" y="58"/>
                    <a:pt x="21" y="65"/>
                    <a:pt x="28" y="65"/>
                  </a:cubicBezTo>
                  <a:cubicBezTo>
                    <a:pt x="34" y="66"/>
                    <a:pt x="47" y="68"/>
                    <a:pt x="48" y="62"/>
                  </a:cubicBezTo>
                  <a:cubicBezTo>
                    <a:pt x="50" y="55"/>
                    <a:pt x="55" y="48"/>
                    <a:pt x="51" y="42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11" name="Freeform 24967"/>
            <p:cNvSpPr>
              <a:spLocks/>
            </p:cNvSpPr>
            <p:nvPr/>
          </p:nvSpPr>
          <p:spPr bwMode="auto">
            <a:xfrm>
              <a:off x="8253163" y="4212335"/>
              <a:ext cx="16731" cy="17993"/>
            </a:xfrm>
            <a:custGeom>
              <a:avLst/>
              <a:gdLst>
                <a:gd name="T0" fmla="*/ 18 w 45"/>
                <a:gd name="T1" fmla="*/ 5 h 48"/>
                <a:gd name="T2" fmla="*/ 2 w 45"/>
                <a:gd name="T3" fmla="*/ 7 h 48"/>
                <a:gd name="T4" fmla="*/ 10 w 45"/>
                <a:gd name="T5" fmla="*/ 21 h 48"/>
                <a:gd name="T6" fmla="*/ 19 w 45"/>
                <a:gd name="T7" fmla="*/ 34 h 48"/>
                <a:gd name="T8" fmla="*/ 26 w 45"/>
                <a:gd name="T9" fmla="*/ 48 h 48"/>
                <a:gd name="T10" fmla="*/ 41 w 45"/>
                <a:gd name="T11" fmla="*/ 38 h 48"/>
                <a:gd name="T12" fmla="*/ 36 w 45"/>
                <a:gd name="T13" fmla="*/ 19 h 48"/>
                <a:gd name="T14" fmla="*/ 18 w 45"/>
                <a:gd name="T15" fmla="*/ 5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48">
                  <a:moveTo>
                    <a:pt x="18" y="5"/>
                  </a:moveTo>
                  <a:cubicBezTo>
                    <a:pt x="18" y="5"/>
                    <a:pt x="4" y="0"/>
                    <a:pt x="2" y="7"/>
                  </a:cubicBezTo>
                  <a:cubicBezTo>
                    <a:pt x="0" y="14"/>
                    <a:pt x="3" y="17"/>
                    <a:pt x="10" y="21"/>
                  </a:cubicBezTo>
                  <a:cubicBezTo>
                    <a:pt x="16" y="25"/>
                    <a:pt x="19" y="26"/>
                    <a:pt x="19" y="34"/>
                  </a:cubicBezTo>
                  <a:cubicBezTo>
                    <a:pt x="19" y="42"/>
                    <a:pt x="21" y="47"/>
                    <a:pt x="26" y="48"/>
                  </a:cubicBezTo>
                  <a:cubicBezTo>
                    <a:pt x="32" y="48"/>
                    <a:pt x="41" y="46"/>
                    <a:pt x="41" y="38"/>
                  </a:cubicBezTo>
                  <a:cubicBezTo>
                    <a:pt x="41" y="31"/>
                    <a:pt x="45" y="22"/>
                    <a:pt x="36" y="19"/>
                  </a:cubicBezTo>
                  <a:cubicBezTo>
                    <a:pt x="27" y="16"/>
                    <a:pt x="26" y="8"/>
                    <a:pt x="18" y="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12" name="Freeform 24968"/>
            <p:cNvSpPr>
              <a:spLocks/>
            </p:cNvSpPr>
            <p:nvPr/>
          </p:nvSpPr>
          <p:spPr bwMode="auto">
            <a:xfrm>
              <a:off x="8273996" y="4187081"/>
              <a:ext cx="8207" cy="17520"/>
            </a:xfrm>
            <a:custGeom>
              <a:avLst/>
              <a:gdLst>
                <a:gd name="T0" fmla="*/ 7 w 22"/>
                <a:gd name="T1" fmla="*/ 5 h 47"/>
                <a:gd name="T2" fmla="*/ 4 w 22"/>
                <a:gd name="T3" fmla="*/ 18 h 47"/>
                <a:gd name="T4" fmla="*/ 2 w 22"/>
                <a:gd name="T5" fmla="*/ 35 h 47"/>
                <a:gd name="T6" fmla="*/ 10 w 22"/>
                <a:gd name="T7" fmla="*/ 44 h 47"/>
                <a:gd name="T8" fmla="*/ 16 w 22"/>
                <a:gd name="T9" fmla="*/ 31 h 47"/>
                <a:gd name="T10" fmla="*/ 21 w 22"/>
                <a:gd name="T11" fmla="*/ 18 h 47"/>
                <a:gd name="T12" fmla="*/ 7 w 22"/>
                <a:gd name="T13" fmla="*/ 5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" h="47">
                  <a:moveTo>
                    <a:pt x="7" y="5"/>
                  </a:moveTo>
                  <a:cubicBezTo>
                    <a:pt x="7" y="5"/>
                    <a:pt x="2" y="11"/>
                    <a:pt x="4" y="18"/>
                  </a:cubicBezTo>
                  <a:cubicBezTo>
                    <a:pt x="6" y="25"/>
                    <a:pt x="4" y="32"/>
                    <a:pt x="2" y="35"/>
                  </a:cubicBezTo>
                  <a:cubicBezTo>
                    <a:pt x="0" y="39"/>
                    <a:pt x="5" y="47"/>
                    <a:pt x="10" y="44"/>
                  </a:cubicBezTo>
                  <a:cubicBezTo>
                    <a:pt x="15" y="42"/>
                    <a:pt x="13" y="35"/>
                    <a:pt x="16" y="31"/>
                  </a:cubicBezTo>
                  <a:cubicBezTo>
                    <a:pt x="20" y="27"/>
                    <a:pt x="22" y="24"/>
                    <a:pt x="21" y="18"/>
                  </a:cubicBezTo>
                  <a:cubicBezTo>
                    <a:pt x="19" y="11"/>
                    <a:pt x="11" y="0"/>
                    <a:pt x="7" y="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13" name="Freeform 24969"/>
            <p:cNvSpPr>
              <a:spLocks/>
            </p:cNvSpPr>
            <p:nvPr/>
          </p:nvSpPr>
          <p:spPr bwMode="auto">
            <a:xfrm>
              <a:off x="8267998" y="4195605"/>
              <a:ext cx="4419" cy="8523"/>
            </a:xfrm>
            <a:custGeom>
              <a:avLst/>
              <a:gdLst>
                <a:gd name="T0" fmla="*/ 3 w 12"/>
                <a:gd name="T1" fmla="*/ 6 h 23"/>
                <a:gd name="T2" fmla="*/ 2 w 12"/>
                <a:gd name="T3" fmla="*/ 16 h 23"/>
                <a:gd name="T4" fmla="*/ 11 w 12"/>
                <a:gd name="T5" fmla="*/ 16 h 23"/>
                <a:gd name="T6" fmla="*/ 3 w 12"/>
                <a:gd name="T7" fmla="*/ 6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23">
                  <a:moveTo>
                    <a:pt x="3" y="6"/>
                  </a:moveTo>
                  <a:cubicBezTo>
                    <a:pt x="3" y="6"/>
                    <a:pt x="0" y="8"/>
                    <a:pt x="2" y="16"/>
                  </a:cubicBezTo>
                  <a:cubicBezTo>
                    <a:pt x="4" y="23"/>
                    <a:pt x="10" y="21"/>
                    <a:pt x="11" y="16"/>
                  </a:cubicBezTo>
                  <a:cubicBezTo>
                    <a:pt x="12" y="11"/>
                    <a:pt x="5" y="0"/>
                    <a:pt x="3" y="6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14" name="Freeform 24970"/>
            <p:cNvSpPr>
              <a:spLocks/>
            </p:cNvSpPr>
            <p:nvPr/>
          </p:nvSpPr>
          <p:spPr bwMode="auto">
            <a:xfrm>
              <a:off x="8278100" y="4204128"/>
              <a:ext cx="3630" cy="11996"/>
            </a:xfrm>
            <a:custGeom>
              <a:avLst/>
              <a:gdLst>
                <a:gd name="T0" fmla="*/ 1 w 10"/>
                <a:gd name="T1" fmla="*/ 8 h 32"/>
                <a:gd name="T2" fmla="*/ 0 w 10"/>
                <a:gd name="T3" fmla="*/ 21 h 32"/>
                <a:gd name="T4" fmla="*/ 9 w 10"/>
                <a:gd name="T5" fmla="*/ 25 h 32"/>
                <a:gd name="T6" fmla="*/ 1 w 10"/>
                <a:gd name="T7" fmla="*/ 8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32">
                  <a:moveTo>
                    <a:pt x="1" y="8"/>
                  </a:moveTo>
                  <a:cubicBezTo>
                    <a:pt x="1" y="8"/>
                    <a:pt x="0" y="16"/>
                    <a:pt x="0" y="21"/>
                  </a:cubicBezTo>
                  <a:cubicBezTo>
                    <a:pt x="1" y="26"/>
                    <a:pt x="9" y="32"/>
                    <a:pt x="9" y="25"/>
                  </a:cubicBezTo>
                  <a:cubicBezTo>
                    <a:pt x="10" y="19"/>
                    <a:pt x="8" y="0"/>
                    <a:pt x="1" y="8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15" name="Freeform 24971"/>
            <p:cNvSpPr>
              <a:spLocks/>
            </p:cNvSpPr>
            <p:nvPr/>
          </p:nvSpPr>
          <p:spPr bwMode="auto">
            <a:xfrm>
              <a:off x="8274786" y="4219122"/>
              <a:ext cx="7418" cy="3630"/>
            </a:xfrm>
            <a:custGeom>
              <a:avLst/>
              <a:gdLst>
                <a:gd name="T0" fmla="*/ 8 w 20"/>
                <a:gd name="T1" fmla="*/ 1 h 10"/>
                <a:gd name="T2" fmla="*/ 1 w 20"/>
                <a:gd name="T3" fmla="*/ 5 h 10"/>
                <a:gd name="T4" fmla="*/ 12 w 20"/>
                <a:gd name="T5" fmla="*/ 9 h 10"/>
                <a:gd name="T6" fmla="*/ 19 w 20"/>
                <a:gd name="T7" fmla="*/ 6 h 10"/>
                <a:gd name="T8" fmla="*/ 8 w 20"/>
                <a:gd name="T9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10">
                  <a:moveTo>
                    <a:pt x="8" y="1"/>
                  </a:moveTo>
                  <a:cubicBezTo>
                    <a:pt x="8" y="1"/>
                    <a:pt x="1" y="0"/>
                    <a:pt x="1" y="5"/>
                  </a:cubicBezTo>
                  <a:cubicBezTo>
                    <a:pt x="0" y="9"/>
                    <a:pt x="8" y="9"/>
                    <a:pt x="12" y="9"/>
                  </a:cubicBezTo>
                  <a:cubicBezTo>
                    <a:pt x="16" y="9"/>
                    <a:pt x="20" y="10"/>
                    <a:pt x="19" y="6"/>
                  </a:cubicBezTo>
                  <a:cubicBezTo>
                    <a:pt x="17" y="2"/>
                    <a:pt x="16" y="1"/>
                    <a:pt x="8" y="1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16" name="Freeform 24972"/>
            <p:cNvSpPr>
              <a:spLocks/>
            </p:cNvSpPr>
            <p:nvPr/>
          </p:nvSpPr>
          <p:spPr bwMode="auto">
            <a:xfrm>
              <a:off x="8276995" y="4228750"/>
              <a:ext cx="10102" cy="8207"/>
            </a:xfrm>
            <a:custGeom>
              <a:avLst/>
              <a:gdLst>
                <a:gd name="T0" fmla="*/ 12 w 27"/>
                <a:gd name="T1" fmla="*/ 6 h 22"/>
                <a:gd name="T2" fmla="*/ 12 w 27"/>
                <a:gd name="T3" fmla="*/ 5 h 22"/>
                <a:gd name="T4" fmla="*/ 5 w 27"/>
                <a:gd name="T5" fmla="*/ 0 h 22"/>
                <a:gd name="T6" fmla="*/ 7 w 27"/>
                <a:gd name="T7" fmla="*/ 11 h 22"/>
                <a:gd name="T8" fmla="*/ 16 w 27"/>
                <a:gd name="T9" fmla="*/ 20 h 22"/>
                <a:gd name="T10" fmla="*/ 25 w 27"/>
                <a:gd name="T11" fmla="*/ 17 h 22"/>
                <a:gd name="T12" fmla="*/ 20 w 27"/>
                <a:gd name="T13" fmla="*/ 11 h 22"/>
                <a:gd name="T14" fmla="*/ 12 w 27"/>
                <a:gd name="T15" fmla="*/ 6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" h="22">
                  <a:moveTo>
                    <a:pt x="12" y="6"/>
                  </a:moveTo>
                  <a:cubicBezTo>
                    <a:pt x="12" y="6"/>
                    <a:pt x="12" y="5"/>
                    <a:pt x="12" y="5"/>
                  </a:cubicBezTo>
                  <a:cubicBezTo>
                    <a:pt x="10" y="3"/>
                    <a:pt x="8" y="0"/>
                    <a:pt x="5" y="0"/>
                  </a:cubicBezTo>
                  <a:cubicBezTo>
                    <a:pt x="0" y="0"/>
                    <a:pt x="3" y="5"/>
                    <a:pt x="7" y="11"/>
                  </a:cubicBezTo>
                  <a:cubicBezTo>
                    <a:pt x="11" y="17"/>
                    <a:pt x="11" y="18"/>
                    <a:pt x="16" y="20"/>
                  </a:cubicBezTo>
                  <a:cubicBezTo>
                    <a:pt x="21" y="22"/>
                    <a:pt x="27" y="21"/>
                    <a:pt x="25" y="17"/>
                  </a:cubicBezTo>
                  <a:cubicBezTo>
                    <a:pt x="24" y="15"/>
                    <a:pt x="22" y="12"/>
                    <a:pt x="20" y="11"/>
                  </a:cubicBezTo>
                  <a:cubicBezTo>
                    <a:pt x="18" y="9"/>
                    <a:pt x="15" y="8"/>
                    <a:pt x="12" y="6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17" name="Freeform 24973"/>
            <p:cNvSpPr>
              <a:spLocks/>
            </p:cNvSpPr>
            <p:nvPr/>
          </p:nvSpPr>
          <p:spPr bwMode="auto">
            <a:xfrm>
              <a:off x="8279994" y="4252582"/>
              <a:ext cx="9312" cy="7103"/>
            </a:xfrm>
            <a:custGeom>
              <a:avLst/>
              <a:gdLst>
                <a:gd name="T0" fmla="*/ 10 w 25"/>
                <a:gd name="T1" fmla="*/ 2 h 19"/>
                <a:gd name="T2" fmla="*/ 0 w 25"/>
                <a:gd name="T3" fmla="*/ 7 h 19"/>
                <a:gd name="T4" fmla="*/ 7 w 25"/>
                <a:gd name="T5" fmla="*/ 19 h 19"/>
                <a:gd name="T6" fmla="*/ 24 w 25"/>
                <a:gd name="T7" fmla="*/ 11 h 19"/>
                <a:gd name="T8" fmla="*/ 10 w 25"/>
                <a:gd name="T9" fmla="*/ 2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19">
                  <a:moveTo>
                    <a:pt x="10" y="2"/>
                  </a:moveTo>
                  <a:cubicBezTo>
                    <a:pt x="10" y="2"/>
                    <a:pt x="0" y="2"/>
                    <a:pt x="0" y="7"/>
                  </a:cubicBezTo>
                  <a:cubicBezTo>
                    <a:pt x="0" y="12"/>
                    <a:pt x="0" y="19"/>
                    <a:pt x="7" y="19"/>
                  </a:cubicBezTo>
                  <a:cubicBezTo>
                    <a:pt x="14" y="19"/>
                    <a:pt x="25" y="18"/>
                    <a:pt x="24" y="11"/>
                  </a:cubicBezTo>
                  <a:cubicBezTo>
                    <a:pt x="24" y="3"/>
                    <a:pt x="14" y="0"/>
                    <a:pt x="10" y="2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18" name="Freeform 24974"/>
            <p:cNvSpPr>
              <a:spLocks/>
            </p:cNvSpPr>
            <p:nvPr/>
          </p:nvSpPr>
          <p:spPr bwMode="auto">
            <a:xfrm>
              <a:off x="8296409" y="4279099"/>
              <a:ext cx="11522" cy="8207"/>
            </a:xfrm>
            <a:custGeom>
              <a:avLst/>
              <a:gdLst>
                <a:gd name="T0" fmla="*/ 11 w 31"/>
                <a:gd name="T1" fmla="*/ 1 h 22"/>
                <a:gd name="T2" fmla="*/ 4 w 31"/>
                <a:gd name="T3" fmla="*/ 6 h 22"/>
                <a:gd name="T4" fmla="*/ 5 w 31"/>
                <a:gd name="T5" fmla="*/ 19 h 22"/>
                <a:gd name="T6" fmla="*/ 19 w 31"/>
                <a:gd name="T7" fmla="*/ 22 h 22"/>
                <a:gd name="T8" fmla="*/ 28 w 31"/>
                <a:gd name="T9" fmla="*/ 12 h 22"/>
                <a:gd name="T10" fmla="*/ 11 w 31"/>
                <a:gd name="T11" fmla="*/ 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1" h="22">
                  <a:moveTo>
                    <a:pt x="11" y="1"/>
                  </a:moveTo>
                  <a:cubicBezTo>
                    <a:pt x="11" y="1"/>
                    <a:pt x="5" y="0"/>
                    <a:pt x="4" y="6"/>
                  </a:cubicBezTo>
                  <a:cubicBezTo>
                    <a:pt x="3" y="11"/>
                    <a:pt x="0" y="18"/>
                    <a:pt x="5" y="19"/>
                  </a:cubicBezTo>
                  <a:cubicBezTo>
                    <a:pt x="11" y="21"/>
                    <a:pt x="14" y="22"/>
                    <a:pt x="19" y="22"/>
                  </a:cubicBezTo>
                  <a:cubicBezTo>
                    <a:pt x="25" y="21"/>
                    <a:pt x="31" y="17"/>
                    <a:pt x="28" y="12"/>
                  </a:cubicBezTo>
                  <a:cubicBezTo>
                    <a:pt x="25" y="6"/>
                    <a:pt x="22" y="0"/>
                    <a:pt x="11" y="1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19" name="Freeform 24975"/>
            <p:cNvSpPr>
              <a:spLocks/>
            </p:cNvSpPr>
            <p:nvPr/>
          </p:nvSpPr>
          <p:spPr bwMode="auto">
            <a:xfrm>
              <a:off x="8306037" y="4300091"/>
              <a:ext cx="6313" cy="6629"/>
            </a:xfrm>
            <a:custGeom>
              <a:avLst/>
              <a:gdLst>
                <a:gd name="T0" fmla="*/ 7 w 17"/>
                <a:gd name="T1" fmla="*/ 0 h 18"/>
                <a:gd name="T2" fmla="*/ 2 w 17"/>
                <a:gd name="T3" fmla="*/ 11 h 18"/>
                <a:gd name="T4" fmla="*/ 7 w 17"/>
                <a:gd name="T5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7" h="18">
                  <a:moveTo>
                    <a:pt x="7" y="0"/>
                  </a:moveTo>
                  <a:cubicBezTo>
                    <a:pt x="7" y="0"/>
                    <a:pt x="0" y="5"/>
                    <a:pt x="2" y="11"/>
                  </a:cubicBezTo>
                  <a:cubicBezTo>
                    <a:pt x="4" y="18"/>
                    <a:pt x="17" y="15"/>
                    <a:pt x="7" y="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20" name="Freeform 24976"/>
            <p:cNvSpPr>
              <a:spLocks/>
            </p:cNvSpPr>
            <p:nvPr/>
          </p:nvSpPr>
          <p:spPr bwMode="auto">
            <a:xfrm>
              <a:off x="8258687" y="4159776"/>
              <a:ext cx="5209" cy="7418"/>
            </a:xfrm>
            <a:custGeom>
              <a:avLst/>
              <a:gdLst>
                <a:gd name="T0" fmla="*/ 6 w 14"/>
                <a:gd name="T1" fmla="*/ 1 h 20"/>
                <a:gd name="T2" fmla="*/ 2 w 14"/>
                <a:gd name="T3" fmla="*/ 10 h 20"/>
                <a:gd name="T4" fmla="*/ 8 w 14"/>
                <a:gd name="T5" fmla="*/ 18 h 20"/>
                <a:gd name="T6" fmla="*/ 13 w 14"/>
                <a:gd name="T7" fmla="*/ 8 h 20"/>
                <a:gd name="T8" fmla="*/ 6 w 14"/>
                <a:gd name="T9" fmla="*/ 1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20">
                  <a:moveTo>
                    <a:pt x="6" y="1"/>
                  </a:moveTo>
                  <a:cubicBezTo>
                    <a:pt x="6" y="1"/>
                    <a:pt x="0" y="5"/>
                    <a:pt x="2" y="10"/>
                  </a:cubicBezTo>
                  <a:cubicBezTo>
                    <a:pt x="5" y="15"/>
                    <a:pt x="4" y="20"/>
                    <a:pt x="8" y="18"/>
                  </a:cubicBezTo>
                  <a:cubicBezTo>
                    <a:pt x="13" y="17"/>
                    <a:pt x="14" y="11"/>
                    <a:pt x="13" y="8"/>
                  </a:cubicBezTo>
                  <a:cubicBezTo>
                    <a:pt x="12" y="4"/>
                    <a:pt x="11" y="0"/>
                    <a:pt x="6" y="1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21" name="Freeform 24977"/>
            <p:cNvSpPr>
              <a:spLocks/>
            </p:cNvSpPr>
            <p:nvPr/>
          </p:nvSpPr>
          <p:spPr bwMode="auto">
            <a:xfrm>
              <a:off x="8221753" y="4082595"/>
              <a:ext cx="8207" cy="10102"/>
            </a:xfrm>
            <a:custGeom>
              <a:avLst/>
              <a:gdLst>
                <a:gd name="T0" fmla="*/ 13 w 22"/>
                <a:gd name="T1" fmla="*/ 3 h 27"/>
                <a:gd name="T2" fmla="*/ 4 w 22"/>
                <a:gd name="T3" fmla="*/ 11 h 27"/>
                <a:gd name="T4" fmla="*/ 4 w 22"/>
                <a:gd name="T5" fmla="*/ 26 h 27"/>
                <a:gd name="T6" fmla="*/ 11 w 22"/>
                <a:gd name="T7" fmla="*/ 22 h 27"/>
                <a:gd name="T8" fmla="*/ 20 w 22"/>
                <a:gd name="T9" fmla="*/ 12 h 27"/>
                <a:gd name="T10" fmla="*/ 13 w 22"/>
                <a:gd name="T11" fmla="*/ 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27">
                  <a:moveTo>
                    <a:pt x="13" y="3"/>
                  </a:moveTo>
                  <a:cubicBezTo>
                    <a:pt x="13" y="3"/>
                    <a:pt x="4" y="0"/>
                    <a:pt x="4" y="11"/>
                  </a:cubicBezTo>
                  <a:cubicBezTo>
                    <a:pt x="3" y="23"/>
                    <a:pt x="0" y="25"/>
                    <a:pt x="4" y="26"/>
                  </a:cubicBezTo>
                  <a:cubicBezTo>
                    <a:pt x="9" y="27"/>
                    <a:pt x="9" y="27"/>
                    <a:pt x="11" y="22"/>
                  </a:cubicBezTo>
                  <a:cubicBezTo>
                    <a:pt x="12" y="17"/>
                    <a:pt x="18" y="15"/>
                    <a:pt x="20" y="12"/>
                  </a:cubicBezTo>
                  <a:cubicBezTo>
                    <a:pt x="22" y="9"/>
                    <a:pt x="20" y="3"/>
                    <a:pt x="13" y="3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22" name="Freeform 24978"/>
            <p:cNvSpPr>
              <a:spLocks/>
            </p:cNvSpPr>
            <p:nvPr/>
          </p:nvSpPr>
          <p:spPr bwMode="auto">
            <a:xfrm>
              <a:off x="6963343" y="4083385"/>
              <a:ext cx="972100" cy="734244"/>
            </a:xfrm>
            <a:custGeom>
              <a:avLst/>
              <a:gdLst>
                <a:gd name="T0" fmla="*/ 275 w 2607"/>
                <a:gd name="T1" fmla="*/ 669 h 1969"/>
                <a:gd name="T2" fmla="*/ 83 w 2607"/>
                <a:gd name="T3" fmla="*/ 735 h 1969"/>
                <a:gd name="T4" fmla="*/ 34 w 2607"/>
                <a:gd name="T5" fmla="*/ 907 h 1969"/>
                <a:gd name="T6" fmla="*/ 69 w 2607"/>
                <a:gd name="T7" fmla="*/ 1023 h 1969"/>
                <a:gd name="T8" fmla="*/ 11 w 2607"/>
                <a:gd name="T9" fmla="*/ 995 h 1969"/>
                <a:gd name="T10" fmla="*/ 100 w 2607"/>
                <a:gd name="T11" fmla="*/ 1188 h 1969"/>
                <a:gd name="T12" fmla="*/ 185 w 2607"/>
                <a:gd name="T13" fmla="*/ 1436 h 1969"/>
                <a:gd name="T14" fmla="*/ 147 w 2607"/>
                <a:gd name="T15" fmla="*/ 1558 h 1969"/>
                <a:gd name="T16" fmla="*/ 293 w 2607"/>
                <a:gd name="T17" fmla="*/ 1661 h 1969"/>
                <a:gd name="T18" fmla="*/ 526 w 2607"/>
                <a:gd name="T19" fmla="*/ 1575 h 1969"/>
                <a:gd name="T20" fmla="*/ 633 w 2607"/>
                <a:gd name="T21" fmla="*/ 1576 h 1969"/>
                <a:gd name="T22" fmla="*/ 746 w 2607"/>
                <a:gd name="T23" fmla="*/ 1508 h 1969"/>
                <a:gd name="T24" fmla="*/ 1069 w 2607"/>
                <a:gd name="T25" fmla="*/ 1421 h 1969"/>
                <a:gd name="T26" fmla="*/ 1275 w 2607"/>
                <a:gd name="T27" fmla="*/ 1441 h 1969"/>
                <a:gd name="T28" fmla="*/ 1368 w 2607"/>
                <a:gd name="T29" fmla="*/ 1522 h 1969"/>
                <a:gd name="T30" fmla="*/ 1482 w 2607"/>
                <a:gd name="T31" fmla="*/ 1652 h 1969"/>
                <a:gd name="T32" fmla="*/ 1595 w 2607"/>
                <a:gd name="T33" fmla="*/ 1527 h 1969"/>
                <a:gd name="T34" fmla="*/ 1537 w 2607"/>
                <a:gd name="T35" fmla="*/ 1653 h 1969"/>
                <a:gd name="T36" fmla="*/ 1603 w 2607"/>
                <a:gd name="T37" fmla="*/ 1642 h 1969"/>
                <a:gd name="T38" fmla="*/ 1621 w 2607"/>
                <a:gd name="T39" fmla="*/ 1694 h 1969"/>
                <a:gd name="T40" fmla="*/ 1723 w 2607"/>
                <a:gd name="T41" fmla="*/ 1775 h 1969"/>
                <a:gd name="T42" fmla="*/ 1824 w 2607"/>
                <a:gd name="T43" fmla="*/ 1899 h 1969"/>
                <a:gd name="T44" fmla="*/ 1975 w 2607"/>
                <a:gd name="T45" fmla="*/ 1933 h 1969"/>
                <a:gd name="T46" fmla="*/ 2046 w 2607"/>
                <a:gd name="T47" fmla="*/ 1903 h 1969"/>
                <a:gd name="T48" fmla="*/ 2118 w 2607"/>
                <a:gd name="T49" fmla="*/ 1938 h 1969"/>
                <a:gd name="T50" fmla="*/ 2220 w 2607"/>
                <a:gd name="T51" fmla="*/ 1881 h 1969"/>
                <a:gd name="T52" fmla="*/ 2391 w 2607"/>
                <a:gd name="T53" fmla="*/ 1727 h 1969"/>
                <a:gd name="T54" fmla="*/ 2498 w 2607"/>
                <a:gd name="T55" fmla="*/ 1494 h 1969"/>
                <a:gd name="T56" fmla="*/ 2573 w 2607"/>
                <a:gd name="T57" fmla="*/ 1315 h 1969"/>
                <a:gd name="T58" fmla="*/ 2583 w 2607"/>
                <a:gd name="T59" fmla="*/ 1127 h 1969"/>
                <a:gd name="T60" fmla="*/ 2589 w 2607"/>
                <a:gd name="T61" fmla="*/ 950 h 1969"/>
                <a:gd name="T62" fmla="*/ 2504 w 2607"/>
                <a:gd name="T63" fmla="*/ 912 h 1969"/>
                <a:gd name="T64" fmla="*/ 2429 w 2607"/>
                <a:gd name="T65" fmla="*/ 793 h 1969"/>
                <a:gd name="T66" fmla="*/ 2338 w 2607"/>
                <a:gd name="T67" fmla="*/ 734 h 1969"/>
                <a:gd name="T68" fmla="*/ 2271 w 2607"/>
                <a:gd name="T69" fmla="*/ 625 h 1969"/>
                <a:gd name="T70" fmla="*/ 2132 w 2607"/>
                <a:gd name="T71" fmla="*/ 505 h 1969"/>
                <a:gd name="T72" fmla="*/ 2080 w 2607"/>
                <a:gd name="T73" fmla="*/ 374 h 1969"/>
                <a:gd name="T74" fmla="*/ 1994 w 2607"/>
                <a:gd name="T75" fmla="*/ 248 h 1969"/>
                <a:gd name="T76" fmla="*/ 1934 w 2607"/>
                <a:gd name="T77" fmla="*/ 106 h 1969"/>
                <a:gd name="T78" fmla="*/ 1868 w 2607"/>
                <a:gd name="T79" fmla="*/ 37 h 1969"/>
                <a:gd name="T80" fmla="*/ 1842 w 2607"/>
                <a:gd name="T81" fmla="*/ 152 h 1969"/>
                <a:gd name="T82" fmla="*/ 1830 w 2607"/>
                <a:gd name="T83" fmla="*/ 273 h 1969"/>
                <a:gd name="T84" fmla="*/ 1792 w 2607"/>
                <a:gd name="T85" fmla="*/ 420 h 1969"/>
                <a:gd name="T86" fmla="*/ 1609 w 2607"/>
                <a:gd name="T87" fmla="*/ 384 h 1969"/>
                <a:gd name="T88" fmla="*/ 1483 w 2607"/>
                <a:gd name="T89" fmla="*/ 300 h 1969"/>
                <a:gd name="T90" fmla="*/ 1475 w 2607"/>
                <a:gd name="T91" fmla="*/ 190 h 1969"/>
                <a:gd name="T92" fmla="*/ 1536 w 2607"/>
                <a:gd name="T93" fmla="*/ 105 h 1969"/>
                <a:gd name="T94" fmla="*/ 1472 w 2607"/>
                <a:gd name="T95" fmla="*/ 102 h 1969"/>
                <a:gd name="T96" fmla="*/ 1340 w 2607"/>
                <a:gd name="T97" fmla="*/ 74 h 1969"/>
                <a:gd name="T98" fmla="*/ 1194 w 2607"/>
                <a:gd name="T99" fmla="*/ 106 h 1969"/>
                <a:gd name="T100" fmla="*/ 1097 w 2607"/>
                <a:gd name="T101" fmla="*/ 190 h 1969"/>
                <a:gd name="T102" fmla="*/ 1057 w 2607"/>
                <a:gd name="T103" fmla="*/ 288 h 1969"/>
                <a:gd name="T104" fmla="*/ 977 w 2607"/>
                <a:gd name="T105" fmla="*/ 260 h 1969"/>
                <a:gd name="T106" fmla="*/ 882 w 2607"/>
                <a:gd name="T107" fmla="*/ 227 h 1969"/>
                <a:gd name="T108" fmla="*/ 817 w 2607"/>
                <a:gd name="T109" fmla="*/ 249 h 1969"/>
                <a:gd name="T110" fmla="*/ 764 w 2607"/>
                <a:gd name="T111" fmla="*/ 300 h 1969"/>
                <a:gd name="T112" fmla="*/ 736 w 2607"/>
                <a:gd name="T113" fmla="*/ 374 h 1969"/>
                <a:gd name="T114" fmla="*/ 688 w 2607"/>
                <a:gd name="T115" fmla="*/ 383 h 1969"/>
                <a:gd name="T116" fmla="*/ 663 w 2607"/>
                <a:gd name="T117" fmla="*/ 414 h 1969"/>
                <a:gd name="T118" fmla="*/ 607 w 2607"/>
                <a:gd name="T119" fmla="*/ 422 h 1969"/>
                <a:gd name="T120" fmla="*/ 554 w 2607"/>
                <a:gd name="T121" fmla="*/ 548 h 19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607" h="1969">
                  <a:moveTo>
                    <a:pt x="463" y="615"/>
                  </a:moveTo>
                  <a:cubicBezTo>
                    <a:pt x="463" y="615"/>
                    <a:pt x="439" y="621"/>
                    <a:pt x="415" y="621"/>
                  </a:cubicBezTo>
                  <a:cubicBezTo>
                    <a:pt x="391" y="621"/>
                    <a:pt x="385" y="625"/>
                    <a:pt x="369" y="635"/>
                  </a:cubicBezTo>
                  <a:cubicBezTo>
                    <a:pt x="353" y="645"/>
                    <a:pt x="333" y="633"/>
                    <a:pt x="323" y="649"/>
                  </a:cubicBezTo>
                  <a:cubicBezTo>
                    <a:pt x="313" y="665"/>
                    <a:pt x="301" y="673"/>
                    <a:pt x="275" y="669"/>
                  </a:cubicBezTo>
                  <a:cubicBezTo>
                    <a:pt x="249" y="665"/>
                    <a:pt x="221" y="667"/>
                    <a:pt x="209" y="681"/>
                  </a:cubicBezTo>
                  <a:cubicBezTo>
                    <a:pt x="197" y="695"/>
                    <a:pt x="193" y="699"/>
                    <a:pt x="169" y="713"/>
                  </a:cubicBezTo>
                  <a:cubicBezTo>
                    <a:pt x="145" y="727"/>
                    <a:pt x="117" y="743"/>
                    <a:pt x="109" y="761"/>
                  </a:cubicBezTo>
                  <a:cubicBezTo>
                    <a:pt x="101" y="779"/>
                    <a:pt x="87" y="787"/>
                    <a:pt x="85" y="773"/>
                  </a:cubicBezTo>
                  <a:cubicBezTo>
                    <a:pt x="83" y="759"/>
                    <a:pt x="99" y="731"/>
                    <a:pt x="83" y="735"/>
                  </a:cubicBezTo>
                  <a:cubicBezTo>
                    <a:pt x="67" y="739"/>
                    <a:pt x="63" y="743"/>
                    <a:pt x="63" y="763"/>
                  </a:cubicBezTo>
                  <a:cubicBezTo>
                    <a:pt x="63" y="783"/>
                    <a:pt x="41" y="783"/>
                    <a:pt x="51" y="801"/>
                  </a:cubicBezTo>
                  <a:cubicBezTo>
                    <a:pt x="61" y="819"/>
                    <a:pt x="59" y="798"/>
                    <a:pt x="61" y="819"/>
                  </a:cubicBezTo>
                  <a:cubicBezTo>
                    <a:pt x="63" y="840"/>
                    <a:pt x="54" y="857"/>
                    <a:pt x="46" y="870"/>
                  </a:cubicBezTo>
                  <a:cubicBezTo>
                    <a:pt x="38" y="883"/>
                    <a:pt x="34" y="894"/>
                    <a:pt x="34" y="907"/>
                  </a:cubicBezTo>
                  <a:cubicBezTo>
                    <a:pt x="34" y="920"/>
                    <a:pt x="49" y="934"/>
                    <a:pt x="54" y="950"/>
                  </a:cubicBezTo>
                  <a:cubicBezTo>
                    <a:pt x="59" y="966"/>
                    <a:pt x="70" y="980"/>
                    <a:pt x="73" y="989"/>
                  </a:cubicBezTo>
                  <a:cubicBezTo>
                    <a:pt x="76" y="998"/>
                    <a:pt x="86" y="994"/>
                    <a:pt x="87" y="1015"/>
                  </a:cubicBezTo>
                  <a:cubicBezTo>
                    <a:pt x="88" y="1036"/>
                    <a:pt x="88" y="1055"/>
                    <a:pt x="79" y="1049"/>
                  </a:cubicBezTo>
                  <a:cubicBezTo>
                    <a:pt x="70" y="1043"/>
                    <a:pt x="77" y="1034"/>
                    <a:pt x="69" y="1023"/>
                  </a:cubicBezTo>
                  <a:cubicBezTo>
                    <a:pt x="61" y="1012"/>
                    <a:pt x="57" y="1003"/>
                    <a:pt x="49" y="1002"/>
                  </a:cubicBezTo>
                  <a:cubicBezTo>
                    <a:pt x="41" y="1001"/>
                    <a:pt x="38" y="1012"/>
                    <a:pt x="47" y="1020"/>
                  </a:cubicBezTo>
                  <a:cubicBezTo>
                    <a:pt x="56" y="1028"/>
                    <a:pt x="60" y="1041"/>
                    <a:pt x="60" y="1048"/>
                  </a:cubicBezTo>
                  <a:cubicBezTo>
                    <a:pt x="60" y="1055"/>
                    <a:pt x="62" y="1077"/>
                    <a:pt x="43" y="1043"/>
                  </a:cubicBezTo>
                  <a:cubicBezTo>
                    <a:pt x="24" y="1009"/>
                    <a:pt x="15" y="1002"/>
                    <a:pt x="11" y="995"/>
                  </a:cubicBezTo>
                  <a:cubicBezTo>
                    <a:pt x="7" y="988"/>
                    <a:pt x="0" y="979"/>
                    <a:pt x="12" y="1009"/>
                  </a:cubicBezTo>
                  <a:cubicBezTo>
                    <a:pt x="24" y="1039"/>
                    <a:pt x="30" y="1056"/>
                    <a:pt x="45" y="1070"/>
                  </a:cubicBezTo>
                  <a:cubicBezTo>
                    <a:pt x="60" y="1084"/>
                    <a:pt x="70" y="1094"/>
                    <a:pt x="74" y="1118"/>
                  </a:cubicBezTo>
                  <a:cubicBezTo>
                    <a:pt x="78" y="1142"/>
                    <a:pt x="81" y="1136"/>
                    <a:pt x="82" y="1150"/>
                  </a:cubicBezTo>
                  <a:cubicBezTo>
                    <a:pt x="83" y="1164"/>
                    <a:pt x="94" y="1174"/>
                    <a:pt x="100" y="1188"/>
                  </a:cubicBezTo>
                  <a:cubicBezTo>
                    <a:pt x="106" y="1202"/>
                    <a:pt x="118" y="1227"/>
                    <a:pt x="125" y="1236"/>
                  </a:cubicBezTo>
                  <a:cubicBezTo>
                    <a:pt x="132" y="1245"/>
                    <a:pt x="139" y="1258"/>
                    <a:pt x="140" y="1281"/>
                  </a:cubicBezTo>
                  <a:cubicBezTo>
                    <a:pt x="141" y="1304"/>
                    <a:pt x="142" y="1344"/>
                    <a:pt x="152" y="1355"/>
                  </a:cubicBezTo>
                  <a:cubicBezTo>
                    <a:pt x="162" y="1366"/>
                    <a:pt x="170" y="1387"/>
                    <a:pt x="175" y="1398"/>
                  </a:cubicBezTo>
                  <a:cubicBezTo>
                    <a:pt x="180" y="1409"/>
                    <a:pt x="183" y="1427"/>
                    <a:pt x="185" y="1436"/>
                  </a:cubicBezTo>
                  <a:cubicBezTo>
                    <a:pt x="187" y="1445"/>
                    <a:pt x="184" y="1462"/>
                    <a:pt x="180" y="1471"/>
                  </a:cubicBezTo>
                  <a:cubicBezTo>
                    <a:pt x="176" y="1480"/>
                    <a:pt x="169" y="1491"/>
                    <a:pt x="181" y="1506"/>
                  </a:cubicBezTo>
                  <a:cubicBezTo>
                    <a:pt x="193" y="1521"/>
                    <a:pt x="194" y="1521"/>
                    <a:pt x="184" y="1530"/>
                  </a:cubicBezTo>
                  <a:cubicBezTo>
                    <a:pt x="174" y="1539"/>
                    <a:pt x="169" y="1544"/>
                    <a:pt x="167" y="1551"/>
                  </a:cubicBezTo>
                  <a:cubicBezTo>
                    <a:pt x="165" y="1558"/>
                    <a:pt x="158" y="1558"/>
                    <a:pt x="147" y="1558"/>
                  </a:cubicBezTo>
                  <a:cubicBezTo>
                    <a:pt x="136" y="1558"/>
                    <a:pt x="133" y="1560"/>
                    <a:pt x="137" y="1578"/>
                  </a:cubicBezTo>
                  <a:cubicBezTo>
                    <a:pt x="141" y="1596"/>
                    <a:pt x="136" y="1599"/>
                    <a:pt x="154" y="1607"/>
                  </a:cubicBezTo>
                  <a:cubicBezTo>
                    <a:pt x="172" y="1615"/>
                    <a:pt x="184" y="1613"/>
                    <a:pt x="195" y="1630"/>
                  </a:cubicBezTo>
                  <a:cubicBezTo>
                    <a:pt x="206" y="1647"/>
                    <a:pt x="215" y="1654"/>
                    <a:pt x="236" y="1658"/>
                  </a:cubicBezTo>
                  <a:cubicBezTo>
                    <a:pt x="257" y="1662"/>
                    <a:pt x="277" y="1661"/>
                    <a:pt x="293" y="1661"/>
                  </a:cubicBezTo>
                  <a:cubicBezTo>
                    <a:pt x="309" y="1661"/>
                    <a:pt x="336" y="1664"/>
                    <a:pt x="353" y="1651"/>
                  </a:cubicBezTo>
                  <a:cubicBezTo>
                    <a:pt x="370" y="1638"/>
                    <a:pt x="371" y="1618"/>
                    <a:pt x="387" y="1618"/>
                  </a:cubicBezTo>
                  <a:cubicBezTo>
                    <a:pt x="403" y="1618"/>
                    <a:pt x="424" y="1627"/>
                    <a:pt x="432" y="1605"/>
                  </a:cubicBezTo>
                  <a:cubicBezTo>
                    <a:pt x="440" y="1583"/>
                    <a:pt x="451" y="1578"/>
                    <a:pt x="477" y="1578"/>
                  </a:cubicBezTo>
                  <a:cubicBezTo>
                    <a:pt x="503" y="1578"/>
                    <a:pt x="515" y="1582"/>
                    <a:pt x="526" y="1575"/>
                  </a:cubicBezTo>
                  <a:cubicBezTo>
                    <a:pt x="537" y="1568"/>
                    <a:pt x="539" y="1567"/>
                    <a:pt x="547" y="1573"/>
                  </a:cubicBezTo>
                  <a:cubicBezTo>
                    <a:pt x="555" y="1579"/>
                    <a:pt x="557" y="1579"/>
                    <a:pt x="568" y="1578"/>
                  </a:cubicBezTo>
                  <a:cubicBezTo>
                    <a:pt x="579" y="1577"/>
                    <a:pt x="587" y="1579"/>
                    <a:pt x="592" y="1584"/>
                  </a:cubicBezTo>
                  <a:cubicBezTo>
                    <a:pt x="597" y="1589"/>
                    <a:pt x="611" y="1590"/>
                    <a:pt x="621" y="1587"/>
                  </a:cubicBezTo>
                  <a:cubicBezTo>
                    <a:pt x="631" y="1584"/>
                    <a:pt x="624" y="1576"/>
                    <a:pt x="633" y="1576"/>
                  </a:cubicBezTo>
                  <a:cubicBezTo>
                    <a:pt x="642" y="1576"/>
                    <a:pt x="643" y="1575"/>
                    <a:pt x="647" y="1581"/>
                  </a:cubicBezTo>
                  <a:cubicBezTo>
                    <a:pt x="651" y="1587"/>
                    <a:pt x="663" y="1587"/>
                    <a:pt x="670" y="1585"/>
                  </a:cubicBezTo>
                  <a:cubicBezTo>
                    <a:pt x="677" y="1583"/>
                    <a:pt x="678" y="1574"/>
                    <a:pt x="688" y="1575"/>
                  </a:cubicBezTo>
                  <a:cubicBezTo>
                    <a:pt x="698" y="1576"/>
                    <a:pt x="714" y="1562"/>
                    <a:pt x="717" y="1545"/>
                  </a:cubicBezTo>
                  <a:cubicBezTo>
                    <a:pt x="720" y="1528"/>
                    <a:pt x="732" y="1512"/>
                    <a:pt x="746" y="1508"/>
                  </a:cubicBezTo>
                  <a:cubicBezTo>
                    <a:pt x="760" y="1504"/>
                    <a:pt x="813" y="1487"/>
                    <a:pt x="821" y="1475"/>
                  </a:cubicBezTo>
                  <a:cubicBezTo>
                    <a:pt x="829" y="1463"/>
                    <a:pt x="831" y="1460"/>
                    <a:pt x="858" y="1460"/>
                  </a:cubicBezTo>
                  <a:cubicBezTo>
                    <a:pt x="885" y="1460"/>
                    <a:pt x="958" y="1458"/>
                    <a:pt x="972" y="1450"/>
                  </a:cubicBezTo>
                  <a:cubicBezTo>
                    <a:pt x="986" y="1442"/>
                    <a:pt x="1005" y="1431"/>
                    <a:pt x="1020" y="1427"/>
                  </a:cubicBezTo>
                  <a:cubicBezTo>
                    <a:pt x="1035" y="1423"/>
                    <a:pt x="1039" y="1421"/>
                    <a:pt x="1069" y="1421"/>
                  </a:cubicBezTo>
                  <a:cubicBezTo>
                    <a:pt x="1099" y="1421"/>
                    <a:pt x="1088" y="1416"/>
                    <a:pt x="1128" y="1416"/>
                  </a:cubicBezTo>
                  <a:cubicBezTo>
                    <a:pt x="1168" y="1416"/>
                    <a:pt x="1183" y="1400"/>
                    <a:pt x="1199" y="1416"/>
                  </a:cubicBezTo>
                  <a:cubicBezTo>
                    <a:pt x="1215" y="1432"/>
                    <a:pt x="1225" y="1428"/>
                    <a:pt x="1225" y="1440"/>
                  </a:cubicBezTo>
                  <a:cubicBezTo>
                    <a:pt x="1225" y="1452"/>
                    <a:pt x="1238" y="1446"/>
                    <a:pt x="1245" y="1443"/>
                  </a:cubicBezTo>
                  <a:cubicBezTo>
                    <a:pt x="1252" y="1440"/>
                    <a:pt x="1267" y="1437"/>
                    <a:pt x="1275" y="1441"/>
                  </a:cubicBezTo>
                  <a:cubicBezTo>
                    <a:pt x="1283" y="1445"/>
                    <a:pt x="1279" y="1454"/>
                    <a:pt x="1294" y="1458"/>
                  </a:cubicBezTo>
                  <a:cubicBezTo>
                    <a:pt x="1309" y="1462"/>
                    <a:pt x="1324" y="1452"/>
                    <a:pt x="1331" y="1462"/>
                  </a:cubicBezTo>
                  <a:cubicBezTo>
                    <a:pt x="1338" y="1472"/>
                    <a:pt x="1339" y="1471"/>
                    <a:pt x="1343" y="1480"/>
                  </a:cubicBezTo>
                  <a:cubicBezTo>
                    <a:pt x="1347" y="1489"/>
                    <a:pt x="1360" y="1469"/>
                    <a:pt x="1360" y="1486"/>
                  </a:cubicBezTo>
                  <a:cubicBezTo>
                    <a:pt x="1360" y="1503"/>
                    <a:pt x="1356" y="1517"/>
                    <a:pt x="1368" y="1522"/>
                  </a:cubicBezTo>
                  <a:cubicBezTo>
                    <a:pt x="1380" y="1527"/>
                    <a:pt x="1400" y="1536"/>
                    <a:pt x="1404" y="1546"/>
                  </a:cubicBezTo>
                  <a:cubicBezTo>
                    <a:pt x="1408" y="1556"/>
                    <a:pt x="1414" y="1561"/>
                    <a:pt x="1420" y="1584"/>
                  </a:cubicBezTo>
                  <a:cubicBezTo>
                    <a:pt x="1426" y="1607"/>
                    <a:pt x="1431" y="1603"/>
                    <a:pt x="1436" y="1627"/>
                  </a:cubicBezTo>
                  <a:cubicBezTo>
                    <a:pt x="1441" y="1651"/>
                    <a:pt x="1441" y="1652"/>
                    <a:pt x="1453" y="1653"/>
                  </a:cubicBezTo>
                  <a:cubicBezTo>
                    <a:pt x="1465" y="1654"/>
                    <a:pt x="1483" y="1664"/>
                    <a:pt x="1482" y="1652"/>
                  </a:cubicBezTo>
                  <a:cubicBezTo>
                    <a:pt x="1481" y="1640"/>
                    <a:pt x="1464" y="1637"/>
                    <a:pt x="1479" y="1627"/>
                  </a:cubicBezTo>
                  <a:cubicBezTo>
                    <a:pt x="1494" y="1617"/>
                    <a:pt x="1514" y="1599"/>
                    <a:pt x="1525" y="1583"/>
                  </a:cubicBezTo>
                  <a:cubicBezTo>
                    <a:pt x="1536" y="1567"/>
                    <a:pt x="1565" y="1561"/>
                    <a:pt x="1569" y="1543"/>
                  </a:cubicBezTo>
                  <a:cubicBezTo>
                    <a:pt x="1573" y="1525"/>
                    <a:pt x="1579" y="1525"/>
                    <a:pt x="1584" y="1521"/>
                  </a:cubicBezTo>
                  <a:cubicBezTo>
                    <a:pt x="1589" y="1517"/>
                    <a:pt x="1595" y="1507"/>
                    <a:pt x="1595" y="1527"/>
                  </a:cubicBezTo>
                  <a:cubicBezTo>
                    <a:pt x="1595" y="1547"/>
                    <a:pt x="1601" y="1555"/>
                    <a:pt x="1590" y="1563"/>
                  </a:cubicBezTo>
                  <a:cubicBezTo>
                    <a:pt x="1579" y="1571"/>
                    <a:pt x="1577" y="1574"/>
                    <a:pt x="1577" y="1583"/>
                  </a:cubicBezTo>
                  <a:cubicBezTo>
                    <a:pt x="1577" y="1592"/>
                    <a:pt x="1566" y="1588"/>
                    <a:pt x="1566" y="1600"/>
                  </a:cubicBezTo>
                  <a:cubicBezTo>
                    <a:pt x="1566" y="1612"/>
                    <a:pt x="1580" y="1637"/>
                    <a:pt x="1566" y="1641"/>
                  </a:cubicBezTo>
                  <a:cubicBezTo>
                    <a:pt x="1552" y="1645"/>
                    <a:pt x="1539" y="1639"/>
                    <a:pt x="1537" y="1653"/>
                  </a:cubicBezTo>
                  <a:cubicBezTo>
                    <a:pt x="1535" y="1667"/>
                    <a:pt x="1546" y="1665"/>
                    <a:pt x="1535" y="1667"/>
                  </a:cubicBezTo>
                  <a:cubicBezTo>
                    <a:pt x="1524" y="1669"/>
                    <a:pt x="1523" y="1675"/>
                    <a:pt x="1533" y="1677"/>
                  </a:cubicBezTo>
                  <a:cubicBezTo>
                    <a:pt x="1543" y="1679"/>
                    <a:pt x="1547" y="1680"/>
                    <a:pt x="1552" y="1669"/>
                  </a:cubicBezTo>
                  <a:cubicBezTo>
                    <a:pt x="1557" y="1658"/>
                    <a:pt x="1588" y="1683"/>
                    <a:pt x="1593" y="1665"/>
                  </a:cubicBezTo>
                  <a:cubicBezTo>
                    <a:pt x="1598" y="1647"/>
                    <a:pt x="1603" y="1660"/>
                    <a:pt x="1603" y="1642"/>
                  </a:cubicBezTo>
                  <a:cubicBezTo>
                    <a:pt x="1603" y="1624"/>
                    <a:pt x="1591" y="1613"/>
                    <a:pt x="1608" y="1613"/>
                  </a:cubicBezTo>
                  <a:cubicBezTo>
                    <a:pt x="1625" y="1613"/>
                    <a:pt x="1614" y="1607"/>
                    <a:pt x="1623" y="1620"/>
                  </a:cubicBezTo>
                  <a:cubicBezTo>
                    <a:pt x="1632" y="1633"/>
                    <a:pt x="1636" y="1633"/>
                    <a:pt x="1634" y="1648"/>
                  </a:cubicBezTo>
                  <a:cubicBezTo>
                    <a:pt x="1632" y="1663"/>
                    <a:pt x="1623" y="1662"/>
                    <a:pt x="1626" y="1671"/>
                  </a:cubicBezTo>
                  <a:cubicBezTo>
                    <a:pt x="1629" y="1680"/>
                    <a:pt x="1626" y="1686"/>
                    <a:pt x="1621" y="1694"/>
                  </a:cubicBezTo>
                  <a:cubicBezTo>
                    <a:pt x="1616" y="1702"/>
                    <a:pt x="1619" y="1705"/>
                    <a:pt x="1639" y="1702"/>
                  </a:cubicBezTo>
                  <a:cubicBezTo>
                    <a:pt x="1659" y="1699"/>
                    <a:pt x="1661" y="1689"/>
                    <a:pt x="1671" y="1702"/>
                  </a:cubicBezTo>
                  <a:cubicBezTo>
                    <a:pt x="1681" y="1715"/>
                    <a:pt x="1676" y="1721"/>
                    <a:pt x="1691" y="1725"/>
                  </a:cubicBezTo>
                  <a:cubicBezTo>
                    <a:pt x="1706" y="1729"/>
                    <a:pt x="1706" y="1735"/>
                    <a:pt x="1711" y="1748"/>
                  </a:cubicBezTo>
                  <a:cubicBezTo>
                    <a:pt x="1716" y="1761"/>
                    <a:pt x="1724" y="1759"/>
                    <a:pt x="1723" y="1775"/>
                  </a:cubicBezTo>
                  <a:cubicBezTo>
                    <a:pt x="1722" y="1791"/>
                    <a:pt x="1709" y="1778"/>
                    <a:pt x="1713" y="1798"/>
                  </a:cubicBezTo>
                  <a:cubicBezTo>
                    <a:pt x="1717" y="1818"/>
                    <a:pt x="1717" y="1830"/>
                    <a:pt x="1730" y="1839"/>
                  </a:cubicBezTo>
                  <a:cubicBezTo>
                    <a:pt x="1743" y="1848"/>
                    <a:pt x="1745" y="1851"/>
                    <a:pt x="1751" y="1863"/>
                  </a:cubicBezTo>
                  <a:cubicBezTo>
                    <a:pt x="1757" y="1875"/>
                    <a:pt x="1768" y="1873"/>
                    <a:pt x="1782" y="1878"/>
                  </a:cubicBezTo>
                  <a:cubicBezTo>
                    <a:pt x="1796" y="1883"/>
                    <a:pt x="1814" y="1890"/>
                    <a:pt x="1824" y="1899"/>
                  </a:cubicBezTo>
                  <a:cubicBezTo>
                    <a:pt x="1834" y="1908"/>
                    <a:pt x="1828" y="1904"/>
                    <a:pt x="1838" y="1898"/>
                  </a:cubicBezTo>
                  <a:cubicBezTo>
                    <a:pt x="1848" y="1892"/>
                    <a:pt x="1858" y="1897"/>
                    <a:pt x="1871" y="1902"/>
                  </a:cubicBezTo>
                  <a:cubicBezTo>
                    <a:pt x="1884" y="1907"/>
                    <a:pt x="1893" y="1907"/>
                    <a:pt x="1907" y="1907"/>
                  </a:cubicBezTo>
                  <a:cubicBezTo>
                    <a:pt x="1921" y="1907"/>
                    <a:pt x="1928" y="1914"/>
                    <a:pt x="1941" y="1926"/>
                  </a:cubicBezTo>
                  <a:cubicBezTo>
                    <a:pt x="1954" y="1938"/>
                    <a:pt x="1966" y="1948"/>
                    <a:pt x="1975" y="1933"/>
                  </a:cubicBezTo>
                  <a:cubicBezTo>
                    <a:pt x="1984" y="1918"/>
                    <a:pt x="2000" y="1915"/>
                    <a:pt x="2006" y="1911"/>
                  </a:cubicBezTo>
                  <a:cubicBezTo>
                    <a:pt x="2012" y="1907"/>
                    <a:pt x="2021" y="1906"/>
                    <a:pt x="2024" y="1892"/>
                  </a:cubicBezTo>
                  <a:cubicBezTo>
                    <a:pt x="2027" y="1878"/>
                    <a:pt x="2025" y="1874"/>
                    <a:pt x="2038" y="1874"/>
                  </a:cubicBezTo>
                  <a:cubicBezTo>
                    <a:pt x="2051" y="1874"/>
                    <a:pt x="2057" y="1868"/>
                    <a:pt x="2055" y="1880"/>
                  </a:cubicBezTo>
                  <a:cubicBezTo>
                    <a:pt x="2053" y="1892"/>
                    <a:pt x="2041" y="1897"/>
                    <a:pt x="2046" y="1903"/>
                  </a:cubicBezTo>
                  <a:cubicBezTo>
                    <a:pt x="2051" y="1909"/>
                    <a:pt x="2053" y="1913"/>
                    <a:pt x="2059" y="1910"/>
                  </a:cubicBezTo>
                  <a:cubicBezTo>
                    <a:pt x="2065" y="1907"/>
                    <a:pt x="2067" y="1906"/>
                    <a:pt x="2070" y="1898"/>
                  </a:cubicBezTo>
                  <a:cubicBezTo>
                    <a:pt x="2073" y="1890"/>
                    <a:pt x="2079" y="1886"/>
                    <a:pt x="2082" y="1895"/>
                  </a:cubicBezTo>
                  <a:cubicBezTo>
                    <a:pt x="2085" y="1904"/>
                    <a:pt x="2075" y="1910"/>
                    <a:pt x="2083" y="1916"/>
                  </a:cubicBezTo>
                  <a:cubicBezTo>
                    <a:pt x="2091" y="1922"/>
                    <a:pt x="2109" y="1931"/>
                    <a:pt x="2118" y="1938"/>
                  </a:cubicBezTo>
                  <a:cubicBezTo>
                    <a:pt x="2127" y="1945"/>
                    <a:pt x="2131" y="1941"/>
                    <a:pt x="2136" y="1955"/>
                  </a:cubicBezTo>
                  <a:cubicBezTo>
                    <a:pt x="2141" y="1969"/>
                    <a:pt x="2148" y="1964"/>
                    <a:pt x="2149" y="1950"/>
                  </a:cubicBezTo>
                  <a:cubicBezTo>
                    <a:pt x="2150" y="1936"/>
                    <a:pt x="2142" y="1925"/>
                    <a:pt x="2157" y="1926"/>
                  </a:cubicBezTo>
                  <a:cubicBezTo>
                    <a:pt x="2172" y="1927"/>
                    <a:pt x="2186" y="1929"/>
                    <a:pt x="2194" y="1911"/>
                  </a:cubicBezTo>
                  <a:cubicBezTo>
                    <a:pt x="2202" y="1893"/>
                    <a:pt x="2207" y="1888"/>
                    <a:pt x="2220" y="1881"/>
                  </a:cubicBezTo>
                  <a:cubicBezTo>
                    <a:pt x="2233" y="1874"/>
                    <a:pt x="2269" y="1854"/>
                    <a:pt x="2297" y="1857"/>
                  </a:cubicBezTo>
                  <a:cubicBezTo>
                    <a:pt x="2325" y="1860"/>
                    <a:pt x="2351" y="1858"/>
                    <a:pt x="2355" y="1852"/>
                  </a:cubicBezTo>
                  <a:cubicBezTo>
                    <a:pt x="2359" y="1846"/>
                    <a:pt x="2375" y="1857"/>
                    <a:pt x="2375" y="1830"/>
                  </a:cubicBezTo>
                  <a:cubicBezTo>
                    <a:pt x="2375" y="1803"/>
                    <a:pt x="2371" y="1770"/>
                    <a:pt x="2380" y="1754"/>
                  </a:cubicBezTo>
                  <a:cubicBezTo>
                    <a:pt x="2389" y="1738"/>
                    <a:pt x="2390" y="1741"/>
                    <a:pt x="2391" y="1727"/>
                  </a:cubicBezTo>
                  <a:cubicBezTo>
                    <a:pt x="2392" y="1713"/>
                    <a:pt x="2392" y="1705"/>
                    <a:pt x="2400" y="1690"/>
                  </a:cubicBezTo>
                  <a:cubicBezTo>
                    <a:pt x="2408" y="1675"/>
                    <a:pt x="2427" y="1683"/>
                    <a:pt x="2428" y="1656"/>
                  </a:cubicBezTo>
                  <a:cubicBezTo>
                    <a:pt x="2429" y="1629"/>
                    <a:pt x="2428" y="1620"/>
                    <a:pt x="2440" y="1599"/>
                  </a:cubicBezTo>
                  <a:cubicBezTo>
                    <a:pt x="2452" y="1578"/>
                    <a:pt x="2456" y="1582"/>
                    <a:pt x="2464" y="1561"/>
                  </a:cubicBezTo>
                  <a:cubicBezTo>
                    <a:pt x="2472" y="1540"/>
                    <a:pt x="2484" y="1499"/>
                    <a:pt x="2498" y="1494"/>
                  </a:cubicBezTo>
                  <a:cubicBezTo>
                    <a:pt x="2512" y="1489"/>
                    <a:pt x="2535" y="1493"/>
                    <a:pt x="2535" y="1473"/>
                  </a:cubicBezTo>
                  <a:cubicBezTo>
                    <a:pt x="2535" y="1453"/>
                    <a:pt x="2534" y="1442"/>
                    <a:pt x="2546" y="1435"/>
                  </a:cubicBezTo>
                  <a:cubicBezTo>
                    <a:pt x="2558" y="1428"/>
                    <a:pt x="2558" y="1430"/>
                    <a:pt x="2560" y="1409"/>
                  </a:cubicBezTo>
                  <a:cubicBezTo>
                    <a:pt x="2562" y="1388"/>
                    <a:pt x="2570" y="1400"/>
                    <a:pt x="2571" y="1371"/>
                  </a:cubicBezTo>
                  <a:cubicBezTo>
                    <a:pt x="2572" y="1342"/>
                    <a:pt x="2564" y="1340"/>
                    <a:pt x="2573" y="1315"/>
                  </a:cubicBezTo>
                  <a:cubicBezTo>
                    <a:pt x="2582" y="1290"/>
                    <a:pt x="2588" y="1280"/>
                    <a:pt x="2588" y="1261"/>
                  </a:cubicBezTo>
                  <a:cubicBezTo>
                    <a:pt x="2588" y="1242"/>
                    <a:pt x="2583" y="1239"/>
                    <a:pt x="2595" y="1228"/>
                  </a:cubicBezTo>
                  <a:cubicBezTo>
                    <a:pt x="2607" y="1217"/>
                    <a:pt x="2604" y="1210"/>
                    <a:pt x="2603" y="1192"/>
                  </a:cubicBezTo>
                  <a:cubicBezTo>
                    <a:pt x="2602" y="1174"/>
                    <a:pt x="2607" y="1173"/>
                    <a:pt x="2596" y="1159"/>
                  </a:cubicBezTo>
                  <a:cubicBezTo>
                    <a:pt x="2585" y="1145"/>
                    <a:pt x="2596" y="1139"/>
                    <a:pt x="2583" y="1127"/>
                  </a:cubicBezTo>
                  <a:cubicBezTo>
                    <a:pt x="2570" y="1115"/>
                    <a:pt x="2570" y="1096"/>
                    <a:pt x="2574" y="1076"/>
                  </a:cubicBezTo>
                  <a:cubicBezTo>
                    <a:pt x="2578" y="1056"/>
                    <a:pt x="2564" y="1043"/>
                    <a:pt x="2571" y="1031"/>
                  </a:cubicBezTo>
                  <a:cubicBezTo>
                    <a:pt x="2578" y="1019"/>
                    <a:pt x="2582" y="1026"/>
                    <a:pt x="2579" y="1012"/>
                  </a:cubicBezTo>
                  <a:cubicBezTo>
                    <a:pt x="2576" y="998"/>
                    <a:pt x="2575" y="993"/>
                    <a:pt x="2584" y="980"/>
                  </a:cubicBezTo>
                  <a:cubicBezTo>
                    <a:pt x="2593" y="967"/>
                    <a:pt x="2589" y="963"/>
                    <a:pt x="2589" y="950"/>
                  </a:cubicBezTo>
                  <a:cubicBezTo>
                    <a:pt x="2589" y="937"/>
                    <a:pt x="2576" y="933"/>
                    <a:pt x="2576" y="946"/>
                  </a:cubicBezTo>
                  <a:cubicBezTo>
                    <a:pt x="2576" y="959"/>
                    <a:pt x="2573" y="961"/>
                    <a:pt x="2567" y="965"/>
                  </a:cubicBezTo>
                  <a:cubicBezTo>
                    <a:pt x="2561" y="969"/>
                    <a:pt x="2567" y="992"/>
                    <a:pt x="2553" y="977"/>
                  </a:cubicBezTo>
                  <a:cubicBezTo>
                    <a:pt x="2539" y="962"/>
                    <a:pt x="2542" y="934"/>
                    <a:pt x="2525" y="933"/>
                  </a:cubicBezTo>
                  <a:cubicBezTo>
                    <a:pt x="2508" y="932"/>
                    <a:pt x="2507" y="930"/>
                    <a:pt x="2504" y="912"/>
                  </a:cubicBezTo>
                  <a:cubicBezTo>
                    <a:pt x="2501" y="894"/>
                    <a:pt x="2491" y="885"/>
                    <a:pt x="2476" y="886"/>
                  </a:cubicBezTo>
                  <a:cubicBezTo>
                    <a:pt x="2461" y="887"/>
                    <a:pt x="2454" y="881"/>
                    <a:pt x="2454" y="869"/>
                  </a:cubicBezTo>
                  <a:cubicBezTo>
                    <a:pt x="2454" y="857"/>
                    <a:pt x="2448" y="860"/>
                    <a:pt x="2435" y="854"/>
                  </a:cubicBezTo>
                  <a:cubicBezTo>
                    <a:pt x="2422" y="848"/>
                    <a:pt x="2421" y="836"/>
                    <a:pt x="2422" y="825"/>
                  </a:cubicBezTo>
                  <a:cubicBezTo>
                    <a:pt x="2423" y="814"/>
                    <a:pt x="2433" y="802"/>
                    <a:pt x="2429" y="793"/>
                  </a:cubicBezTo>
                  <a:cubicBezTo>
                    <a:pt x="2425" y="784"/>
                    <a:pt x="2414" y="777"/>
                    <a:pt x="2401" y="779"/>
                  </a:cubicBezTo>
                  <a:cubicBezTo>
                    <a:pt x="2388" y="781"/>
                    <a:pt x="2388" y="777"/>
                    <a:pt x="2381" y="770"/>
                  </a:cubicBezTo>
                  <a:cubicBezTo>
                    <a:pt x="2374" y="763"/>
                    <a:pt x="2366" y="766"/>
                    <a:pt x="2366" y="775"/>
                  </a:cubicBezTo>
                  <a:cubicBezTo>
                    <a:pt x="2366" y="784"/>
                    <a:pt x="2362" y="787"/>
                    <a:pt x="2349" y="778"/>
                  </a:cubicBezTo>
                  <a:cubicBezTo>
                    <a:pt x="2336" y="769"/>
                    <a:pt x="2342" y="752"/>
                    <a:pt x="2338" y="734"/>
                  </a:cubicBezTo>
                  <a:cubicBezTo>
                    <a:pt x="2334" y="716"/>
                    <a:pt x="2333" y="706"/>
                    <a:pt x="2324" y="696"/>
                  </a:cubicBezTo>
                  <a:cubicBezTo>
                    <a:pt x="2315" y="686"/>
                    <a:pt x="2317" y="680"/>
                    <a:pt x="2307" y="676"/>
                  </a:cubicBezTo>
                  <a:cubicBezTo>
                    <a:pt x="2297" y="672"/>
                    <a:pt x="2288" y="666"/>
                    <a:pt x="2295" y="659"/>
                  </a:cubicBezTo>
                  <a:cubicBezTo>
                    <a:pt x="2302" y="652"/>
                    <a:pt x="2310" y="648"/>
                    <a:pt x="2302" y="638"/>
                  </a:cubicBezTo>
                  <a:cubicBezTo>
                    <a:pt x="2294" y="628"/>
                    <a:pt x="2292" y="629"/>
                    <a:pt x="2271" y="625"/>
                  </a:cubicBezTo>
                  <a:cubicBezTo>
                    <a:pt x="2250" y="621"/>
                    <a:pt x="2237" y="607"/>
                    <a:pt x="2227" y="596"/>
                  </a:cubicBezTo>
                  <a:cubicBezTo>
                    <a:pt x="2217" y="585"/>
                    <a:pt x="2210" y="577"/>
                    <a:pt x="2197" y="578"/>
                  </a:cubicBezTo>
                  <a:cubicBezTo>
                    <a:pt x="2184" y="579"/>
                    <a:pt x="2180" y="564"/>
                    <a:pt x="2163" y="560"/>
                  </a:cubicBezTo>
                  <a:cubicBezTo>
                    <a:pt x="2146" y="556"/>
                    <a:pt x="2144" y="562"/>
                    <a:pt x="2141" y="538"/>
                  </a:cubicBezTo>
                  <a:cubicBezTo>
                    <a:pt x="2138" y="514"/>
                    <a:pt x="2142" y="509"/>
                    <a:pt x="2132" y="505"/>
                  </a:cubicBezTo>
                  <a:cubicBezTo>
                    <a:pt x="2122" y="501"/>
                    <a:pt x="2114" y="491"/>
                    <a:pt x="2119" y="473"/>
                  </a:cubicBezTo>
                  <a:cubicBezTo>
                    <a:pt x="2124" y="455"/>
                    <a:pt x="2140" y="476"/>
                    <a:pt x="2132" y="454"/>
                  </a:cubicBezTo>
                  <a:cubicBezTo>
                    <a:pt x="2124" y="432"/>
                    <a:pt x="2128" y="444"/>
                    <a:pt x="2117" y="431"/>
                  </a:cubicBezTo>
                  <a:cubicBezTo>
                    <a:pt x="2106" y="418"/>
                    <a:pt x="2110" y="417"/>
                    <a:pt x="2100" y="407"/>
                  </a:cubicBezTo>
                  <a:cubicBezTo>
                    <a:pt x="2090" y="397"/>
                    <a:pt x="2080" y="396"/>
                    <a:pt x="2080" y="374"/>
                  </a:cubicBezTo>
                  <a:cubicBezTo>
                    <a:pt x="2080" y="352"/>
                    <a:pt x="2073" y="339"/>
                    <a:pt x="2075" y="318"/>
                  </a:cubicBezTo>
                  <a:cubicBezTo>
                    <a:pt x="2077" y="297"/>
                    <a:pt x="2072" y="293"/>
                    <a:pt x="2063" y="282"/>
                  </a:cubicBezTo>
                  <a:cubicBezTo>
                    <a:pt x="2054" y="271"/>
                    <a:pt x="2031" y="260"/>
                    <a:pt x="2028" y="247"/>
                  </a:cubicBezTo>
                  <a:cubicBezTo>
                    <a:pt x="2025" y="234"/>
                    <a:pt x="2009" y="234"/>
                    <a:pt x="2008" y="240"/>
                  </a:cubicBezTo>
                  <a:cubicBezTo>
                    <a:pt x="2007" y="246"/>
                    <a:pt x="2006" y="245"/>
                    <a:pt x="1994" y="248"/>
                  </a:cubicBezTo>
                  <a:cubicBezTo>
                    <a:pt x="1982" y="251"/>
                    <a:pt x="1975" y="257"/>
                    <a:pt x="1972" y="245"/>
                  </a:cubicBezTo>
                  <a:cubicBezTo>
                    <a:pt x="1969" y="233"/>
                    <a:pt x="1965" y="218"/>
                    <a:pt x="1959" y="213"/>
                  </a:cubicBezTo>
                  <a:cubicBezTo>
                    <a:pt x="1953" y="208"/>
                    <a:pt x="1963" y="196"/>
                    <a:pt x="1960" y="176"/>
                  </a:cubicBezTo>
                  <a:cubicBezTo>
                    <a:pt x="1957" y="156"/>
                    <a:pt x="1965" y="158"/>
                    <a:pt x="1951" y="140"/>
                  </a:cubicBezTo>
                  <a:cubicBezTo>
                    <a:pt x="1937" y="122"/>
                    <a:pt x="1931" y="118"/>
                    <a:pt x="1934" y="106"/>
                  </a:cubicBezTo>
                  <a:cubicBezTo>
                    <a:pt x="1937" y="94"/>
                    <a:pt x="1935" y="83"/>
                    <a:pt x="1928" y="80"/>
                  </a:cubicBezTo>
                  <a:cubicBezTo>
                    <a:pt x="1921" y="77"/>
                    <a:pt x="1918" y="80"/>
                    <a:pt x="1918" y="61"/>
                  </a:cubicBezTo>
                  <a:cubicBezTo>
                    <a:pt x="1918" y="42"/>
                    <a:pt x="1921" y="42"/>
                    <a:pt x="1911" y="31"/>
                  </a:cubicBezTo>
                  <a:cubicBezTo>
                    <a:pt x="1901" y="20"/>
                    <a:pt x="1894" y="0"/>
                    <a:pt x="1888" y="11"/>
                  </a:cubicBezTo>
                  <a:cubicBezTo>
                    <a:pt x="1882" y="22"/>
                    <a:pt x="1868" y="24"/>
                    <a:pt x="1868" y="37"/>
                  </a:cubicBezTo>
                  <a:cubicBezTo>
                    <a:pt x="1868" y="50"/>
                    <a:pt x="1871" y="52"/>
                    <a:pt x="1861" y="61"/>
                  </a:cubicBezTo>
                  <a:cubicBezTo>
                    <a:pt x="1851" y="70"/>
                    <a:pt x="1867" y="87"/>
                    <a:pt x="1854" y="92"/>
                  </a:cubicBezTo>
                  <a:cubicBezTo>
                    <a:pt x="1841" y="97"/>
                    <a:pt x="1839" y="109"/>
                    <a:pt x="1838" y="117"/>
                  </a:cubicBezTo>
                  <a:cubicBezTo>
                    <a:pt x="1837" y="125"/>
                    <a:pt x="1835" y="135"/>
                    <a:pt x="1840" y="136"/>
                  </a:cubicBezTo>
                  <a:cubicBezTo>
                    <a:pt x="1845" y="137"/>
                    <a:pt x="1847" y="146"/>
                    <a:pt x="1842" y="152"/>
                  </a:cubicBezTo>
                  <a:cubicBezTo>
                    <a:pt x="1837" y="158"/>
                    <a:pt x="1829" y="160"/>
                    <a:pt x="1832" y="169"/>
                  </a:cubicBezTo>
                  <a:cubicBezTo>
                    <a:pt x="1835" y="178"/>
                    <a:pt x="1833" y="191"/>
                    <a:pt x="1829" y="195"/>
                  </a:cubicBezTo>
                  <a:cubicBezTo>
                    <a:pt x="1825" y="199"/>
                    <a:pt x="1820" y="211"/>
                    <a:pt x="1826" y="219"/>
                  </a:cubicBezTo>
                  <a:cubicBezTo>
                    <a:pt x="1832" y="227"/>
                    <a:pt x="1839" y="231"/>
                    <a:pt x="1834" y="243"/>
                  </a:cubicBezTo>
                  <a:cubicBezTo>
                    <a:pt x="1829" y="255"/>
                    <a:pt x="1825" y="264"/>
                    <a:pt x="1830" y="273"/>
                  </a:cubicBezTo>
                  <a:cubicBezTo>
                    <a:pt x="1835" y="282"/>
                    <a:pt x="1840" y="290"/>
                    <a:pt x="1834" y="295"/>
                  </a:cubicBezTo>
                  <a:cubicBezTo>
                    <a:pt x="1828" y="300"/>
                    <a:pt x="1825" y="301"/>
                    <a:pt x="1825" y="318"/>
                  </a:cubicBezTo>
                  <a:cubicBezTo>
                    <a:pt x="1825" y="335"/>
                    <a:pt x="1819" y="326"/>
                    <a:pt x="1818" y="344"/>
                  </a:cubicBezTo>
                  <a:cubicBezTo>
                    <a:pt x="1817" y="362"/>
                    <a:pt x="1815" y="363"/>
                    <a:pt x="1810" y="383"/>
                  </a:cubicBezTo>
                  <a:cubicBezTo>
                    <a:pt x="1805" y="403"/>
                    <a:pt x="1792" y="403"/>
                    <a:pt x="1792" y="420"/>
                  </a:cubicBezTo>
                  <a:cubicBezTo>
                    <a:pt x="1792" y="437"/>
                    <a:pt x="1803" y="446"/>
                    <a:pt x="1776" y="455"/>
                  </a:cubicBezTo>
                  <a:cubicBezTo>
                    <a:pt x="1749" y="464"/>
                    <a:pt x="1735" y="473"/>
                    <a:pt x="1720" y="461"/>
                  </a:cubicBezTo>
                  <a:cubicBezTo>
                    <a:pt x="1705" y="449"/>
                    <a:pt x="1682" y="441"/>
                    <a:pt x="1678" y="426"/>
                  </a:cubicBezTo>
                  <a:cubicBezTo>
                    <a:pt x="1674" y="411"/>
                    <a:pt x="1671" y="405"/>
                    <a:pt x="1655" y="404"/>
                  </a:cubicBezTo>
                  <a:cubicBezTo>
                    <a:pt x="1639" y="403"/>
                    <a:pt x="1620" y="406"/>
                    <a:pt x="1609" y="384"/>
                  </a:cubicBezTo>
                  <a:cubicBezTo>
                    <a:pt x="1598" y="362"/>
                    <a:pt x="1598" y="362"/>
                    <a:pt x="1574" y="356"/>
                  </a:cubicBezTo>
                  <a:cubicBezTo>
                    <a:pt x="1550" y="350"/>
                    <a:pt x="1559" y="346"/>
                    <a:pt x="1553" y="333"/>
                  </a:cubicBezTo>
                  <a:cubicBezTo>
                    <a:pt x="1547" y="320"/>
                    <a:pt x="1542" y="319"/>
                    <a:pt x="1537" y="333"/>
                  </a:cubicBezTo>
                  <a:cubicBezTo>
                    <a:pt x="1532" y="347"/>
                    <a:pt x="1533" y="350"/>
                    <a:pt x="1519" y="335"/>
                  </a:cubicBezTo>
                  <a:cubicBezTo>
                    <a:pt x="1505" y="320"/>
                    <a:pt x="1505" y="309"/>
                    <a:pt x="1483" y="300"/>
                  </a:cubicBezTo>
                  <a:cubicBezTo>
                    <a:pt x="1461" y="291"/>
                    <a:pt x="1440" y="274"/>
                    <a:pt x="1451" y="266"/>
                  </a:cubicBezTo>
                  <a:cubicBezTo>
                    <a:pt x="1462" y="258"/>
                    <a:pt x="1464" y="255"/>
                    <a:pt x="1468" y="241"/>
                  </a:cubicBezTo>
                  <a:cubicBezTo>
                    <a:pt x="1472" y="227"/>
                    <a:pt x="1475" y="230"/>
                    <a:pt x="1480" y="223"/>
                  </a:cubicBezTo>
                  <a:cubicBezTo>
                    <a:pt x="1485" y="216"/>
                    <a:pt x="1498" y="219"/>
                    <a:pt x="1495" y="207"/>
                  </a:cubicBezTo>
                  <a:cubicBezTo>
                    <a:pt x="1492" y="195"/>
                    <a:pt x="1469" y="205"/>
                    <a:pt x="1475" y="190"/>
                  </a:cubicBezTo>
                  <a:cubicBezTo>
                    <a:pt x="1481" y="175"/>
                    <a:pt x="1480" y="178"/>
                    <a:pt x="1488" y="172"/>
                  </a:cubicBezTo>
                  <a:cubicBezTo>
                    <a:pt x="1496" y="166"/>
                    <a:pt x="1494" y="186"/>
                    <a:pt x="1507" y="178"/>
                  </a:cubicBezTo>
                  <a:cubicBezTo>
                    <a:pt x="1520" y="170"/>
                    <a:pt x="1517" y="178"/>
                    <a:pt x="1521" y="158"/>
                  </a:cubicBezTo>
                  <a:cubicBezTo>
                    <a:pt x="1525" y="138"/>
                    <a:pt x="1518" y="137"/>
                    <a:pt x="1533" y="131"/>
                  </a:cubicBezTo>
                  <a:cubicBezTo>
                    <a:pt x="1548" y="125"/>
                    <a:pt x="1539" y="114"/>
                    <a:pt x="1536" y="105"/>
                  </a:cubicBezTo>
                  <a:cubicBezTo>
                    <a:pt x="1533" y="96"/>
                    <a:pt x="1521" y="102"/>
                    <a:pt x="1519" y="95"/>
                  </a:cubicBezTo>
                  <a:cubicBezTo>
                    <a:pt x="1517" y="88"/>
                    <a:pt x="1502" y="80"/>
                    <a:pt x="1501" y="89"/>
                  </a:cubicBezTo>
                  <a:cubicBezTo>
                    <a:pt x="1500" y="98"/>
                    <a:pt x="1496" y="99"/>
                    <a:pt x="1496" y="109"/>
                  </a:cubicBezTo>
                  <a:cubicBezTo>
                    <a:pt x="1496" y="119"/>
                    <a:pt x="1481" y="124"/>
                    <a:pt x="1480" y="115"/>
                  </a:cubicBezTo>
                  <a:cubicBezTo>
                    <a:pt x="1479" y="106"/>
                    <a:pt x="1472" y="102"/>
                    <a:pt x="1472" y="102"/>
                  </a:cubicBezTo>
                  <a:cubicBezTo>
                    <a:pt x="1472" y="102"/>
                    <a:pt x="1465" y="98"/>
                    <a:pt x="1469" y="90"/>
                  </a:cubicBezTo>
                  <a:cubicBezTo>
                    <a:pt x="1473" y="82"/>
                    <a:pt x="1465" y="74"/>
                    <a:pt x="1462" y="80"/>
                  </a:cubicBezTo>
                  <a:cubicBezTo>
                    <a:pt x="1459" y="86"/>
                    <a:pt x="1448" y="95"/>
                    <a:pt x="1432" y="96"/>
                  </a:cubicBezTo>
                  <a:cubicBezTo>
                    <a:pt x="1416" y="97"/>
                    <a:pt x="1394" y="93"/>
                    <a:pt x="1384" y="89"/>
                  </a:cubicBezTo>
                  <a:cubicBezTo>
                    <a:pt x="1374" y="85"/>
                    <a:pt x="1358" y="82"/>
                    <a:pt x="1340" y="74"/>
                  </a:cubicBezTo>
                  <a:cubicBezTo>
                    <a:pt x="1322" y="66"/>
                    <a:pt x="1325" y="74"/>
                    <a:pt x="1308" y="63"/>
                  </a:cubicBezTo>
                  <a:cubicBezTo>
                    <a:pt x="1291" y="52"/>
                    <a:pt x="1285" y="46"/>
                    <a:pt x="1278" y="56"/>
                  </a:cubicBezTo>
                  <a:cubicBezTo>
                    <a:pt x="1271" y="66"/>
                    <a:pt x="1260" y="77"/>
                    <a:pt x="1257" y="85"/>
                  </a:cubicBezTo>
                  <a:cubicBezTo>
                    <a:pt x="1254" y="93"/>
                    <a:pt x="1252" y="106"/>
                    <a:pt x="1228" y="109"/>
                  </a:cubicBezTo>
                  <a:cubicBezTo>
                    <a:pt x="1204" y="112"/>
                    <a:pt x="1199" y="112"/>
                    <a:pt x="1194" y="106"/>
                  </a:cubicBezTo>
                  <a:cubicBezTo>
                    <a:pt x="1189" y="100"/>
                    <a:pt x="1180" y="102"/>
                    <a:pt x="1175" y="110"/>
                  </a:cubicBezTo>
                  <a:cubicBezTo>
                    <a:pt x="1170" y="118"/>
                    <a:pt x="1164" y="117"/>
                    <a:pt x="1148" y="121"/>
                  </a:cubicBezTo>
                  <a:cubicBezTo>
                    <a:pt x="1132" y="125"/>
                    <a:pt x="1133" y="129"/>
                    <a:pt x="1124" y="137"/>
                  </a:cubicBezTo>
                  <a:cubicBezTo>
                    <a:pt x="1115" y="145"/>
                    <a:pt x="1102" y="153"/>
                    <a:pt x="1104" y="164"/>
                  </a:cubicBezTo>
                  <a:cubicBezTo>
                    <a:pt x="1106" y="175"/>
                    <a:pt x="1106" y="181"/>
                    <a:pt x="1097" y="190"/>
                  </a:cubicBezTo>
                  <a:cubicBezTo>
                    <a:pt x="1088" y="199"/>
                    <a:pt x="1077" y="198"/>
                    <a:pt x="1079" y="212"/>
                  </a:cubicBezTo>
                  <a:cubicBezTo>
                    <a:pt x="1081" y="226"/>
                    <a:pt x="1082" y="224"/>
                    <a:pt x="1069" y="229"/>
                  </a:cubicBezTo>
                  <a:cubicBezTo>
                    <a:pt x="1056" y="234"/>
                    <a:pt x="1050" y="246"/>
                    <a:pt x="1058" y="257"/>
                  </a:cubicBezTo>
                  <a:cubicBezTo>
                    <a:pt x="1066" y="268"/>
                    <a:pt x="1071" y="267"/>
                    <a:pt x="1072" y="279"/>
                  </a:cubicBezTo>
                  <a:cubicBezTo>
                    <a:pt x="1073" y="291"/>
                    <a:pt x="1063" y="296"/>
                    <a:pt x="1057" y="288"/>
                  </a:cubicBezTo>
                  <a:cubicBezTo>
                    <a:pt x="1051" y="280"/>
                    <a:pt x="1035" y="281"/>
                    <a:pt x="1028" y="280"/>
                  </a:cubicBezTo>
                  <a:cubicBezTo>
                    <a:pt x="1021" y="279"/>
                    <a:pt x="1026" y="272"/>
                    <a:pt x="1012" y="272"/>
                  </a:cubicBezTo>
                  <a:cubicBezTo>
                    <a:pt x="998" y="272"/>
                    <a:pt x="998" y="273"/>
                    <a:pt x="996" y="281"/>
                  </a:cubicBezTo>
                  <a:cubicBezTo>
                    <a:pt x="994" y="289"/>
                    <a:pt x="980" y="293"/>
                    <a:pt x="979" y="283"/>
                  </a:cubicBezTo>
                  <a:cubicBezTo>
                    <a:pt x="978" y="273"/>
                    <a:pt x="991" y="266"/>
                    <a:pt x="977" y="260"/>
                  </a:cubicBezTo>
                  <a:cubicBezTo>
                    <a:pt x="963" y="254"/>
                    <a:pt x="948" y="230"/>
                    <a:pt x="933" y="226"/>
                  </a:cubicBezTo>
                  <a:cubicBezTo>
                    <a:pt x="918" y="222"/>
                    <a:pt x="916" y="222"/>
                    <a:pt x="913" y="213"/>
                  </a:cubicBezTo>
                  <a:cubicBezTo>
                    <a:pt x="910" y="204"/>
                    <a:pt x="905" y="202"/>
                    <a:pt x="900" y="202"/>
                  </a:cubicBezTo>
                  <a:cubicBezTo>
                    <a:pt x="895" y="202"/>
                    <a:pt x="895" y="206"/>
                    <a:pt x="893" y="215"/>
                  </a:cubicBezTo>
                  <a:cubicBezTo>
                    <a:pt x="891" y="224"/>
                    <a:pt x="892" y="228"/>
                    <a:pt x="882" y="227"/>
                  </a:cubicBezTo>
                  <a:cubicBezTo>
                    <a:pt x="872" y="226"/>
                    <a:pt x="871" y="218"/>
                    <a:pt x="862" y="218"/>
                  </a:cubicBezTo>
                  <a:cubicBezTo>
                    <a:pt x="853" y="218"/>
                    <a:pt x="846" y="212"/>
                    <a:pt x="845" y="227"/>
                  </a:cubicBezTo>
                  <a:cubicBezTo>
                    <a:pt x="844" y="242"/>
                    <a:pt x="838" y="239"/>
                    <a:pt x="837" y="247"/>
                  </a:cubicBezTo>
                  <a:cubicBezTo>
                    <a:pt x="836" y="255"/>
                    <a:pt x="842" y="258"/>
                    <a:pt x="829" y="258"/>
                  </a:cubicBezTo>
                  <a:cubicBezTo>
                    <a:pt x="816" y="258"/>
                    <a:pt x="817" y="257"/>
                    <a:pt x="817" y="249"/>
                  </a:cubicBezTo>
                  <a:cubicBezTo>
                    <a:pt x="817" y="241"/>
                    <a:pt x="813" y="237"/>
                    <a:pt x="810" y="238"/>
                  </a:cubicBezTo>
                  <a:cubicBezTo>
                    <a:pt x="807" y="239"/>
                    <a:pt x="811" y="255"/>
                    <a:pt x="798" y="256"/>
                  </a:cubicBezTo>
                  <a:cubicBezTo>
                    <a:pt x="785" y="257"/>
                    <a:pt x="781" y="265"/>
                    <a:pt x="782" y="271"/>
                  </a:cubicBezTo>
                  <a:cubicBezTo>
                    <a:pt x="783" y="277"/>
                    <a:pt x="781" y="288"/>
                    <a:pt x="773" y="291"/>
                  </a:cubicBezTo>
                  <a:cubicBezTo>
                    <a:pt x="765" y="294"/>
                    <a:pt x="761" y="293"/>
                    <a:pt x="764" y="300"/>
                  </a:cubicBezTo>
                  <a:cubicBezTo>
                    <a:pt x="767" y="307"/>
                    <a:pt x="760" y="309"/>
                    <a:pt x="753" y="309"/>
                  </a:cubicBezTo>
                  <a:cubicBezTo>
                    <a:pt x="746" y="309"/>
                    <a:pt x="743" y="320"/>
                    <a:pt x="743" y="326"/>
                  </a:cubicBezTo>
                  <a:cubicBezTo>
                    <a:pt x="743" y="332"/>
                    <a:pt x="736" y="321"/>
                    <a:pt x="736" y="333"/>
                  </a:cubicBezTo>
                  <a:cubicBezTo>
                    <a:pt x="736" y="345"/>
                    <a:pt x="733" y="346"/>
                    <a:pt x="737" y="350"/>
                  </a:cubicBezTo>
                  <a:cubicBezTo>
                    <a:pt x="741" y="354"/>
                    <a:pt x="743" y="371"/>
                    <a:pt x="736" y="374"/>
                  </a:cubicBezTo>
                  <a:cubicBezTo>
                    <a:pt x="729" y="377"/>
                    <a:pt x="733" y="365"/>
                    <a:pt x="722" y="365"/>
                  </a:cubicBezTo>
                  <a:cubicBezTo>
                    <a:pt x="711" y="365"/>
                    <a:pt x="710" y="376"/>
                    <a:pt x="704" y="367"/>
                  </a:cubicBezTo>
                  <a:cubicBezTo>
                    <a:pt x="698" y="358"/>
                    <a:pt x="700" y="363"/>
                    <a:pt x="690" y="364"/>
                  </a:cubicBezTo>
                  <a:cubicBezTo>
                    <a:pt x="680" y="365"/>
                    <a:pt x="679" y="372"/>
                    <a:pt x="684" y="373"/>
                  </a:cubicBezTo>
                  <a:cubicBezTo>
                    <a:pt x="689" y="374"/>
                    <a:pt x="697" y="383"/>
                    <a:pt x="688" y="383"/>
                  </a:cubicBezTo>
                  <a:cubicBezTo>
                    <a:pt x="679" y="383"/>
                    <a:pt x="673" y="391"/>
                    <a:pt x="681" y="396"/>
                  </a:cubicBezTo>
                  <a:cubicBezTo>
                    <a:pt x="689" y="401"/>
                    <a:pt x="694" y="402"/>
                    <a:pt x="695" y="411"/>
                  </a:cubicBezTo>
                  <a:cubicBezTo>
                    <a:pt x="696" y="420"/>
                    <a:pt x="706" y="427"/>
                    <a:pt x="694" y="428"/>
                  </a:cubicBezTo>
                  <a:cubicBezTo>
                    <a:pt x="682" y="429"/>
                    <a:pt x="682" y="440"/>
                    <a:pt x="673" y="429"/>
                  </a:cubicBezTo>
                  <a:cubicBezTo>
                    <a:pt x="664" y="418"/>
                    <a:pt x="669" y="417"/>
                    <a:pt x="663" y="414"/>
                  </a:cubicBezTo>
                  <a:cubicBezTo>
                    <a:pt x="657" y="411"/>
                    <a:pt x="664" y="402"/>
                    <a:pt x="657" y="397"/>
                  </a:cubicBezTo>
                  <a:cubicBezTo>
                    <a:pt x="650" y="392"/>
                    <a:pt x="656" y="388"/>
                    <a:pt x="649" y="381"/>
                  </a:cubicBezTo>
                  <a:cubicBezTo>
                    <a:pt x="642" y="374"/>
                    <a:pt x="639" y="378"/>
                    <a:pt x="638" y="388"/>
                  </a:cubicBezTo>
                  <a:cubicBezTo>
                    <a:pt x="637" y="398"/>
                    <a:pt x="633" y="399"/>
                    <a:pt x="623" y="404"/>
                  </a:cubicBezTo>
                  <a:cubicBezTo>
                    <a:pt x="613" y="409"/>
                    <a:pt x="609" y="411"/>
                    <a:pt x="607" y="422"/>
                  </a:cubicBezTo>
                  <a:cubicBezTo>
                    <a:pt x="605" y="433"/>
                    <a:pt x="593" y="424"/>
                    <a:pt x="593" y="439"/>
                  </a:cubicBezTo>
                  <a:cubicBezTo>
                    <a:pt x="593" y="454"/>
                    <a:pt x="585" y="477"/>
                    <a:pt x="594" y="482"/>
                  </a:cubicBezTo>
                  <a:cubicBezTo>
                    <a:pt x="603" y="487"/>
                    <a:pt x="604" y="499"/>
                    <a:pt x="593" y="503"/>
                  </a:cubicBezTo>
                  <a:cubicBezTo>
                    <a:pt x="582" y="507"/>
                    <a:pt x="570" y="518"/>
                    <a:pt x="564" y="526"/>
                  </a:cubicBezTo>
                  <a:cubicBezTo>
                    <a:pt x="558" y="534"/>
                    <a:pt x="554" y="537"/>
                    <a:pt x="554" y="548"/>
                  </a:cubicBezTo>
                  <a:cubicBezTo>
                    <a:pt x="554" y="559"/>
                    <a:pt x="539" y="566"/>
                    <a:pt x="531" y="574"/>
                  </a:cubicBezTo>
                  <a:cubicBezTo>
                    <a:pt x="523" y="582"/>
                    <a:pt x="490" y="606"/>
                    <a:pt x="463" y="61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23" name="Freeform 24979"/>
            <p:cNvSpPr>
              <a:spLocks/>
            </p:cNvSpPr>
            <p:nvPr/>
          </p:nvSpPr>
          <p:spPr bwMode="auto">
            <a:xfrm>
              <a:off x="7697903" y="4822206"/>
              <a:ext cx="16415" cy="23359"/>
            </a:xfrm>
            <a:custGeom>
              <a:avLst/>
              <a:gdLst>
                <a:gd name="T0" fmla="*/ 14 w 44"/>
                <a:gd name="T1" fmla="*/ 11 h 63"/>
                <a:gd name="T2" fmla="*/ 6 w 44"/>
                <a:gd name="T3" fmla="*/ 19 h 63"/>
                <a:gd name="T4" fmla="*/ 6 w 44"/>
                <a:gd name="T5" fmla="*/ 35 h 63"/>
                <a:gd name="T6" fmla="*/ 12 w 44"/>
                <a:gd name="T7" fmla="*/ 50 h 63"/>
                <a:gd name="T8" fmla="*/ 19 w 44"/>
                <a:gd name="T9" fmla="*/ 55 h 63"/>
                <a:gd name="T10" fmla="*/ 32 w 44"/>
                <a:gd name="T11" fmla="*/ 43 h 63"/>
                <a:gd name="T12" fmla="*/ 38 w 44"/>
                <a:gd name="T13" fmla="*/ 33 h 63"/>
                <a:gd name="T14" fmla="*/ 27 w 44"/>
                <a:gd name="T15" fmla="*/ 20 h 63"/>
                <a:gd name="T16" fmla="*/ 14 w 44"/>
                <a:gd name="T17" fmla="*/ 1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4" h="63">
                  <a:moveTo>
                    <a:pt x="14" y="11"/>
                  </a:moveTo>
                  <a:cubicBezTo>
                    <a:pt x="14" y="11"/>
                    <a:pt x="11" y="17"/>
                    <a:pt x="6" y="19"/>
                  </a:cubicBezTo>
                  <a:cubicBezTo>
                    <a:pt x="0" y="20"/>
                    <a:pt x="6" y="28"/>
                    <a:pt x="6" y="35"/>
                  </a:cubicBezTo>
                  <a:cubicBezTo>
                    <a:pt x="7" y="41"/>
                    <a:pt x="11" y="45"/>
                    <a:pt x="12" y="50"/>
                  </a:cubicBezTo>
                  <a:cubicBezTo>
                    <a:pt x="12" y="55"/>
                    <a:pt x="16" y="63"/>
                    <a:pt x="19" y="55"/>
                  </a:cubicBezTo>
                  <a:cubicBezTo>
                    <a:pt x="22" y="48"/>
                    <a:pt x="26" y="46"/>
                    <a:pt x="32" y="43"/>
                  </a:cubicBezTo>
                  <a:cubicBezTo>
                    <a:pt x="37" y="39"/>
                    <a:pt x="44" y="40"/>
                    <a:pt x="38" y="33"/>
                  </a:cubicBezTo>
                  <a:cubicBezTo>
                    <a:pt x="31" y="27"/>
                    <a:pt x="30" y="26"/>
                    <a:pt x="27" y="20"/>
                  </a:cubicBezTo>
                  <a:cubicBezTo>
                    <a:pt x="24" y="14"/>
                    <a:pt x="14" y="0"/>
                    <a:pt x="14" y="11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24" name="Freeform 24980"/>
            <p:cNvSpPr>
              <a:spLocks/>
            </p:cNvSpPr>
            <p:nvPr/>
          </p:nvSpPr>
          <p:spPr bwMode="auto">
            <a:xfrm>
              <a:off x="7718737" y="4850142"/>
              <a:ext cx="94700" cy="92491"/>
            </a:xfrm>
            <a:custGeom>
              <a:avLst/>
              <a:gdLst>
                <a:gd name="T0" fmla="*/ 8 w 254"/>
                <a:gd name="T1" fmla="*/ 12 h 248"/>
                <a:gd name="T2" fmla="*/ 4 w 254"/>
                <a:gd name="T3" fmla="*/ 24 h 248"/>
                <a:gd name="T4" fmla="*/ 9 w 254"/>
                <a:gd name="T5" fmla="*/ 65 h 248"/>
                <a:gd name="T6" fmla="*/ 16 w 254"/>
                <a:gd name="T7" fmla="*/ 94 h 248"/>
                <a:gd name="T8" fmla="*/ 31 w 254"/>
                <a:gd name="T9" fmla="*/ 111 h 248"/>
                <a:gd name="T10" fmla="*/ 43 w 254"/>
                <a:gd name="T11" fmla="*/ 136 h 248"/>
                <a:gd name="T12" fmla="*/ 52 w 254"/>
                <a:gd name="T13" fmla="*/ 176 h 248"/>
                <a:gd name="T14" fmla="*/ 80 w 254"/>
                <a:gd name="T15" fmla="*/ 209 h 248"/>
                <a:gd name="T16" fmla="*/ 102 w 254"/>
                <a:gd name="T17" fmla="*/ 233 h 248"/>
                <a:gd name="T18" fmla="*/ 131 w 254"/>
                <a:gd name="T19" fmla="*/ 240 h 248"/>
                <a:gd name="T20" fmla="*/ 154 w 254"/>
                <a:gd name="T21" fmla="*/ 238 h 248"/>
                <a:gd name="T22" fmla="*/ 164 w 254"/>
                <a:gd name="T23" fmla="*/ 226 h 248"/>
                <a:gd name="T24" fmla="*/ 174 w 254"/>
                <a:gd name="T25" fmla="*/ 230 h 248"/>
                <a:gd name="T26" fmla="*/ 184 w 254"/>
                <a:gd name="T27" fmla="*/ 216 h 248"/>
                <a:gd name="T28" fmla="*/ 180 w 254"/>
                <a:gd name="T29" fmla="*/ 203 h 248"/>
                <a:gd name="T30" fmla="*/ 187 w 254"/>
                <a:gd name="T31" fmla="*/ 193 h 248"/>
                <a:gd name="T32" fmla="*/ 203 w 254"/>
                <a:gd name="T33" fmla="*/ 206 h 248"/>
                <a:gd name="T34" fmla="*/ 212 w 254"/>
                <a:gd name="T35" fmla="*/ 215 h 248"/>
                <a:gd name="T36" fmla="*/ 220 w 254"/>
                <a:gd name="T37" fmla="*/ 208 h 248"/>
                <a:gd name="T38" fmla="*/ 224 w 254"/>
                <a:gd name="T39" fmla="*/ 186 h 248"/>
                <a:gd name="T40" fmla="*/ 227 w 254"/>
                <a:gd name="T41" fmla="*/ 166 h 248"/>
                <a:gd name="T42" fmla="*/ 222 w 254"/>
                <a:gd name="T43" fmla="*/ 152 h 248"/>
                <a:gd name="T44" fmla="*/ 233 w 254"/>
                <a:gd name="T45" fmla="*/ 138 h 248"/>
                <a:gd name="T46" fmla="*/ 248 w 254"/>
                <a:gd name="T47" fmla="*/ 122 h 248"/>
                <a:gd name="T48" fmla="*/ 246 w 254"/>
                <a:gd name="T49" fmla="*/ 87 h 248"/>
                <a:gd name="T50" fmla="*/ 244 w 254"/>
                <a:gd name="T51" fmla="*/ 32 h 248"/>
                <a:gd name="T52" fmla="*/ 222 w 254"/>
                <a:gd name="T53" fmla="*/ 22 h 248"/>
                <a:gd name="T54" fmla="*/ 208 w 254"/>
                <a:gd name="T55" fmla="*/ 26 h 248"/>
                <a:gd name="T56" fmla="*/ 192 w 254"/>
                <a:gd name="T57" fmla="*/ 30 h 248"/>
                <a:gd name="T58" fmla="*/ 181 w 254"/>
                <a:gd name="T59" fmla="*/ 35 h 248"/>
                <a:gd name="T60" fmla="*/ 151 w 254"/>
                <a:gd name="T61" fmla="*/ 40 h 248"/>
                <a:gd name="T62" fmla="*/ 132 w 254"/>
                <a:gd name="T63" fmla="*/ 46 h 248"/>
                <a:gd name="T64" fmla="*/ 118 w 254"/>
                <a:gd name="T65" fmla="*/ 53 h 248"/>
                <a:gd name="T66" fmla="*/ 94 w 254"/>
                <a:gd name="T67" fmla="*/ 44 h 248"/>
                <a:gd name="T68" fmla="*/ 78 w 254"/>
                <a:gd name="T69" fmla="*/ 36 h 248"/>
                <a:gd name="T70" fmla="*/ 64 w 254"/>
                <a:gd name="T71" fmla="*/ 26 h 248"/>
                <a:gd name="T72" fmla="*/ 30 w 254"/>
                <a:gd name="T73" fmla="*/ 22 h 248"/>
                <a:gd name="T74" fmla="*/ 8 w 254"/>
                <a:gd name="T75" fmla="*/ 12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54" h="248">
                  <a:moveTo>
                    <a:pt x="8" y="12"/>
                  </a:moveTo>
                  <a:cubicBezTo>
                    <a:pt x="8" y="12"/>
                    <a:pt x="4" y="12"/>
                    <a:pt x="4" y="24"/>
                  </a:cubicBezTo>
                  <a:cubicBezTo>
                    <a:pt x="4" y="36"/>
                    <a:pt x="0" y="56"/>
                    <a:pt x="9" y="65"/>
                  </a:cubicBezTo>
                  <a:cubicBezTo>
                    <a:pt x="18" y="74"/>
                    <a:pt x="7" y="90"/>
                    <a:pt x="16" y="94"/>
                  </a:cubicBezTo>
                  <a:cubicBezTo>
                    <a:pt x="26" y="97"/>
                    <a:pt x="22" y="102"/>
                    <a:pt x="31" y="111"/>
                  </a:cubicBezTo>
                  <a:cubicBezTo>
                    <a:pt x="40" y="120"/>
                    <a:pt x="43" y="120"/>
                    <a:pt x="43" y="136"/>
                  </a:cubicBezTo>
                  <a:cubicBezTo>
                    <a:pt x="43" y="152"/>
                    <a:pt x="43" y="166"/>
                    <a:pt x="52" y="176"/>
                  </a:cubicBezTo>
                  <a:cubicBezTo>
                    <a:pt x="62" y="187"/>
                    <a:pt x="66" y="195"/>
                    <a:pt x="80" y="209"/>
                  </a:cubicBezTo>
                  <a:cubicBezTo>
                    <a:pt x="95" y="223"/>
                    <a:pt x="90" y="230"/>
                    <a:pt x="102" y="233"/>
                  </a:cubicBezTo>
                  <a:cubicBezTo>
                    <a:pt x="115" y="236"/>
                    <a:pt x="121" y="234"/>
                    <a:pt x="131" y="240"/>
                  </a:cubicBezTo>
                  <a:cubicBezTo>
                    <a:pt x="141" y="247"/>
                    <a:pt x="156" y="248"/>
                    <a:pt x="154" y="238"/>
                  </a:cubicBezTo>
                  <a:cubicBezTo>
                    <a:pt x="152" y="228"/>
                    <a:pt x="158" y="228"/>
                    <a:pt x="164" y="226"/>
                  </a:cubicBezTo>
                  <a:cubicBezTo>
                    <a:pt x="169" y="224"/>
                    <a:pt x="166" y="234"/>
                    <a:pt x="174" y="230"/>
                  </a:cubicBezTo>
                  <a:cubicBezTo>
                    <a:pt x="183" y="226"/>
                    <a:pt x="193" y="222"/>
                    <a:pt x="184" y="216"/>
                  </a:cubicBezTo>
                  <a:cubicBezTo>
                    <a:pt x="174" y="211"/>
                    <a:pt x="179" y="209"/>
                    <a:pt x="180" y="203"/>
                  </a:cubicBezTo>
                  <a:cubicBezTo>
                    <a:pt x="180" y="197"/>
                    <a:pt x="178" y="193"/>
                    <a:pt x="187" y="193"/>
                  </a:cubicBezTo>
                  <a:cubicBezTo>
                    <a:pt x="196" y="193"/>
                    <a:pt x="197" y="205"/>
                    <a:pt x="203" y="206"/>
                  </a:cubicBezTo>
                  <a:cubicBezTo>
                    <a:pt x="209" y="206"/>
                    <a:pt x="206" y="215"/>
                    <a:pt x="212" y="215"/>
                  </a:cubicBezTo>
                  <a:cubicBezTo>
                    <a:pt x="217" y="215"/>
                    <a:pt x="224" y="222"/>
                    <a:pt x="220" y="208"/>
                  </a:cubicBezTo>
                  <a:cubicBezTo>
                    <a:pt x="216" y="195"/>
                    <a:pt x="219" y="191"/>
                    <a:pt x="224" y="186"/>
                  </a:cubicBezTo>
                  <a:cubicBezTo>
                    <a:pt x="228" y="182"/>
                    <a:pt x="232" y="171"/>
                    <a:pt x="227" y="166"/>
                  </a:cubicBezTo>
                  <a:cubicBezTo>
                    <a:pt x="222" y="162"/>
                    <a:pt x="220" y="160"/>
                    <a:pt x="222" y="152"/>
                  </a:cubicBezTo>
                  <a:cubicBezTo>
                    <a:pt x="225" y="145"/>
                    <a:pt x="223" y="140"/>
                    <a:pt x="233" y="138"/>
                  </a:cubicBezTo>
                  <a:cubicBezTo>
                    <a:pt x="243" y="136"/>
                    <a:pt x="248" y="136"/>
                    <a:pt x="248" y="122"/>
                  </a:cubicBezTo>
                  <a:cubicBezTo>
                    <a:pt x="247" y="108"/>
                    <a:pt x="246" y="102"/>
                    <a:pt x="246" y="87"/>
                  </a:cubicBezTo>
                  <a:cubicBezTo>
                    <a:pt x="246" y="72"/>
                    <a:pt x="254" y="40"/>
                    <a:pt x="244" y="32"/>
                  </a:cubicBezTo>
                  <a:cubicBezTo>
                    <a:pt x="234" y="25"/>
                    <a:pt x="228" y="16"/>
                    <a:pt x="222" y="22"/>
                  </a:cubicBezTo>
                  <a:cubicBezTo>
                    <a:pt x="217" y="28"/>
                    <a:pt x="222" y="28"/>
                    <a:pt x="208" y="26"/>
                  </a:cubicBezTo>
                  <a:cubicBezTo>
                    <a:pt x="195" y="24"/>
                    <a:pt x="193" y="28"/>
                    <a:pt x="192" y="30"/>
                  </a:cubicBezTo>
                  <a:cubicBezTo>
                    <a:pt x="192" y="33"/>
                    <a:pt x="190" y="37"/>
                    <a:pt x="181" y="35"/>
                  </a:cubicBezTo>
                  <a:cubicBezTo>
                    <a:pt x="172" y="33"/>
                    <a:pt x="154" y="34"/>
                    <a:pt x="151" y="40"/>
                  </a:cubicBezTo>
                  <a:cubicBezTo>
                    <a:pt x="148" y="45"/>
                    <a:pt x="133" y="40"/>
                    <a:pt x="132" y="46"/>
                  </a:cubicBezTo>
                  <a:cubicBezTo>
                    <a:pt x="130" y="53"/>
                    <a:pt x="130" y="55"/>
                    <a:pt x="118" y="53"/>
                  </a:cubicBezTo>
                  <a:cubicBezTo>
                    <a:pt x="107" y="51"/>
                    <a:pt x="104" y="51"/>
                    <a:pt x="94" y="44"/>
                  </a:cubicBezTo>
                  <a:cubicBezTo>
                    <a:pt x="84" y="36"/>
                    <a:pt x="85" y="44"/>
                    <a:pt x="78" y="36"/>
                  </a:cubicBezTo>
                  <a:cubicBezTo>
                    <a:pt x="72" y="27"/>
                    <a:pt x="72" y="30"/>
                    <a:pt x="64" y="26"/>
                  </a:cubicBezTo>
                  <a:cubicBezTo>
                    <a:pt x="56" y="22"/>
                    <a:pt x="39" y="34"/>
                    <a:pt x="30" y="22"/>
                  </a:cubicBezTo>
                  <a:cubicBezTo>
                    <a:pt x="20" y="10"/>
                    <a:pt x="16" y="0"/>
                    <a:pt x="8" y="12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25" name="Freeform 24981"/>
            <p:cNvSpPr>
              <a:spLocks/>
            </p:cNvSpPr>
            <p:nvPr/>
          </p:nvSpPr>
          <p:spPr bwMode="auto">
            <a:xfrm>
              <a:off x="7792603" y="4829939"/>
              <a:ext cx="20045" cy="24938"/>
            </a:xfrm>
            <a:custGeom>
              <a:avLst/>
              <a:gdLst>
                <a:gd name="T0" fmla="*/ 21 w 54"/>
                <a:gd name="T1" fmla="*/ 0 h 67"/>
                <a:gd name="T2" fmla="*/ 7 w 54"/>
                <a:gd name="T3" fmla="*/ 10 h 67"/>
                <a:gd name="T4" fmla="*/ 19 w 54"/>
                <a:gd name="T5" fmla="*/ 31 h 67"/>
                <a:gd name="T6" fmla="*/ 32 w 54"/>
                <a:gd name="T7" fmla="*/ 47 h 67"/>
                <a:gd name="T8" fmla="*/ 39 w 54"/>
                <a:gd name="T9" fmla="*/ 62 h 67"/>
                <a:gd name="T10" fmla="*/ 46 w 54"/>
                <a:gd name="T11" fmla="*/ 56 h 67"/>
                <a:gd name="T12" fmla="*/ 46 w 54"/>
                <a:gd name="T13" fmla="*/ 21 h 67"/>
                <a:gd name="T14" fmla="*/ 21 w 54"/>
                <a:gd name="T15" fmla="*/ 0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4" h="67">
                  <a:moveTo>
                    <a:pt x="21" y="0"/>
                  </a:moveTo>
                  <a:cubicBezTo>
                    <a:pt x="21" y="0"/>
                    <a:pt x="0" y="1"/>
                    <a:pt x="7" y="10"/>
                  </a:cubicBezTo>
                  <a:cubicBezTo>
                    <a:pt x="14" y="20"/>
                    <a:pt x="16" y="22"/>
                    <a:pt x="19" y="31"/>
                  </a:cubicBezTo>
                  <a:cubicBezTo>
                    <a:pt x="22" y="40"/>
                    <a:pt x="29" y="38"/>
                    <a:pt x="32" y="47"/>
                  </a:cubicBezTo>
                  <a:cubicBezTo>
                    <a:pt x="36" y="56"/>
                    <a:pt x="35" y="60"/>
                    <a:pt x="39" y="62"/>
                  </a:cubicBezTo>
                  <a:cubicBezTo>
                    <a:pt x="43" y="63"/>
                    <a:pt x="45" y="67"/>
                    <a:pt x="46" y="56"/>
                  </a:cubicBezTo>
                  <a:cubicBezTo>
                    <a:pt x="48" y="44"/>
                    <a:pt x="54" y="30"/>
                    <a:pt x="46" y="21"/>
                  </a:cubicBezTo>
                  <a:cubicBezTo>
                    <a:pt x="37" y="12"/>
                    <a:pt x="38" y="10"/>
                    <a:pt x="21" y="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26" name="Freeform 24982"/>
            <p:cNvSpPr>
              <a:spLocks/>
            </p:cNvSpPr>
            <p:nvPr/>
          </p:nvSpPr>
          <p:spPr bwMode="auto">
            <a:xfrm>
              <a:off x="7526337" y="4715037"/>
              <a:ext cx="35828" cy="16415"/>
            </a:xfrm>
            <a:custGeom>
              <a:avLst/>
              <a:gdLst>
                <a:gd name="T0" fmla="*/ 50 w 96"/>
                <a:gd name="T1" fmla="*/ 2 h 44"/>
                <a:gd name="T2" fmla="*/ 36 w 96"/>
                <a:gd name="T3" fmla="*/ 7 h 44"/>
                <a:gd name="T4" fmla="*/ 21 w 96"/>
                <a:gd name="T5" fmla="*/ 13 h 44"/>
                <a:gd name="T6" fmla="*/ 9 w 96"/>
                <a:gd name="T7" fmla="*/ 18 h 44"/>
                <a:gd name="T8" fmla="*/ 4 w 96"/>
                <a:gd name="T9" fmla="*/ 26 h 44"/>
                <a:gd name="T10" fmla="*/ 14 w 96"/>
                <a:gd name="T11" fmla="*/ 36 h 44"/>
                <a:gd name="T12" fmla="*/ 29 w 96"/>
                <a:gd name="T13" fmla="*/ 42 h 44"/>
                <a:gd name="T14" fmla="*/ 50 w 96"/>
                <a:gd name="T15" fmla="*/ 40 h 44"/>
                <a:gd name="T16" fmla="*/ 76 w 96"/>
                <a:gd name="T17" fmla="*/ 31 h 44"/>
                <a:gd name="T18" fmla="*/ 95 w 96"/>
                <a:gd name="T19" fmla="*/ 23 h 44"/>
                <a:gd name="T20" fmla="*/ 79 w 96"/>
                <a:gd name="T21" fmla="*/ 15 h 44"/>
                <a:gd name="T22" fmla="*/ 50 w 96"/>
                <a:gd name="T23" fmla="*/ 2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6" h="44">
                  <a:moveTo>
                    <a:pt x="50" y="2"/>
                  </a:moveTo>
                  <a:cubicBezTo>
                    <a:pt x="50" y="2"/>
                    <a:pt x="38" y="0"/>
                    <a:pt x="36" y="7"/>
                  </a:cubicBezTo>
                  <a:cubicBezTo>
                    <a:pt x="33" y="14"/>
                    <a:pt x="29" y="14"/>
                    <a:pt x="21" y="13"/>
                  </a:cubicBezTo>
                  <a:cubicBezTo>
                    <a:pt x="13" y="12"/>
                    <a:pt x="10" y="14"/>
                    <a:pt x="9" y="18"/>
                  </a:cubicBezTo>
                  <a:cubicBezTo>
                    <a:pt x="8" y="22"/>
                    <a:pt x="0" y="19"/>
                    <a:pt x="4" y="26"/>
                  </a:cubicBezTo>
                  <a:cubicBezTo>
                    <a:pt x="7" y="34"/>
                    <a:pt x="12" y="32"/>
                    <a:pt x="14" y="36"/>
                  </a:cubicBezTo>
                  <a:cubicBezTo>
                    <a:pt x="16" y="41"/>
                    <a:pt x="18" y="42"/>
                    <a:pt x="29" y="42"/>
                  </a:cubicBezTo>
                  <a:cubicBezTo>
                    <a:pt x="40" y="42"/>
                    <a:pt x="45" y="44"/>
                    <a:pt x="50" y="40"/>
                  </a:cubicBezTo>
                  <a:cubicBezTo>
                    <a:pt x="56" y="36"/>
                    <a:pt x="68" y="32"/>
                    <a:pt x="76" y="31"/>
                  </a:cubicBezTo>
                  <a:cubicBezTo>
                    <a:pt x="84" y="30"/>
                    <a:pt x="94" y="26"/>
                    <a:pt x="95" y="23"/>
                  </a:cubicBezTo>
                  <a:cubicBezTo>
                    <a:pt x="96" y="20"/>
                    <a:pt x="85" y="16"/>
                    <a:pt x="79" y="15"/>
                  </a:cubicBezTo>
                  <a:cubicBezTo>
                    <a:pt x="73" y="14"/>
                    <a:pt x="74" y="2"/>
                    <a:pt x="50" y="2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27" name="Freeform 24983"/>
            <p:cNvSpPr>
              <a:spLocks/>
            </p:cNvSpPr>
            <p:nvPr/>
          </p:nvSpPr>
          <p:spPr bwMode="auto">
            <a:xfrm>
              <a:off x="7368976" y="4097590"/>
              <a:ext cx="41826" cy="21939"/>
            </a:xfrm>
            <a:custGeom>
              <a:avLst/>
              <a:gdLst>
                <a:gd name="T0" fmla="*/ 55 w 112"/>
                <a:gd name="T1" fmla="*/ 18 h 59"/>
                <a:gd name="T2" fmla="*/ 44 w 112"/>
                <a:gd name="T3" fmla="*/ 10 h 59"/>
                <a:gd name="T4" fmla="*/ 31 w 112"/>
                <a:gd name="T5" fmla="*/ 8 h 59"/>
                <a:gd name="T6" fmla="*/ 22 w 112"/>
                <a:gd name="T7" fmla="*/ 16 h 59"/>
                <a:gd name="T8" fmla="*/ 13 w 112"/>
                <a:gd name="T9" fmla="*/ 28 h 59"/>
                <a:gd name="T10" fmla="*/ 10 w 112"/>
                <a:gd name="T11" fmla="*/ 44 h 59"/>
                <a:gd name="T12" fmla="*/ 36 w 112"/>
                <a:gd name="T13" fmla="*/ 46 h 59"/>
                <a:gd name="T14" fmla="*/ 57 w 112"/>
                <a:gd name="T15" fmla="*/ 50 h 59"/>
                <a:gd name="T16" fmla="*/ 74 w 112"/>
                <a:gd name="T17" fmla="*/ 54 h 59"/>
                <a:gd name="T18" fmla="*/ 87 w 112"/>
                <a:gd name="T19" fmla="*/ 47 h 59"/>
                <a:gd name="T20" fmla="*/ 102 w 112"/>
                <a:gd name="T21" fmla="*/ 35 h 59"/>
                <a:gd name="T22" fmla="*/ 112 w 112"/>
                <a:gd name="T23" fmla="*/ 21 h 59"/>
                <a:gd name="T24" fmla="*/ 103 w 112"/>
                <a:gd name="T25" fmla="*/ 12 h 59"/>
                <a:gd name="T26" fmla="*/ 85 w 112"/>
                <a:gd name="T27" fmla="*/ 4 h 59"/>
                <a:gd name="T28" fmla="*/ 78 w 112"/>
                <a:gd name="T29" fmla="*/ 12 h 59"/>
                <a:gd name="T30" fmla="*/ 55 w 112"/>
                <a:gd name="T31" fmla="*/ 18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2" h="59">
                  <a:moveTo>
                    <a:pt x="55" y="18"/>
                  </a:moveTo>
                  <a:cubicBezTo>
                    <a:pt x="55" y="18"/>
                    <a:pt x="49" y="16"/>
                    <a:pt x="44" y="10"/>
                  </a:cubicBezTo>
                  <a:cubicBezTo>
                    <a:pt x="40" y="5"/>
                    <a:pt x="31" y="0"/>
                    <a:pt x="31" y="8"/>
                  </a:cubicBezTo>
                  <a:cubicBezTo>
                    <a:pt x="30" y="15"/>
                    <a:pt x="29" y="16"/>
                    <a:pt x="22" y="16"/>
                  </a:cubicBezTo>
                  <a:cubicBezTo>
                    <a:pt x="15" y="16"/>
                    <a:pt x="13" y="23"/>
                    <a:pt x="13" y="28"/>
                  </a:cubicBezTo>
                  <a:cubicBezTo>
                    <a:pt x="14" y="34"/>
                    <a:pt x="0" y="42"/>
                    <a:pt x="10" y="44"/>
                  </a:cubicBezTo>
                  <a:cubicBezTo>
                    <a:pt x="20" y="46"/>
                    <a:pt x="29" y="41"/>
                    <a:pt x="36" y="46"/>
                  </a:cubicBezTo>
                  <a:cubicBezTo>
                    <a:pt x="43" y="52"/>
                    <a:pt x="51" y="44"/>
                    <a:pt x="57" y="50"/>
                  </a:cubicBezTo>
                  <a:cubicBezTo>
                    <a:pt x="64" y="57"/>
                    <a:pt x="72" y="59"/>
                    <a:pt x="74" y="54"/>
                  </a:cubicBezTo>
                  <a:cubicBezTo>
                    <a:pt x="77" y="49"/>
                    <a:pt x="79" y="47"/>
                    <a:pt x="87" y="47"/>
                  </a:cubicBezTo>
                  <a:cubicBezTo>
                    <a:pt x="95" y="47"/>
                    <a:pt x="95" y="37"/>
                    <a:pt x="102" y="35"/>
                  </a:cubicBezTo>
                  <a:cubicBezTo>
                    <a:pt x="109" y="32"/>
                    <a:pt x="111" y="29"/>
                    <a:pt x="112" y="21"/>
                  </a:cubicBezTo>
                  <a:cubicBezTo>
                    <a:pt x="112" y="14"/>
                    <a:pt x="106" y="20"/>
                    <a:pt x="103" y="12"/>
                  </a:cubicBezTo>
                  <a:cubicBezTo>
                    <a:pt x="99" y="4"/>
                    <a:pt x="90" y="4"/>
                    <a:pt x="85" y="4"/>
                  </a:cubicBezTo>
                  <a:cubicBezTo>
                    <a:pt x="80" y="5"/>
                    <a:pt x="85" y="12"/>
                    <a:pt x="78" y="12"/>
                  </a:cubicBezTo>
                  <a:cubicBezTo>
                    <a:pt x="72" y="13"/>
                    <a:pt x="70" y="21"/>
                    <a:pt x="55" y="18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28" name="Freeform 24984"/>
            <p:cNvSpPr>
              <a:spLocks/>
            </p:cNvSpPr>
            <p:nvPr/>
          </p:nvSpPr>
          <p:spPr bwMode="auto">
            <a:xfrm>
              <a:off x="7411118" y="4095696"/>
              <a:ext cx="24938" cy="14047"/>
            </a:xfrm>
            <a:custGeom>
              <a:avLst/>
              <a:gdLst>
                <a:gd name="T0" fmla="*/ 19 w 67"/>
                <a:gd name="T1" fmla="*/ 2 h 38"/>
                <a:gd name="T2" fmla="*/ 6 w 67"/>
                <a:gd name="T3" fmla="*/ 13 h 38"/>
                <a:gd name="T4" fmla="*/ 21 w 67"/>
                <a:gd name="T5" fmla="*/ 24 h 38"/>
                <a:gd name="T6" fmla="*/ 40 w 67"/>
                <a:gd name="T7" fmla="*/ 34 h 38"/>
                <a:gd name="T8" fmla="*/ 62 w 67"/>
                <a:gd name="T9" fmla="*/ 29 h 38"/>
                <a:gd name="T10" fmla="*/ 60 w 67"/>
                <a:gd name="T11" fmla="*/ 14 h 38"/>
                <a:gd name="T12" fmla="*/ 44 w 67"/>
                <a:gd name="T13" fmla="*/ 1 h 38"/>
                <a:gd name="T14" fmla="*/ 19 w 67"/>
                <a:gd name="T15" fmla="*/ 2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7" h="38">
                  <a:moveTo>
                    <a:pt x="19" y="2"/>
                  </a:moveTo>
                  <a:cubicBezTo>
                    <a:pt x="19" y="2"/>
                    <a:pt x="0" y="6"/>
                    <a:pt x="6" y="13"/>
                  </a:cubicBezTo>
                  <a:cubicBezTo>
                    <a:pt x="13" y="19"/>
                    <a:pt x="17" y="18"/>
                    <a:pt x="21" y="24"/>
                  </a:cubicBezTo>
                  <a:cubicBezTo>
                    <a:pt x="26" y="30"/>
                    <a:pt x="33" y="34"/>
                    <a:pt x="40" y="34"/>
                  </a:cubicBezTo>
                  <a:cubicBezTo>
                    <a:pt x="46" y="34"/>
                    <a:pt x="64" y="38"/>
                    <a:pt x="62" y="29"/>
                  </a:cubicBezTo>
                  <a:cubicBezTo>
                    <a:pt x="60" y="20"/>
                    <a:pt x="67" y="17"/>
                    <a:pt x="60" y="14"/>
                  </a:cubicBezTo>
                  <a:cubicBezTo>
                    <a:pt x="52" y="10"/>
                    <a:pt x="52" y="1"/>
                    <a:pt x="44" y="1"/>
                  </a:cubicBezTo>
                  <a:cubicBezTo>
                    <a:pt x="36" y="1"/>
                    <a:pt x="33" y="0"/>
                    <a:pt x="19" y="2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29" name="Freeform 24985"/>
            <p:cNvSpPr>
              <a:spLocks/>
            </p:cNvSpPr>
            <p:nvPr/>
          </p:nvSpPr>
          <p:spPr bwMode="auto">
            <a:xfrm>
              <a:off x="7517340" y="4092697"/>
              <a:ext cx="16099" cy="19414"/>
            </a:xfrm>
            <a:custGeom>
              <a:avLst/>
              <a:gdLst>
                <a:gd name="T0" fmla="*/ 31 w 43"/>
                <a:gd name="T1" fmla="*/ 10 h 52"/>
                <a:gd name="T2" fmla="*/ 20 w 43"/>
                <a:gd name="T3" fmla="*/ 28 h 52"/>
                <a:gd name="T4" fmla="*/ 9 w 43"/>
                <a:gd name="T5" fmla="*/ 39 h 52"/>
                <a:gd name="T6" fmla="*/ 4 w 43"/>
                <a:gd name="T7" fmla="*/ 49 h 52"/>
                <a:gd name="T8" fmla="*/ 13 w 43"/>
                <a:gd name="T9" fmla="*/ 44 h 52"/>
                <a:gd name="T10" fmla="*/ 32 w 43"/>
                <a:gd name="T11" fmla="*/ 32 h 52"/>
                <a:gd name="T12" fmla="*/ 38 w 43"/>
                <a:gd name="T13" fmla="*/ 19 h 52"/>
                <a:gd name="T14" fmla="*/ 31 w 43"/>
                <a:gd name="T15" fmla="*/ 1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3" h="52">
                  <a:moveTo>
                    <a:pt x="31" y="10"/>
                  </a:moveTo>
                  <a:cubicBezTo>
                    <a:pt x="31" y="10"/>
                    <a:pt x="26" y="24"/>
                    <a:pt x="20" y="28"/>
                  </a:cubicBezTo>
                  <a:cubicBezTo>
                    <a:pt x="14" y="33"/>
                    <a:pt x="13" y="37"/>
                    <a:pt x="9" y="39"/>
                  </a:cubicBezTo>
                  <a:cubicBezTo>
                    <a:pt x="5" y="41"/>
                    <a:pt x="0" y="46"/>
                    <a:pt x="4" y="49"/>
                  </a:cubicBezTo>
                  <a:cubicBezTo>
                    <a:pt x="9" y="52"/>
                    <a:pt x="7" y="49"/>
                    <a:pt x="13" y="44"/>
                  </a:cubicBezTo>
                  <a:cubicBezTo>
                    <a:pt x="18" y="40"/>
                    <a:pt x="29" y="41"/>
                    <a:pt x="32" y="32"/>
                  </a:cubicBezTo>
                  <a:cubicBezTo>
                    <a:pt x="35" y="24"/>
                    <a:pt x="32" y="24"/>
                    <a:pt x="38" y="19"/>
                  </a:cubicBezTo>
                  <a:cubicBezTo>
                    <a:pt x="43" y="15"/>
                    <a:pt x="38" y="0"/>
                    <a:pt x="31" y="1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30" name="Freeform 24986"/>
            <p:cNvSpPr>
              <a:spLocks/>
            </p:cNvSpPr>
            <p:nvPr/>
          </p:nvSpPr>
          <p:spPr bwMode="auto">
            <a:xfrm>
              <a:off x="7520813" y="4159461"/>
              <a:ext cx="17046" cy="16415"/>
            </a:xfrm>
            <a:custGeom>
              <a:avLst/>
              <a:gdLst>
                <a:gd name="T0" fmla="*/ 24 w 46"/>
                <a:gd name="T1" fmla="*/ 4 h 44"/>
                <a:gd name="T2" fmla="*/ 10 w 46"/>
                <a:gd name="T3" fmla="*/ 10 h 44"/>
                <a:gd name="T4" fmla="*/ 11 w 46"/>
                <a:gd name="T5" fmla="*/ 33 h 44"/>
                <a:gd name="T6" fmla="*/ 26 w 46"/>
                <a:gd name="T7" fmla="*/ 38 h 44"/>
                <a:gd name="T8" fmla="*/ 41 w 46"/>
                <a:gd name="T9" fmla="*/ 40 h 44"/>
                <a:gd name="T10" fmla="*/ 39 w 46"/>
                <a:gd name="T11" fmla="*/ 30 h 44"/>
                <a:gd name="T12" fmla="*/ 34 w 46"/>
                <a:gd name="T13" fmla="*/ 19 h 44"/>
                <a:gd name="T14" fmla="*/ 41 w 46"/>
                <a:gd name="T15" fmla="*/ 9 h 44"/>
                <a:gd name="T16" fmla="*/ 24 w 46"/>
                <a:gd name="T17" fmla="*/ 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6" h="44">
                  <a:moveTo>
                    <a:pt x="24" y="4"/>
                  </a:moveTo>
                  <a:cubicBezTo>
                    <a:pt x="24" y="4"/>
                    <a:pt x="8" y="0"/>
                    <a:pt x="10" y="10"/>
                  </a:cubicBezTo>
                  <a:cubicBezTo>
                    <a:pt x="12" y="20"/>
                    <a:pt x="0" y="30"/>
                    <a:pt x="11" y="33"/>
                  </a:cubicBezTo>
                  <a:cubicBezTo>
                    <a:pt x="23" y="36"/>
                    <a:pt x="25" y="33"/>
                    <a:pt x="26" y="38"/>
                  </a:cubicBezTo>
                  <a:cubicBezTo>
                    <a:pt x="28" y="42"/>
                    <a:pt x="39" y="44"/>
                    <a:pt x="41" y="40"/>
                  </a:cubicBezTo>
                  <a:cubicBezTo>
                    <a:pt x="42" y="37"/>
                    <a:pt x="46" y="32"/>
                    <a:pt x="39" y="30"/>
                  </a:cubicBezTo>
                  <a:cubicBezTo>
                    <a:pt x="33" y="28"/>
                    <a:pt x="29" y="21"/>
                    <a:pt x="34" y="19"/>
                  </a:cubicBezTo>
                  <a:cubicBezTo>
                    <a:pt x="40" y="17"/>
                    <a:pt x="44" y="17"/>
                    <a:pt x="41" y="9"/>
                  </a:cubicBezTo>
                  <a:cubicBezTo>
                    <a:pt x="39" y="2"/>
                    <a:pt x="33" y="3"/>
                    <a:pt x="24" y="4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31" name="Freeform 24987"/>
            <p:cNvSpPr>
              <a:spLocks/>
            </p:cNvSpPr>
            <p:nvPr/>
          </p:nvSpPr>
          <p:spPr bwMode="auto">
            <a:xfrm>
              <a:off x="7587577" y="4224646"/>
              <a:ext cx="19729" cy="11996"/>
            </a:xfrm>
            <a:custGeom>
              <a:avLst/>
              <a:gdLst>
                <a:gd name="T0" fmla="*/ 24 w 53"/>
                <a:gd name="T1" fmla="*/ 0 h 32"/>
                <a:gd name="T2" fmla="*/ 11 w 53"/>
                <a:gd name="T3" fmla="*/ 7 h 32"/>
                <a:gd name="T4" fmla="*/ 4 w 53"/>
                <a:gd name="T5" fmla="*/ 19 h 32"/>
                <a:gd name="T6" fmla="*/ 19 w 53"/>
                <a:gd name="T7" fmla="*/ 23 h 32"/>
                <a:gd name="T8" fmla="*/ 36 w 53"/>
                <a:gd name="T9" fmla="*/ 11 h 32"/>
                <a:gd name="T10" fmla="*/ 45 w 53"/>
                <a:gd name="T11" fmla="*/ 4 h 32"/>
                <a:gd name="T12" fmla="*/ 24 w 53"/>
                <a:gd name="T13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3" h="32">
                  <a:moveTo>
                    <a:pt x="24" y="0"/>
                  </a:moveTo>
                  <a:cubicBezTo>
                    <a:pt x="24" y="0"/>
                    <a:pt x="13" y="2"/>
                    <a:pt x="11" y="7"/>
                  </a:cubicBezTo>
                  <a:cubicBezTo>
                    <a:pt x="9" y="12"/>
                    <a:pt x="0" y="10"/>
                    <a:pt x="4" y="19"/>
                  </a:cubicBezTo>
                  <a:cubicBezTo>
                    <a:pt x="8" y="27"/>
                    <a:pt x="17" y="32"/>
                    <a:pt x="19" y="23"/>
                  </a:cubicBezTo>
                  <a:cubicBezTo>
                    <a:pt x="21" y="15"/>
                    <a:pt x="30" y="11"/>
                    <a:pt x="36" y="11"/>
                  </a:cubicBezTo>
                  <a:cubicBezTo>
                    <a:pt x="41" y="11"/>
                    <a:pt x="53" y="8"/>
                    <a:pt x="45" y="4"/>
                  </a:cubicBezTo>
                  <a:cubicBezTo>
                    <a:pt x="37" y="1"/>
                    <a:pt x="33" y="0"/>
                    <a:pt x="24" y="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32" name="Freeform 24988"/>
            <p:cNvSpPr>
              <a:spLocks/>
            </p:cNvSpPr>
            <p:nvPr/>
          </p:nvSpPr>
          <p:spPr bwMode="auto">
            <a:xfrm>
              <a:off x="6966657" y="4433145"/>
              <a:ext cx="6787" cy="14995"/>
            </a:xfrm>
            <a:custGeom>
              <a:avLst/>
              <a:gdLst>
                <a:gd name="T0" fmla="*/ 12 w 18"/>
                <a:gd name="T1" fmla="*/ 2 h 40"/>
                <a:gd name="T2" fmla="*/ 8 w 18"/>
                <a:gd name="T3" fmla="*/ 14 h 40"/>
                <a:gd name="T4" fmla="*/ 5 w 18"/>
                <a:gd name="T5" fmla="*/ 22 h 40"/>
                <a:gd name="T6" fmla="*/ 3 w 18"/>
                <a:gd name="T7" fmla="*/ 38 h 40"/>
                <a:gd name="T8" fmla="*/ 16 w 18"/>
                <a:gd name="T9" fmla="*/ 30 h 40"/>
                <a:gd name="T10" fmla="*/ 12 w 18"/>
                <a:gd name="T11" fmla="*/ 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40">
                  <a:moveTo>
                    <a:pt x="12" y="2"/>
                  </a:moveTo>
                  <a:cubicBezTo>
                    <a:pt x="12" y="2"/>
                    <a:pt x="7" y="9"/>
                    <a:pt x="8" y="14"/>
                  </a:cubicBezTo>
                  <a:cubicBezTo>
                    <a:pt x="9" y="18"/>
                    <a:pt x="11" y="22"/>
                    <a:pt x="5" y="22"/>
                  </a:cubicBezTo>
                  <a:cubicBezTo>
                    <a:pt x="0" y="23"/>
                    <a:pt x="0" y="38"/>
                    <a:pt x="3" y="38"/>
                  </a:cubicBezTo>
                  <a:cubicBezTo>
                    <a:pt x="7" y="38"/>
                    <a:pt x="14" y="40"/>
                    <a:pt x="16" y="30"/>
                  </a:cubicBezTo>
                  <a:cubicBezTo>
                    <a:pt x="18" y="19"/>
                    <a:pt x="18" y="0"/>
                    <a:pt x="12" y="2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33" name="Freeform 24990"/>
            <p:cNvSpPr>
              <a:spLocks/>
            </p:cNvSpPr>
            <p:nvPr/>
          </p:nvSpPr>
          <p:spPr bwMode="auto">
            <a:xfrm>
              <a:off x="8637173" y="4940423"/>
              <a:ext cx="17520" cy="11838"/>
            </a:xfrm>
            <a:custGeom>
              <a:avLst/>
              <a:gdLst>
                <a:gd name="T0" fmla="*/ 41 w 47"/>
                <a:gd name="T1" fmla="*/ 7 h 32"/>
                <a:gd name="T2" fmla="*/ 19 w 47"/>
                <a:gd name="T3" fmla="*/ 0 h 32"/>
                <a:gd name="T4" fmla="*/ 5 w 47"/>
                <a:gd name="T5" fmla="*/ 5 h 32"/>
                <a:gd name="T6" fmla="*/ 8 w 47"/>
                <a:gd name="T7" fmla="*/ 19 h 32"/>
                <a:gd name="T8" fmla="*/ 21 w 47"/>
                <a:gd name="T9" fmla="*/ 27 h 32"/>
                <a:gd name="T10" fmla="*/ 35 w 47"/>
                <a:gd name="T11" fmla="*/ 16 h 32"/>
                <a:gd name="T12" fmla="*/ 41 w 47"/>
                <a:gd name="T13" fmla="*/ 7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32">
                  <a:moveTo>
                    <a:pt x="41" y="7"/>
                  </a:moveTo>
                  <a:cubicBezTo>
                    <a:pt x="34" y="5"/>
                    <a:pt x="25" y="0"/>
                    <a:pt x="19" y="0"/>
                  </a:cubicBezTo>
                  <a:cubicBezTo>
                    <a:pt x="19" y="0"/>
                    <a:pt x="9" y="2"/>
                    <a:pt x="5" y="5"/>
                  </a:cubicBezTo>
                  <a:cubicBezTo>
                    <a:pt x="0" y="9"/>
                    <a:pt x="4" y="13"/>
                    <a:pt x="8" y="19"/>
                  </a:cubicBezTo>
                  <a:cubicBezTo>
                    <a:pt x="12" y="25"/>
                    <a:pt x="14" y="32"/>
                    <a:pt x="21" y="27"/>
                  </a:cubicBezTo>
                  <a:cubicBezTo>
                    <a:pt x="28" y="22"/>
                    <a:pt x="27" y="19"/>
                    <a:pt x="35" y="16"/>
                  </a:cubicBezTo>
                  <a:cubicBezTo>
                    <a:pt x="43" y="13"/>
                    <a:pt x="47" y="9"/>
                    <a:pt x="41" y="7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34" name="Freeform 24991"/>
            <p:cNvSpPr>
              <a:spLocks/>
            </p:cNvSpPr>
            <p:nvPr/>
          </p:nvSpPr>
          <p:spPr bwMode="auto">
            <a:xfrm>
              <a:off x="8238484" y="4845249"/>
              <a:ext cx="190979" cy="187980"/>
            </a:xfrm>
            <a:custGeom>
              <a:avLst/>
              <a:gdLst>
                <a:gd name="T0" fmla="*/ 274 w 512"/>
                <a:gd name="T1" fmla="*/ 195 h 504"/>
                <a:gd name="T2" fmla="*/ 226 w 512"/>
                <a:gd name="T3" fmla="*/ 236 h 504"/>
                <a:gd name="T4" fmla="*/ 177 w 512"/>
                <a:gd name="T5" fmla="*/ 260 h 504"/>
                <a:gd name="T6" fmla="*/ 146 w 512"/>
                <a:gd name="T7" fmla="*/ 280 h 504"/>
                <a:gd name="T8" fmla="*/ 106 w 512"/>
                <a:gd name="T9" fmla="*/ 307 h 504"/>
                <a:gd name="T10" fmla="*/ 70 w 512"/>
                <a:gd name="T11" fmla="*/ 352 h 504"/>
                <a:gd name="T12" fmla="*/ 46 w 512"/>
                <a:gd name="T13" fmla="*/ 365 h 504"/>
                <a:gd name="T14" fmla="*/ 38 w 512"/>
                <a:gd name="T15" fmla="*/ 388 h 504"/>
                <a:gd name="T16" fmla="*/ 21 w 512"/>
                <a:gd name="T17" fmla="*/ 403 h 504"/>
                <a:gd name="T18" fmla="*/ 0 w 512"/>
                <a:gd name="T19" fmla="*/ 423 h 504"/>
                <a:gd name="T20" fmla="*/ 14 w 512"/>
                <a:gd name="T21" fmla="*/ 451 h 504"/>
                <a:gd name="T22" fmla="*/ 53 w 512"/>
                <a:gd name="T23" fmla="*/ 464 h 504"/>
                <a:gd name="T24" fmla="*/ 73 w 512"/>
                <a:gd name="T25" fmla="*/ 459 h 504"/>
                <a:gd name="T26" fmla="*/ 94 w 512"/>
                <a:gd name="T27" fmla="*/ 476 h 504"/>
                <a:gd name="T28" fmla="*/ 118 w 512"/>
                <a:gd name="T29" fmla="*/ 484 h 504"/>
                <a:gd name="T30" fmla="*/ 141 w 512"/>
                <a:gd name="T31" fmla="*/ 493 h 504"/>
                <a:gd name="T32" fmla="*/ 202 w 512"/>
                <a:gd name="T33" fmla="*/ 489 h 504"/>
                <a:gd name="T34" fmla="*/ 249 w 512"/>
                <a:gd name="T35" fmla="*/ 443 h 504"/>
                <a:gd name="T36" fmla="*/ 281 w 512"/>
                <a:gd name="T37" fmla="*/ 408 h 504"/>
                <a:gd name="T38" fmla="*/ 306 w 512"/>
                <a:gd name="T39" fmla="*/ 349 h 504"/>
                <a:gd name="T40" fmla="*/ 346 w 512"/>
                <a:gd name="T41" fmla="*/ 288 h 504"/>
                <a:gd name="T42" fmla="*/ 406 w 512"/>
                <a:gd name="T43" fmla="*/ 276 h 504"/>
                <a:gd name="T44" fmla="*/ 425 w 512"/>
                <a:gd name="T45" fmla="*/ 260 h 504"/>
                <a:gd name="T46" fmla="*/ 405 w 512"/>
                <a:gd name="T47" fmla="*/ 227 h 504"/>
                <a:gd name="T48" fmla="*/ 442 w 512"/>
                <a:gd name="T49" fmla="*/ 189 h 504"/>
                <a:gd name="T50" fmla="*/ 476 w 512"/>
                <a:gd name="T51" fmla="*/ 148 h 504"/>
                <a:gd name="T52" fmla="*/ 501 w 512"/>
                <a:gd name="T53" fmla="*/ 113 h 504"/>
                <a:gd name="T54" fmla="*/ 496 w 512"/>
                <a:gd name="T55" fmla="*/ 71 h 504"/>
                <a:gd name="T56" fmla="*/ 501 w 512"/>
                <a:gd name="T57" fmla="*/ 57 h 504"/>
                <a:gd name="T58" fmla="*/ 481 w 512"/>
                <a:gd name="T59" fmla="*/ 67 h 504"/>
                <a:gd name="T60" fmla="*/ 485 w 512"/>
                <a:gd name="T61" fmla="*/ 33 h 504"/>
                <a:gd name="T62" fmla="*/ 464 w 512"/>
                <a:gd name="T63" fmla="*/ 51 h 504"/>
                <a:gd name="T64" fmla="*/ 425 w 512"/>
                <a:gd name="T65" fmla="*/ 67 h 504"/>
                <a:gd name="T66" fmla="*/ 414 w 512"/>
                <a:gd name="T67" fmla="*/ 29 h 504"/>
                <a:gd name="T68" fmla="*/ 414 w 512"/>
                <a:gd name="T69" fmla="*/ 16 h 504"/>
                <a:gd name="T70" fmla="*/ 398 w 512"/>
                <a:gd name="T71" fmla="*/ 12 h 504"/>
                <a:gd name="T72" fmla="*/ 372 w 512"/>
                <a:gd name="T73" fmla="*/ 32 h 504"/>
                <a:gd name="T74" fmla="*/ 362 w 512"/>
                <a:gd name="T75" fmla="*/ 61 h 504"/>
                <a:gd name="T76" fmla="*/ 348 w 512"/>
                <a:gd name="T77" fmla="*/ 99 h 504"/>
                <a:gd name="T78" fmla="*/ 310 w 512"/>
                <a:gd name="T79" fmla="*/ 136 h 504"/>
                <a:gd name="T80" fmla="*/ 274 w 512"/>
                <a:gd name="T81" fmla="*/ 195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12" h="504">
                  <a:moveTo>
                    <a:pt x="274" y="195"/>
                  </a:moveTo>
                  <a:cubicBezTo>
                    <a:pt x="274" y="195"/>
                    <a:pt x="244" y="225"/>
                    <a:pt x="226" y="236"/>
                  </a:cubicBezTo>
                  <a:cubicBezTo>
                    <a:pt x="209" y="247"/>
                    <a:pt x="189" y="249"/>
                    <a:pt x="177" y="260"/>
                  </a:cubicBezTo>
                  <a:cubicBezTo>
                    <a:pt x="165" y="271"/>
                    <a:pt x="164" y="280"/>
                    <a:pt x="146" y="280"/>
                  </a:cubicBezTo>
                  <a:cubicBezTo>
                    <a:pt x="129" y="280"/>
                    <a:pt x="116" y="287"/>
                    <a:pt x="106" y="307"/>
                  </a:cubicBezTo>
                  <a:cubicBezTo>
                    <a:pt x="97" y="327"/>
                    <a:pt x="73" y="341"/>
                    <a:pt x="70" y="352"/>
                  </a:cubicBezTo>
                  <a:cubicBezTo>
                    <a:pt x="68" y="363"/>
                    <a:pt x="56" y="361"/>
                    <a:pt x="46" y="365"/>
                  </a:cubicBezTo>
                  <a:cubicBezTo>
                    <a:pt x="37" y="369"/>
                    <a:pt x="38" y="375"/>
                    <a:pt x="38" y="388"/>
                  </a:cubicBezTo>
                  <a:cubicBezTo>
                    <a:pt x="38" y="401"/>
                    <a:pt x="22" y="391"/>
                    <a:pt x="21" y="403"/>
                  </a:cubicBezTo>
                  <a:cubicBezTo>
                    <a:pt x="20" y="415"/>
                    <a:pt x="0" y="396"/>
                    <a:pt x="0" y="423"/>
                  </a:cubicBezTo>
                  <a:cubicBezTo>
                    <a:pt x="0" y="449"/>
                    <a:pt x="1" y="445"/>
                    <a:pt x="14" y="451"/>
                  </a:cubicBezTo>
                  <a:cubicBezTo>
                    <a:pt x="28" y="456"/>
                    <a:pt x="49" y="479"/>
                    <a:pt x="53" y="464"/>
                  </a:cubicBezTo>
                  <a:cubicBezTo>
                    <a:pt x="57" y="449"/>
                    <a:pt x="66" y="448"/>
                    <a:pt x="73" y="459"/>
                  </a:cubicBezTo>
                  <a:cubicBezTo>
                    <a:pt x="80" y="469"/>
                    <a:pt x="82" y="476"/>
                    <a:pt x="94" y="476"/>
                  </a:cubicBezTo>
                  <a:cubicBezTo>
                    <a:pt x="106" y="476"/>
                    <a:pt x="116" y="480"/>
                    <a:pt x="118" y="484"/>
                  </a:cubicBezTo>
                  <a:cubicBezTo>
                    <a:pt x="121" y="488"/>
                    <a:pt x="130" y="493"/>
                    <a:pt x="141" y="493"/>
                  </a:cubicBezTo>
                  <a:cubicBezTo>
                    <a:pt x="152" y="493"/>
                    <a:pt x="193" y="504"/>
                    <a:pt x="202" y="489"/>
                  </a:cubicBezTo>
                  <a:cubicBezTo>
                    <a:pt x="212" y="475"/>
                    <a:pt x="233" y="451"/>
                    <a:pt x="249" y="443"/>
                  </a:cubicBezTo>
                  <a:cubicBezTo>
                    <a:pt x="265" y="435"/>
                    <a:pt x="274" y="431"/>
                    <a:pt x="281" y="408"/>
                  </a:cubicBezTo>
                  <a:cubicBezTo>
                    <a:pt x="288" y="385"/>
                    <a:pt x="304" y="375"/>
                    <a:pt x="306" y="349"/>
                  </a:cubicBezTo>
                  <a:cubicBezTo>
                    <a:pt x="309" y="324"/>
                    <a:pt x="321" y="293"/>
                    <a:pt x="346" y="288"/>
                  </a:cubicBezTo>
                  <a:cubicBezTo>
                    <a:pt x="372" y="283"/>
                    <a:pt x="385" y="276"/>
                    <a:pt x="406" y="276"/>
                  </a:cubicBezTo>
                  <a:cubicBezTo>
                    <a:pt x="428" y="276"/>
                    <a:pt x="436" y="271"/>
                    <a:pt x="425" y="260"/>
                  </a:cubicBezTo>
                  <a:cubicBezTo>
                    <a:pt x="414" y="249"/>
                    <a:pt x="390" y="236"/>
                    <a:pt x="405" y="227"/>
                  </a:cubicBezTo>
                  <a:cubicBezTo>
                    <a:pt x="420" y="217"/>
                    <a:pt x="437" y="208"/>
                    <a:pt x="442" y="189"/>
                  </a:cubicBezTo>
                  <a:cubicBezTo>
                    <a:pt x="448" y="171"/>
                    <a:pt x="460" y="156"/>
                    <a:pt x="476" y="148"/>
                  </a:cubicBezTo>
                  <a:cubicBezTo>
                    <a:pt x="492" y="140"/>
                    <a:pt x="501" y="128"/>
                    <a:pt x="501" y="113"/>
                  </a:cubicBezTo>
                  <a:cubicBezTo>
                    <a:pt x="501" y="99"/>
                    <a:pt x="488" y="79"/>
                    <a:pt x="496" y="71"/>
                  </a:cubicBezTo>
                  <a:cubicBezTo>
                    <a:pt x="504" y="63"/>
                    <a:pt x="512" y="59"/>
                    <a:pt x="501" y="57"/>
                  </a:cubicBezTo>
                  <a:cubicBezTo>
                    <a:pt x="490" y="56"/>
                    <a:pt x="488" y="77"/>
                    <a:pt x="481" y="67"/>
                  </a:cubicBezTo>
                  <a:cubicBezTo>
                    <a:pt x="474" y="56"/>
                    <a:pt x="493" y="44"/>
                    <a:pt x="485" y="33"/>
                  </a:cubicBezTo>
                  <a:cubicBezTo>
                    <a:pt x="477" y="23"/>
                    <a:pt x="477" y="47"/>
                    <a:pt x="464" y="51"/>
                  </a:cubicBezTo>
                  <a:cubicBezTo>
                    <a:pt x="450" y="55"/>
                    <a:pt x="430" y="91"/>
                    <a:pt x="425" y="67"/>
                  </a:cubicBezTo>
                  <a:cubicBezTo>
                    <a:pt x="420" y="43"/>
                    <a:pt x="422" y="32"/>
                    <a:pt x="414" y="29"/>
                  </a:cubicBezTo>
                  <a:cubicBezTo>
                    <a:pt x="406" y="27"/>
                    <a:pt x="404" y="23"/>
                    <a:pt x="414" y="16"/>
                  </a:cubicBezTo>
                  <a:cubicBezTo>
                    <a:pt x="425" y="9"/>
                    <a:pt x="409" y="0"/>
                    <a:pt x="398" y="12"/>
                  </a:cubicBezTo>
                  <a:cubicBezTo>
                    <a:pt x="388" y="24"/>
                    <a:pt x="377" y="25"/>
                    <a:pt x="372" y="32"/>
                  </a:cubicBezTo>
                  <a:cubicBezTo>
                    <a:pt x="366" y="39"/>
                    <a:pt x="360" y="39"/>
                    <a:pt x="362" y="61"/>
                  </a:cubicBezTo>
                  <a:cubicBezTo>
                    <a:pt x="365" y="84"/>
                    <a:pt x="368" y="88"/>
                    <a:pt x="348" y="99"/>
                  </a:cubicBezTo>
                  <a:cubicBezTo>
                    <a:pt x="328" y="109"/>
                    <a:pt x="316" y="111"/>
                    <a:pt x="310" y="136"/>
                  </a:cubicBezTo>
                  <a:cubicBezTo>
                    <a:pt x="305" y="161"/>
                    <a:pt x="290" y="181"/>
                    <a:pt x="274" y="19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35" name="Freeform 24992"/>
            <p:cNvSpPr>
              <a:spLocks/>
            </p:cNvSpPr>
            <p:nvPr/>
          </p:nvSpPr>
          <p:spPr bwMode="auto">
            <a:xfrm>
              <a:off x="8385901" y="4681102"/>
              <a:ext cx="142682" cy="202501"/>
            </a:xfrm>
            <a:custGeom>
              <a:avLst/>
              <a:gdLst>
                <a:gd name="T0" fmla="*/ 17 w 383"/>
                <a:gd name="T1" fmla="*/ 27 h 543"/>
                <a:gd name="T2" fmla="*/ 31 w 383"/>
                <a:gd name="T3" fmla="*/ 60 h 543"/>
                <a:gd name="T4" fmla="*/ 54 w 383"/>
                <a:gd name="T5" fmla="*/ 93 h 543"/>
                <a:gd name="T6" fmla="*/ 74 w 383"/>
                <a:gd name="T7" fmla="*/ 128 h 543"/>
                <a:gd name="T8" fmla="*/ 94 w 383"/>
                <a:gd name="T9" fmla="*/ 139 h 543"/>
                <a:gd name="T10" fmla="*/ 105 w 383"/>
                <a:gd name="T11" fmla="*/ 155 h 543"/>
                <a:gd name="T12" fmla="*/ 115 w 383"/>
                <a:gd name="T13" fmla="*/ 187 h 543"/>
                <a:gd name="T14" fmla="*/ 135 w 383"/>
                <a:gd name="T15" fmla="*/ 213 h 543"/>
                <a:gd name="T16" fmla="*/ 130 w 383"/>
                <a:gd name="T17" fmla="*/ 289 h 543"/>
                <a:gd name="T18" fmla="*/ 126 w 383"/>
                <a:gd name="T19" fmla="*/ 309 h 543"/>
                <a:gd name="T20" fmla="*/ 117 w 383"/>
                <a:gd name="T21" fmla="*/ 339 h 543"/>
                <a:gd name="T22" fmla="*/ 93 w 383"/>
                <a:gd name="T23" fmla="*/ 345 h 543"/>
                <a:gd name="T24" fmla="*/ 84 w 383"/>
                <a:gd name="T25" fmla="*/ 352 h 543"/>
                <a:gd name="T26" fmla="*/ 70 w 383"/>
                <a:gd name="T27" fmla="*/ 363 h 543"/>
                <a:gd name="T28" fmla="*/ 88 w 383"/>
                <a:gd name="T29" fmla="*/ 385 h 543"/>
                <a:gd name="T30" fmla="*/ 113 w 383"/>
                <a:gd name="T31" fmla="*/ 400 h 543"/>
                <a:gd name="T32" fmla="*/ 140 w 383"/>
                <a:gd name="T33" fmla="*/ 413 h 543"/>
                <a:gd name="T34" fmla="*/ 165 w 383"/>
                <a:gd name="T35" fmla="*/ 432 h 543"/>
                <a:gd name="T36" fmla="*/ 170 w 383"/>
                <a:gd name="T37" fmla="*/ 454 h 543"/>
                <a:gd name="T38" fmla="*/ 157 w 383"/>
                <a:gd name="T39" fmla="*/ 481 h 543"/>
                <a:gd name="T40" fmla="*/ 137 w 383"/>
                <a:gd name="T41" fmla="*/ 517 h 543"/>
                <a:gd name="T42" fmla="*/ 163 w 383"/>
                <a:gd name="T43" fmla="*/ 529 h 543"/>
                <a:gd name="T44" fmla="*/ 196 w 383"/>
                <a:gd name="T45" fmla="*/ 534 h 543"/>
                <a:gd name="T46" fmla="*/ 224 w 383"/>
                <a:gd name="T47" fmla="*/ 498 h 543"/>
                <a:gd name="T48" fmla="*/ 251 w 383"/>
                <a:gd name="T49" fmla="*/ 458 h 543"/>
                <a:gd name="T50" fmla="*/ 282 w 383"/>
                <a:gd name="T51" fmla="*/ 417 h 543"/>
                <a:gd name="T52" fmla="*/ 284 w 383"/>
                <a:gd name="T53" fmla="*/ 399 h 543"/>
                <a:gd name="T54" fmla="*/ 281 w 383"/>
                <a:gd name="T55" fmla="*/ 374 h 543"/>
                <a:gd name="T56" fmla="*/ 295 w 383"/>
                <a:gd name="T57" fmla="*/ 354 h 543"/>
                <a:gd name="T58" fmla="*/ 323 w 383"/>
                <a:gd name="T59" fmla="*/ 355 h 543"/>
                <a:gd name="T60" fmla="*/ 345 w 383"/>
                <a:gd name="T61" fmla="*/ 358 h 543"/>
                <a:gd name="T62" fmla="*/ 342 w 383"/>
                <a:gd name="T63" fmla="*/ 351 h 543"/>
                <a:gd name="T64" fmla="*/ 340 w 383"/>
                <a:gd name="T65" fmla="*/ 334 h 543"/>
                <a:gd name="T66" fmla="*/ 350 w 383"/>
                <a:gd name="T67" fmla="*/ 322 h 543"/>
                <a:gd name="T68" fmla="*/ 362 w 383"/>
                <a:gd name="T69" fmla="*/ 311 h 543"/>
                <a:gd name="T70" fmla="*/ 373 w 383"/>
                <a:gd name="T71" fmla="*/ 289 h 543"/>
                <a:gd name="T72" fmla="*/ 373 w 383"/>
                <a:gd name="T73" fmla="*/ 258 h 543"/>
                <a:gd name="T74" fmla="*/ 381 w 383"/>
                <a:gd name="T75" fmla="*/ 245 h 543"/>
                <a:gd name="T76" fmla="*/ 370 w 383"/>
                <a:gd name="T77" fmla="*/ 239 h 543"/>
                <a:gd name="T78" fmla="*/ 347 w 383"/>
                <a:gd name="T79" fmla="*/ 231 h 543"/>
                <a:gd name="T80" fmla="*/ 329 w 383"/>
                <a:gd name="T81" fmla="*/ 241 h 543"/>
                <a:gd name="T82" fmla="*/ 310 w 383"/>
                <a:gd name="T83" fmla="*/ 258 h 543"/>
                <a:gd name="T84" fmla="*/ 280 w 383"/>
                <a:gd name="T85" fmla="*/ 267 h 543"/>
                <a:gd name="T86" fmla="*/ 261 w 383"/>
                <a:gd name="T87" fmla="*/ 255 h 543"/>
                <a:gd name="T88" fmla="*/ 250 w 383"/>
                <a:gd name="T89" fmla="*/ 247 h 543"/>
                <a:gd name="T90" fmla="*/ 226 w 383"/>
                <a:gd name="T91" fmla="*/ 240 h 543"/>
                <a:gd name="T92" fmla="*/ 216 w 383"/>
                <a:gd name="T93" fmla="*/ 226 h 543"/>
                <a:gd name="T94" fmla="*/ 210 w 383"/>
                <a:gd name="T95" fmla="*/ 190 h 543"/>
                <a:gd name="T96" fmla="*/ 180 w 383"/>
                <a:gd name="T97" fmla="*/ 167 h 543"/>
                <a:gd name="T98" fmla="*/ 176 w 383"/>
                <a:gd name="T99" fmla="*/ 186 h 543"/>
                <a:gd name="T100" fmla="*/ 168 w 383"/>
                <a:gd name="T101" fmla="*/ 198 h 543"/>
                <a:gd name="T102" fmla="*/ 146 w 383"/>
                <a:gd name="T103" fmla="*/ 183 h 543"/>
                <a:gd name="T104" fmla="*/ 140 w 383"/>
                <a:gd name="T105" fmla="*/ 164 h 543"/>
                <a:gd name="T106" fmla="*/ 134 w 383"/>
                <a:gd name="T107" fmla="*/ 133 h 543"/>
                <a:gd name="T108" fmla="*/ 121 w 383"/>
                <a:gd name="T109" fmla="*/ 112 h 543"/>
                <a:gd name="T110" fmla="*/ 115 w 383"/>
                <a:gd name="T111" fmla="*/ 79 h 543"/>
                <a:gd name="T112" fmla="*/ 76 w 383"/>
                <a:gd name="T113" fmla="*/ 47 h 543"/>
                <a:gd name="T114" fmla="*/ 40 w 383"/>
                <a:gd name="T115" fmla="*/ 32 h 543"/>
                <a:gd name="T116" fmla="*/ 16 w 383"/>
                <a:gd name="T117" fmla="*/ 3 h 543"/>
                <a:gd name="T118" fmla="*/ 2 w 383"/>
                <a:gd name="T119" fmla="*/ 10 h 543"/>
                <a:gd name="T120" fmla="*/ 17 w 383"/>
                <a:gd name="T121" fmla="*/ 27 h 5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83" h="543">
                  <a:moveTo>
                    <a:pt x="17" y="27"/>
                  </a:moveTo>
                  <a:cubicBezTo>
                    <a:pt x="17" y="27"/>
                    <a:pt x="31" y="37"/>
                    <a:pt x="31" y="60"/>
                  </a:cubicBezTo>
                  <a:cubicBezTo>
                    <a:pt x="31" y="83"/>
                    <a:pt x="45" y="87"/>
                    <a:pt x="54" y="93"/>
                  </a:cubicBezTo>
                  <a:cubicBezTo>
                    <a:pt x="63" y="100"/>
                    <a:pt x="63" y="115"/>
                    <a:pt x="74" y="128"/>
                  </a:cubicBezTo>
                  <a:cubicBezTo>
                    <a:pt x="85" y="141"/>
                    <a:pt x="90" y="147"/>
                    <a:pt x="94" y="139"/>
                  </a:cubicBezTo>
                  <a:cubicBezTo>
                    <a:pt x="98" y="131"/>
                    <a:pt x="105" y="145"/>
                    <a:pt x="105" y="155"/>
                  </a:cubicBezTo>
                  <a:cubicBezTo>
                    <a:pt x="105" y="164"/>
                    <a:pt x="98" y="180"/>
                    <a:pt x="115" y="187"/>
                  </a:cubicBezTo>
                  <a:cubicBezTo>
                    <a:pt x="133" y="193"/>
                    <a:pt x="138" y="188"/>
                    <a:pt x="135" y="213"/>
                  </a:cubicBezTo>
                  <a:cubicBezTo>
                    <a:pt x="133" y="239"/>
                    <a:pt x="143" y="284"/>
                    <a:pt x="130" y="289"/>
                  </a:cubicBezTo>
                  <a:cubicBezTo>
                    <a:pt x="117" y="295"/>
                    <a:pt x="126" y="297"/>
                    <a:pt x="126" y="309"/>
                  </a:cubicBezTo>
                  <a:cubicBezTo>
                    <a:pt x="126" y="321"/>
                    <a:pt x="130" y="336"/>
                    <a:pt x="117" y="339"/>
                  </a:cubicBezTo>
                  <a:cubicBezTo>
                    <a:pt x="103" y="341"/>
                    <a:pt x="95" y="338"/>
                    <a:pt x="93" y="345"/>
                  </a:cubicBezTo>
                  <a:cubicBezTo>
                    <a:pt x="91" y="352"/>
                    <a:pt x="91" y="351"/>
                    <a:pt x="84" y="352"/>
                  </a:cubicBezTo>
                  <a:cubicBezTo>
                    <a:pt x="77" y="352"/>
                    <a:pt x="70" y="353"/>
                    <a:pt x="70" y="363"/>
                  </a:cubicBezTo>
                  <a:cubicBezTo>
                    <a:pt x="69" y="372"/>
                    <a:pt x="77" y="380"/>
                    <a:pt x="88" y="385"/>
                  </a:cubicBezTo>
                  <a:cubicBezTo>
                    <a:pt x="98" y="390"/>
                    <a:pt x="101" y="392"/>
                    <a:pt x="113" y="400"/>
                  </a:cubicBezTo>
                  <a:cubicBezTo>
                    <a:pt x="125" y="407"/>
                    <a:pt x="130" y="411"/>
                    <a:pt x="140" y="413"/>
                  </a:cubicBezTo>
                  <a:cubicBezTo>
                    <a:pt x="150" y="416"/>
                    <a:pt x="161" y="426"/>
                    <a:pt x="165" y="432"/>
                  </a:cubicBezTo>
                  <a:cubicBezTo>
                    <a:pt x="169" y="437"/>
                    <a:pt x="173" y="442"/>
                    <a:pt x="170" y="454"/>
                  </a:cubicBezTo>
                  <a:cubicBezTo>
                    <a:pt x="168" y="465"/>
                    <a:pt x="166" y="469"/>
                    <a:pt x="157" y="481"/>
                  </a:cubicBezTo>
                  <a:cubicBezTo>
                    <a:pt x="149" y="493"/>
                    <a:pt x="126" y="508"/>
                    <a:pt x="137" y="517"/>
                  </a:cubicBezTo>
                  <a:cubicBezTo>
                    <a:pt x="148" y="526"/>
                    <a:pt x="156" y="521"/>
                    <a:pt x="163" y="529"/>
                  </a:cubicBezTo>
                  <a:cubicBezTo>
                    <a:pt x="171" y="537"/>
                    <a:pt x="189" y="543"/>
                    <a:pt x="196" y="534"/>
                  </a:cubicBezTo>
                  <a:cubicBezTo>
                    <a:pt x="202" y="526"/>
                    <a:pt x="223" y="513"/>
                    <a:pt x="224" y="498"/>
                  </a:cubicBezTo>
                  <a:cubicBezTo>
                    <a:pt x="226" y="483"/>
                    <a:pt x="241" y="473"/>
                    <a:pt x="251" y="458"/>
                  </a:cubicBezTo>
                  <a:cubicBezTo>
                    <a:pt x="261" y="443"/>
                    <a:pt x="281" y="425"/>
                    <a:pt x="282" y="417"/>
                  </a:cubicBezTo>
                  <a:cubicBezTo>
                    <a:pt x="284" y="410"/>
                    <a:pt x="290" y="407"/>
                    <a:pt x="284" y="399"/>
                  </a:cubicBezTo>
                  <a:cubicBezTo>
                    <a:pt x="278" y="390"/>
                    <a:pt x="277" y="384"/>
                    <a:pt x="281" y="374"/>
                  </a:cubicBezTo>
                  <a:cubicBezTo>
                    <a:pt x="284" y="365"/>
                    <a:pt x="280" y="354"/>
                    <a:pt x="295" y="354"/>
                  </a:cubicBezTo>
                  <a:cubicBezTo>
                    <a:pt x="311" y="354"/>
                    <a:pt x="309" y="349"/>
                    <a:pt x="323" y="355"/>
                  </a:cubicBezTo>
                  <a:cubicBezTo>
                    <a:pt x="337" y="362"/>
                    <a:pt x="341" y="365"/>
                    <a:pt x="345" y="358"/>
                  </a:cubicBezTo>
                  <a:cubicBezTo>
                    <a:pt x="349" y="352"/>
                    <a:pt x="348" y="353"/>
                    <a:pt x="342" y="351"/>
                  </a:cubicBezTo>
                  <a:cubicBezTo>
                    <a:pt x="336" y="349"/>
                    <a:pt x="338" y="340"/>
                    <a:pt x="340" y="334"/>
                  </a:cubicBezTo>
                  <a:cubicBezTo>
                    <a:pt x="341" y="328"/>
                    <a:pt x="338" y="322"/>
                    <a:pt x="350" y="322"/>
                  </a:cubicBezTo>
                  <a:cubicBezTo>
                    <a:pt x="363" y="322"/>
                    <a:pt x="355" y="323"/>
                    <a:pt x="362" y="311"/>
                  </a:cubicBezTo>
                  <a:cubicBezTo>
                    <a:pt x="368" y="299"/>
                    <a:pt x="374" y="297"/>
                    <a:pt x="373" y="289"/>
                  </a:cubicBezTo>
                  <a:cubicBezTo>
                    <a:pt x="371" y="280"/>
                    <a:pt x="366" y="261"/>
                    <a:pt x="373" y="258"/>
                  </a:cubicBezTo>
                  <a:cubicBezTo>
                    <a:pt x="381" y="254"/>
                    <a:pt x="383" y="251"/>
                    <a:pt x="381" y="245"/>
                  </a:cubicBezTo>
                  <a:cubicBezTo>
                    <a:pt x="379" y="239"/>
                    <a:pt x="377" y="240"/>
                    <a:pt x="370" y="239"/>
                  </a:cubicBezTo>
                  <a:cubicBezTo>
                    <a:pt x="363" y="239"/>
                    <a:pt x="357" y="226"/>
                    <a:pt x="347" y="231"/>
                  </a:cubicBezTo>
                  <a:cubicBezTo>
                    <a:pt x="338" y="237"/>
                    <a:pt x="339" y="240"/>
                    <a:pt x="329" y="241"/>
                  </a:cubicBezTo>
                  <a:cubicBezTo>
                    <a:pt x="318" y="243"/>
                    <a:pt x="320" y="250"/>
                    <a:pt x="310" y="258"/>
                  </a:cubicBezTo>
                  <a:cubicBezTo>
                    <a:pt x="300" y="266"/>
                    <a:pt x="294" y="272"/>
                    <a:pt x="280" y="267"/>
                  </a:cubicBezTo>
                  <a:cubicBezTo>
                    <a:pt x="266" y="262"/>
                    <a:pt x="268" y="257"/>
                    <a:pt x="261" y="255"/>
                  </a:cubicBezTo>
                  <a:cubicBezTo>
                    <a:pt x="253" y="254"/>
                    <a:pt x="267" y="250"/>
                    <a:pt x="250" y="247"/>
                  </a:cubicBezTo>
                  <a:cubicBezTo>
                    <a:pt x="233" y="245"/>
                    <a:pt x="235" y="240"/>
                    <a:pt x="226" y="240"/>
                  </a:cubicBezTo>
                  <a:cubicBezTo>
                    <a:pt x="217" y="239"/>
                    <a:pt x="218" y="239"/>
                    <a:pt x="216" y="226"/>
                  </a:cubicBezTo>
                  <a:cubicBezTo>
                    <a:pt x="214" y="212"/>
                    <a:pt x="223" y="200"/>
                    <a:pt x="210" y="190"/>
                  </a:cubicBezTo>
                  <a:cubicBezTo>
                    <a:pt x="198" y="179"/>
                    <a:pt x="185" y="166"/>
                    <a:pt x="180" y="167"/>
                  </a:cubicBezTo>
                  <a:cubicBezTo>
                    <a:pt x="174" y="168"/>
                    <a:pt x="175" y="177"/>
                    <a:pt x="176" y="186"/>
                  </a:cubicBezTo>
                  <a:cubicBezTo>
                    <a:pt x="178" y="196"/>
                    <a:pt x="176" y="209"/>
                    <a:pt x="168" y="198"/>
                  </a:cubicBezTo>
                  <a:cubicBezTo>
                    <a:pt x="159" y="188"/>
                    <a:pt x="152" y="184"/>
                    <a:pt x="146" y="183"/>
                  </a:cubicBezTo>
                  <a:cubicBezTo>
                    <a:pt x="140" y="182"/>
                    <a:pt x="140" y="173"/>
                    <a:pt x="140" y="164"/>
                  </a:cubicBezTo>
                  <a:cubicBezTo>
                    <a:pt x="140" y="155"/>
                    <a:pt x="143" y="140"/>
                    <a:pt x="134" y="133"/>
                  </a:cubicBezTo>
                  <a:cubicBezTo>
                    <a:pt x="124" y="125"/>
                    <a:pt x="120" y="122"/>
                    <a:pt x="121" y="112"/>
                  </a:cubicBezTo>
                  <a:cubicBezTo>
                    <a:pt x="122" y="101"/>
                    <a:pt x="136" y="93"/>
                    <a:pt x="115" y="79"/>
                  </a:cubicBezTo>
                  <a:cubicBezTo>
                    <a:pt x="93" y="65"/>
                    <a:pt x="89" y="53"/>
                    <a:pt x="76" y="47"/>
                  </a:cubicBezTo>
                  <a:cubicBezTo>
                    <a:pt x="63" y="42"/>
                    <a:pt x="51" y="40"/>
                    <a:pt x="40" y="32"/>
                  </a:cubicBezTo>
                  <a:cubicBezTo>
                    <a:pt x="29" y="23"/>
                    <a:pt x="24" y="6"/>
                    <a:pt x="16" y="3"/>
                  </a:cubicBezTo>
                  <a:cubicBezTo>
                    <a:pt x="8" y="0"/>
                    <a:pt x="4" y="6"/>
                    <a:pt x="2" y="10"/>
                  </a:cubicBezTo>
                  <a:cubicBezTo>
                    <a:pt x="0" y="13"/>
                    <a:pt x="1" y="17"/>
                    <a:pt x="17" y="27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36" name="Freeform 24993"/>
            <p:cNvSpPr>
              <a:spLocks/>
            </p:cNvSpPr>
            <p:nvPr/>
          </p:nvSpPr>
          <p:spPr bwMode="auto">
            <a:xfrm>
              <a:off x="8263895" y="5025338"/>
              <a:ext cx="18309" cy="22412"/>
            </a:xfrm>
            <a:custGeom>
              <a:avLst/>
              <a:gdLst>
                <a:gd name="T0" fmla="*/ 16 w 49"/>
                <a:gd name="T1" fmla="*/ 19 h 60"/>
                <a:gd name="T2" fmla="*/ 10 w 49"/>
                <a:gd name="T3" fmla="*/ 43 h 60"/>
                <a:gd name="T4" fmla="*/ 9 w 49"/>
                <a:gd name="T5" fmla="*/ 60 h 60"/>
                <a:gd name="T6" fmla="*/ 35 w 49"/>
                <a:gd name="T7" fmla="*/ 53 h 60"/>
                <a:gd name="T8" fmla="*/ 48 w 49"/>
                <a:gd name="T9" fmla="*/ 44 h 60"/>
                <a:gd name="T10" fmla="*/ 38 w 49"/>
                <a:gd name="T11" fmla="*/ 27 h 60"/>
                <a:gd name="T12" fmla="*/ 16 w 49"/>
                <a:gd name="T13" fmla="*/ 19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9" h="60">
                  <a:moveTo>
                    <a:pt x="16" y="19"/>
                  </a:moveTo>
                  <a:cubicBezTo>
                    <a:pt x="16" y="19"/>
                    <a:pt x="21" y="35"/>
                    <a:pt x="10" y="43"/>
                  </a:cubicBezTo>
                  <a:cubicBezTo>
                    <a:pt x="0" y="52"/>
                    <a:pt x="1" y="60"/>
                    <a:pt x="9" y="60"/>
                  </a:cubicBezTo>
                  <a:cubicBezTo>
                    <a:pt x="18" y="60"/>
                    <a:pt x="25" y="48"/>
                    <a:pt x="35" y="53"/>
                  </a:cubicBezTo>
                  <a:cubicBezTo>
                    <a:pt x="44" y="57"/>
                    <a:pt x="49" y="52"/>
                    <a:pt x="48" y="44"/>
                  </a:cubicBezTo>
                  <a:cubicBezTo>
                    <a:pt x="47" y="37"/>
                    <a:pt x="41" y="39"/>
                    <a:pt x="38" y="27"/>
                  </a:cubicBezTo>
                  <a:cubicBezTo>
                    <a:pt x="36" y="16"/>
                    <a:pt x="13" y="0"/>
                    <a:pt x="16" y="1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37" name="Freeform 24994"/>
            <p:cNvSpPr>
              <a:spLocks/>
            </p:cNvSpPr>
            <p:nvPr/>
          </p:nvSpPr>
          <p:spPr bwMode="auto">
            <a:xfrm>
              <a:off x="8223332" y="5144029"/>
              <a:ext cx="14836" cy="18940"/>
            </a:xfrm>
            <a:custGeom>
              <a:avLst/>
              <a:gdLst>
                <a:gd name="T0" fmla="*/ 22 w 40"/>
                <a:gd name="T1" fmla="*/ 15 h 51"/>
                <a:gd name="T2" fmla="*/ 14 w 40"/>
                <a:gd name="T3" fmla="*/ 29 h 51"/>
                <a:gd name="T4" fmla="*/ 13 w 40"/>
                <a:gd name="T5" fmla="*/ 45 h 51"/>
                <a:gd name="T6" fmla="*/ 29 w 40"/>
                <a:gd name="T7" fmla="*/ 43 h 51"/>
                <a:gd name="T8" fmla="*/ 33 w 40"/>
                <a:gd name="T9" fmla="*/ 24 h 51"/>
                <a:gd name="T10" fmla="*/ 22 w 40"/>
                <a:gd name="T11" fmla="*/ 15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0" h="51">
                  <a:moveTo>
                    <a:pt x="22" y="15"/>
                  </a:moveTo>
                  <a:cubicBezTo>
                    <a:pt x="22" y="15"/>
                    <a:pt x="20" y="22"/>
                    <a:pt x="14" y="29"/>
                  </a:cubicBezTo>
                  <a:cubicBezTo>
                    <a:pt x="7" y="37"/>
                    <a:pt x="0" y="44"/>
                    <a:pt x="13" y="45"/>
                  </a:cubicBezTo>
                  <a:cubicBezTo>
                    <a:pt x="25" y="47"/>
                    <a:pt x="29" y="51"/>
                    <a:pt x="29" y="43"/>
                  </a:cubicBezTo>
                  <a:cubicBezTo>
                    <a:pt x="29" y="34"/>
                    <a:pt x="27" y="29"/>
                    <a:pt x="33" y="24"/>
                  </a:cubicBezTo>
                  <a:cubicBezTo>
                    <a:pt x="40" y="18"/>
                    <a:pt x="30" y="0"/>
                    <a:pt x="22" y="1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38" name="Freeform 25001"/>
            <p:cNvSpPr>
              <a:spLocks/>
            </p:cNvSpPr>
            <p:nvPr/>
          </p:nvSpPr>
          <p:spPr bwMode="auto">
            <a:xfrm>
              <a:off x="8181190" y="4316821"/>
              <a:ext cx="72604" cy="58557"/>
            </a:xfrm>
            <a:custGeom>
              <a:avLst/>
              <a:gdLst>
                <a:gd name="T0" fmla="*/ 100 w 195"/>
                <a:gd name="T1" fmla="*/ 72 h 157"/>
                <a:gd name="T2" fmla="*/ 80 w 195"/>
                <a:gd name="T3" fmla="*/ 49 h 157"/>
                <a:gd name="T4" fmla="*/ 54 w 195"/>
                <a:gd name="T5" fmla="*/ 31 h 157"/>
                <a:gd name="T6" fmla="*/ 22 w 195"/>
                <a:gd name="T7" fmla="*/ 6 h 157"/>
                <a:gd name="T8" fmla="*/ 7 w 195"/>
                <a:gd name="T9" fmla="*/ 13 h 157"/>
                <a:gd name="T10" fmla="*/ 27 w 195"/>
                <a:gd name="T11" fmla="*/ 46 h 157"/>
                <a:gd name="T12" fmla="*/ 54 w 195"/>
                <a:gd name="T13" fmla="*/ 72 h 157"/>
                <a:gd name="T14" fmla="*/ 78 w 195"/>
                <a:gd name="T15" fmla="*/ 95 h 157"/>
                <a:gd name="T16" fmla="*/ 120 w 195"/>
                <a:gd name="T17" fmla="*/ 122 h 157"/>
                <a:gd name="T18" fmla="*/ 153 w 195"/>
                <a:gd name="T19" fmla="*/ 142 h 157"/>
                <a:gd name="T20" fmla="*/ 182 w 195"/>
                <a:gd name="T21" fmla="*/ 150 h 157"/>
                <a:gd name="T22" fmla="*/ 175 w 195"/>
                <a:gd name="T23" fmla="*/ 125 h 157"/>
                <a:gd name="T24" fmla="*/ 131 w 195"/>
                <a:gd name="T25" fmla="*/ 90 h 157"/>
                <a:gd name="T26" fmla="*/ 100 w 195"/>
                <a:gd name="T27" fmla="*/ 72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95" h="157">
                  <a:moveTo>
                    <a:pt x="100" y="72"/>
                  </a:moveTo>
                  <a:cubicBezTo>
                    <a:pt x="100" y="72"/>
                    <a:pt x="83" y="56"/>
                    <a:pt x="80" y="49"/>
                  </a:cubicBezTo>
                  <a:cubicBezTo>
                    <a:pt x="76" y="42"/>
                    <a:pt x="62" y="36"/>
                    <a:pt x="54" y="31"/>
                  </a:cubicBezTo>
                  <a:cubicBezTo>
                    <a:pt x="46" y="26"/>
                    <a:pt x="33" y="12"/>
                    <a:pt x="22" y="6"/>
                  </a:cubicBezTo>
                  <a:cubicBezTo>
                    <a:pt x="12" y="0"/>
                    <a:pt x="0" y="2"/>
                    <a:pt x="7" y="13"/>
                  </a:cubicBezTo>
                  <a:cubicBezTo>
                    <a:pt x="14" y="24"/>
                    <a:pt x="14" y="38"/>
                    <a:pt x="27" y="46"/>
                  </a:cubicBezTo>
                  <a:cubicBezTo>
                    <a:pt x="40" y="54"/>
                    <a:pt x="48" y="63"/>
                    <a:pt x="54" y="72"/>
                  </a:cubicBezTo>
                  <a:cubicBezTo>
                    <a:pt x="60" y="80"/>
                    <a:pt x="63" y="86"/>
                    <a:pt x="78" y="95"/>
                  </a:cubicBezTo>
                  <a:cubicBezTo>
                    <a:pt x="94" y="104"/>
                    <a:pt x="104" y="113"/>
                    <a:pt x="120" y="122"/>
                  </a:cubicBezTo>
                  <a:cubicBezTo>
                    <a:pt x="135" y="130"/>
                    <a:pt x="143" y="135"/>
                    <a:pt x="153" y="142"/>
                  </a:cubicBezTo>
                  <a:cubicBezTo>
                    <a:pt x="163" y="150"/>
                    <a:pt x="179" y="157"/>
                    <a:pt x="182" y="150"/>
                  </a:cubicBezTo>
                  <a:cubicBezTo>
                    <a:pt x="186" y="142"/>
                    <a:pt x="195" y="139"/>
                    <a:pt x="175" y="125"/>
                  </a:cubicBezTo>
                  <a:cubicBezTo>
                    <a:pt x="155" y="111"/>
                    <a:pt x="143" y="93"/>
                    <a:pt x="131" y="90"/>
                  </a:cubicBezTo>
                  <a:cubicBezTo>
                    <a:pt x="119" y="86"/>
                    <a:pt x="109" y="85"/>
                    <a:pt x="100" y="72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39" name="Freeform 25002"/>
            <p:cNvSpPr>
              <a:spLocks/>
            </p:cNvSpPr>
            <p:nvPr/>
          </p:nvSpPr>
          <p:spPr bwMode="auto">
            <a:xfrm>
              <a:off x="8252689" y="4326449"/>
              <a:ext cx="10891" cy="18625"/>
            </a:xfrm>
            <a:custGeom>
              <a:avLst/>
              <a:gdLst>
                <a:gd name="T0" fmla="*/ 4 w 29"/>
                <a:gd name="T1" fmla="*/ 7 h 50"/>
                <a:gd name="T2" fmla="*/ 1 w 29"/>
                <a:gd name="T3" fmla="*/ 27 h 50"/>
                <a:gd name="T4" fmla="*/ 10 w 29"/>
                <a:gd name="T5" fmla="*/ 45 h 50"/>
                <a:gd name="T6" fmla="*/ 28 w 29"/>
                <a:gd name="T7" fmla="*/ 41 h 50"/>
                <a:gd name="T8" fmla="*/ 20 w 29"/>
                <a:gd name="T9" fmla="*/ 27 h 50"/>
                <a:gd name="T10" fmla="*/ 4 w 29"/>
                <a:gd name="T11" fmla="*/ 7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" h="50">
                  <a:moveTo>
                    <a:pt x="4" y="7"/>
                  </a:moveTo>
                  <a:cubicBezTo>
                    <a:pt x="4" y="7"/>
                    <a:pt x="0" y="16"/>
                    <a:pt x="1" y="27"/>
                  </a:cubicBezTo>
                  <a:cubicBezTo>
                    <a:pt x="2" y="38"/>
                    <a:pt x="3" y="44"/>
                    <a:pt x="10" y="45"/>
                  </a:cubicBezTo>
                  <a:cubicBezTo>
                    <a:pt x="18" y="46"/>
                    <a:pt x="28" y="50"/>
                    <a:pt x="28" y="41"/>
                  </a:cubicBezTo>
                  <a:cubicBezTo>
                    <a:pt x="29" y="32"/>
                    <a:pt x="29" y="32"/>
                    <a:pt x="20" y="27"/>
                  </a:cubicBezTo>
                  <a:cubicBezTo>
                    <a:pt x="12" y="22"/>
                    <a:pt x="15" y="0"/>
                    <a:pt x="4" y="7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40" name="Freeform 25003"/>
            <p:cNvSpPr>
              <a:spLocks/>
            </p:cNvSpPr>
            <p:nvPr/>
          </p:nvSpPr>
          <p:spPr bwMode="auto">
            <a:xfrm>
              <a:off x="8272102" y="4342232"/>
              <a:ext cx="8523" cy="15626"/>
            </a:xfrm>
            <a:custGeom>
              <a:avLst/>
              <a:gdLst>
                <a:gd name="T0" fmla="*/ 2 w 23"/>
                <a:gd name="T1" fmla="*/ 10 h 42"/>
                <a:gd name="T2" fmla="*/ 0 w 23"/>
                <a:gd name="T3" fmla="*/ 32 h 42"/>
                <a:gd name="T4" fmla="*/ 12 w 23"/>
                <a:gd name="T5" fmla="*/ 36 h 42"/>
                <a:gd name="T6" fmla="*/ 17 w 23"/>
                <a:gd name="T7" fmla="*/ 22 h 42"/>
                <a:gd name="T8" fmla="*/ 2 w 23"/>
                <a:gd name="T9" fmla="*/ 1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42">
                  <a:moveTo>
                    <a:pt x="2" y="10"/>
                  </a:moveTo>
                  <a:cubicBezTo>
                    <a:pt x="2" y="10"/>
                    <a:pt x="0" y="28"/>
                    <a:pt x="0" y="32"/>
                  </a:cubicBezTo>
                  <a:cubicBezTo>
                    <a:pt x="0" y="36"/>
                    <a:pt x="8" y="42"/>
                    <a:pt x="12" y="36"/>
                  </a:cubicBezTo>
                  <a:cubicBezTo>
                    <a:pt x="15" y="30"/>
                    <a:pt x="23" y="31"/>
                    <a:pt x="17" y="22"/>
                  </a:cubicBezTo>
                  <a:cubicBezTo>
                    <a:pt x="11" y="14"/>
                    <a:pt x="2" y="0"/>
                    <a:pt x="2" y="1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41" name="Freeform 25028"/>
            <p:cNvSpPr>
              <a:spLocks/>
            </p:cNvSpPr>
            <p:nvPr/>
          </p:nvSpPr>
          <p:spPr bwMode="auto">
            <a:xfrm>
              <a:off x="7808228" y="3927444"/>
              <a:ext cx="98488" cy="57452"/>
            </a:xfrm>
            <a:custGeom>
              <a:avLst/>
              <a:gdLst>
                <a:gd name="T0" fmla="*/ 76 w 264"/>
                <a:gd name="T1" fmla="*/ 98 h 154"/>
                <a:gd name="T2" fmla="*/ 54 w 264"/>
                <a:gd name="T3" fmla="*/ 96 h 154"/>
                <a:gd name="T4" fmla="*/ 36 w 264"/>
                <a:gd name="T5" fmla="*/ 88 h 154"/>
                <a:gd name="T6" fmla="*/ 3 w 264"/>
                <a:gd name="T7" fmla="*/ 93 h 154"/>
                <a:gd name="T8" fmla="*/ 14 w 264"/>
                <a:gd name="T9" fmla="*/ 120 h 154"/>
                <a:gd name="T10" fmla="*/ 55 w 264"/>
                <a:gd name="T11" fmla="*/ 134 h 154"/>
                <a:gd name="T12" fmla="*/ 87 w 264"/>
                <a:gd name="T13" fmla="*/ 148 h 154"/>
                <a:gd name="T14" fmla="*/ 137 w 264"/>
                <a:gd name="T15" fmla="*/ 146 h 154"/>
                <a:gd name="T16" fmla="*/ 164 w 264"/>
                <a:gd name="T17" fmla="*/ 134 h 154"/>
                <a:gd name="T18" fmla="*/ 192 w 264"/>
                <a:gd name="T19" fmla="*/ 116 h 154"/>
                <a:gd name="T20" fmla="*/ 212 w 264"/>
                <a:gd name="T21" fmla="*/ 98 h 154"/>
                <a:gd name="T22" fmla="*/ 241 w 264"/>
                <a:gd name="T23" fmla="*/ 91 h 154"/>
                <a:gd name="T24" fmla="*/ 244 w 264"/>
                <a:gd name="T25" fmla="*/ 66 h 154"/>
                <a:gd name="T26" fmla="*/ 262 w 264"/>
                <a:gd name="T27" fmla="*/ 46 h 154"/>
                <a:gd name="T28" fmla="*/ 257 w 264"/>
                <a:gd name="T29" fmla="*/ 22 h 154"/>
                <a:gd name="T30" fmla="*/ 241 w 264"/>
                <a:gd name="T31" fmla="*/ 9 h 154"/>
                <a:gd name="T32" fmla="*/ 216 w 264"/>
                <a:gd name="T33" fmla="*/ 8 h 154"/>
                <a:gd name="T34" fmla="*/ 196 w 264"/>
                <a:gd name="T35" fmla="*/ 14 h 154"/>
                <a:gd name="T36" fmla="*/ 204 w 264"/>
                <a:gd name="T37" fmla="*/ 27 h 154"/>
                <a:gd name="T38" fmla="*/ 197 w 264"/>
                <a:gd name="T39" fmla="*/ 55 h 154"/>
                <a:gd name="T40" fmla="*/ 172 w 264"/>
                <a:gd name="T41" fmla="*/ 64 h 154"/>
                <a:gd name="T42" fmla="*/ 156 w 264"/>
                <a:gd name="T43" fmla="*/ 90 h 154"/>
                <a:gd name="T44" fmla="*/ 134 w 264"/>
                <a:gd name="T45" fmla="*/ 86 h 154"/>
                <a:gd name="T46" fmla="*/ 76 w 264"/>
                <a:gd name="T47" fmla="*/ 9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4" h="154">
                  <a:moveTo>
                    <a:pt x="76" y="98"/>
                  </a:moveTo>
                  <a:cubicBezTo>
                    <a:pt x="76" y="98"/>
                    <a:pt x="55" y="102"/>
                    <a:pt x="54" y="96"/>
                  </a:cubicBezTo>
                  <a:cubicBezTo>
                    <a:pt x="54" y="89"/>
                    <a:pt x="43" y="88"/>
                    <a:pt x="36" y="88"/>
                  </a:cubicBezTo>
                  <a:cubicBezTo>
                    <a:pt x="28" y="88"/>
                    <a:pt x="6" y="86"/>
                    <a:pt x="3" y="93"/>
                  </a:cubicBezTo>
                  <a:cubicBezTo>
                    <a:pt x="0" y="100"/>
                    <a:pt x="2" y="116"/>
                    <a:pt x="14" y="120"/>
                  </a:cubicBezTo>
                  <a:cubicBezTo>
                    <a:pt x="27" y="125"/>
                    <a:pt x="42" y="128"/>
                    <a:pt x="55" y="134"/>
                  </a:cubicBezTo>
                  <a:cubicBezTo>
                    <a:pt x="68" y="140"/>
                    <a:pt x="79" y="147"/>
                    <a:pt x="87" y="148"/>
                  </a:cubicBezTo>
                  <a:cubicBezTo>
                    <a:pt x="95" y="150"/>
                    <a:pt x="130" y="154"/>
                    <a:pt x="137" y="146"/>
                  </a:cubicBezTo>
                  <a:cubicBezTo>
                    <a:pt x="144" y="137"/>
                    <a:pt x="156" y="141"/>
                    <a:pt x="164" y="134"/>
                  </a:cubicBezTo>
                  <a:cubicBezTo>
                    <a:pt x="173" y="128"/>
                    <a:pt x="184" y="124"/>
                    <a:pt x="192" y="116"/>
                  </a:cubicBezTo>
                  <a:cubicBezTo>
                    <a:pt x="199" y="108"/>
                    <a:pt x="196" y="98"/>
                    <a:pt x="212" y="98"/>
                  </a:cubicBezTo>
                  <a:cubicBezTo>
                    <a:pt x="229" y="98"/>
                    <a:pt x="240" y="96"/>
                    <a:pt x="241" y="91"/>
                  </a:cubicBezTo>
                  <a:cubicBezTo>
                    <a:pt x="242" y="86"/>
                    <a:pt x="236" y="68"/>
                    <a:pt x="244" y="66"/>
                  </a:cubicBezTo>
                  <a:cubicBezTo>
                    <a:pt x="252" y="63"/>
                    <a:pt x="261" y="51"/>
                    <a:pt x="262" y="46"/>
                  </a:cubicBezTo>
                  <a:cubicBezTo>
                    <a:pt x="264" y="40"/>
                    <a:pt x="262" y="29"/>
                    <a:pt x="257" y="22"/>
                  </a:cubicBezTo>
                  <a:cubicBezTo>
                    <a:pt x="252" y="14"/>
                    <a:pt x="249" y="4"/>
                    <a:pt x="241" y="9"/>
                  </a:cubicBezTo>
                  <a:cubicBezTo>
                    <a:pt x="233" y="14"/>
                    <a:pt x="218" y="16"/>
                    <a:pt x="216" y="8"/>
                  </a:cubicBezTo>
                  <a:cubicBezTo>
                    <a:pt x="213" y="0"/>
                    <a:pt x="202" y="10"/>
                    <a:pt x="196" y="14"/>
                  </a:cubicBezTo>
                  <a:cubicBezTo>
                    <a:pt x="190" y="19"/>
                    <a:pt x="204" y="18"/>
                    <a:pt x="204" y="27"/>
                  </a:cubicBezTo>
                  <a:cubicBezTo>
                    <a:pt x="204" y="36"/>
                    <a:pt x="210" y="58"/>
                    <a:pt x="197" y="55"/>
                  </a:cubicBezTo>
                  <a:cubicBezTo>
                    <a:pt x="184" y="52"/>
                    <a:pt x="174" y="58"/>
                    <a:pt x="172" y="64"/>
                  </a:cubicBezTo>
                  <a:cubicBezTo>
                    <a:pt x="170" y="71"/>
                    <a:pt x="160" y="85"/>
                    <a:pt x="156" y="90"/>
                  </a:cubicBezTo>
                  <a:cubicBezTo>
                    <a:pt x="152" y="94"/>
                    <a:pt x="146" y="85"/>
                    <a:pt x="134" y="86"/>
                  </a:cubicBezTo>
                  <a:cubicBezTo>
                    <a:pt x="121" y="88"/>
                    <a:pt x="95" y="94"/>
                    <a:pt x="76" y="98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42" name="Freeform 25029"/>
            <p:cNvSpPr>
              <a:spLocks/>
            </p:cNvSpPr>
            <p:nvPr/>
          </p:nvSpPr>
          <p:spPr bwMode="auto">
            <a:xfrm>
              <a:off x="7865680" y="3892406"/>
              <a:ext cx="60451" cy="54453"/>
            </a:xfrm>
            <a:custGeom>
              <a:avLst/>
              <a:gdLst>
                <a:gd name="T0" fmla="*/ 29 w 162"/>
                <a:gd name="T1" fmla="*/ 14 h 146"/>
                <a:gd name="T2" fmla="*/ 2 w 162"/>
                <a:gd name="T3" fmla="*/ 6 h 146"/>
                <a:gd name="T4" fmla="*/ 14 w 162"/>
                <a:gd name="T5" fmla="*/ 19 h 146"/>
                <a:gd name="T6" fmla="*/ 53 w 162"/>
                <a:gd name="T7" fmla="*/ 45 h 146"/>
                <a:gd name="T8" fmla="*/ 116 w 162"/>
                <a:gd name="T9" fmla="*/ 100 h 146"/>
                <a:gd name="T10" fmla="*/ 125 w 162"/>
                <a:gd name="T11" fmla="*/ 141 h 146"/>
                <a:gd name="T12" fmla="*/ 148 w 162"/>
                <a:gd name="T13" fmla="*/ 130 h 146"/>
                <a:gd name="T14" fmla="*/ 146 w 162"/>
                <a:gd name="T15" fmla="*/ 98 h 146"/>
                <a:gd name="T16" fmla="*/ 29 w 162"/>
                <a:gd name="T17" fmla="*/ 14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2" h="146">
                  <a:moveTo>
                    <a:pt x="29" y="14"/>
                  </a:moveTo>
                  <a:cubicBezTo>
                    <a:pt x="29" y="14"/>
                    <a:pt x="5" y="0"/>
                    <a:pt x="2" y="6"/>
                  </a:cubicBezTo>
                  <a:cubicBezTo>
                    <a:pt x="0" y="11"/>
                    <a:pt x="0" y="16"/>
                    <a:pt x="14" y="19"/>
                  </a:cubicBezTo>
                  <a:cubicBezTo>
                    <a:pt x="27" y="22"/>
                    <a:pt x="46" y="41"/>
                    <a:pt x="53" y="45"/>
                  </a:cubicBezTo>
                  <a:cubicBezTo>
                    <a:pt x="60" y="49"/>
                    <a:pt x="111" y="78"/>
                    <a:pt x="116" y="100"/>
                  </a:cubicBezTo>
                  <a:cubicBezTo>
                    <a:pt x="122" y="123"/>
                    <a:pt x="114" y="136"/>
                    <a:pt x="125" y="141"/>
                  </a:cubicBezTo>
                  <a:cubicBezTo>
                    <a:pt x="136" y="146"/>
                    <a:pt x="146" y="140"/>
                    <a:pt x="148" y="130"/>
                  </a:cubicBezTo>
                  <a:cubicBezTo>
                    <a:pt x="150" y="119"/>
                    <a:pt x="162" y="108"/>
                    <a:pt x="146" y="98"/>
                  </a:cubicBezTo>
                  <a:cubicBezTo>
                    <a:pt x="130" y="89"/>
                    <a:pt x="83" y="41"/>
                    <a:pt x="29" y="14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43" name="Freeform 25030"/>
            <p:cNvSpPr>
              <a:spLocks/>
            </p:cNvSpPr>
            <p:nvPr/>
          </p:nvSpPr>
          <p:spPr bwMode="auto">
            <a:xfrm>
              <a:off x="7843267" y="3885619"/>
              <a:ext cx="14995" cy="10575"/>
            </a:xfrm>
            <a:custGeom>
              <a:avLst/>
              <a:gdLst>
                <a:gd name="T0" fmla="*/ 12 w 40"/>
                <a:gd name="T1" fmla="*/ 1 h 28"/>
                <a:gd name="T2" fmla="*/ 10 w 40"/>
                <a:gd name="T3" fmla="*/ 20 h 28"/>
                <a:gd name="T4" fmla="*/ 38 w 40"/>
                <a:gd name="T5" fmla="*/ 20 h 28"/>
                <a:gd name="T6" fmla="*/ 12 w 40"/>
                <a:gd name="T7" fmla="*/ 1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" h="28">
                  <a:moveTo>
                    <a:pt x="12" y="1"/>
                  </a:moveTo>
                  <a:cubicBezTo>
                    <a:pt x="12" y="1"/>
                    <a:pt x="0" y="16"/>
                    <a:pt x="10" y="20"/>
                  </a:cubicBezTo>
                  <a:cubicBezTo>
                    <a:pt x="21" y="24"/>
                    <a:pt x="35" y="28"/>
                    <a:pt x="38" y="20"/>
                  </a:cubicBezTo>
                  <a:cubicBezTo>
                    <a:pt x="40" y="12"/>
                    <a:pt x="32" y="0"/>
                    <a:pt x="12" y="1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44" name="Freeform 25031"/>
            <p:cNvSpPr>
              <a:spLocks/>
            </p:cNvSpPr>
            <p:nvPr/>
          </p:nvSpPr>
          <p:spPr bwMode="auto">
            <a:xfrm>
              <a:off x="7833166" y="3863996"/>
              <a:ext cx="8207" cy="7576"/>
            </a:xfrm>
            <a:custGeom>
              <a:avLst/>
              <a:gdLst>
                <a:gd name="T0" fmla="*/ 8 w 22"/>
                <a:gd name="T1" fmla="*/ 3 h 20"/>
                <a:gd name="T2" fmla="*/ 8 w 22"/>
                <a:gd name="T3" fmla="*/ 12 h 20"/>
                <a:gd name="T4" fmla="*/ 21 w 22"/>
                <a:gd name="T5" fmla="*/ 10 h 20"/>
                <a:gd name="T6" fmla="*/ 8 w 22"/>
                <a:gd name="T7" fmla="*/ 3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20">
                  <a:moveTo>
                    <a:pt x="8" y="3"/>
                  </a:moveTo>
                  <a:cubicBezTo>
                    <a:pt x="8" y="3"/>
                    <a:pt x="0" y="10"/>
                    <a:pt x="8" y="12"/>
                  </a:cubicBezTo>
                  <a:cubicBezTo>
                    <a:pt x="16" y="14"/>
                    <a:pt x="19" y="20"/>
                    <a:pt x="21" y="10"/>
                  </a:cubicBezTo>
                  <a:cubicBezTo>
                    <a:pt x="22" y="0"/>
                    <a:pt x="16" y="2"/>
                    <a:pt x="8" y="3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45" name="Freeform 25032"/>
            <p:cNvSpPr>
              <a:spLocks/>
            </p:cNvSpPr>
            <p:nvPr/>
          </p:nvSpPr>
          <p:spPr bwMode="auto">
            <a:xfrm>
              <a:off x="7762457" y="3875202"/>
              <a:ext cx="23359" cy="11206"/>
            </a:xfrm>
            <a:custGeom>
              <a:avLst/>
              <a:gdLst>
                <a:gd name="T0" fmla="*/ 31 w 63"/>
                <a:gd name="T1" fmla="*/ 1 h 30"/>
                <a:gd name="T2" fmla="*/ 6 w 63"/>
                <a:gd name="T3" fmla="*/ 10 h 30"/>
                <a:gd name="T4" fmla="*/ 17 w 63"/>
                <a:gd name="T5" fmla="*/ 26 h 30"/>
                <a:gd name="T6" fmla="*/ 41 w 63"/>
                <a:gd name="T7" fmla="*/ 23 h 30"/>
                <a:gd name="T8" fmla="*/ 61 w 63"/>
                <a:gd name="T9" fmla="*/ 18 h 30"/>
                <a:gd name="T10" fmla="*/ 49 w 63"/>
                <a:gd name="T11" fmla="*/ 6 h 30"/>
                <a:gd name="T12" fmla="*/ 31 w 63"/>
                <a:gd name="T13" fmla="*/ 1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3" h="30">
                  <a:moveTo>
                    <a:pt x="31" y="1"/>
                  </a:moveTo>
                  <a:cubicBezTo>
                    <a:pt x="31" y="1"/>
                    <a:pt x="12" y="4"/>
                    <a:pt x="6" y="10"/>
                  </a:cubicBezTo>
                  <a:cubicBezTo>
                    <a:pt x="0" y="16"/>
                    <a:pt x="6" y="30"/>
                    <a:pt x="17" y="26"/>
                  </a:cubicBezTo>
                  <a:cubicBezTo>
                    <a:pt x="29" y="22"/>
                    <a:pt x="31" y="21"/>
                    <a:pt x="41" y="23"/>
                  </a:cubicBezTo>
                  <a:cubicBezTo>
                    <a:pt x="52" y="25"/>
                    <a:pt x="58" y="23"/>
                    <a:pt x="61" y="18"/>
                  </a:cubicBezTo>
                  <a:cubicBezTo>
                    <a:pt x="63" y="12"/>
                    <a:pt x="60" y="7"/>
                    <a:pt x="49" y="6"/>
                  </a:cubicBezTo>
                  <a:cubicBezTo>
                    <a:pt x="37" y="4"/>
                    <a:pt x="41" y="0"/>
                    <a:pt x="31" y="1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46" name="Freeform 25033"/>
            <p:cNvSpPr>
              <a:spLocks/>
            </p:cNvSpPr>
            <p:nvPr/>
          </p:nvSpPr>
          <p:spPr bwMode="auto">
            <a:xfrm>
              <a:off x="7953278" y="3945754"/>
              <a:ext cx="38353" cy="52559"/>
            </a:xfrm>
            <a:custGeom>
              <a:avLst/>
              <a:gdLst>
                <a:gd name="T0" fmla="*/ 1 w 103"/>
                <a:gd name="T1" fmla="*/ 15 h 141"/>
                <a:gd name="T2" fmla="*/ 7 w 103"/>
                <a:gd name="T3" fmla="*/ 47 h 141"/>
                <a:gd name="T4" fmla="*/ 16 w 103"/>
                <a:gd name="T5" fmla="*/ 75 h 141"/>
                <a:gd name="T6" fmla="*/ 43 w 103"/>
                <a:gd name="T7" fmla="*/ 115 h 141"/>
                <a:gd name="T8" fmla="*/ 73 w 103"/>
                <a:gd name="T9" fmla="*/ 139 h 141"/>
                <a:gd name="T10" fmla="*/ 99 w 103"/>
                <a:gd name="T11" fmla="*/ 133 h 141"/>
                <a:gd name="T12" fmla="*/ 91 w 103"/>
                <a:gd name="T13" fmla="*/ 102 h 141"/>
                <a:gd name="T14" fmla="*/ 60 w 103"/>
                <a:gd name="T15" fmla="*/ 73 h 141"/>
                <a:gd name="T16" fmla="*/ 43 w 103"/>
                <a:gd name="T17" fmla="*/ 49 h 141"/>
                <a:gd name="T18" fmla="*/ 19 w 103"/>
                <a:gd name="T19" fmla="*/ 29 h 141"/>
                <a:gd name="T20" fmla="*/ 1 w 103"/>
                <a:gd name="T21" fmla="*/ 15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3" h="141">
                  <a:moveTo>
                    <a:pt x="1" y="15"/>
                  </a:moveTo>
                  <a:cubicBezTo>
                    <a:pt x="1" y="15"/>
                    <a:pt x="0" y="42"/>
                    <a:pt x="7" y="47"/>
                  </a:cubicBezTo>
                  <a:cubicBezTo>
                    <a:pt x="15" y="51"/>
                    <a:pt x="8" y="71"/>
                    <a:pt x="16" y="75"/>
                  </a:cubicBezTo>
                  <a:cubicBezTo>
                    <a:pt x="24" y="80"/>
                    <a:pt x="39" y="107"/>
                    <a:pt x="43" y="115"/>
                  </a:cubicBezTo>
                  <a:cubicBezTo>
                    <a:pt x="47" y="123"/>
                    <a:pt x="64" y="137"/>
                    <a:pt x="73" y="139"/>
                  </a:cubicBezTo>
                  <a:cubicBezTo>
                    <a:pt x="81" y="141"/>
                    <a:pt x="97" y="140"/>
                    <a:pt x="99" y="133"/>
                  </a:cubicBezTo>
                  <a:cubicBezTo>
                    <a:pt x="101" y="125"/>
                    <a:pt x="103" y="112"/>
                    <a:pt x="91" y="102"/>
                  </a:cubicBezTo>
                  <a:cubicBezTo>
                    <a:pt x="78" y="92"/>
                    <a:pt x="67" y="85"/>
                    <a:pt x="60" y="73"/>
                  </a:cubicBezTo>
                  <a:cubicBezTo>
                    <a:pt x="53" y="60"/>
                    <a:pt x="53" y="51"/>
                    <a:pt x="43" y="49"/>
                  </a:cubicBezTo>
                  <a:cubicBezTo>
                    <a:pt x="33" y="46"/>
                    <a:pt x="23" y="41"/>
                    <a:pt x="19" y="29"/>
                  </a:cubicBezTo>
                  <a:cubicBezTo>
                    <a:pt x="15" y="17"/>
                    <a:pt x="5" y="0"/>
                    <a:pt x="1" y="1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47" name="Freeform 25034"/>
            <p:cNvSpPr>
              <a:spLocks/>
            </p:cNvSpPr>
            <p:nvPr/>
          </p:nvSpPr>
          <p:spPr bwMode="auto">
            <a:xfrm>
              <a:off x="7999839" y="3987895"/>
              <a:ext cx="26990" cy="23517"/>
            </a:xfrm>
            <a:custGeom>
              <a:avLst/>
              <a:gdLst>
                <a:gd name="T0" fmla="*/ 30 w 72"/>
                <a:gd name="T1" fmla="*/ 12 h 63"/>
                <a:gd name="T2" fmla="*/ 8 w 72"/>
                <a:gd name="T3" fmla="*/ 1 h 63"/>
                <a:gd name="T4" fmla="*/ 14 w 72"/>
                <a:gd name="T5" fmla="*/ 25 h 63"/>
                <a:gd name="T6" fmla="*/ 38 w 72"/>
                <a:gd name="T7" fmla="*/ 46 h 63"/>
                <a:gd name="T8" fmla="*/ 54 w 72"/>
                <a:gd name="T9" fmla="*/ 58 h 63"/>
                <a:gd name="T10" fmla="*/ 70 w 72"/>
                <a:gd name="T11" fmla="*/ 59 h 63"/>
                <a:gd name="T12" fmla="*/ 62 w 72"/>
                <a:gd name="T13" fmla="*/ 48 h 63"/>
                <a:gd name="T14" fmla="*/ 30 w 72"/>
                <a:gd name="T15" fmla="*/ 12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" h="63">
                  <a:moveTo>
                    <a:pt x="30" y="12"/>
                  </a:moveTo>
                  <a:cubicBezTo>
                    <a:pt x="30" y="12"/>
                    <a:pt x="17" y="0"/>
                    <a:pt x="8" y="1"/>
                  </a:cubicBezTo>
                  <a:cubicBezTo>
                    <a:pt x="0" y="2"/>
                    <a:pt x="7" y="21"/>
                    <a:pt x="14" y="25"/>
                  </a:cubicBezTo>
                  <a:cubicBezTo>
                    <a:pt x="22" y="29"/>
                    <a:pt x="34" y="41"/>
                    <a:pt x="38" y="46"/>
                  </a:cubicBezTo>
                  <a:cubicBezTo>
                    <a:pt x="41" y="52"/>
                    <a:pt x="51" y="54"/>
                    <a:pt x="54" y="58"/>
                  </a:cubicBezTo>
                  <a:cubicBezTo>
                    <a:pt x="58" y="62"/>
                    <a:pt x="67" y="63"/>
                    <a:pt x="70" y="59"/>
                  </a:cubicBezTo>
                  <a:cubicBezTo>
                    <a:pt x="72" y="55"/>
                    <a:pt x="65" y="55"/>
                    <a:pt x="62" y="48"/>
                  </a:cubicBezTo>
                  <a:cubicBezTo>
                    <a:pt x="60" y="40"/>
                    <a:pt x="48" y="25"/>
                    <a:pt x="30" y="12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48" name="Freeform 25035"/>
            <p:cNvSpPr>
              <a:spLocks/>
            </p:cNvSpPr>
            <p:nvPr/>
          </p:nvSpPr>
          <p:spPr bwMode="auto">
            <a:xfrm>
              <a:off x="8045769" y="4009519"/>
              <a:ext cx="39143" cy="28253"/>
            </a:xfrm>
            <a:custGeom>
              <a:avLst/>
              <a:gdLst>
                <a:gd name="T0" fmla="*/ 57 w 105"/>
                <a:gd name="T1" fmla="*/ 25 h 76"/>
                <a:gd name="T2" fmla="*/ 35 w 105"/>
                <a:gd name="T3" fmla="*/ 12 h 76"/>
                <a:gd name="T4" fmla="*/ 15 w 105"/>
                <a:gd name="T5" fmla="*/ 1 h 76"/>
                <a:gd name="T6" fmla="*/ 15 w 105"/>
                <a:gd name="T7" fmla="*/ 26 h 76"/>
                <a:gd name="T8" fmla="*/ 56 w 105"/>
                <a:gd name="T9" fmla="*/ 54 h 76"/>
                <a:gd name="T10" fmla="*/ 86 w 105"/>
                <a:gd name="T11" fmla="*/ 68 h 76"/>
                <a:gd name="T12" fmla="*/ 105 w 105"/>
                <a:gd name="T13" fmla="*/ 68 h 76"/>
                <a:gd name="T14" fmla="*/ 92 w 105"/>
                <a:gd name="T15" fmla="*/ 52 h 76"/>
                <a:gd name="T16" fmla="*/ 57 w 105"/>
                <a:gd name="T17" fmla="*/ 25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5" h="76">
                  <a:moveTo>
                    <a:pt x="57" y="25"/>
                  </a:moveTo>
                  <a:cubicBezTo>
                    <a:pt x="57" y="25"/>
                    <a:pt x="43" y="20"/>
                    <a:pt x="35" y="12"/>
                  </a:cubicBezTo>
                  <a:cubicBezTo>
                    <a:pt x="28" y="5"/>
                    <a:pt x="31" y="2"/>
                    <a:pt x="15" y="1"/>
                  </a:cubicBezTo>
                  <a:cubicBezTo>
                    <a:pt x="0" y="0"/>
                    <a:pt x="5" y="19"/>
                    <a:pt x="15" y="26"/>
                  </a:cubicBezTo>
                  <a:cubicBezTo>
                    <a:pt x="26" y="32"/>
                    <a:pt x="49" y="51"/>
                    <a:pt x="56" y="54"/>
                  </a:cubicBezTo>
                  <a:cubicBezTo>
                    <a:pt x="63" y="58"/>
                    <a:pt x="78" y="61"/>
                    <a:pt x="86" y="68"/>
                  </a:cubicBezTo>
                  <a:cubicBezTo>
                    <a:pt x="94" y="76"/>
                    <a:pt x="105" y="75"/>
                    <a:pt x="105" y="68"/>
                  </a:cubicBezTo>
                  <a:cubicBezTo>
                    <a:pt x="105" y="62"/>
                    <a:pt x="103" y="63"/>
                    <a:pt x="92" y="52"/>
                  </a:cubicBezTo>
                  <a:cubicBezTo>
                    <a:pt x="81" y="40"/>
                    <a:pt x="79" y="26"/>
                    <a:pt x="57" y="2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49" name="Freeform 25036"/>
            <p:cNvSpPr>
              <a:spLocks/>
            </p:cNvSpPr>
            <p:nvPr/>
          </p:nvSpPr>
          <p:spPr bwMode="auto">
            <a:xfrm>
              <a:off x="8009940" y="4015516"/>
              <a:ext cx="35513" cy="29042"/>
            </a:xfrm>
            <a:custGeom>
              <a:avLst/>
              <a:gdLst>
                <a:gd name="T0" fmla="*/ 19 w 95"/>
                <a:gd name="T1" fmla="*/ 5 h 78"/>
                <a:gd name="T2" fmla="*/ 8 w 95"/>
                <a:gd name="T3" fmla="*/ 23 h 78"/>
                <a:gd name="T4" fmla="*/ 34 w 95"/>
                <a:gd name="T5" fmla="*/ 38 h 78"/>
                <a:gd name="T6" fmla="*/ 21 w 95"/>
                <a:gd name="T7" fmla="*/ 55 h 78"/>
                <a:gd name="T8" fmla="*/ 35 w 95"/>
                <a:gd name="T9" fmla="*/ 56 h 78"/>
                <a:gd name="T10" fmla="*/ 49 w 95"/>
                <a:gd name="T11" fmla="*/ 52 h 78"/>
                <a:gd name="T12" fmla="*/ 61 w 95"/>
                <a:gd name="T13" fmla="*/ 60 h 78"/>
                <a:gd name="T14" fmla="*/ 79 w 95"/>
                <a:gd name="T15" fmla="*/ 69 h 78"/>
                <a:gd name="T16" fmla="*/ 81 w 95"/>
                <a:gd name="T17" fmla="*/ 49 h 78"/>
                <a:gd name="T18" fmla="*/ 66 w 95"/>
                <a:gd name="T19" fmla="*/ 37 h 78"/>
                <a:gd name="T20" fmla="*/ 52 w 95"/>
                <a:gd name="T21" fmla="*/ 26 h 78"/>
                <a:gd name="T22" fmla="*/ 41 w 95"/>
                <a:gd name="T23" fmla="*/ 15 h 78"/>
                <a:gd name="T24" fmla="*/ 25 w 95"/>
                <a:gd name="T25" fmla="*/ 16 h 78"/>
                <a:gd name="T26" fmla="*/ 19 w 95"/>
                <a:gd name="T27" fmla="*/ 5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5" h="78">
                  <a:moveTo>
                    <a:pt x="19" y="5"/>
                  </a:moveTo>
                  <a:cubicBezTo>
                    <a:pt x="19" y="5"/>
                    <a:pt x="0" y="19"/>
                    <a:pt x="8" y="23"/>
                  </a:cubicBezTo>
                  <a:cubicBezTo>
                    <a:pt x="16" y="27"/>
                    <a:pt x="35" y="32"/>
                    <a:pt x="34" y="38"/>
                  </a:cubicBezTo>
                  <a:cubicBezTo>
                    <a:pt x="33" y="43"/>
                    <a:pt x="15" y="48"/>
                    <a:pt x="21" y="55"/>
                  </a:cubicBezTo>
                  <a:cubicBezTo>
                    <a:pt x="27" y="62"/>
                    <a:pt x="34" y="67"/>
                    <a:pt x="35" y="56"/>
                  </a:cubicBezTo>
                  <a:cubicBezTo>
                    <a:pt x="37" y="46"/>
                    <a:pt x="43" y="48"/>
                    <a:pt x="49" y="52"/>
                  </a:cubicBezTo>
                  <a:cubicBezTo>
                    <a:pt x="54" y="55"/>
                    <a:pt x="59" y="54"/>
                    <a:pt x="61" y="60"/>
                  </a:cubicBezTo>
                  <a:cubicBezTo>
                    <a:pt x="62" y="66"/>
                    <a:pt x="77" y="78"/>
                    <a:pt x="79" y="69"/>
                  </a:cubicBezTo>
                  <a:cubicBezTo>
                    <a:pt x="80" y="60"/>
                    <a:pt x="95" y="50"/>
                    <a:pt x="81" y="49"/>
                  </a:cubicBezTo>
                  <a:cubicBezTo>
                    <a:pt x="68" y="48"/>
                    <a:pt x="74" y="43"/>
                    <a:pt x="66" y="37"/>
                  </a:cubicBezTo>
                  <a:cubicBezTo>
                    <a:pt x="58" y="31"/>
                    <a:pt x="53" y="34"/>
                    <a:pt x="52" y="26"/>
                  </a:cubicBezTo>
                  <a:cubicBezTo>
                    <a:pt x="51" y="18"/>
                    <a:pt x="47" y="15"/>
                    <a:pt x="41" y="15"/>
                  </a:cubicBezTo>
                  <a:cubicBezTo>
                    <a:pt x="35" y="15"/>
                    <a:pt x="27" y="22"/>
                    <a:pt x="25" y="16"/>
                  </a:cubicBezTo>
                  <a:cubicBezTo>
                    <a:pt x="23" y="9"/>
                    <a:pt x="24" y="0"/>
                    <a:pt x="19" y="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50" name="Freeform 25037"/>
            <p:cNvSpPr>
              <a:spLocks/>
            </p:cNvSpPr>
            <p:nvPr/>
          </p:nvSpPr>
          <p:spPr bwMode="auto">
            <a:xfrm>
              <a:off x="8001417" y="4010308"/>
              <a:ext cx="10417" cy="12627"/>
            </a:xfrm>
            <a:custGeom>
              <a:avLst/>
              <a:gdLst>
                <a:gd name="T0" fmla="*/ 1 w 28"/>
                <a:gd name="T1" fmla="*/ 10 h 34"/>
                <a:gd name="T2" fmla="*/ 7 w 28"/>
                <a:gd name="T3" fmla="*/ 24 h 34"/>
                <a:gd name="T4" fmla="*/ 18 w 28"/>
                <a:gd name="T5" fmla="*/ 26 h 34"/>
                <a:gd name="T6" fmla="*/ 21 w 28"/>
                <a:gd name="T7" fmla="*/ 11 h 34"/>
                <a:gd name="T8" fmla="*/ 1 w 28"/>
                <a:gd name="T9" fmla="*/ 1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34">
                  <a:moveTo>
                    <a:pt x="1" y="10"/>
                  </a:moveTo>
                  <a:cubicBezTo>
                    <a:pt x="1" y="10"/>
                    <a:pt x="3" y="22"/>
                    <a:pt x="7" y="24"/>
                  </a:cubicBezTo>
                  <a:cubicBezTo>
                    <a:pt x="11" y="26"/>
                    <a:pt x="14" y="34"/>
                    <a:pt x="18" y="26"/>
                  </a:cubicBezTo>
                  <a:cubicBezTo>
                    <a:pt x="21" y="18"/>
                    <a:pt x="28" y="11"/>
                    <a:pt x="21" y="11"/>
                  </a:cubicBezTo>
                  <a:cubicBezTo>
                    <a:pt x="14" y="11"/>
                    <a:pt x="0" y="0"/>
                    <a:pt x="1" y="1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51" name="Freeform 25038"/>
            <p:cNvSpPr>
              <a:spLocks/>
            </p:cNvSpPr>
            <p:nvPr/>
          </p:nvSpPr>
          <p:spPr bwMode="auto">
            <a:xfrm>
              <a:off x="7844846" y="4048977"/>
              <a:ext cx="33461" cy="28725"/>
            </a:xfrm>
            <a:custGeom>
              <a:avLst/>
              <a:gdLst>
                <a:gd name="T0" fmla="*/ 48 w 90"/>
                <a:gd name="T1" fmla="*/ 11 h 77"/>
                <a:gd name="T2" fmla="*/ 42 w 90"/>
                <a:gd name="T3" fmla="*/ 12 h 77"/>
                <a:gd name="T4" fmla="*/ 33 w 90"/>
                <a:gd name="T5" fmla="*/ 19 h 77"/>
                <a:gd name="T6" fmla="*/ 31 w 90"/>
                <a:gd name="T7" fmla="*/ 4 h 77"/>
                <a:gd name="T8" fmla="*/ 21 w 90"/>
                <a:gd name="T9" fmla="*/ 9 h 77"/>
                <a:gd name="T10" fmla="*/ 6 w 90"/>
                <a:gd name="T11" fmla="*/ 14 h 77"/>
                <a:gd name="T12" fmla="*/ 22 w 90"/>
                <a:gd name="T13" fmla="*/ 24 h 77"/>
                <a:gd name="T14" fmla="*/ 41 w 90"/>
                <a:gd name="T15" fmla="*/ 36 h 77"/>
                <a:gd name="T16" fmla="*/ 59 w 90"/>
                <a:gd name="T17" fmla="*/ 49 h 77"/>
                <a:gd name="T18" fmla="*/ 68 w 90"/>
                <a:gd name="T19" fmla="*/ 64 h 77"/>
                <a:gd name="T20" fmla="*/ 88 w 90"/>
                <a:gd name="T21" fmla="*/ 66 h 77"/>
                <a:gd name="T22" fmla="*/ 80 w 90"/>
                <a:gd name="T23" fmla="*/ 54 h 77"/>
                <a:gd name="T24" fmla="*/ 69 w 90"/>
                <a:gd name="T25" fmla="*/ 46 h 77"/>
                <a:gd name="T26" fmla="*/ 66 w 90"/>
                <a:gd name="T27" fmla="*/ 36 h 77"/>
                <a:gd name="T28" fmla="*/ 66 w 90"/>
                <a:gd name="T29" fmla="*/ 27 h 77"/>
                <a:gd name="T30" fmla="*/ 57 w 90"/>
                <a:gd name="T31" fmla="*/ 18 h 77"/>
                <a:gd name="T32" fmla="*/ 48 w 90"/>
                <a:gd name="T33" fmla="*/ 11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0" h="77">
                  <a:moveTo>
                    <a:pt x="48" y="11"/>
                  </a:moveTo>
                  <a:cubicBezTo>
                    <a:pt x="48" y="11"/>
                    <a:pt x="44" y="6"/>
                    <a:pt x="42" y="12"/>
                  </a:cubicBezTo>
                  <a:cubicBezTo>
                    <a:pt x="40" y="18"/>
                    <a:pt x="36" y="24"/>
                    <a:pt x="33" y="19"/>
                  </a:cubicBezTo>
                  <a:cubicBezTo>
                    <a:pt x="30" y="14"/>
                    <a:pt x="38" y="8"/>
                    <a:pt x="31" y="4"/>
                  </a:cubicBezTo>
                  <a:cubicBezTo>
                    <a:pt x="24" y="0"/>
                    <a:pt x="21" y="4"/>
                    <a:pt x="21" y="9"/>
                  </a:cubicBezTo>
                  <a:cubicBezTo>
                    <a:pt x="21" y="14"/>
                    <a:pt x="0" y="9"/>
                    <a:pt x="6" y="14"/>
                  </a:cubicBezTo>
                  <a:cubicBezTo>
                    <a:pt x="11" y="18"/>
                    <a:pt x="19" y="20"/>
                    <a:pt x="22" y="24"/>
                  </a:cubicBezTo>
                  <a:cubicBezTo>
                    <a:pt x="24" y="29"/>
                    <a:pt x="39" y="28"/>
                    <a:pt x="41" y="36"/>
                  </a:cubicBezTo>
                  <a:cubicBezTo>
                    <a:pt x="43" y="43"/>
                    <a:pt x="57" y="40"/>
                    <a:pt x="59" y="49"/>
                  </a:cubicBezTo>
                  <a:cubicBezTo>
                    <a:pt x="61" y="58"/>
                    <a:pt x="64" y="63"/>
                    <a:pt x="68" y="64"/>
                  </a:cubicBezTo>
                  <a:cubicBezTo>
                    <a:pt x="72" y="66"/>
                    <a:pt x="86" y="77"/>
                    <a:pt x="88" y="66"/>
                  </a:cubicBezTo>
                  <a:cubicBezTo>
                    <a:pt x="90" y="56"/>
                    <a:pt x="90" y="54"/>
                    <a:pt x="80" y="54"/>
                  </a:cubicBezTo>
                  <a:cubicBezTo>
                    <a:pt x="70" y="54"/>
                    <a:pt x="77" y="47"/>
                    <a:pt x="69" y="46"/>
                  </a:cubicBezTo>
                  <a:cubicBezTo>
                    <a:pt x="61" y="44"/>
                    <a:pt x="61" y="36"/>
                    <a:pt x="66" y="36"/>
                  </a:cubicBezTo>
                  <a:cubicBezTo>
                    <a:pt x="70" y="35"/>
                    <a:pt x="69" y="32"/>
                    <a:pt x="66" y="27"/>
                  </a:cubicBezTo>
                  <a:cubicBezTo>
                    <a:pt x="64" y="22"/>
                    <a:pt x="61" y="18"/>
                    <a:pt x="57" y="18"/>
                  </a:cubicBezTo>
                  <a:cubicBezTo>
                    <a:pt x="53" y="19"/>
                    <a:pt x="48" y="20"/>
                    <a:pt x="48" y="11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52" name="Freeform 25039"/>
            <p:cNvSpPr>
              <a:spLocks/>
            </p:cNvSpPr>
            <p:nvPr/>
          </p:nvSpPr>
          <p:spPr bwMode="auto">
            <a:xfrm>
              <a:off x="7870573" y="4032563"/>
              <a:ext cx="4419" cy="9786"/>
            </a:xfrm>
            <a:custGeom>
              <a:avLst/>
              <a:gdLst>
                <a:gd name="T0" fmla="*/ 4 w 12"/>
                <a:gd name="T1" fmla="*/ 6 h 26"/>
                <a:gd name="T2" fmla="*/ 3 w 12"/>
                <a:gd name="T3" fmla="*/ 22 h 26"/>
                <a:gd name="T4" fmla="*/ 12 w 12"/>
                <a:gd name="T5" fmla="*/ 14 h 26"/>
                <a:gd name="T6" fmla="*/ 4 w 12"/>
                <a:gd name="T7" fmla="*/ 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26">
                  <a:moveTo>
                    <a:pt x="4" y="6"/>
                  </a:moveTo>
                  <a:cubicBezTo>
                    <a:pt x="4" y="6"/>
                    <a:pt x="0" y="18"/>
                    <a:pt x="3" y="22"/>
                  </a:cubicBezTo>
                  <a:cubicBezTo>
                    <a:pt x="7" y="26"/>
                    <a:pt x="12" y="22"/>
                    <a:pt x="12" y="14"/>
                  </a:cubicBezTo>
                  <a:cubicBezTo>
                    <a:pt x="12" y="7"/>
                    <a:pt x="5" y="0"/>
                    <a:pt x="4" y="6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53" name="Freeform 25040"/>
            <p:cNvSpPr>
              <a:spLocks/>
            </p:cNvSpPr>
            <p:nvPr/>
          </p:nvSpPr>
          <p:spPr bwMode="auto">
            <a:xfrm>
              <a:off x="7905138" y="4041874"/>
              <a:ext cx="14995" cy="11679"/>
            </a:xfrm>
            <a:custGeom>
              <a:avLst/>
              <a:gdLst>
                <a:gd name="T0" fmla="*/ 19 w 40"/>
                <a:gd name="T1" fmla="*/ 7 h 31"/>
                <a:gd name="T2" fmla="*/ 11 w 40"/>
                <a:gd name="T3" fmla="*/ 14 h 31"/>
                <a:gd name="T4" fmla="*/ 14 w 40"/>
                <a:gd name="T5" fmla="*/ 25 h 31"/>
                <a:gd name="T6" fmla="*/ 28 w 40"/>
                <a:gd name="T7" fmla="*/ 28 h 31"/>
                <a:gd name="T8" fmla="*/ 34 w 40"/>
                <a:gd name="T9" fmla="*/ 17 h 31"/>
                <a:gd name="T10" fmla="*/ 19 w 40"/>
                <a:gd name="T11" fmla="*/ 7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0" h="31">
                  <a:moveTo>
                    <a:pt x="19" y="7"/>
                  </a:moveTo>
                  <a:cubicBezTo>
                    <a:pt x="19" y="7"/>
                    <a:pt x="22" y="14"/>
                    <a:pt x="11" y="14"/>
                  </a:cubicBezTo>
                  <a:cubicBezTo>
                    <a:pt x="0" y="14"/>
                    <a:pt x="10" y="24"/>
                    <a:pt x="14" y="25"/>
                  </a:cubicBezTo>
                  <a:cubicBezTo>
                    <a:pt x="17" y="25"/>
                    <a:pt x="18" y="31"/>
                    <a:pt x="28" y="28"/>
                  </a:cubicBezTo>
                  <a:cubicBezTo>
                    <a:pt x="37" y="25"/>
                    <a:pt x="40" y="21"/>
                    <a:pt x="34" y="17"/>
                  </a:cubicBezTo>
                  <a:cubicBezTo>
                    <a:pt x="29" y="12"/>
                    <a:pt x="19" y="0"/>
                    <a:pt x="19" y="7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54" name="Freeform 25041"/>
            <p:cNvSpPr>
              <a:spLocks/>
            </p:cNvSpPr>
            <p:nvPr/>
          </p:nvSpPr>
          <p:spPr bwMode="auto">
            <a:xfrm>
              <a:off x="7901508" y="4083701"/>
              <a:ext cx="13732" cy="5209"/>
            </a:xfrm>
            <a:custGeom>
              <a:avLst/>
              <a:gdLst>
                <a:gd name="T0" fmla="*/ 25 w 37"/>
                <a:gd name="T1" fmla="*/ 1 h 14"/>
                <a:gd name="T2" fmla="*/ 12 w 37"/>
                <a:gd name="T3" fmla="*/ 9 h 14"/>
                <a:gd name="T4" fmla="*/ 25 w 37"/>
                <a:gd name="T5" fmla="*/ 1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7" h="14">
                  <a:moveTo>
                    <a:pt x="25" y="1"/>
                  </a:moveTo>
                  <a:cubicBezTo>
                    <a:pt x="25" y="1"/>
                    <a:pt x="0" y="5"/>
                    <a:pt x="12" y="9"/>
                  </a:cubicBezTo>
                  <a:cubicBezTo>
                    <a:pt x="24" y="14"/>
                    <a:pt x="37" y="0"/>
                    <a:pt x="25" y="1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55" name="Freeform 25042"/>
            <p:cNvSpPr>
              <a:spLocks/>
            </p:cNvSpPr>
            <p:nvPr/>
          </p:nvSpPr>
          <p:spPr bwMode="auto">
            <a:xfrm>
              <a:off x="7921238" y="4101220"/>
              <a:ext cx="16731" cy="10891"/>
            </a:xfrm>
            <a:custGeom>
              <a:avLst/>
              <a:gdLst>
                <a:gd name="T0" fmla="*/ 21 w 45"/>
                <a:gd name="T1" fmla="*/ 4 h 29"/>
                <a:gd name="T2" fmla="*/ 5 w 45"/>
                <a:gd name="T3" fmla="*/ 8 h 29"/>
                <a:gd name="T4" fmla="*/ 21 w 45"/>
                <a:gd name="T5" fmla="*/ 24 h 29"/>
                <a:gd name="T6" fmla="*/ 42 w 45"/>
                <a:gd name="T7" fmla="*/ 18 h 29"/>
                <a:gd name="T8" fmla="*/ 29 w 45"/>
                <a:gd name="T9" fmla="*/ 8 h 29"/>
                <a:gd name="T10" fmla="*/ 21 w 45"/>
                <a:gd name="T11" fmla="*/ 4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5" h="29">
                  <a:moveTo>
                    <a:pt x="21" y="4"/>
                  </a:moveTo>
                  <a:cubicBezTo>
                    <a:pt x="21" y="4"/>
                    <a:pt x="0" y="2"/>
                    <a:pt x="5" y="8"/>
                  </a:cubicBezTo>
                  <a:cubicBezTo>
                    <a:pt x="9" y="14"/>
                    <a:pt x="13" y="18"/>
                    <a:pt x="21" y="24"/>
                  </a:cubicBezTo>
                  <a:cubicBezTo>
                    <a:pt x="28" y="29"/>
                    <a:pt x="39" y="25"/>
                    <a:pt x="42" y="18"/>
                  </a:cubicBezTo>
                  <a:cubicBezTo>
                    <a:pt x="45" y="12"/>
                    <a:pt x="30" y="16"/>
                    <a:pt x="29" y="8"/>
                  </a:cubicBezTo>
                  <a:cubicBezTo>
                    <a:pt x="27" y="0"/>
                    <a:pt x="29" y="4"/>
                    <a:pt x="21" y="4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56" name="Freeform 25043"/>
            <p:cNvSpPr>
              <a:spLocks/>
            </p:cNvSpPr>
            <p:nvPr/>
          </p:nvSpPr>
          <p:spPr bwMode="auto">
            <a:xfrm>
              <a:off x="8074494" y="4050555"/>
              <a:ext cx="33934" cy="18625"/>
            </a:xfrm>
            <a:custGeom>
              <a:avLst/>
              <a:gdLst>
                <a:gd name="T0" fmla="*/ 34 w 91"/>
                <a:gd name="T1" fmla="*/ 10 h 50"/>
                <a:gd name="T2" fmla="*/ 20 w 91"/>
                <a:gd name="T3" fmla="*/ 6 h 50"/>
                <a:gd name="T4" fmla="*/ 2 w 91"/>
                <a:gd name="T5" fmla="*/ 8 h 50"/>
                <a:gd name="T6" fmla="*/ 7 w 91"/>
                <a:gd name="T7" fmla="*/ 32 h 50"/>
                <a:gd name="T8" fmla="*/ 22 w 91"/>
                <a:gd name="T9" fmla="*/ 44 h 50"/>
                <a:gd name="T10" fmla="*/ 44 w 91"/>
                <a:gd name="T11" fmla="*/ 45 h 50"/>
                <a:gd name="T12" fmla="*/ 66 w 91"/>
                <a:gd name="T13" fmla="*/ 50 h 50"/>
                <a:gd name="T14" fmla="*/ 82 w 91"/>
                <a:gd name="T15" fmla="*/ 37 h 50"/>
                <a:gd name="T16" fmla="*/ 70 w 91"/>
                <a:gd name="T17" fmla="*/ 28 h 50"/>
                <a:gd name="T18" fmla="*/ 60 w 91"/>
                <a:gd name="T19" fmla="*/ 17 h 50"/>
                <a:gd name="T20" fmla="*/ 34 w 91"/>
                <a:gd name="T21" fmla="*/ 1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1" h="50">
                  <a:moveTo>
                    <a:pt x="34" y="10"/>
                  </a:moveTo>
                  <a:cubicBezTo>
                    <a:pt x="34" y="10"/>
                    <a:pt x="22" y="12"/>
                    <a:pt x="20" y="6"/>
                  </a:cubicBezTo>
                  <a:cubicBezTo>
                    <a:pt x="17" y="0"/>
                    <a:pt x="3" y="0"/>
                    <a:pt x="2" y="8"/>
                  </a:cubicBezTo>
                  <a:cubicBezTo>
                    <a:pt x="0" y="16"/>
                    <a:pt x="2" y="29"/>
                    <a:pt x="7" y="32"/>
                  </a:cubicBezTo>
                  <a:cubicBezTo>
                    <a:pt x="12" y="34"/>
                    <a:pt x="16" y="44"/>
                    <a:pt x="22" y="44"/>
                  </a:cubicBezTo>
                  <a:cubicBezTo>
                    <a:pt x="28" y="44"/>
                    <a:pt x="38" y="40"/>
                    <a:pt x="44" y="45"/>
                  </a:cubicBezTo>
                  <a:cubicBezTo>
                    <a:pt x="50" y="50"/>
                    <a:pt x="58" y="50"/>
                    <a:pt x="66" y="50"/>
                  </a:cubicBezTo>
                  <a:cubicBezTo>
                    <a:pt x="75" y="50"/>
                    <a:pt x="91" y="42"/>
                    <a:pt x="82" y="37"/>
                  </a:cubicBezTo>
                  <a:cubicBezTo>
                    <a:pt x="74" y="32"/>
                    <a:pt x="70" y="34"/>
                    <a:pt x="70" y="28"/>
                  </a:cubicBezTo>
                  <a:cubicBezTo>
                    <a:pt x="70" y="22"/>
                    <a:pt x="66" y="20"/>
                    <a:pt x="60" y="17"/>
                  </a:cubicBezTo>
                  <a:cubicBezTo>
                    <a:pt x="53" y="14"/>
                    <a:pt x="52" y="8"/>
                    <a:pt x="34" y="1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57" name="Freeform 25044"/>
            <p:cNvSpPr>
              <a:spLocks/>
            </p:cNvSpPr>
            <p:nvPr/>
          </p:nvSpPr>
          <p:spPr bwMode="auto">
            <a:xfrm>
              <a:off x="8096118" y="4025934"/>
              <a:ext cx="30620" cy="41037"/>
            </a:xfrm>
            <a:custGeom>
              <a:avLst/>
              <a:gdLst>
                <a:gd name="T0" fmla="*/ 8 w 82"/>
                <a:gd name="T1" fmla="*/ 6 h 110"/>
                <a:gd name="T2" fmla="*/ 3 w 82"/>
                <a:gd name="T3" fmla="*/ 14 h 110"/>
                <a:gd name="T4" fmla="*/ 9 w 82"/>
                <a:gd name="T5" fmla="*/ 32 h 110"/>
                <a:gd name="T6" fmla="*/ 16 w 82"/>
                <a:gd name="T7" fmla="*/ 54 h 110"/>
                <a:gd name="T8" fmla="*/ 31 w 82"/>
                <a:gd name="T9" fmla="*/ 76 h 110"/>
                <a:gd name="T10" fmla="*/ 56 w 82"/>
                <a:gd name="T11" fmla="*/ 99 h 110"/>
                <a:gd name="T12" fmla="*/ 73 w 82"/>
                <a:gd name="T13" fmla="*/ 105 h 110"/>
                <a:gd name="T14" fmla="*/ 73 w 82"/>
                <a:gd name="T15" fmla="*/ 90 h 110"/>
                <a:gd name="T16" fmla="*/ 52 w 82"/>
                <a:gd name="T17" fmla="*/ 62 h 110"/>
                <a:gd name="T18" fmla="*/ 48 w 82"/>
                <a:gd name="T19" fmla="*/ 47 h 110"/>
                <a:gd name="T20" fmla="*/ 36 w 82"/>
                <a:gd name="T21" fmla="*/ 30 h 110"/>
                <a:gd name="T22" fmla="*/ 32 w 82"/>
                <a:gd name="T23" fmla="*/ 15 h 110"/>
                <a:gd name="T24" fmla="*/ 8 w 82"/>
                <a:gd name="T25" fmla="*/ 6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2" h="110">
                  <a:moveTo>
                    <a:pt x="8" y="6"/>
                  </a:moveTo>
                  <a:cubicBezTo>
                    <a:pt x="8" y="6"/>
                    <a:pt x="0" y="12"/>
                    <a:pt x="3" y="14"/>
                  </a:cubicBezTo>
                  <a:cubicBezTo>
                    <a:pt x="6" y="16"/>
                    <a:pt x="11" y="18"/>
                    <a:pt x="9" y="32"/>
                  </a:cubicBezTo>
                  <a:cubicBezTo>
                    <a:pt x="7" y="45"/>
                    <a:pt x="16" y="44"/>
                    <a:pt x="16" y="54"/>
                  </a:cubicBezTo>
                  <a:cubicBezTo>
                    <a:pt x="16" y="64"/>
                    <a:pt x="21" y="70"/>
                    <a:pt x="31" y="76"/>
                  </a:cubicBezTo>
                  <a:cubicBezTo>
                    <a:pt x="41" y="81"/>
                    <a:pt x="50" y="90"/>
                    <a:pt x="56" y="99"/>
                  </a:cubicBezTo>
                  <a:cubicBezTo>
                    <a:pt x="61" y="108"/>
                    <a:pt x="68" y="110"/>
                    <a:pt x="73" y="105"/>
                  </a:cubicBezTo>
                  <a:cubicBezTo>
                    <a:pt x="78" y="100"/>
                    <a:pt x="82" y="97"/>
                    <a:pt x="73" y="90"/>
                  </a:cubicBezTo>
                  <a:cubicBezTo>
                    <a:pt x="64" y="84"/>
                    <a:pt x="52" y="71"/>
                    <a:pt x="52" y="62"/>
                  </a:cubicBezTo>
                  <a:cubicBezTo>
                    <a:pt x="51" y="54"/>
                    <a:pt x="56" y="54"/>
                    <a:pt x="48" y="47"/>
                  </a:cubicBezTo>
                  <a:cubicBezTo>
                    <a:pt x="40" y="40"/>
                    <a:pt x="36" y="39"/>
                    <a:pt x="36" y="30"/>
                  </a:cubicBezTo>
                  <a:cubicBezTo>
                    <a:pt x="36" y="22"/>
                    <a:pt x="38" y="18"/>
                    <a:pt x="32" y="15"/>
                  </a:cubicBezTo>
                  <a:cubicBezTo>
                    <a:pt x="26" y="12"/>
                    <a:pt x="27" y="0"/>
                    <a:pt x="8" y="6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58" name="Freeform 25045"/>
            <p:cNvSpPr>
              <a:spLocks/>
            </p:cNvSpPr>
            <p:nvPr/>
          </p:nvSpPr>
          <p:spPr bwMode="auto">
            <a:xfrm>
              <a:off x="8082386" y="4103903"/>
              <a:ext cx="17835" cy="11838"/>
            </a:xfrm>
            <a:custGeom>
              <a:avLst/>
              <a:gdLst>
                <a:gd name="T0" fmla="*/ 25 w 48"/>
                <a:gd name="T1" fmla="*/ 9 h 32"/>
                <a:gd name="T2" fmla="*/ 9 w 48"/>
                <a:gd name="T3" fmla="*/ 0 h 32"/>
                <a:gd name="T4" fmla="*/ 11 w 48"/>
                <a:gd name="T5" fmla="*/ 13 h 32"/>
                <a:gd name="T6" fmla="*/ 32 w 48"/>
                <a:gd name="T7" fmla="*/ 29 h 32"/>
                <a:gd name="T8" fmla="*/ 48 w 48"/>
                <a:gd name="T9" fmla="*/ 27 h 32"/>
                <a:gd name="T10" fmla="*/ 25 w 48"/>
                <a:gd name="T11" fmla="*/ 9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8" h="32">
                  <a:moveTo>
                    <a:pt x="25" y="9"/>
                  </a:moveTo>
                  <a:cubicBezTo>
                    <a:pt x="25" y="9"/>
                    <a:pt x="17" y="0"/>
                    <a:pt x="9" y="0"/>
                  </a:cubicBezTo>
                  <a:cubicBezTo>
                    <a:pt x="0" y="0"/>
                    <a:pt x="1" y="9"/>
                    <a:pt x="11" y="13"/>
                  </a:cubicBezTo>
                  <a:cubicBezTo>
                    <a:pt x="21" y="17"/>
                    <a:pt x="23" y="27"/>
                    <a:pt x="32" y="29"/>
                  </a:cubicBezTo>
                  <a:cubicBezTo>
                    <a:pt x="41" y="30"/>
                    <a:pt x="48" y="32"/>
                    <a:pt x="48" y="27"/>
                  </a:cubicBezTo>
                  <a:cubicBezTo>
                    <a:pt x="48" y="21"/>
                    <a:pt x="39" y="12"/>
                    <a:pt x="25" y="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59" name="Freeform 25046"/>
            <p:cNvSpPr>
              <a:spLocks/>
            </p:cNvSpPr>
            <p:nvPr/>
          </p:nvSpPr>
          <p:spPr bwMode="auto">
            <a:xfrm>
              <a:off x="8116320" y="4069496"/>
              <a:ext cx="24149" cy="22097"/>
            </a:xfrm>
            <a:custGeom>
              <a:avLst/>
              <a:gdLst>
                <a:gd name="T0" fmla="*/ 4 w 65"/>
                <a:gd name="T1" fmla="*/ 8 h 59"/>
                <a:gd name="T2" fmla="*/ 8 w 65"/>
                <a:gd name="T3" fmla="*/ 32 h 59"/>
                <a:gd name="T4" fmla="*/ 26 w 65"/>
                <a:gd name="T5" fmla="*/ 50 h 59"/>
                <a:gd name="T6" fmla="*/ 48 w 65"/>
                <a:gd name="T7" fmla="*/ 55 h 59"/>
                <a:gd name="T8" fmla="*/ 64 w 65"/>
                <a:gd name="T9" fmla="*/ 51 h 59"/>
                <a:gd name="T10" fmla="*/ 48 w 65"/>
                <a:gd name="T11" fmla="*/ 32 h 59"/>
                <a:gd name="T12" fmla="*/ 30 w 65"/>
                <a:gd name="T13" fmla="*/ 23 h 59"/>
                <a:gd name="T14" fmla="*/ 15 w 65"/>
                <a:gd name="T15" fmla="*/ 13 h 59"/>
                <a:gd name="T16" fmla="*/ 4 w 65"/>
                <a:gd name="T17" fmla="*/ 8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5" h="59">
                  <a:moveTo>
                    <a:pt x="4" y="8"/>
                  </a:moveTo>
                  <a:cubicBezTo>
                    <a:pt x="4" y="8"/>
                    <a:pt x="0" y="28"/>
                    <a:pt x="8" y="32"/>
                  </a:cubicBezTo>
                  <a:cubicBezTo>
                    <a:pt x="16" y="36"/>
                    <a:pt x="18" y="45"/>
                    <a:pt x="26" y="50"/>
                  </a:cubicBezTo>
                  <a:cubicBezTo>
                    <a:pt x="34" y="55"/>
                    <a:pt x="42" y="55"/>
                    <a:pt x="48" y="55"/>
                  </a:cubicBezTo>
                  <a:cubicBezTo>
                    <a:pt x="53" y="55"/>
                    <a:pt x="64" y="59"/>
                    <a:pt x="64" y="51"/>
                  </a:cubicBezTo>
                  <a:cubicBezTo>
                    <a:pt x="65" y="44"/>
                    <a:pt x="54" y="34"/>
                    <a:pt x="48" y="32"/>
                  </a:cubicBezTo>
                  <a:cubicBezTo>
                    <a:pt x="43" y="30"/>
                    <a:pt x="38" y="25"/>
                    <a:pt x="30" y="23"/>
                  </a:cubicBezTo>
                  <a:cubicBezTo>
                    <a:pt x="22" y="20"/>
                    <a:pt x="16" y="21"/>
                    <a:pt x="15" y="13"/>
                  </a:cubicBezTo>
                  <a:cubicBezTo>
                    <a:pt x="14" y="5"/>
                    <a:pt x="5" y="0"/>
                    <a:pt x="4" y="8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60" name="Freeform 25047"/>
            <p:cNvSpPr>
              <a:spLocks/>
            </p:cNvSpPr>
            <p:nvPr/>
          </p:nvSpPr>
          <p:spPr bwMode="auto">
            <a:xfrm>
              <a:off x="7626719" y="3893826"/>
              <a:ext cx="243065" cy="196187"/>
            </a:xfrm>
            <a:custGeom>
              <a:avLst/>
              <a:gdLst>
                <a:gd name="T0" fmla="*/ 649 w 652"/>
                <a:gd name="T1" fmla="*/ 487 h 526"/>
                <a:gd name="T2" fmla="*/ 631 w 652"/>
                <a:gd name="T3" fmla="*/ 482 h 526"/>
                <a:gd name="T4" fmla="*/ 612 w 652"/>
                <a:gd name="T5" fmla="*/ 477 h 526"/>
                <a:gd name="T6" fmla="*/ 590 w 652"/>
                <a:gd name="T7" fmla="*/ 470 h 526"/>
                <a:gd name="T8" fmla="*/ 589 w 652"/>
                <a:gd name="T9" fmla="*/ 443 h 526"/>
                <a:gd name="T10" fmla="*/ 546 w 652"/>
                <a:gd name="T11" fmla="*/ 440 h 526"/>
                <a:gd name="T12" fmla="*/ 544 w 652"/>
                <a:gd name="T13" fmla="*/ 420 h 526"/>
                <a:gd name="T14" fmla="*/ 541 w 652"/>
                <a:gd name="T15" fmla="*/ 407 h 526"/>
                <a:gd name="T16" fmla="*/ 526 w 652"/>
                <a:gd name="T17" fmla="*/ 405 h 526"/>
                <a:gd name="T18" fmla="*/ 506 w 652"/>
                <a:gd name="T19" fmla="*/ 411 h 526"/>
                <a:gd name="T20" fmla="*/ 488 w 652"/>
                <a:gd name="T21" fmla="*/ 384 h 526"/>
                <a:gd name="T22" fmla="*/ 472 w 652"/>
                <a:gd name="T23" fmla="*/ 344 h 526"/>
                <a:gd name="T24" fmla="*/ 436 w 652"/>
                <a:gd name="T25" fmla="*/ 323 h 526"/>
                <a:gd name="T26" fmla="*/ 407 w 652"/>
                <a:gd name="T27" fmla="*/ 275 h 526"/>
                <a:gd name="T28" fmla="*/ 442 w 652"/>
                <a:gd name="T29" fmla="*/ 260 h 526"/>
                <a:gd name="T30" fmla="*/ 454 w 652"/>
                <a:gd name="T31" fmla="*/ 240 h 526"/>
                <a:gd name="T32" fmla="*/ 423 w 652"/>
                <a:gd name="T33" fmla="*/ 216 h 526"/>
                <a:gd name="T34" fmla="*/ 393 w 652"/>
                <a:gd name="T35" fmla="*/ 203 h 526"/>
                <a:gd name="T36" fmla="*/ 365 w 652"/>
                <a:gd name="T37" fmla="*/ 189 h 526"/>
                <a:gd name="T38" fmla="*/ 336 w 652"/>
                <a:gd name="T39" fmla="*/ 169 h 526"/>
                <a:gd name="T40" fmla="*/ 310 w 652"/>
                <a:gd name="T41" fmla="*/ 126 h 526"/>
                <a:gd name="T42" fmla="*/ 231 w 652"/>
                <a:gd name="T43" fmla="*/ 75 h 526"/>
                <a:gd name="T44" fmla="*/ 199 w 652"/>
                <a:gd name="T45" fmla="*/ 61 h 526"/>
                <a:gd name="T46" fmla="*/ 160 w 652"/>
                <a:gd name="T47" fmla="*/ 46 h 526"/>
                <a:gd name="T48" fmla="*/ 109 w 652"/>
                <a:gd name="T49" fmla="*/ 35 h 526"/>
                <a:gd name="T50" fmla="*/ 35 w 652"/>
                <a:gd name="T51" fmla="*/ 1 h 526"/>
                <a:gd name="T52" fmla="*/ 16 w 652"/>
                <a:gd name="T53" fmla="*/ 3 h 526"/>
                <a:gd name="T54" fmla="*/ 17 w 652"/>
                <a:gd name="T55" fmla="*/ 218 h 526"/>
                <a:gd name="T56" fmla="*/ 12 w 652"/>
                <a:gd name="T57" fmla="*/ 249 h 526"/>
                <a:gd name="T58" fmla="*/ 16 w 652"/>
                <a:gd name="T59" fmla="*/ 273 h 526"/>
                <a:gd name="T60" fmla="*/ 17 w 652"/>
                <a:gd name="T61" fmla="*/ 317 h 526"/>
                <a:gd name="T62" fmla="*/ 18 w 652"/>
                <a:gd name="T63" fmla="*/ 421 h 526"/>
                <a:gd name="T64" fmla="*/ 35 w 652"/>
                <a:gd name="T65" fmla="*/ 423 h 526"/>
                <a:gd name="T66" fmla="*/ 86 w 652"/>
                <a:gd name="T67" fmla="*/ 422 h 526"/>
                <a:gd name="T68" fmla="*/ 128 w 652"/>
                <a:gd name="T69" fmla="*/ 430 h 526"/>
                <a:gd name="T70" fmla="*/ 151 w 652"/>
                <a:gd name="T71" fmla="*/ 416 h 526"/>
                <a:gd name="T72" fmla="*/ 171 w 652"/>
                <a:gd name="T73" fmla="*/ 401 h 526"/>
                <a:gd name="T74" fmla="*/ 181 w 652"/>
                <a:gd name="T75" fmla="*/ 388 h 526"/>
                <a:gd name="T76" fmla="*/ 183 w 652"/>
                <a:gd name="T77" fmla="*/ 379 h 526"/>
                <a:gd name="T78" fmla="*/ 183 w 652"/>
                <a:gd name="T79" fmla="*/ 355 h 526"/>
                <a:gd name="T80" fmla="*/ 204 w 652"/>
                <a:gd name="T81" fmla="*/ 344 h 526"/>
                <a:gd name="T82" fmla="*/ 218 w 652"/>
                <a:gd name="T83" fmla="*/ 327 h 526"/>
                <a:gd name="T84" fmla="*/ 250 w 652"/>
                <a:gd name="T85" fmla="*/ 315 h 526"/>
                <a:gd name="T86" fmla="*/ 275 w 652"/>
                <a:gd name="T87" fmla="*/ 336 h 526"/>
                <a:gd name="T88" fmla="*/ 312 w 652"/>
                <a:gd name="T89" fmla="*/ 348 h 526"/>
                <a:gd name="T90" fmla="*/ 353 w 652"/>
                <a:gd name="T91" fmla="*/ 369 h 526"/>
                <a:gd name="T92" fmla="*/ 380 w 652"/>
                <a:gd name="T93" fmla="*/ 410 h 526"/>
                <a:gd name="T94" fmla="*/ 398 w 652"/>
                <a:gd name="T95" fmla="*/ 431 h 526"/>
                <a:gd name="T96" fmla="*/ 409 w 652"/>
                <a:gd name="T97" fmla="*/ 443 h 526"/>
                <a:gd name="T98" fmla="*/ 435 w 652"/>
                <a:gd name="T99" fmla="*/ 462 h 526"/>
                <a:gd name="T100" fmla="*/ 458 w 652"/>
                <a:gd name="T101" fmla="*/ 486 h 526"/>
                <a:gd name="T102" fmla="*/ 518 w 652"/>
                <a:gd name="T103" fmla="*/ 486 h 526"/>
                <a:gd name="T104" fmla="*/ 554 w 652"/>
                <a:gd name="T105" fmla="*/ 493 h 526"/>
                <a:gd name="T106" fmla="*/ 584 w 652"/>
                <a:gd name="T107" fmla="*/ 495 h 526"/>
                <a:gd name="T108" fmla="*/ 601 w 652"/>
                <a:gd name="T109" fmla="*/ 515 h 526"/>
                <a:gd name="T110" fmla="*/ 627 w 652"/>
                <a:gd name="T111" fmla="*/ 512 h 526"/>
                <a:gd name="T112" fmla="*/ 632 w 652"/>
                <a:gd name="T113" fmla="*/ 492 h 526"/>
                <a:gd name="T114" fmla="*/ 649 w 652"/>
                <a:gd name="T115" fmla="*/ 487 h 5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652" h="526">
                  <a:moveTo>
                    <a:pt x="649" y="487"/>
                  </a:moveTo>
                  <a:cubicBezTo>
                    <a:pt x="646" y="483"/>
                    <a:pt x="640" y="482"/>
                    <a:pt x="631" y="482"/>
                  </a:cubicBezTo>
                  <a:cubicBezTo>
                    <a:pt x="622" y="482"/>
                    <a:pt x="626" y="477"/>
                    <a:pt x="612" y="477"/>
                  </a:cubicBezTo>
                  <a:cubicBezTo>
                    <a:pt x="598" y="477"/>
                    <a:pt x="595" y="482"/>
                    <a:pt x="590" y="470"/>
                  </a:cubicBezTo>
                  <a:cubicBezTo>
                    <a:pt x="585" y="458"/>
                    <a:pt x="603" y="447"/>
                    <a:pt x="589" y="443"/>
                  </a:cubicBezTo>
                  <a:cubicBezTo>
                    <a:pt x="575" y="439"/>
                    <a:pt x="551" y="454"/>
                    <a:pt x="546" y="440"/>
                  </a:cubicBezTo>
                  <a:cubicBezTo>
                    <a:pt x="541" y="426"/>
                    <a:pt x="537" y="421"/>
                    <a:pt x="544" y="420"/>
                  </a:cubicBezTo>
                  <a:cubicBezTo>
                    <a:pt x="551" y="419"/>
                    <a:pt x="550" y="414"/>
                    <a:pt x="541" y="407"/>
                  </a:cubicBezTo>
                  <a:cubicBezTo>
                    <a:pt x="532" y="400"/>
                    <a:pt x="527" y="398"/>
                    <a:pt x="526" y="405"/>
                  </a:cubicBezTo>
                  <a:cubicBezTo>
                    <a:pt x="525" y="412"/>
                    <a:pt x="516" y="418"/>
                    <a:pt x="506" y="411"/>
                  </a:cubicBezTo>
                  <a:cubicBezTo>
                    <a:pt x="496" y="404"/>
                    <a:pt x="503" y="397"/>
                    <a:pt x="488" y="384"/>
                  </a:cubicBezTo>
                  <a:cubicBezTo>
                    <a:pt x="473" y="371"/>
                    <a:pt x="488" y="349"/>
                    <a:pt x="472" y="344"/>
                  </a:cubicBezTo>
                  <a:cubicBezTo>
                    <a:pt x="456" y="339"/>
                    <a:pt x="456" y="335"/>
                    <a:pt x="436" y="323"/>
                  </a:cubicBezTo>
                  <a:cubicBezTo>
                    <a:pt x="416" y="311"/>
                    <a:pt x="400" y="294"/>
                    <a:pt x="407" y="275"/>
                  </a:cubicBezTo>
                  <a:cubicBezTo>
                    <a:pt x="414" y="256"/>
                    <a:pt x="426" y="258"/>
                    <a:pt x="442" y="260"/>
                  </a:cubicBezTo>
                  <a:cubicBezTo>
                    <a:pt x="458" y="262"/>
                    <a:pt x="470" y="263"/>
                    <a:pt x="454" y="240"/>
                  </a:cubicBezTo>
                  <a:cubicBezTo>
                    <a:pt x="438" y="217"/>
                    <a:pt x="437" y="215"/>
                    <a:pt x="423" y="216"/>
                  </a:cubicBezTo>
                  <a:cubicBezTo>
                    <a:pt x="409" y="217"/>
                    <a:pt x="410" y="203"/>
                    <a:pt x="393" y="203"/>
                  </a:cubicBezTo>
                  <a:cubicBezTo>
                    <a:pt x="376" y="203"/>
                    <a:pt x="378" y="189"/>
                    <a:pt x="365" y="189"/>
                  </a:cubicBezTo>
                  <a:cubicBezTo>
                    <a:pt x="352" y="189"/>
                    <a:pt x="348" y="188"/>
                    <a:pt x="336" y="169"/>
                  </a:cubicBezTo>
                  <a:cubicBezTo>
                    <a:pt x="324" y="150"/>
                    <a:pt x="332" y="140"/>
                    <a:pt x="310" y="126"/>
                  </a:cubicBezTo>
                  <a:cubicBezTo>
                    <a:pt x="288" y="112"/>
                    <a:pt x="251" y="77"/>
                    <a:pt x="231" y="75"/>
                  </a:cubicBezTo>
                  <a:cubicBezTo>
                    <a:pt x="211" y="73"/>
                    <a:pt x="218" y="73"/>
                    <a:pt x="199" y="61"/>
                  </a:cubicBezTo>
                  <a:cubicBezTo>
                    <a:pt x="180" y="49"/>
                    <a:pt x="176" y="49"/>
                    <a:pt x="160" y="46"/>
                  </a:cubicBezTo>
                  <a:cubicBezTo>
                    <a:pt x="144" y="43"/>
                    <a:pt x="146" y="54"/>
                    <a:pt x="109" y="35"/>
                  </a:cubicBezTo>
                  <a:cubicBezTo>
                    <a:pt x="72" y="16"/>
                    <a:pt x="52" y="3"/>
                    <a:pt x="35" y="1"/>
                  </a:cubicBezTo>
                  <a:cubicBezTo>
                    <a:pt x="28" y="0"/>
                    <a:pt x="21" y="2"/>
                    <a:pt x="16" y="3"/>
                  </a:cubicBezTo>
                  <a:cubicBezTo>
                    <a:pt x="17" y="218"/>
                    <a:pt x="17" y="218"/>
                    <a:pt x="17" y="218"/>
                  </a:cubicBezTo>
                  <a:cubicBezTo>
                    <a:pt x="17" y="218"/>
                    <a:pt x="24" y="242"/>
                    <a:pt x="12" y="249"/>
                  </a:cubicBezTo>
                  <a:cubicBezTo>
                    <a:pt x="0" y="256"/>
                    <a:pt x="7" y="266"/>
                    <a:pt x="16" y="273"/>
                  </a:cubicBezTo>
                  <a:cubicBezTo>
                    <a:pt x="24" y="280"/>
                    <a:pt x="19" y="293"/>
                    <a:pt x="17" y="317"/>
                  </a:cubicBezTo>
                  <a:cubicBezTo>
                    <a:pt x="16" y="334"/>
                    <a:pt x="17" y="389"/>
                    <a:pt x="18" y="421"/>
                  </a:cubicBezTo>
                  <a:cubicBezTo>
                    <a:pt x="22" y="423"/>
                    <a:pt x="27" y="423"/>
                    <a:pt x="35" y="423"/>
                  </a:cubicBezTo>
                  <a:cubicBezTo>
                    <a:pt x="54" y="422"/>
                    <a:pt x="62" y="421"/>
                    <a:pt x="86" y="422"/>
                  </a:cubicBezTo>
                  <a:cubicBezTo>
                    <a:pt x="110" y="423"/>
                    <a:pt x="119" y="437"/>
                    <a:pt x="128" y="430"/>
                  </a:cubicBezTo>
                  <a:cubicBezTo>
                    <a:pt x="137" y="423"/>
                    <a:pt x="139" y="418"/>
                    <a:pt x="151" y="416"/>
                  </a:cubicBezTo>
                  <a:cubicBezTo>
                    <a:pt x="163" y="414"/>
                    <a:pt x="171" y="410"/>
                    <a:pt x="171" y="401"/>
                  </a:cubicBezTo>
                  <a:cubicBezTo>
                    <a:pt x="171" y="392"/>
                    <a:pt x="169" y="387"/>
                    <a:pt x="181" y="388"/>
                  </a:cubicBezTo>
                  <a:cubicBezTo>
                    <a:pt x="193" y="389"/>
                    <a:pt x="189" y="385"/>
                    <a:pt x="183" y="379"/>
                  </a:cubicBezTo>
                  <a:cubicBezTo>
                    <a:pt x="177" y="373"/>
                    <a:pt x="177" y="357"/>
                    <a:pt x="183" y="355"/>
                  </a:cubicBezTo>
                  <a:cubicBezTo>
                    <a:pt x="189" y="353"/>
                    <a:pt x="199" y="357"/>
                    <a:pt x="204" y="344"/>
                  </a:cubicBezTo>
                  <a:cubicBezTo>
                    <a:pt x="209" y="331"/>
                    <a:pt x="208" y="329"/>
                    <a:pt x="218" y="327"/>
                  </a:cubicBezTo>
                  <a:cubicBezTo>
                    <a:pt x="228" y="325"/>
                    <a:pt x="237" y="309"/>
                    <a:pt x="250" y="315"/>
                  </a:cubicBezTo>
                  <a:cubicBezTo>
                    <a:pt x="263" y="321"/>
                    <a:pt x="256" y="337"/>
                    <a:pt x="275" y="336"/>
                  </a:cubicBezTo>
                  <a:cubicBezTo>
                    <a:pt x="294" y="335"/>
                    <a:pt x="298" y="348"/>
                    <a:pt x="312" y="348"/>
                  </a:cubicBezTo>
                  <a:cubicBezTo>
                    <a:pt x="326" y="348"/>
                    <a:pt x="339" y="347"/>
                    <a:pt x="353" y="369"/>
                  </a:cubicBezTo>
                  <a:cubicBezTo>
                    <a:pt x="367" y="391"/>
                    <a:pt x="363" y="409"/>
                    <a:pt x="380" y="410"/>
                  </a:cubicBezTo>
                  <a:cubicBezTo>
                    <a:pt x="397" y="411"/>
                    <a:pt x="398" y="425"/>
                    <a:pt x="398" y="431"/>
                  </a:cubicBezTo>
                  <a:cubicBezTo>
                    <a:pt x="398" y="437"/>
                    <a:pt x="398" y="442"/>
                    <a:pt x="409" y="443"/>
                  </a:cubicBezTo>
                  <a:cubicBezTo>
                    <a:pt x="420" y="444"/>
                    <a:pt x="430" y="449"/>
                    <a:pt x="435" y="462"/>
                  </a:cubicBezTo>
                  <a:cubicBezTo>
                    <a:pt x="440" y="475"/>
                    <a:pt x="444" y="486"/>
                    <a:pt x="458" y="486"/>
                  </a:cubicBezTo>
                  <a:cubicBezTo>
                    <a:pt x="472" y="486"/>
                    <a:pt x="501" y="487"/>
                    <a:pt x="518" y="486"/>
                  </a:cubicBezTo>
                  <a:cubicBezTo>
                    <a:pt x="535" y="485"/>
                    <a:pt x="534" y="495"/>
                    <a:pt x="554" y="493"/>
                  </a:cubicBezTo>
                  <a:cubicBezTo>
                    <a:pt x="574" y="491"/>
                    <a:pt x="580" y="484"/>
                    <a:pt x="584" y="495"/>
                  </a:cubicBezTo>
                  <a:cubicBezTo>
                    <a:pt x="588" y="506"/>
                    <a:pt x="586" y="515"/>
                    <a:pt x="601" y="515"/>
                  </a:cubicBezTo>
                  <a:cubicBezTo>
                    <a:pt x="616" y="515"/>
                    <a:pt x="630" y="526"/>
                    <a:pt x="627" y="512"/>
                  </a:cubicBezTo>
                  <a:cubicBezTo>
                    <a:pt x="624" y="498"/>
                    <a:pt x="619" y="492"/>
                    <a:pt x="632" y="492"/>
                  </a:cubicBezTo>
                  <a:cubicBezTo>
                    <a:pt x="645" y="492"/>
                    <a:pt x="652" y="491"/>
                    <a:pt x="649" y="487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61" name="Freeform 25118"/>
            <p:cNvSpPr>
              <a:spLocks/>
            </p:cNvSpPr>
            <p:nvPr/>
          </p:nvSpPr>
          <p:spPr bwMode="auto">
            <a:xfrm>
              <a:off x="2282934" y="3262175"/>
              <a:ext cx="253955" cy="87282"/>
            </a:xfrm>
            <a:custGeom>
              <a:avLst/>
              <a:gdLst>
                <a:gd name="T0" fmla="*/ 64 w 681"/>
                <a:gd name="T1" fmla="*/ 35 h 234"/>
                <a:gd name="T2" fmla="*/ 33 w 681"/>
                <a:gd name="T3" fmla="*/ 50 h 234"/>
                <a:gd name="T4" fmla="*/ 25 w 681"/>
                <a:gd name="T5" fmla="*/ 76 h 234"/>
                <a:gd name="T6" fmla="*/ 0 w 681"/>
                <a:gd name="T7" fmla="*/ 91 h 234"/>
                <a:gd name="T8" fmla="*/ 12 w 681"/>
                <a:gd name="T9" fmla="*/ 89 h 234"/>
                <a:gd name="T10" fmla="*/ 26 w 681"/>
                <a:gd name="T11" fmla="*/ 96 h 234"/>
                <a:gd name="T12" fmla="*/ 46 w 681"/>
                <a:gd name="T13" fmla="*/ 93 h 234"/>
                <a:gd name="T14" fmla="*/ 69 w 681"/>
                <a:gd name="T15" fmla="*/ 77 h 234"/>
                <a:gd name="T16" fmla="*/ 92 w 681"/>
                <a:gd name="T17" fmla="*/ 68 h 234"/>
                <a:gd name="T18" fmla="*/ 124 w 681"/>
                <a:gd name="T19" fmla="*/ 53 h 234"/>
                <a:gd name="T20" fmla="*/ 153 w 681"/>
                <a:gd name="T21" fmla="*/ 35 h 234"/>
                <a:gd name="T22" fmla="*/ 199 w 681"/>
                <a:gd name="T23" fmla="*/ 42 h 234"/>
                <a:gd name="T24" fmla="*/ 188 w 681"/>
                <a:gd name="T25" fmla="*/ 58 h 234"/>
                <a:gd name="T26" fmla="*/ 203 w 681"/>
                <a:gd name="T27" fmla="*/ 77 h 234"/>
                <a:gd name="T28" fmla="*/ 233 w 681"/>
                <a:gd name="T29" fmla="*/ 76 h 234"/>
                <a:gd name="T30" fmla="*/ 269 w 681"/>
                <a:gd name="T31" fmla="*/ 81 h 234"/>
                <a:gd name="T32" fmla="*/ 301 w 681"/>
                <a:gd name="T33" fmla="*/ 95 h 234"/>
                <a:gd name="T34" fmla="*/ 339 w 681"/>
                <a:gd name="T35" fmla="*/ 116 h 234"/>
                <a:gd name="T36" fmla="*/ 377 w 681"/>
                <a:gd name="T37" fmla="*/ 125 h 234"/>
                <a:gd name="T38" fmla="*/ 406 w 681"/>
                <a:gd name="T39" fmla="*/ 140 h 234"/>
                <a:gd name="T40" fmla="*/ 443 w 681"/>
                <a:gd name="T41" fmla="*/ 170 h 234"/>
                <a:gd name="T42" fmla="*/ 496 w 681"/>
                <a:gd name="T43" fmla="*/ 184 h 234"/>
                <a:gd name="T44" fmla="*/ 485 w 681"/>
                <a:gd name="T45" fmla="*/ 202 h 234"/>
                <a:gd name="T46" fmla="*/ 459 w 681"/>
                <a:gd name="T47" fmla="*/ 215 h 234"/>
                <a:gd name="T48" fmla="*/ 475 w 681"/>
                <a:gd name="T49" fmla="*/ 225 h 234"/>
                <a:gd name="T50" fmla="*/ 507 w 681"/>
                <a:gd name="T51" fmla="*/ 217 h 234"/>
                <a:gd name="T52" fmla="*/ 586 w 681"/>
                <a:gd name="T53" fmla="*/ 222 h 234"/>
                <a:gd name="T54" fmla="*/ 624 w 681"/>
                <a:gd name="T55" fmla="*/ 228 h 234"/>
                <a:gd name="T56" fmla="*/ 646 w 681"/>
                <a:gd name="T57" fmla="*/ 212 h 234"/>
                <a:gd name="T58" fmla="*/ 681 w 681"/>
                <a:gd name="T59" fmla="*/ 203 h 234"/>
                <a:gd name="T60" fmla="*/ 656 w 681"/>
                <a:gd name="T61" fmla="*/ 185 h 234"/>
                <a:gd name="T62" fmla="*/ 625 w 681"/>
                <a:gd name="T63" fmla="*/ 171 h 234"/>
                <a:gd name="T64" fmla="*/ 590 w 681"/>
                <a:gd name="T65" fmla="*/ 161 h 234"/>
                <a:gd name="T66" fmla="*/ 570 w 681"/>
                <a:gd name="T67" fmla="*/ 141 h 234"/>
                <a:gd name="T68" fmla="*/ 538 w 681"/>
                <a:gd name="T69" fmla="*/ 129 h 234"/>
                <a:gd name="T70" fmla="*/ 490 w 681"/>
                <a:gd name="T71" fmla="*/ 109 h 234"/>
                <a:gd name="T72" fmla="*/ 463 w 681"/>
                <a:gd name="T73" fmla="*/ 89 h 234"/>
                <a:gd name="T74" fmla="*/ 448 w 681"/>
                <a:gd name="T75" fmla="*/ 69 h 234"/>
                <a:gd name="T76" fmla="*/ 429 w 681"/>
                <a:gd name="T77" fmla="*/ 63 h 234"/>
                <a:gd name="T78" fmla="*/ 419 w 681"/>
                <a:gd name="T79" fmla="*/ 69 h 234"/>
                <a:gd name="T80" fmla="*/ 404 w 681"/>
                <a:gd name="T81" fmla="*/ 40 h 234"/>
                <a:gd name="T82" fmla="*/ 385 w 681"/>
                <a:gd name="T83" fmla="*/ 58 h 234"/>
                <a:gd name="T84" fmla="*/ 349 w 681"/>
                <a:gd name="T85" fmla="*/ 45 h 234"/>
                <a:gd name="T86" fmla="*/ 316 w 681"/>
                <a:gd name="T87" fmla="*/ 18 h 234"/>
                <a:gd name="T88" fmla="*/ 277 w 681"/>
                <a:gd name="T89" fmla="*/ 12 h 234"/>
                <a:gd name="T90" fmla="*/ 232 w 681"/>
                <a:gd name="T91" fmla="*/ 0 h 234"/>
                <a:gd name="T92" fmla="*/ 194 w 681"/>
                <a:gd name="T93" fmla="*/ 3 h 234"/>
                <a:gd name="T94" fmla="*/ 150 w 681"/>
                <a:gd name="T95" fmla="*/ 7 h 234"/>
                <a:gd name="T96" fmla="*/ 104 w 681"/>
                <a:gd name="T97" fmla="*/ 14 h 234"/>
                <a:gd name="T98" fmla="*/ 64 w 681"/>
                <a:gd name="T99" fmla="*/ 35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681" h="234">
                  <a:moveTo>
                    <a:pt x="64" y="35"/>
                  </a:moveTo>
                  <a:cubicBezTo>
                    <a:pt x="64" y="35"/>
                    <a:pt x="37" y="38"/>
                    <a:pt x="33" y="50"/>
                  </a:cubicBezTo>
                  <a:cubicBezTo>
                    <a:pt x="30" y="63"/>
                    <a:pt x="35" y="74"/>
                    <a:pt x="25" y="76"/>
                  </a:cubicBezTo>
                  <a:cubicBezTo>
                    <a:pt x="15" y="78"/>
                    <a:pt x="0" y="83"/>
                    <a:pt x="0" y="91"/>
                  </a:cubicBezTo>
                  <a:cubicBezTo>
                    <a:pt x="0" y="98"/>
                    <a:pt x="8" y="93"/>
                    <a:pt x="12" y="89"/>
                  </a:cubicBezTo>
                  <a:cubicBezTo>
                    <a:pt x="16" y="85"/>
                    <a:pt x="23" y="93"/>
                    <a:pt x="26" y="96"/>
                  </a:cubicBezTo>
                  <a:cubicBezTo>
                    <a:pt x="30" y="98"/>
                    <a:pt x="42" y="100"/>
                    <a:pt x="46" y="93"/>
                  </a:cubicBezTo>
                  <a:cubicBezTo>
                    <a:pt x="49" y="86"/>
                    <a:pt x="56" y="77"/>
                    <a:pt x="69" y="77"/>
                  </a:cubicBezTo>
                  <a:cubicBezTo>
                    <a:pt x="82" y="77"/>
                    <a:pt x="75" y="68"/>
                    <a:pt x="92" y="68"/>
                  </a:cubicBezTo>
                  <a:cubicBezTo>
                    <a:pt x="108" y="67"/>
                    <a:pt x="119" y="61"/>
                    <a:pt x="124" y="53"/>
                  </a:cubicBezTo>
                  <a:cubicBezTo>
                    <a:pt x="128" y="46"/>
                    <a:pt x="135" y="35"/>
                    <a:pt x="153" y="35"/>
                  </a:cubicBezTo>
                  <a:cubicBezTo>
                    <a:pt x="171" y="35"/>
                    <a:pt x="198" y="38"/>
                    <a:pt x="199" y="42"/>
                  </a:cubicBezTo>
                  <a:cubicBezTo>
                    <a:pt x="200" y="46"/>
                    <a:pt x="195" y="53"/>
                    <a:pt x="188" y="58"/>
                  </a:cubicBezTo>
                  <a:cubicBezTo>
                    <a:pt x="180" y="63"/>
                    <a:pt x="190" y="77"/>
                    <a:pt x="203" y="77"/>
                  </a:cubicBezTo>
                  <a:cubicBezTo>
                    <a:pt x="216" y="77"/>
                    <a:pt x="223" y="71"/>
                    <a:pt x="233" y="76"/>
                  </a:cubicBezTo>
                  <a:cubicBezTo>
                    <a:pt x="243" y="80"/>
                    <a:pt x="256" y="80"/>
                    <a:pt x="269" y="81"/>
                  </a:cubicBezTo>
                  <a:cubicBezTo>
                    <a:pt x="282" y="83"/>
                    <a:pt x="290" y="83"/>
                    <a:pt x="301" y="95"/>
                  </a:cubicBezTo>
                  <a:cubicBezTo>
                    <a:pt x="312" y="106"/>
                    <a:pt x="327" y="116"/>
                    <a:pt x="339" y="116"/>
                  </a:cubicBezTo>
                  <a:cubicBezTo>
                    <a:pt x="351" y="117"/>
                    <a:pt x="370" y="119"/>
                    <a:pt x="377" y="125"/>
                  </a:cubicBezTo>
                  <a:cubicBezTo>
                    <a:pt x="384" y="131"/>
                    <a:pt x="395" y="116"/>
                    <a:pt x="406" y="140"/>
                  </a:cubicBezTo>
                  <a:cubicBezTo>
                    <a:pt x="417" y="164"/>
                    <a:pt x="424" y="168"/>
                    <a:pt x="443" y="170"/>
                  </a:cubicBezTo>
                  <a:cubicBezTo>
                    <a:pt x="463" y="172"/>
                    <a:pt x="494" y="172"/>
                    <a:pt x="496" y="184"/>
                  </a:cubicBezTo>
                  <a:cubicBezTo>
                    <a:pt x="499" y="195"/>
                    <a:pt x="497" y="200"/>
                    <a:pt x="485" y="202"/>
                  </a:cubicBezTo>
                  <a:cubicBezTo>
                    <a:pt x="473" y="203"/>
                    <a:pt x="458" y="207"/>
                    <a:pt x="459" y="215"/>
                  </a:cubicBezTo>
                  <a:cubicBezTo>
                    <a:pt x="460" y="224"/>
                    <a:pt x="466" y="225"/>
                    <a:pt x="475" y="225"/>
                  </a:cubicBezTo>
                  <a:cubicBezTo>
                    <a:pt x="484" y="225"/>
                    <a:pt x="491" y="214"/>
                    <a:pt x="507" y="217"/>
                  </a:cubicBezTo>
                  <a:cubicBezTo>
                    <a:pt x="523" y="220"/>
                    <a:pt x="578" y="213"/>
                    <a:pt x="586" y="222"/>
                  </a:cubicBezTo>
                  <a:cubicBezTo>
                    <a:pt x="594" y="230"/>
                    <a:pt x="614" y="234"/>
                    <a:pt x="624" y="228"/>
                  </a:cubicBezTo>
                  <a:cubicBezTo>
                    <a:pt x="634" y="222"/>
                    <a:pt x="630" y="212"/>
                    <a:pt x="646" y="212"/>
                  </a:cubicBezTo>
                  <a:cubicBezTo>
                    <a:pt x="661" y="212"/>
                    <a:pt x="680" y="210"/>
                    <a:pt x="681" y="203"/>
                  </a:cubicBezTo>
                  <a:cubicBezTo>
                    <a:pt x="681" y="197"/>
                    <a:pt x="664" y="197"/>
                    <a:pt x="656" y="185"/>
                  </a:cubicBezTo>
                  <a:cubicBezTo>
                    <a:pt x="647" y="174"/>
                    <a:pt x="638" y="174"/>
                    <a:pt x="625" y="171"/>
                  </a:cubicBezTo>
                  <a:cubicBezTo>
                    <a:pt x="612" y="168"/>
                    <a:pt x="595" y="172"/>
                    <a:pt x="590" y="161"/>
                  </a:cubicBezTo>
                  <a:cubicBezTo>
                    <a:pt x="584" y="149"/>
                    <a:pt x="585" y="143"/>
                    <a:pt x="570" y="141"/>
                  </a:cubicBezTo>
                  <a:cubicBezTo>
                    <a:pt x="555" y="140"/>
                    <a:pt x="555" y="139"/>
                    <a:pt x="538" y="129"/>
                  </a:cubicBezTo>
                  <a:cubicBezTo>
                    <a:pt x="522" y="120"/>
                    <a:pt x="501" y="119"/>
                    <a:pt x="490" y="109"/>
                  </a:cubicBezTo>
                  <a:cubicBezTo>
                    <a:pt x="479" y="99"/>
                    <a:pt x="471" y="93"/>
                    <a:pt x="463" y="89"/>
                  </a:cubicBezTo>
                  <a:cubicBezTo>
                    <a:pt x="454" y="85"/>
                    <a:pt x="458" y="79"/>
                    <a:pt x="448" y="69"/>
                  </a:cubicBezTo>
                  <a:cubicBezTo>
                    <a:pt x="438" y="59"/>
                    <a:pt x="423" y="51"/>
                    <a:pt x="429" y="63"/>
                  </a:cubicBezTo>
                  <a:cubicBezTo>
                    <a:pt x="435" y="74"/>
                    <a:pt x="428" y="81"/>
                    <a:pt x="419" y="69"/>
                  </a:cubicBezTo>
                  <a:cubicBezTo>
                    <a:pt x="410" y="57"/>
                    <a:pt x="413" y="39"/>
                    <a:pt x="404" y="40"/>
                  </a:cubicBezTo>
                  <a:cubicBezTo>
                    <a:pt x="395" y="40"/>
                    <a:pt x="401" y="57"/>
                    <a:pt x="385" y="58"/>
                  </a:cubicBezTo>
                  <a:cubicBezTo>
                    <a:pt x="368" y="58"/>
                    <a:pt x="362" y="60"/>
                    <a:pt x="349" y="45"/>
                  </a:cubicBezTo>
                  <a:cubicBezTo>
                    <a:pt x="336" y="31"/>
                    <a:pt x="334" y="20"/>
                    <a:pt x="316" y="18"/>
                  </a:cubicBezTo>
                  <a:cubicBezTo>
                    <a:pt x="297" y="17"/>
                    <a:pt x="289" y="19"/>
                    <a:pt x="277" y="12"/>
                  </a:cubicBezTo>
                  <a:cubicBezTo>
                    <a:pt x="265" y="5"/>
                    <a:pt x="243" y="0"/>
                    <a:pt x="232" y="0"/>
                  </a:cubicBezTo>
                  <a:cubicBezTo>
                    <a:pt x="221" y="0"/>
                    <a:pt x="214" y="3"/>
                    <a:pt x="194" y="3"/>
                  </a:cubicBezTo>
                  <a:cubicBezTo>
                    <a:pt x="174" y="3"/>
                    <a:pt x="163" y="6"/>
                    <a:pt x="150" y="7"/>
                  </a:cubicBezTo>
                  <a:cubicBezTo>
                    <a:pt x="136" y="9"/>
                    <a:pt x="109" y="8"/>
                    <a:pt x="104" y="14"/>
                  </a:cubicBezTo>
                  <a:cubicBezTo>
                    <a:pt x="99" y="20"/>
                    <a:pt x="79" y="28"/>
                    <a:pt x="64" y="3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62" name="Freeform 25119"/>
            <p:cNvSpPr>
              <a:spLocks/>
            </p:cNvSpPr>
            <p:nvPr/>
          </p:nvSpPr>
          <p:spPr bwMode="auto">
            <a:xfrm>
              <a:off x="2322866" y="3295004"/>
              <a:ext cx="15941" cy="13416"/>
            </a:xfrm>
            <a:custGeom>
              <a:avLst/>
              <a:gdLst>
                <a:gd name="T0" fmla="*/ 20 w 43"/>
                <a:gd name="T1" fmla="*/ 0 h 36"/>
                <a:gd name="T2" fmla="*/ 5 w 43"/>
                <a:gd name="T3" fmla="*/ 13 h 36"/>
                <a:gd name="T4" fmla="*/ 15 w 43"/>
                <a:gd name="T5" fmla="*/ 33 h 36"/>
                <a:gd name="T6" fmla="*/ 41 w 43"/>
                <a:gd name="T7" fmla="*/ 28 h 36"/>
                <a:gd name="T8" fmla="*/ 31 w 43"/>
                <a:gd name="T9" fmla="*/ 3 h 36"/>
                <a:gd name="T10" fmla="*/ 20 w 43"/>
                <a:gd name="T11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3" h="36">
                  <a:moveTo>
                    <a:pt x="20" y="0"/>
                  </a:moveTo>
                  <a:cubicBezTo>
                    <a:pt x="20" y="0"/>
                    <a:pt x="7" y="1"/>
                    <a:pt x="5" y="13"/>
                  </a:cubicBezTo>
                  <a:cubicBezTo>
                    <a:pt x="4" y="24"/>
                    <a:pt x="0" y="31"/>
                    <a:pt x="15" y="33"/>
                  </a:cubicBezTo>
                  <a:cubicBezTo>
                    <a:pt x="30" y="36"/>
                    <a:pt x="40" y="36"/>
                    <a:pt x="41" y="28"/>
                  </a:cubicBezTo>
                  <a:cubicBezTo>
                    <a:pt x="43" y="21"/>
                    <a:pt x="43" y="5"/>
                    <a:pt x="31" y="3"/>
                  </a:cubicBezTo>
                  <a:cubicBezTo>
                    <a:pt x="20" y="0"/>
                    <a:pt x="24" y="0"/>
                    <a:pt x="20" y="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63" name="Freeform 25120"/>
            <p:cNvSpPr>
              <a:spLocks/>
            </p:cNvSpPr>
            <p:nvPr/>
          </p:nvSpPr>
          <p:spPr bwMode="auto">
            <a:xfrm>
              <a:off x="2435875" y="3378814"/>
              <a:ext cx="51769" cy="19098"/>
            </a:xfrm>
            <a:custGeom>
              <a:avLst/>
              <a:gdLst>
                <a:gd name="T0" fmla="*/ 66 w 139"/>
                <a:gd name="T1" fmla="*/ 3 h 51"/>
                <a:gd name="T2" fmla="*/ 25 w 139"/>
                <a:gd name="T3" fmla="*/ 3 h 51"/>
                <a:gd name="T4" fmla="*/ 13 w 139"/>
                <a:gd name="T5" fmla="*/ 23 h 51"/>
                <a:gd name="T6" fmla="*/ 34 w 139"/>
                <a:gd name="T7" fmla="*/ 38 h 51"/>
                <a:gd name="T8" fmla="*/ 57 w 139"/>
                <a:gd name="T9" fmla="*/ 49 h 51"/>
                <a:gd name="T10" fmla="*/ 91 w 139"/>
                <a:gd name="T11" fmla="*/ 43 h 51"/>
                <a:gd name="T12" fmla="*/ 106 w 139"/>
                <a:gd name="T13" fmla="*/ 36 h 51"/>
                <a:gd name="T14" fmla="*/ 126 w 139"/>
                <a:gd name="T15" fmla="*/ 45 h 51"/>
                <a:gd name="T16" fmla="*/ 139 w 139"/>
                <a:gd name="T17" fmla="*/ 33 h 51"/>
                <a:gd name="T18" fmla="*/ 123 w 139"/>
                <a:gd name="T19" fmla="*/ 18 h 51"/>
                <a:gd name="T20" fmla="*/ 101 w 139"/>
                <a:gd name="T21" fmla="*/ 8 h 51"/>
                <a:gd name="T22" fmla="*/ 66 w 139"/>
                <a:gd name="T23" fmla="*/ 3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9" h="51">
                  <a:moveTo>
                    <a:pt x="66" y="3"/>
                  </a:moveTo>
                  <a:cubicBezTo>
                    <a:pt x="66" y="3"/>
                    <a:pt x="36" y="0"/>
                    <a:pt x="25" y="3"/>
                  </a:cubicBezTo>
                  <a:cubicBezTo>
                    <a:pt x="13" y="6"/>
                    <a:pt x="0" y="21"/>
                    <a:pt x="13" y="23"/>
                  </a:cubicBezTo>
                  <a:cubicBezTo>
                    <a:pt x="26" y="26"/>
                    <a:pt x="29" y="32"/>
                    <a:pt x="34" y="38"/>
                  </a:cubicBezTo>
                  <a:cubicBezTo>
                    <a:pt x="39" y="45"/>
                    <a:pt x="44" y="51"/>
                    <a:pt x="57" y="49"/>
                  </a:cubicBezTo>
                  <a:cubicBezTo>
                    <a:pt x="70" y="48"/>
                    <a:pt x="91" y="50"/>
                    <a:pt x="91" y="43"/>
                  </a:cubicBezTo>
                  <a:cubicBezTo>
                    <a:pt x="91" y="37"/>
                    <a:pt x="97" y="33"/>
                    <a:pt x="106" y="36"/>
                  </a:cubicBezTo>
                  <a:cubicBezTo>
                    <a:pt x="114" y="39"/>
                    <a:pt x="119" y="45"/>
                    <a:pt x="126" y="45"/>
                  </a:cubicBezTo>
                  <a:cubicBezTo>
                    <a:pt x="132" y="45"/>
                    <a:pt x="139" y="40"/>
                    <a:pt x="139" y="33"/>
                  </a:cubicBezTo>
                  <a:cubicBezTo>
                    <a:pt x="139" y="26"/>
                    <a:pt x="135" y="18"/>
                    <a:pt x="123" y="18"/>
                  </a:cubicBezTo>
                  <a:cubicBezTo>
                    <a:pt x="111" y="17"/>
                    <a:pt x="112" y="10"/>
                    <a:pt x="101" y="8"/>
                  </a:cubicBezTo>
                  <a:cubicBezTo>
                    <a:pt x="89" y="7"/>
                    <a:pt x="96" y="8"/>
                    <a:pt x="66" y="3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64" name="Freeform 25121"/>
            <p:cNvSpPr>
              <a:spLocks/>
            </p:cNvSpPr>
            <p:nvPr/>
          </p:nvSpPr>
          <p:spPr bwMode="auto">
            <a:xfrm>
              <a:off x="2364534" y="3356086"/>
              <a:ext cx="10575" cy="7892"/>
            </a:xfrm>
            <a:custGeom>
              <a:avLst/>
              <a:gdLst>
                <a:gd name="T0" fmla="*/ 9 w 28"/>
                <a:gd name="T1" fmla="*/ 3 h 21"/>
                <a:gd name="T2" fmla="*/ 0 w 28"/>
                <a:gd name="T3" fmla="*/ 11 h 21"/>
                <a:gd name="T4" fmla="*/ 16 w 28"/>
                <a:gd name="T5" fmla="*/ 11 h 21"/>
                <a:gd name="T6" fmla="*/ 9 w 28"/>
                <a:gd name="T7" fmla="*/ 3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" h="21">
                  <a:moveTo>
                    <a:pt x="9" y="3"/>
                  </a:moveTo>
                  <a:cubicBezTo>
                    <a:pt x="9" y="3"/>
                    <a:pt x="0" y="3"/>
                    <a:pt x="0" y="11"/>
                  </a:cubicBezTo>
                  <a:cubicBezTo>
                    <a:pt x="0" y="19"/>
                    <a:pt x="9" y="21"/>
                    <a:pt x="16" y="11"/>
                  </a:cubicBezTo>
                  <a:cubicBezTo>
                    <a:pt x="22" y="0"/>
                    <a:pt x="28" y="1"/>
                    <a:pt x="9" y="3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65" name="Freeform 25122"/>
            <p:cNvSpPr>
              <a:spLocks/>
            </p:cNvSpPr>
            <p:nvPr/>
          </p:nvSpPr>
          <p:spPr bwMode="auto">
            <a:xfrm>
              <a:off x="2423564" y="3165896"/>
              <a:ext cx="47350" cy="33934"/>
            </a:xfrm>
            <a:custGeom>
              <a:avLst/>
              <a:gdLst>
                <a:gd name="T0" fmla="*/ 42 w 127"/>
                <a:gd name="T1" fmla="*/ 19 h 91"/>
                <a:gd name="T2" fmla="*/ 29 w 127"/>
                <a:gd name="T3" fmla="*/ 15 h 91"/>
                <a:gd name="T4" fmla="*/ 16 w 127"/>
                <a:gd name="T5" fmla="*/ 21 h 91"/>
                <a:gd name="T6" fmla="*/ 13 w 127"/>
                <a:gd name="T7" fmla="*/ 37 h 91"/>
                <a:gd name="T8" fmla="*/ 43 w 127"/>
                <a:gd name="T9" fmla="*/ 32 h 91"/>
                <a:gd name="T10" fmla="*/ 66 w 127"/>
                <a:gd name="T11" fmla="*/ 23 h 91"/>
                <a:gd name="T12" fmla="*/ 87 w 127"/>
                <a:gd name="T13" fmla="*/ 17 h 91"/>
                <a:gd name="T14" fmla="*/ 98 w 127"/>
                <a:gd name="T15" fmla="*/ 29 h 91"/>
                <a:gd name="T16" fmla="*/ 111 w 127"/>
                <a:gd name="T17" fmla="*/ 43 h 91"/>
                <a:gd name="T18" fmla="*/ 101 w 127"/>
                <a:gd name="T19" fmla="*/ 58 h 91"/>
                <a:gd name="T20" fmla="*/ 104 w 127"/>
                <a:gd name="T21" fmla="*/ 78 h 91"/>
                <a:gd name="T22" fmla="*/ 114 w 127"/>
                <a:gd name="T23" fmla="*/ 78 h 91"/>
                <a:gd name="T24" fmla="*/ 117 w 127"/>
                <a:gd name="T25" fmla="*/ 53 h 91"/>
                <a:gd name="T26" fmla="*/ 122 w 127"/>
                <a:gd name="T27" fmla="*/ 30 h 91"/>
                <a:gd name="T28" fmla="*/ 99 w 127"/>
                <a:gd name="T29" fmla="*/ 10 h 91"/>
                <a:gd name="T30" fmla="*/ 69 w 127"/>
                <a:gd name="T31" fmla="*/ 0 h 91"/>
                <a:gd name="T32" fmla="*/ 54 w 127"/>
                <a:gd name="T33" fmla="*/ 10 h 91"/>
                <a:gd name="T34" fmla="*/ 42 w 127"/>
                <a:gd name="T35" fmla="*/ 19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7" h="91">
                  <a:moveTo>
                    <a:pt x="42" y="19"/>
                  </a:moveTo>
                  <a:cubicBezTo>
                    <a:pt x="42" y="19"/>
                    <a:pt x="36" y="19"/>
                    <a:pt x="29" y="15"/>
                  </a:cubicBezTo>
                  <a:cubicBezTo>
                    <a:pt x="22" y="10"/>
                    <a:pt x="31" y="18"/>
                    <a:pt x="16" y="21"/>
                  </a:cubicBezTo>
                  <a:cubicBezTo>
                    <a:pt x="2" y="24"/>
                    <a:pt x="0" y="36"/>
                    <a:pt x="13" y="37"/>
                  </a:cubicBezTo>
                  <a:cubicBezTo>
                    <a:pt x="25" y="38"/>
                    <a:pt x="35" y="36"/>
                    <a:pt x="43" y="32"/>
                  </a:cubicBezTo>
                  <a:cubicBezTo>
                    <a:pt x="52" y="28"/>
                    <a:pt x="63" y="28"/>
                    <a:pt x="66" y="23"/>
                  </a:cubicBezTo>
                  <a:cubicBezTo>
                    <a:pt x="69" y="18"/>
                    <a:pt x="81" y="15"/>
                    <a:pt x="87" y="17"/>
                  </a:cubicBezTo>
                  <a:cubicBezTo>
                    <a:pt x="93" y="20"/>
                    <a:pt x="98" y="23"/>
                    <a:pt x="98" y="29"/>
                  </a:cubicBezTo>
                  <a:cubicBezTo>
                    <a:pt x="98" y="35"/>
                    <a:pt x="111" y="36"/>
                    <a:pt x="111" y="43"/>
                  </a:cubicBezTo>
                  <a:cubicBezTo>
                    <a:pt x="111" y="49"/>
                    <a:pt x="108" y="57"/>
                    <a:pt x="101" y="58"/>
                  </a:cubicBezTo>
                  <a:cubicBezTo>
                    <a:pt x="94" y="60"/>
                    <a:pt x="97" y="68"/>
                    <a:pt x="104" y="78"/>
                  </a:cubicBezTo>
                  <a:cubicBezTo>
                    <a:pt x="111" y="88"/>
                    <a:pt x="117" y="91"/>
                    <a:pt x="114" y="78"/>
                  </a:cubicBezTo>
                  <a:cubicBezTo>
                    <a:pt x="112" y="64"/>
                    <a:pt x="106" y="58"/>
                    <a:pt x="117" y="53"/>
                  </a:cubicBezTo>
                  <a:cubicBezTo>
                    <a:pt x="127" y="48"/>
                    <a:pt x="126" y="37"/>
                    <a:pt x="122" y="30"/>
                  </a:cubicBezTo>
                  <a:cubicBezTo>
                    <a:pt x="119" y="24"/>
                    <a:pt x="104" y="18"/>
                    <a:pt x="99" y="10"/>
                  </a:cubicBezTo>
                  <a:cubicBezTo>
                    <a:pt x="94" y="2"/>
                    <a:pt x="76" y="0"/>
                    <a:pt x="69" y="0"/>
                  </a:cubicBezTo>
                  <a:cubicBezTo>
                    <a:pt x="63" y="1"/>
                    <a:pt x="54" y="2"/>
                    <a:pt x="54" y="10"/>
                  </a:cubicBezTo>
                  <a:cubicBezTo>
                    <a:pt x="54" y="18"/>
                    <a:pt x="55" y="20"/>
                    <a:pt x="42" y="1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66" name="Freeform 25123"/>
            <p:cNvSpPr>
              <a:spLocks/>
            </p:cNvSpPr>
            <p:nvPr/>
          </p:nvSpPr>
          <p:spPr bwMode="auto">
            <a:xfrm>
              <a:off x="2437611" y="3203618"/>
              <a:ext cx="15310" cy="33461"/>
            </a:xfrm>
            <a:custGeom>
              <a:avLst/>
              <a:gdLst>
                <a:gd name="T0" fmla="*/ 11 w 41"/>
                <a:gd name="T1" fmla="*/ 23 h 90"/>
                <a:gd name="T2" fmla="*/ 9 w 41"/>
                <a:gd name="T3" fmla="*/ 47 h 90"/>
                <a:gd name="T4" fmla="*/ 8 w 41"/>
                <a:gd name="T5" fmla="*/ 68 h 90"/>
                <a:gd name="T6" fmla="*/ 21 w 41"/>
                <a:gd name="T7" fmla="*/ 84 h 90"/>
                <a:gd name="T8" fmla="*/ 29 w 41"/>
                <a:gd name="T9" fmla="*/ 82 h 90"/>
                <a:gd name="T10" fmla="*/ 38 w 41"/>
                <a:gd name="T11" fmla="*/ 61 h 90"/>
                <a:gd name="T12" fmla="*/ 31 w 41"/>
                <a:gd name="T13" fmla="*/ 42 h 90"/>
                <a:gd name="T14" fmla="*/ 11 w 41"/>
                <a:gd name="T15" fmla="*/ 23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1" h="90">
                  <a:moveTo>
                    <a:pt x="11" y="23"/>
                  </a:moveTo>
                  <a:cubicBezTo>
                    <a:pt x="11" y="23"/>
                    <a:pt x="18" y="40"/>
                    <a:pt x="9" y="47"/>
                  </a:cubicBezTo>
                  <a:cubicBezTo>
                    <a:pt x="0" y="53"/>
                    <a:pt x="1" y="62"/>
                    <a:pt x="8" y="68"/>
                  </a:cubicBezTo>
                  <a:cubicBezTo>
                    <a:pt x="14" y="75"/>
                    <a:pt x="19" y="80"/>
                    <a:pt x="21" y="84"/>
                  </a:cubicBezTo>
                  <a:cubicBezTo>
                    <a:pt x="22" y="88"/>
                    <a:pt x="23" y="90"/>
                    <a:pt x="29" y="82"/>
                  </a:cubicBezTo>
                  <a:cubicBezTo>
                    <a:pt x="35" y="74"/>
                    <a:pt x="41" y="72"/>
                    <a:pt x="38" y="61"/>
                  </a:cubicBezTo>
                  <a:cubicBezTo>
                    <a:pt x="36" y="51"/>
                    <a:pt x="34" y="53"/>
                    <a:pt x="31" y="42"/>
                  </a:cubicBezTo>
                  <a:cubicBezTo>
                    <a:pt x="27" y="31"/>
                    <a:pt x="8" y="0"/>
                    <a:pt x="11" y="23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67" name="Freeform 25124"/>
            <p:cNvSpPr>
              <a:spLocks/>
            </p:cNvSpPr>
            <p:nvPr/>
          </p:nvSpPr>
          <p:spPr bwMode="auto">
            <a:xfrm>
              <a:off x="2447397" y="3235659"/>
              <a:ext cx="12311" cy="14836"/>
            </a:xfrm>
            <a:custGeom>
              <a:avLst/>
              <a:gdLst>
                <a:gd name="T0" fmla="*/ 13 w 33"/>
                <a:gd name="T1" fmla="*/ 2 h 40"/>
                <a:gd name="T2" fmla="*/ 3 w 33"/>
                <a:gd name="T3" fmla="*/ 14 h 40"/>
                <a:gd name="T4" fmla="*/ 15 w 33"/>
                <a:gd name="T5" fmla="*/ 33 h 40"/>
                <a:gd name="T6" fmla="*/ 28 w 33"/>
                <a:gd name="T7" fmla="*/ 31 h 40"/>
                <a:gd name="T8" fmla="*/ 27 w 33"/>
                <a:gd name="T9" fmla="*/ 14 h 40"/>
                <a:gd name="T10" fmla="*/ 13 w 33"/>
                <a:gd name="T11" fmla="*/ 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" h="40">
                  <a:moveTo>
                    <a:pt x="13" y="2"/>
                  </a:moveTo>
                  <a:cubicBezTo>
                    <a:pt x="13" y="2"/>
                    <a:pt x="0" y="8"/>
                    <a:pt x="3" y="14"/>
                  </a:cubicBezTo>
                  <a:cubicBezTo>
                    <a:pt x="7" y="20"/>
                    <a:pt x="15" y="30"/>
                    <a:pt x="15" y="33"/>
                  </a:cubicBezTo>
                  <a:cubicBezTo>
                    <a:pt x="15" y="35"/>
                    <a:pt x="27" y="40"/>
                    <a:pt x="28" y="31"/>
                  </a:cubicBezTo>
                  <a:cubicBezTo>
                    <a:pt x="28" y="23"/>
                    <a:pt x="33" y="18"/>
                    <a:pt x="27" y="14"/>
                  </a:cubicBezTo>
                  <a:cubicBezTo>
                    <a:pt x="21" y="10"/>
                    <a:pt x="18" y="0"/>
                    <a:pt x="13" y="2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68" name="Freeform 25125"/>
            <p:cNvSpPr>
              <a:spLocks/>
            </p:cNvSpPr>
            <p:nvPr/>
          </p:nvSpPr>
          <p:spPr bwMode="auto">
            <a:xfrm>
              <a:off x="2456709" y="3211036"/>
              <a:ext cx="9312" cy="7892"/>
            </a:xfrm>
            <a:custGeom>
              <a:avLst/>
              <a:gdLst>
                <a:gd name="T0" fmla="*/ 11 w 25"/>
                <a:gd name="T1" fmla="*/ 8 h 21"/>
                <a:gd name="T2" fmla="*/ 5 w 25"/>
                <a:gd name="T3" fmla="*/ 13 h 21"/>
                <a:gd name="T4" fmla="*/ 6 w 25"/>
                <a:gd name="T5" fmla="*/ 21 h 21"/>
                <a:gd name="T6" fmla="*/ 11 w 25"/>
                <a:gd name="T7" fmla="*/ 8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" h="21">
                  <a:moveTo>
                    <a:pt x="11" y="8"/>
                  </a:moveTo>
                  <a:cubicBezTo>
                    <a:pt x="11" y="8"/>
                    <a:pt x="9" y="11"/>
                    <a:pt x="5" y="13"/>
                  </a:cubicBezTo>
                  <a:cubicBezTo>
                    <a:pt x="2" y="14"/>
                    <a:pt x="0" y="21"/>
                    <a:pt x="6" y="21"/>
                  </a:cubicBezTo>
                  <a:cubicBezTo>
                    <a:pt x="13" y="21"/>
                    <a:pt x="25" y="0"/>
                    <a:pt x="11" y="8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69" name="Freeform 25126"/>
            <p:cNvSpPr>
              <a:spLocks/>
            </p:cNvSpPr>
            <p:nvPr/>
          </p:nvSpPr>
          <p:spPr bwMode="auto">
            <a:xfrm>
              <a:off x="2476438" y="3202513"/>
              <a:ext cx="17204" cy="19729"/>
            </a:xfrm>
            <a:custGeom>
              <a:avLst/>
              <a:gdLst>
                <a:gd name="T0" fmla="*/ 6 w 46"/>
                <a:gd name="T1" fmla="*/ 4 h 53"/>
                <a:gd name="T2" fmla="*/ 6 w 46"/>
                <a:gd name="T3" fmla="*/ 17 h 53"/>
                <a:gd name="T4" fmla="*/ 25 w 46"/>
                <a:gd name="T5" fmla="*/ 26 h 53"/>
                <a:gd name="T6" fmla="*/ 30 w 46"/>
                <a:gd name="T7" fmla="*/ 37 h 53"/>
                <a:gd name="T8" fmla="*/ 33 w 46"/>
                <a:gd name="T9" fmla="*/ 48 h 53"/>
                <a:gd name="T10" fmla="*/ 41 w 46"/>
                <a:gd name="T11" fmla="*/ 33 h 53"/>
                <a:gd name="T12" fmla="*/ 28 w 46"/>
                <a:gd name="T13" fmla="*/ 16 h 53"/>
                <a:gd name="T14" fmla="*/ 6 w 46"/>
                <a:gd name="T15" fmla="*/ 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6" h="53">
                  <a:moveTo>
                    <a:pt x="6" y="4"/>
                  </a:moveTo>
                  <a:cubicBezTo>
                    <a:pt x="6" y="4"/>
                    <a:pt x="0" y="14"/>
                    <a:pt x="6" y="17"/>
                  </a:cubicBezTo>
                  <a:cubicBezTo>
                    <a:pt x="13" y="20"/>
                    <a:pt x="23" y="18"/>
                    <a:pt x="25" y="26"/>
                  </a:cubicBezTo>
                  <a:cubicBezTo>
                    <a:pt x="27" y="34"/>
                    <a:pt x="31" y="27"/>
                    <a:pt x="30" y="37"/>
                  </a:cubicBezTo>
                  <a:cubicBezTo>
                    <a:pt x="28" y="47"/>
                    <a:pt x="30" y="53"/>
                    <a:pt x="33" y="48"/>
                  </a:cubicBezTo>
                  <a:cubicBezTo>
                    <a:pt x="37" y="43"/>
                    <a:pt x="46" y="42"/>
                    <a:pt x="41" y="33"/>
                  </a:cubicBezTo>
                  <a:cubicBezTo>
                    <a:pt x="36" y="23"/>
                    <a:pt x="36" y="21"/>
                    <a:pt x="28" y="16"/>
                  </a:cubicBezTo>
                  <a:cubicBezTo>
                    <a:pt x="20" y="12"/>
                    <a:pt x="13" y="0"/>
                    <a:pt x="6" y="4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70" name="Freeform 25127"/>
            <p:cNvSpPr>
              <a:spLocks/>
            </p:cNvSpPr>
            <p:nvPr/>
          </p:nvSpPr>
          <p:spPr bwMode="auto">
            <a:xfrm>
              <a:off x="2499639" y="3224768"/>
              <a:ext cx="10733" cy="17204"/>
            </a:xfrm>
            <a:custGeom>
              <a:avLst/>
              <a:gdLst>
                <a:gd name="T0" fmla="*/ 11 w 29"/>
                <a:gd name="T1" fmla="*/ 0 h 46"/>
                <a:gd name="T2" fmla="*/ 5 w 29"/>
                <a:gd name="T3" fmla="*/ 11 h 46"/>
                <a:gd name="T4" fmla="*/ 16 w 29"/>
                <a:gd name="T5" fmla="*/ 28 h 46"/>
                <a:gd name="T6" fmla="*/ 23 w 29"/>
                <a:gd name="T7" fmla="*/ 42 h 46"/>
                <a:gd name="T8" fmla="*/ 26 w 29"/>
                <a:gd name="T9" fmla="*/ 23 h 46"/>
                <a:gd name="T10" fmla="*/ 11 w 29"/>
                <a:gd name="T11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" h="46">
                  <a:moveTo>
                    <a:pt x="11" y="0"/>
                  </a:moveTo>
                  <a:cubicBezTo>
                    <a:pt x="11" y="0"/>
                    <a:pt x="0" y="2"/>
                    <a:pt x="5" y="11"/>
                  </a:cubicBezTo>
                  <a:cubicBezTo>
                    <a:pt x="10" y="19"/>
                    <a:pt x="16" y="14"/>
                    <a:pt x="16" y="28"/>
                  </a:cubicBezTo>
                  <a:cubicBezTo>
                    <a:pt x="16" y="42"/>
                    <a:pt x="19" y="46"/>
                    <a:pt x="23" y="42"/>
                  </a:cubicBezTo>
                  <a:cubicBezTo>
                    <a:pt x="27" y="39"/>
                    <a:pt x="29" y="31"/>
                    <a:pt x="26" y="23"/>
                  </a:cubicBezTo>
                  <a:cubicBezTo>
                    <a:pt x="23" y="14"/>
                    <a:pt x="24" y="8"/>
                    <a:pt x="11" y="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71" name="Freeform 25128"/>
            <p:cNvSpPr>
              <a:spLocks/>
            </p:cNvSpPr>
            <p:nvPr/>
          </p:nvSpPr>
          <p:spPr bwMode="auto">
            <a:xfrm>
              <a:off x="2489854" y="3248759"/>
              <a:ext cx="16888" cy="13416"/>
            </a:xfrm>
            <a:custGeom>
              <a:avLst/>
              <a:gdLst>
                <a:gd name="T0" fmla="*/ 13 w 45"/>
                <a:gd name="T1" fmla="*/ 3 h 36"/>
                <a:gd name="T2" fmla="*/ 12 w 45"/>
                <a:gd name="T3" fmla="*/ 16 h 36"/>
                <a:gd name="T4" fmla="*/ 37 w 45"/>
                <a:gd name="T5" fmla="*/ 23 h 36"/>
                <a:gd name="T6" fmla="*/ 13 w 45"/>
                <a:gd name="T7" fmla="*/ 3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5" h="36">
                  <a:moveTo>
                    <a:pt x="13" y="3"/>
                  </a:moveTo>
                  <a:cubicBezTo>
                    <a:pt x="13" y="3"/>
                    <a:pt x="0" y="13"/>
                    <a:pt x="12" y="16"/>
                  </a:cubicBezTo>
                  <a:cubicBezTo>
                    <a:pt x="24" y="20"/>
                    <a:pt x="45" y="36"/>
                    <a:pt x="37" y="23"/>
                  </a:cubicBezTo>
                  <a:cubicBezTo>
                    <a:pt x="29" y="11"/>
                    <a:pt x="20" y="0"/>
                    <a:pt x="13" y="3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72" name="Freeform 25129"/>
            <p:cNvSpPr>
              <a:spLocks/>
            </p:cNvSpPr>
            <p:nvPr/>
          </p:nvSpPr>
          <p:spPr bwMode="auto">
            <a:xfrm>
              <a:off x="2508479" y="3247969"/>
              <a:ext cx="14205" cy="21624"/>
            </a:xfrm>
            <a:custGeom>
              <a:avLst/>
              <a:gdLst>
                <a:gd name="T0" fmla="*/ 6 w 38"/>
                <a:gd name="T1" fmla="*/ 8 h 58"/>
                <a:gd name="T2" fmla="*/ 6 w 38"/>
                <a:gd name="T3" fmla="*/ 22 h 58"/>
                <a:gd name="T4" fmla="*/ 15 w 38"/>
                <a:gd name="T5" fmla="*/ 41 h 58"/>
                <a:gd name="T6" fmla="*/ 25 w 38"/>
                <a:gd name="T7" fmla="*/ 58 h 58"/>
                <a:gd name="T8" fmla="*/ 32 w 38"/>
                <a:gd name="T9" fmla="*/ 48 h 58"/>
                <a:gd name="T10" fmla="*/ 23 w 38"/>
                <a:gd name="T11" fmla="*/ 30 h 58"/>
                <a:gd name="T12" fmla="*/ 6 w 38"/>
                <a:gd name="T13" fmla="*/ 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8" h="58">
                  <a:moveTo>
                    <a:pt x="6" y="8"/>
                  </a:moveTo>
                  <a:cubicBezTo>
                    <a:pt x="6" y="8"/>
                    <a:pt x="0" y="17"/>
                    <a:pt x="6" y="22"/>
                  </a:cubicBezTo>
                  <a:cubicBezTo>
                    <a:pt x="13" y="27"/>
                    <a:pt x="13" y="33"/>
                    <a:pt x="15" y="41"/>
                  </a:cubicBezTo>
                  <a:cubicBezTo>
                    <a:pt x="17" y="49"/>
                    <a:pt x="21" y="58"/>
                    <a:pt x="25" y="58"/>
                  </a:cubicBezTo>
                  <a:cubicBezTo>
                    <a:pt x="30" y="58"/>
                    <a:pt x="38" y="57"/>
                    <a:pt x="32" y="48"/>
                  </a:cubicBezTo>
                  <a:cubicBezTo>
                    <a:pt x="25" y="38"/>
                    <a:pt x="28" y="37"/>
                    <a:pt x="23" y="30"/>
                  </a:cubicBezTo>
                  <a:cubicBezTo>
                    <a:pt x="17" y="23"/>
                    <a:pt x="9" y="0"/>
                    <a:pt x="6" y="8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73" name="Freeform 25130"/>
            <p:cNvSpPr>
              <a:spLocks/>
            </p:cNvSpPr>
            <p:nvPr/>
          </p:nvSpPr>
          <p:spPr bwMode="auto">
            <a:xfrm>
              <a:off x="2532469" y="3268172"/>
              <a:ext cx="12942" cy="23359"/>
            </a:xfrm>
            <a:custGeom>
              <a:avLst/>
              <a:gdLst>
                <a:gd name="T0" fmla="*/ 3 w 35"/>
                <a:gd name="T1" fmla="*/ 8 h 63"/>
                <a:gd name="T2" fmla="*/ 10 w 35"/>
                <a:gd name="T3" fmla="*/ 22 h 63"/>
                <a:gd name="T4" fmla="*/ 23 w 35"/>
                <a:gd name="T5" fmla="*/ 29 h 63"/>
                <a:gd name="T6" fmla="*/ 13 w 35"/>
                <a:gd name="T7" fmla="*/ 45 h 63"/>
                <a:gd name="T8" fmla="*/ 5 w 35"/>
                <a:gd name="T9" fmla="*/ 61 h 63"/>
                <a:gd name="T10" fmla="*/ 20 w 35"/>
                <a:gd name="T11" fmla="*/ 53 h 63"/>
                <a:gd name="T12" fmla="*/ 35 w 35"/>
                <a:gd name="T13" fmla="*/ 29 h 63"/>
                <a:gd name="T14" fmla="*/ 19 w 35"/>
                <a:gd name="T15" fmla="*/ 14 h 63"/>
                <a:gd name="T16" fmla="*/ 3 w 35"/>
                <a:gd name="T17" fmla="*/ 8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" h="63">
                  <a:moveTo>
                    <a:pt x="3" y="8"/>
                  </a:moveTo>
                  <a:cubicBezTo>
                    <a:pt x="3" y="8"/>
                    <a:pt x="3" y="22"/>
                    <a:pt x="10" y="22"/>
                  </a:cubicBezTo>
                  <a:cubicBezTo>
                    <a:pt x="17" y="22"/>
                    <a:pt x="23" y="21"/>
                    <a:pt x="23" y="29"/>
                  </a:cubicBezTo>
                  <a:cubicBezTo>
                    <a:pt x="23" y="38"/>
                    <a:pt x="20" y="40"/>
                    <a:pt x="13" y="45"/>
                  </a:cubicBezTo>
                  <a:cubicBezTo>
                    <a:pt x="7" y="50"/>
                    <a:pt x="0" y="59"/>
                    <a:pt x="5" y="61"/>
                  </a:cubicBezTo>
                  <a:cubicBezTo>
                    <a:pt x="10" y="63"/>
                    <a:pt x="13" y="60"/>
                    <a:pt x="20" y="53"/>
                  </a:cubicBezTo>
                  <a:cubicBezTo>
                    <a:pt x="27" y="46"/>
                    <a:pt x="35" y="40"/>
                    <a:pt x="35" y="29"/>
                  </a:cubicBezTo>
                  <a:cubicBezTo>
                    <a:pt x="34" y="19"/>
                    <a:pt x="30" y="17"/>
                    <a:pt x="19" y="14"/>
                  </a:cubicBezTo>
                  <a:cubicBezTo>
                    <a:pt x="7" y="10"/>
                    <a:pt x="4" y="0"/>
                    <a:pt x="3" y="8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74" name="Freeform 25131"/>
            <p:cNvSpPr>
              <a:spLocks/>
            </p:cNvSpPr>
            <p:nvPr/>
          </p:nvSpPr>
          <p:spPr bwMode="auto">
            <a:xfrm>
              <a:off x="2561510" y="3281904"/>
              <a:ext cx="12311" cy="5998"/>
            </a:xfrm>
            <a:custGeom>
              <a:avLst/>
              <a:gdLst>
                <a:gd name="T0" fmla="*/ 11 w 33"/>
                <a:gd name="T1" fmla="*/ 2 h 16"/>
                <a:gd name="T2" fmla="*/ 12 w 33"/>
                <a:gd name="T3" fmla="*/ 11 h 16"/>
                <a:gd name="T4" fmla="*/ 33 w 33"/>
                <a:gd name="T5" fmla="*/ 10 h 16"/>
                <a:gd name="T6" fmla="*/ 11 w 33"/>
                <a:gd name="T7" fmla="*/ 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3" h="16">
                  <a:moveTo>
                    <a:pt x="11" y="2"/>
                  </a:moveTo>
                  <a:cubicBezTo>
                    <a:pt x="11" y="2"/>
                    <a:pt x="0" y="9"/>
                    <a:pt x="12" y="11"/>
                  </a:cubicBezTo>
                  <a:cubicBezTo>
                    <a:pt x="25" y="13"/>
                    <a:pt x="33" y="16"/>
                    <a:pt x="33" y="10"/>
                  </a:cubicBezTo>
                  <a:cubicBezTo>
                    <a:pt x="33" y="5"/>
                    <a:pt x="20" y="0"/>
                    <a:pt x="11" y="2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75" name="Freeform 25132"/>
            <p:cNvSpPr>
              <a:spLocks/>
            </p:cNvSpPr>
            <p:nvPr/>
          </p:nvSpPr>
          <p:spPr bwMode="auto">
            <a:xfrm>
              <a:off x="2546516" y="3309525"/>
              <a:ext cx="17520" cy="11838"/>
            </a:xfrm>
            <a:custGeom>
              <a:avLst/>
              <a:gdLst>
                <a:gd name="T0" fmla="*/ 28 w 47"/>
                <a:gd name="T1" fmla="*/ 7 h 32"/>
                <a:gd name="T2" fmla="*/ 4 w 47"/>
                <a:gd name="T3" fmla="*/ 15 h 32"/>
                <a:gd name="T4" fmla="*/ 14 w 47"/>
                <a:gd name="T5" fmla="*/ 30 h 32"/>
                <a:gd name="T6" fmla="*/ 37 w 47"/>
                <a:gd name="T7" fmla="*/ 22 h 32"/>
                <a:gd name="T8" fmla="*/ 46 w 47"/>
                <a:gd name="T9" fmla="*/ 8 h 32"/>
                <a:gd name="T10" fmla="*/ 28 w 47"/>
                <a:gd name="T11" fmla="*/ 7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" h="32">
                  <a:moveTo>
                    <a:pt x="28" y="7"/>
                  </a:moveTo>
                  <a:cubicBezTo>
                    <a:pt x="28" y="7"/>
                    <a:pt x="5" y="10"/>
                    <a:pt x="4" y="15"/>
                  </a:cubicBezTo>
                  <a:cubicBezTo>
                    <a:pt x="2" y="20"/>
                    <a:pt x="0" y="27"/>
                    <a:pt x="14" y="30"/>
                  </a:cubicBezTo>
                  <a:cubicBezTo>
                    <a:pt x="29" y="32"/>
                    <a:pt x="30" y="24"/>
                    <a:pt x="37" y="22"/>
                  </a:cubicBezTo>
                  <a:cubicBezTo>
                    <a:pt x="44" y="20"/>
                    <a:pt x="47" y="14"/>
                    <a:pt x="46" y="8"/>
                  </a:cubicBezTo>
                  <a:cubicBezTo>
                    <a:pt x="45" y="2"/>
                    <a:pt x="35" y="0"/>
                    <a:pt x="28" y="7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76" name="Freeform 25133"/>
            <p:cNvSpPr>
              <a:spLocks/>
            </p:cNvSpPr>
            <p:nvPr/>
          </p:nvSpPr>
          <p:spPr bwMode="auto">
            <a:xfrm>
              <a:off x="2700247" y="3378814"/>
              <a:ext cx="39458" cy="17204"/>
            </a:xfrm>
            <a:custGeom>
              <a:avLst/>
              <a:gdLst>
                <a:gd name="T0" fmla="*/ 54 w 106"/>
                <a:gd name="T1" fmla="*/ 2 h 46"/>
                <a:gd name="T2" fmla="*/ 6 w 106"/>
                <a:gd name="T3" fmla="*/ 6 h 46"/>
                <a:gd name="T4" fmla="*/ 5 w 106"/>
                <a:gd name="T5" fmla="*/ 19 h 46"/>
                <a:gd name="T6" fmla="*/ 20 w 106"/>
                <a:gd name="T7" fmla="*/ 41 h 46"/>
                <a:gd name="T8" fmla="*/ 88 w 106"/>
                <a:gd name="T9" fmla="*/ 38 h 46"/>
                <a:gd name="T10" fmla="*/ 103 w 106"/>
                <a:gd name="T11" fmla="*/ 23 h 46"/>
                <a:gd name="T12" fmla="*/ 91 w 106"/>
                <a:gd name="T13" fmla="*/ 4 h 46"/>
                <a:gd name="T14" fmla="*/ 54 w 106"/>
                <a:gd name="T15" fmla="*/ 2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6" h="46">
                  <a:moveTo>
                    <a:pt x="54" y="2"/>
                  </a:moveTo>
                  <a:cubicBezTo>
                    <a:pt x="54" y="2"/>
                    <a:pt x="11" y="0"/>
                    <a:pt x="6" y="6"/>
                  </a:cubicBezTo>
                  <a:cubicBezTo>
                    <a:pt x="1" y="11"/>
                    <a:pt x="0" y="10"/>
                    <a:pt x="5" y="19"/>
                  </a:cubicBezTo>
                  <a:cubicBezTo>
                    <a:pt x="9" y="28"/>
                    <a:pt x="7" y="41"/>
                    <a:pt x="20" y="41"/>
                  </a:cubicBezTo>
                  <a:cubicBezTo>
                    <a:pt x="32" y="41"/>
                    <a:pt x="85" y="46"/>
                    <a:pt x="88" y="38"/>
                  </a:cubicBezTo>
                  <a:cubicBezTo>
                    <a:pt x="91" y="31"/>
                    <a:pt x="103" y="33"/>
                    <a:pt x="103" y="23"/>
                  </a:cubicBezTo>
                  <a:cubicBezTo>
                    <a:pt x="103" y="13"/>
                    <a:pt x="106" y="4"/>
                    <a:pt x="91" y="4"/>
                  </a:cubicBezTo>
                  <a:cubicBezTo>
                    <a:pt x="77" y="4"/>
                    <a:pt x="83" y="1"/>
                    <a:pt x="54" y="2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77" name="Freeform 25134"/>
            <p:cNvSpPr>
              <a:spLocks/>
            </p:cNvSpPr>
            <p:nvPr/>
          </p:nvSpPr>
          <p:spPr bwMode="auto">
            <a:xfrm>
              <a:off x="2795263" y="3381024"/>
              <a:ext cx="9628" cy="14678"/>
            </a:xfrm>
            <a:custGeom>
              <a:avLst/>
              <a:gdLst>
                <a:gd name="T0" fmla="*/ 17 w 26"/>
                <a:gd name="T1" fmla="*/ 9 h 39"/>
                <a:gd name="T2" fmla="*/ 7 w 26"/>
                <a:gd name="T3" fmla="*/ 22 h 39"/>
                <a:gd name="T4" fmla="*/ 7 w 26"/>
                <a:gd name="T5" fmla="*/ 37 h 39"/>
                <a:gd name="T6" fmla="*/ 26 w 26"/>
                <a:gd name="T7" fmla="*/ 27 h 39"/>
                <a:gd name="T8" fmla="*/ 17 w 26"/>
                <a:gd name="T9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39">
                  <a:moveTo>
                    <a:pt x="17" y="9"/>
                  </a:moveTo>
                  <a:cubicBezTo>
                    <a:pt x="17" y="9"/>
                    <a:pt x="14" y="19"/>
                    <a:pt x="7" y="22"/>
                  </a:cubicBezTo>
                  <a:cubicBezTo>
                    <a:pt x="1" y="24"/>
                    <a:pt x="0" y="37"/>
                    <a:pt x="7" y="37"/>
                  </a:cubicBezTo>
                  <a:cubicBezTo>
                    <a:pt x="15" y="37"/>
                    <a:pt x="26" y="39"/>
                    <a:pt x="26" y="27"/>
                  </a:cubicBezTo>
                  <a:cubicBezTo>
                    <a:pt x="26" y="15"/>
                    <a:pt x="23" y="0"/>
                    <a:pt x="17" y="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78" name="Freeform 25135"/>
            <p:cNvSpPr>
              <a:spLocks/>
            </p:cNvSpPr>
            <p:nvPr/>
          </p:nvSpPr>
          <p:spPr bwMode="auto">
            <a:xfrm>
              <a:off x="2754226" y="3396018"/>
              <a:ext cx="16415" cy="7418"/>
            </a:xfrm>
            <a:custGeom>
              <a:avLst/>
              <a:gdLst>
                <a:gd name="T0" fmla="*/ 20 w 44"/>
                <a:gd name="T1" fmla="*/ 3 h 20"/>
                <a:gd name="T2" fmla="*/ 0 w 44"/>
                <a:gd name="T3" fmla="*/ 10 h 20"/>
                <a:gd name="T4" fmla="*/ 20 w 44"/>
                <a:gd name="T5" fmla="*/ 3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" h="20">
                  <a:moveTo>
                    <a:pt x="20" y="3"/>
                  </a:moveTo>
                  <a:cubicBezTo>
                    <a:pt x="20" y="3"/>
                    <a:pt x="0" y="0"/>
                    <a:pt x="0" y="10"/>
                  </a:cubicBezTo>
                  <a:cubicBezTo>
                    <a:pt x="0" y="20"/>
                    <a:pt x="44" y="7"/>
                    <a:pt x="20" y="3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79" name="Freeform 25136"/>
            <p:cNvSpPr>
              <a:spLocks/>
            </p:cNvSpPr>
            <p:nvPr/>
          </p:nvSpPr>
          <p:spPr bwMode="auto">
            <a:xfrm>
              <a:off x="2804575" y="3405330"/>
              <a:ext cx="9312" cy="7418"/>
            </a:xfrm>
            <a:custGeom>
              <a:avLst/>
              <a:gdLst>
                <a:gd name="T0" fmla="*/ 15 w 25"/>
                <a:gd name="T1" fmla="*/ 4 h 20"/>
                <a:gd name="T2" fmla="*/ 3 w 25"/>
                <a:gd name="T3" fmla="*/ 8 h 20"/>
                <a:gd name="T4" fmla="*/ 19 w 25"/>
                <a:gd name="T5" fmla="*/ 15 h 20"/>
                <a:gd name="T6" fmla="*/ 15 w 25"/>
                <a:gd name="T7" fmla="*/ 4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" h="20">
                  <a:moveTo>
                    <a:pt x="15" y="4"/>
                  </a:moveTo>
                  <a:cubicBezTo>
                    <a:pt x="15" y="4"/>
                    <a:pt x="0" y="0"/>
                    <a:pt x="3" y="8"/>
                  </a:cubicBezTo>
                  <a:cubicBezTo>
                    <a:pt x="7" y="16"/>
                    <a:pt x="15" y="20"/>
                    <a:pt x="19" y="15"/>
                  </a:cubicBezTo>
                  <a:cubicBezTo>
                    <a:pt x="22" y="9"/>
                    <a:pt x="25" y="6"/>
                    <a:pt x="15" y="4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80" name="Freeform 25137"/>
            <p:cNvSpPr>
              <a:spLocks/>
            </p:cNvSpPr>
            <p:nvPr/>
          </p:nvSpPr>
          <p:spPr bwMode="auto">
            <a:xfrm>
              <a:off x="2829197" y="3421745"/>
              <a:ext cx="16415" cy="20519"/>
            </a:xfrm>
            <a:custGeom>
              <a:avLst/>
              <a:gdLst>
                <a:gd name="T0" fmla="*/ 26 w 44"/>
                <a:gd name="T1" fmla="*/ 13 h 55"/>
                <a:gd name="T2" fmla="*/ 16 w 44"/>
                <a:gd name="T3" fmla="*/ 32 h 55"/>
                <a:gd name="T4" fmla="*/ 5 w 44"/>
                <a:gd name="T5" fmla="*/ 44 h 55"/>
                <a:gd name="T6" fmla="*/ 27 w 44"/>
                <a:gd name="T7" fmla="*/ 43 h 55"/>
                <a:gd name="T8" fmla="*/ 39 w 44"/>
                <a:gd name="T9" fmla="*/ 24 h 55"/>
                <a:gd name="T10" fmla="*/ 26 w 44"/>
                <a:gd name="T11" fmla="*/ 1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" h="55">
                  <a:moveTo>
                    <a:pt x="26" y="13"/>
                  </a:moveTo>
                  <a:cubicBezTo>
                    <a:pt x="26" y="13"/>
                    <a:pt x="27" y="28"/>
                    <a:pt x="16" y="32"/>
                  </a:cubicBezTo>
                  <a:cubicBezTo>
                    <a:pt x="5" y="36"/>
                    <a:pt x="0" y="39"/>
                    <a:pt x="5" y="44"/>
                  </a:cubicBezTo>
                  <a:cubicBezTo>
                    <a:pt x="11" y="49"/>
                    <a:pt x="25" y="55"/>
                    <a:pt x="27" y="43"/>
                  </a:cubicBezTo>
                  <a:cubicBezTo>
                    <a:pt x="29" y="31"/>
                    <a:pt x="44" y="34"/>
                    <a:pt x="39" y="24"/>
                  </a:cubicBezTo>
                  <a:cubicBezTo>
                    <a:pt x="35" y="14"/>
                    <a:pt x="27" y="0"/>
                    <a:pt x="26" y="13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81" name="Freeform 25138"/>
            <p:cNvSpPr>
              <a:spLocks/>
            </p:cNvSpPr>
            <p:nvPr/>
          </p:nvSpPr>
          <p:spPr bwMode="auto">
            <a:xfrm>
              <a:off x="2835984" y="3448260"/>
              <a:ext cx="10417" cy="12627"/>
            </a:xfrm>
            <a:custGeom>
              <a:avLst/>
              <a:gdLst>
                <a:gd name="T0" fmla="*/ 15 w 28"/>
                <a:gd name="T1" fmla="*/ 3 h 34"/>
                <a:gd name="T2" fmla="*/ 10 w 28"/>
                <a:gd name="T3" fmla="*/ 16 h 34"/>
                <a:gd name="T4" fmla="*/ 27 w 28"/>
                <a:gd name="T5" fmla="*/ 23 h 34"/>
                <a:gd name="T6" fmla="*/ 15 w 28"/>
                <a:gd name="T7" fmla="*/ 3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" h="34">
                  <a:moveTo>
                    <a:pt x="15" y="3"/>
                  </a:moveTo>
                  <a:cubicBezTo>
                    <a:pt x="15" y="3"/>
                    <a:pt x="0" y="9"/>
                    <a:pt x="10" y="16"/>
                  </a:cubicBezTo>
                  <a:cubicBezTo>
                    <a:pt x="20" y="22"/>
                    <a:pt x="26" y="34"/>
                    <a:pt x="27" y="23"/>
                  </a:cubicBezTo>
                  <a:cubicBezTo>
                    <a:pt x="28" y="12"/>
                    <a:pt x="20" y="0"/>
                    <a:pt x="15" y="3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82" name="Freeform 25139"/>
            <p:cNvSpPr>
              <a:spLocks/>
            </p:cNvSpPr>
            <p:nvPr/>
          </p:nvSpPr>
          <p:spPr bwMode="auto">
            <a:xfrm>
              <a:off x="2844822" y="3461992"/>
              <a:ext cx="14521" cy="18309"/>
            </a:xfrm>
            <a:custGeom>
              <a:avLst/>
              <a:gdLst>
                <a:gd name="T0" fmla="*/ 7 w 39"/>
                <a:gd name="T1" fmla="*/ 9 h 49"/>
                <a:gd name="T2" fmla="*/ 6 w 39"/>
                <a:gd name="T3" fmla="*/ 32 h 49"/>
                <a:gd name="T4" fmla="*/ 22 w 39"/>
                <a:gd name="T5" fmla="*/ 49 h 49"/>
                <a:gd name="T6" fmla="*/ 31 w 39"/>
                <a:gd name="T7" fmla="*/ 36 h 49"/>
                <a:gd name="T8" fmla="*/ 14 w 39"/>
                <a:gd name="T9" fmla="*/ 17 h 49"/>
                <a:gd name="T10" fmla="*/ 7 w 39"/>
                <a:gd name="T11" fmla="*/ 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9" h="49">
                  <a:moveTo>
                    <a:pt x="7" y="9"/>
                  </a:moveTo>
                  <a:cubicBezTo>
                    <a:pt x="7" y="9"/>
                    <a:pt x="0" y="25"/>
                    <a:pt x="6" y="32"/>
                  </a:cubicBezTo>
                  <a:cubicBezTo>
                    <a:pt x="11" y="40"/>
                    <a:pt x="15" y="49"/>
                    <a:pt x="22" y="49"/>
                  </a:cubicBezTo>
                  <a:cubicBezTo>
                    <a:pt x="30" y="49"/>
                    <a:pt x="39" y="47"/>
                    <a:pt x="31" y="36"/>
                  </a:cubicBezTo>
                  <a:cubicBezTo>
                    <a:pt x="23" y="25"/>
                    <a:pt x="14" y="29"/>
                    <a:pt x="14" y="17"/>
                  </a:cubicBezTo>
                  <a:cubicBezTo>
                    <a:pt x="14" y="5"/>
                    <a:pt x="10" y="0"/>
                    <a:pt x="7" y="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83" name="Freeform 25140"/>
            <p:cNvSpPr>
              <a:spLocks/>
            </p:cNvSpPr>
            <p:nvPr/>
          </p:nvSpPr>
          <p:spPr bwMode="auto">
            <a:xfrm>
              <a:off x="2846716" y="3482985"/>
              <a:ext cx="7103" cy="13416"/>
            </a:xfrm>
            <a:custGeom>
              <a:avLst/>
              <a:gdLst>
                <a:gd name="T0" fmla="*/ 7 w 19"/>
                <a:gd name="T1" fmla="*/ 13 h 36"/>
                <a:gd name="T2" fmla="*/ 5 w 19"/>
                <a:gd name="T3" fmla="*/ 30 h 36"/>
                <a:gd name="T4" fmla="*/ 19 w 19"/>
                <a:gd name="T5" fmla="*/ 26 h 36"/>
                <a:gd name="T6" fmla="*/ 7 w 19"/>
                <a:gd name="T7" fmla="*/ 13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" h="36">
                  <a:moveTo>
                    <a:pt x="7" y="13"/>
                  </a:moveTo>
                  <a:cubicBezTo>
                    <a:pt x="7" y="13"/>
                    <a:pt x="0" y="25"/>
                    <a:pt x="5" y="30"/>
                  </a:cubicBezTo>
                  <a:cubicBezTo>
                    <a:pt x="10" y="36"/>
                    <a:pt x="18" y="34"/>
                    <a:pt x="19" y="26"/>
                  </a:cubicBezTo>
                  <a:cubicBezTo>
                    <a:pt x="19" y="18"/>
                    <a:pt x="11" y="0"/>
                    <a:pt x="7" y="13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84" name="Freeform 25141"/>
            <p:cNvSpPr>
              <a:spLocks/>
            </p:cNvSpPr>
            <p:nvPr/>
          </p:nvSpPr>
          <p:spPr bwMode="auto">
            <a:xfrm>
              <a:off x="2879546" y="3504134"/>
              <a:ext cx="10102" cy="7103"/>
            </a:xfrm>
            <a:custGeom>
              <a:avLst/>
              <a:gdLst>
                <a:gd name="T0" fmla="*/ 6 w 27"/>
                <a:gd name="T1" fmla="*/ 7 h 19"/>
                <a:gd name="T2" fmla="*/ 7 w 27"/>
                <a:gd name="T3" fmla="*/ 17 h 19"/>
                <a:gd name="T4" fmla="*/ 20 w 27"/>
                <a:gd name="T5" fmla="*/ 14 h 19"/>
                <a:gd name="T6" fmla="*/ 6 w 27"/>
                <a:gd name="T7" fmla="*/ 7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7" h="19">
                  <a:moveTo>
                    <a:pt x="6" y="7"/>
                  </a:moveTo>
                  <a:cubicBezTo>
                    <a:pt x="6" y="7"/>
                    <a:pt x="0" y="15"/>
                    <a:pt x="7" y="17"/>
                  </a:cubicBezTo>
                  <a:cubicBezTo>
                    <a:pt x="13" y="19"/>
                    <a:pt x="27" y="19"/>
                    <a:pt x="20" y="14"/>
                  </a:cubicBezTo>
                  <a:cubicBezTo>
                    <a:pt x="13" y="9"/>
                    <a:pt x="9" y="0"/>
                    <a:pt x="6" y="7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85" name="Freeform 25142"/>
            <p:cNvSpPr>
              <a:spLocks/>
            </p:cNvSpPr>
            <p:nvPr/>
          </p:nvSpPr>
          <p:spPr bwMode="auto">
            <a:xfrm>
              <a:off x="2843402" y="3501608"/>
              <a:ext cx="4893" cy="11522"/>
            </a:xfrm>
            <a:custGeom>
              <a:avLst/>
              <a:gdLst>
                <a:gd name="T0" fmla="*/ 5 w 13"/>
                <a:gd name="T1" fmla="*/ 11 h 31"/>
                <a:gd name="T2" fmla="*/ 5 w 13"/>
                <a:gd name="T3" fmla="*/ 29 h 31"/>
                <a:gd name="T4" fmla="*/ 13 w 13"/>
                <a:gd name="T5" fmla="*/ 20 h 31"/>
                <a:gd name="T6" fmla="*/ 5 w 13"/>
                <a:gd name="T7" fmla="*/ 1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31">
                  <a:moveTo>
                    <a:pt x="5" y="11"/>
                  </a:moveTo>
                  <a:cubicBezTo>
                    <a:pt x="5" y="11"/>
                    <a:pt x="0" y="28"/>
                    <a:pt x="5" y="29"/>
                  </a:cubicBezTo>
                  <a:cubicBezTo>
                    <a:pt x="10" y="31"/>
                    <a:pt x="13" y="28"/>
                    <a:pt x="13" y="20"/>
                  </a:cubicBezTo>
                  <a:cubicBezTo>
                    <a:pt x="13" y="12"/>
                    <a:pt x="7" y="0"/>
                    <a:pt x="5" y="11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86" name="Freeform 25143"/>
            <p:cNvSpPr>
              <a:spLocks/>
            </p:cNvSpPr>
            <p:nvPr/>
          </p:nvSpPr>
          <p:spPr bwMode="auto">
            <a:xfrm>
              <a:off x="2832196" y="3530650"/>
              <a:ext cx="5524" cy="8997"/>
            </a:xfrm>
            <a:custGeom>
              <a:avLst/>
              <a:gdLst>
                <a:gd name="T0" fmla="*/ 2 w 15"/>
                <a:gd name="T1" fmla="*/ 6 h 24"/>
                <a:gd name="T2" fmla="*/ 7 w 15"/>
                <a:gd name="T3" fmla="*/ 24 h 24"/>
                <a:gd name="T4" fmla="*/ 2 w 15"/>
                <a:gd name="T5" fmla="*/ 6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24">
                  <a:moveTo>
                    <a:pt x="2" y="6"/>
                  </a:moveTo>
                  <a:cubicBezTo>
                    <a:pt x="2" y="6"/>
                    <a:pt x="0" y="24"/>
                    <a:pt x="7" y="24"/>
                  </a:cubicBezTo>
                  <a:cubicBezTo>
                    <a:pt x="15" y="23"/>
                    <a:pt x="8" y="0"/>
                    <a:pt x="2" y="6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87" name="Freeform 25144"/>
            <p:cNvSpPr>
              <a:spLocks/>
            </p:cNvSpPr>
            <p:nvPr/>
          </p:nvSpPr>
          <p:spPr bwMode="auto">
            <a:xfrm>
              <a:off x="2826671" y="3559692"/>
              <a:ext cx="27937" cy="27305"/>
            </a:xfrm>
            <a:custGeom>
              <a:avLst/>
              <a:gdLst>
                <a:gd name="T0" fmla="*/ 53 w 75"/>
                <a:gd name="T1" fmla="*/ 14 h 73"/>
                <a:gd name="T2" fmla="*/ 35 w 75"/>
                <a:gd name="T3" fmla="*/ 28 h 73"/>
                <a:gd name="T4" fmla="*/ 25 w 75"/>
                <a:gd name="T5" fmla="*/ 52 h 73"/>
                <a:gd name="T6" fmla="*/ 16 w 75"/>
                <a:gd name="T7" fmla="*/ 66 h 73"/>
                <a:gd name="T8" fmla="*/ 59 w 75"/>
                <a:gd name="T9" fmla="*/ 64 h 73"/>
                <a:gd name="T10" fmla="*/ 68 w 75"/>
                <a:gd name="T11" fmla="*/ 46 h 73"/>
                <a:gd name="T12" fmla="*/ 53 w 75"/>
                <a:gd name="T13" fmla="*/ 14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73">
                  <a:moveTo>
                    <a:pt x="53" y="14"/>
                  </a:moveTo>
                  <a:cubicBezTo>
                    <a:pt x="53" y="14"/>
                    <a:pt x="37" y="20"/>
                    <a:pt x="35" y="28"/>
                  </a:cubicBezTo>
                  <a:cubicBezTo>
                    <a:pt x="34" y="36"/>
                    <a:pt x="33" y="52"/>
                    <a:pt x="25" y="52"/>
                  </a:cubicBezTo>
                  <a:cubicBezTo>
                    <a:pt x="17" y="53"/>
                    <a:pt x="0" y="64"/>
                    <a:pt x="16" y="66"/>
                  </a:cubicBezTo>
                  <a:cubicBezTo>
                    <a:pt x="32" y="68"/>
                    <a:pt x="58" y="73"/>
                    <a:pt x="59" y="64"/>
                  </a:cubicBezTo>
                  <a:cubicBezTo>
                    <a:pt x="60" y="56"/>
                    <a:pt x="75" y="61"/>
                    <a:pt x="68" y="46"/>
                  </a:cubicBezTo>
                  <a:cubicBezTo>
                    <a:pt x="61" y="31"/>
                    <a:pt x="59" y="0"/>
                    <a:pt x="53" y="14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88" name="Freeform 25145"/>
            <p:cNvSpPr>
              <a:spLocks/>
            </p:cNvSpPr>
            <p:nvPr/>
          </p:nvSpPr>
          <p:spPr bwMode="auto">
            <a:xfrm>
              <a:off x="2853819" y="3551169"/>
              <a:ext cx="6313" cy="10102"/>
            </a:xfrm>
            <a:custGeom>
              <a:avLst/>
              <a:gdLst>
                <a:gd name="T0" fmla="*/ 11 w 17"/>
                <a:gd name="T1" fmla="*/ 8 h 27"/>
                <a:gd name="T2" fmla="*/ 1 w 17"/>
                <a:gd name="T3" fmla="*/ 22 h 27"/>
                <a:gd name="T4" fmla="*/ 13 w 17"/>
                <a:gd name="T5" fmla="*/ 20 h 27"/>
                <a:gd name="T6" fmla="*/ 11 w 17"/>
                <a:gd name="T7" fmla="*/ 8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" h="27">
                  <a:moveTo>
                    <a:pt x="11" y="8"/>
                  </a:moveTo>
                  <a:cubicBezTo>
                    <a:pt x="11" y="8"/>
                    <a:pt x="0" y="17"/>
                    <a:pt x="1" y="22"/>
                  </a:cubicBezTo>
                  <a:cubicBezTo>
                    <a:pt x="2" y="27"/>
                    <a:pt x="10" y="24"/>
                    <a:pt x="13" y="20"/>
                  </a:cubicBezTo>
                  <a:cubicBezTo>
                    <a:pt x="16" y="16"/>
                    <a:pt x="17" y="0"/>
                    <a:pt x="11" y="8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89" name="Freeform 25146"/>
            <p:cNvSpPr>
              <a:spLocks/>
            </p:cNvSpPr>
            <p:nvPr/>
          </p:nvSpPr>
          <p:spPr bwMode="auto">
            <a:xfrm>
              <a:off x="2530891" y="3338566"/>
              <a:ext cx="66448" cy="53032"/>
            </a:xfrm>
            <a:custGeom>
              <a:avLst/>
              <a:gdLst>
                <a:gd name="T0" fmla="*/ 160 w 178"/>
                <a:gd name="T1" fmla="*/ 123 h 142"/>
                <a:gd name="T2" fmla="*/ 168 w 178"/>
                <a:gd name="T3" fmla="*/ 98 h 142"/>
                <a:gd name="T4" fmla="*/ 169 w 178"/>
                <a:gd name="T5" fmla="*/ 67 h 142"/>
                <a:gd name="T6" fmla="*/ 175 w 178"/>
                <a:gd name="T7" fmla="*/ 42 h 142"/>
                <a:gd name="T8" fmla="*/ 167 w 178"/>
                <a:gd name="T9" fmla="*/ 23 h 142"/>
                <a:gd name="T10" fmla="*/ 152 w 178"/>
                <a:gd name="T11" fmla="*/ 28 h 142"/>
                <a:gd name="T12" fmla="*/ 127 w 178"/>
                <a:gd name="T13" fmla="*/ 15 h 142"/>
                <a:gd name="T14" fmla="*/ 92 w 178"/>
                <a:gd name="T15" fmla="*/ 8 h 142"/>
                <a:gd name="T16" fmla="*/ 77 w 178"/>
                <a:gd name="T17" fmla="*/ 16 h 142"/>
                <a:gd name="T18" fmla="*/ 70 w 178"/>
                <a:gd name="T19" fmla="*/ 32 h 142"/>
                <a:gd name="T20" fmla="*/ 89 w 178"/>
                <a:gd name="T21" fmla="*/ 41 h 142"/>
                <a:gd name="T22" fmla="*/ 108 w 178"/>
                <a:gd name="T23" fmla="*/ 50 h 142"/>
                <a:gd name="T24" fmla="*/ 112 w 178"/>
                <a:gd name="T25" fmla="*/ 74 h 142"/>
                <a:gd name="T26" fmla="*/ 110 w 178"/>
                <a:gd name="T27" fmla="*/ 110 h 142"/>
                <a:gd name="T28" fmla="*/ 77 w 178"/>
                <a:gd name="T29" fmla="*/ 103 h 142"/>
                <a:gd name="T30" fmla="*/ 54 w 178"/>
                <a:gd name="T31" fmla="*/ 86 h 142"/>
                <a:gd name="T32" fmla="*/ 26 w 178"/>
                <a:gd name="T33" fmla="*/ 80 h 142"/>
                <a:gd name="T34" fmla="*/ 20 w 178"/>
                <a:gd name="T35" fmla="*/ 102 h 142"/>
                <a:gd name="T36" fmla="*/ 4 w 178"/>
                <a:gd name="T37" fmla="*/ 116 h 142"/>
                <a:gd name="T38" fmla="*/ 19 w 178"/>
                <a:gd name="T39" fmla="*/ 127 h 142"/>
                <a:gd name="T40" fmla="*/ 44 w 178"/>
                <a:gd name="T41" fmla="*/ 134 h 142"/>
                <a:gd name="T42" fmla="*/ 72 w 178"/>
                <a:gd name="T43" fmla="*/ 129 h 142"/>
                <a:gd name="T44" fmla="*/ 162 w 178"/>
                <a:gd name="T45" fmla="*/ 133 h 142"/>
                <a:gd name="T46" fmla="*/ 160 w 178"/>
                <a:gd name="T47" fmla="*/ 123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8" h="142">
                  <a:moveTo>
                    <a:pt x="160" y="123"/>
                  </a:moveTo>
                  <a:cubicBezTo>
                    <a:pt x="158" y="118"/>
                    <a:pt x="162" y="106"/>
                    <a:pt x="168" y="98"/>
                  </a:cubicBezTo>
                  <a:cubicBezTo>
                    <a:pt x="173" y="90"/>
                    <a:pt x="172" y="74"/>
                    <a:pt x="169" y="67"/>
                  </a:cubicBezTo>
                  <a:cubicBezTo>
                    <a:pt x="167" y="59"/>
                    <a:pt x="169" y="55"/>
                    <a:pt x="175" y="42"/>
                  </a:cubicBezTo>
                  <a:cubicBezTo>
                    <a:pt x="178" y="33"/>
                    <a:pt x="172" y="27"/>
                    <a:pt x="167" y="23"/>
                  </a:cubicBezTo>
                  <a:cubicBezTo>
                    <a:pt x="165" y="28"/>
                    <a:pt x="161" y="30"/>
                    <a:pt x="152" y="28"/>
                  </a:cubicBezTo>
                  <a:cubicBezTo>
                    <a:pt x="140" y="24"/>
                    <a:pt x="135" y="21"/>
                    <a:pt x="127" y="15"/>
                  </a:cubicBezTo>
                  <a:cubicBezTo>
                    <a:pt x="120" y="10"/>
                    <a:pt x="102" y="0"/>
                    <a:pt x="92" y="8"/>
                  </a:cubicBezTo>
                  <a:cubicBezTo>
                    <a:pt x="92" y="8"/>
                    <a:pt x="89" y="14"/>
                    <a:pt x="77" y="16"/>
                  </a:cubicBezTo>
                  <a:cubicBezTo>
                    <a:pt x="64" y="18"/>
                    <a:pt x="64" y="27"/>
                    <a:pt x="70" y="32"/>
                  </a:cubicBezTo>
                  <a:cubicBezTo>
                    <a:pt x="77" y="37"/>
                    <a:pt x="82" y="41"/>
                    <a:pt x="89" y="41"/>
                  </a:cubicBezTo>
                  <a:cubicBezTo>
                    <a:pt x="96" y="41"/>
                    <a:pt x="105" y="45"/>
                    <a:pt x="108" y="50"/>
                  </a:cubicBezTo>
                  <a:cubicBezTo>
                    <a:pt x="111" y="55"/>
                    <a:pt x="113" y="65"/>
                    <a:pt x="112" y="74"/>
                  </a:cubicBezTo>
                  <a:cubicBezTo>
                    <a:pt x="112" y="83"/>
                    <a:pt x="139" y="115"/>
                    <a:pt x="110" y="110"/>
                  </a:cubicBezTo>
                  <a:cubicBezTo>
                    <a:pt x="82" y="105"/>
                    <a:pt x="82" y="113"/>
                    <a:pt x="77" y="103"/>
                  </a:cubicBezTo>
                  <a:cubicBezTo>
                    <a:pt x="72" y="94"/>
                    <a:pt x="67" y="88"/>
                    <a:pt x="54" y="86"/>
                  </a:cubicBezTo>
                  <a:cubicBezTo>
                    <a:pt x="40" y="83"/>
                    <a:pt x="29" y="70"/>
                    <a:pt x="26" y="80"/>
                  </a:cubicBezTo>
                  <a:cubicBezTo>
                    <a:pt x="24" y="89"/>
                    <a:pt x="36" y="101"/>
                    <a:pt x="20" y="102"/>
                  </a:cubicBezTo>
                  <a:cubicBezTo>
                    <a:pt x="4" y="103"/>
                    <a:pt x="0" y="108"/>
                    <a:pt x="4" y="116"/>
                  </a:cubicBezTo>
                  <a:cubicBezTo>
                    <a:pt x="8" y="124"/>
                    <a:pt x="12" y="116"/>
                    <a:pt x="19" y="127"/>
                  </a:cubicBezTo>
                  <a:cubicBezTo>
                    <a:pt x="25" y="138"/>
                    <a:pt x="36" y="142"/>
                    <a:pt x="44" y="134"/>
                  </a:cubicBezTo>
                  <a:cubicBezTo>
                    <a:pt x="52" y="126"/>
                    <a:pt x="56" y="128"/>
                    <a:pt x="72" y="129"/>
                  </a:cubicBezTo>
                  <a:cubicBezTo>
                    <a:pt x="86" y="131"/>
                    <a:pt x="145" y="125"/>
                    <a:pt x="162" y="133"/>
                  </a:cubicBezTo>
                  <a:cubicBezTo>
                    <a:pt x="163" y="129"/>
                    <a:pt x="162" y="126"/>
                    <a:pt x="160" y="123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90" name="Freeform 25147"/>
            <p:cNvSpPr>
              <a:spLocks/>
            </p:cNvSpPr>
            <p:nvPr/>
          </p:nvSpPr>
          <p:spPr bwMode="auto">
            <a:xfrm>
              <a:off x="2589763" y="3340461"/>
              <a:ext cx="87756" cy="59346"/>
            </a:xfrm>
            <a:custGeom>
              <a:avLst/>
              <a:gdLst>
                <a:gd name="T0" fmla="*/ 224 w 235"/>
                <a:gd name="T1" fmla="*/ 95 h 159"/>
                <a:gd name="T2" fmla="*/ 222 w 235"/>
                <a:gd name="T3" fmla="*/ 64 h 159"/>
                <a:gd name="T4" fmla="*/ 177 w 235"/>
                <a:gd name="T5" fmla="*/ 44 h 159"/>
                <a:gd name="T6" fmla="*/ 131 w 235"/>
                <a:gd name="T7" fmla="*/ 42 h 159"/>
                <a:gd name="T8" fmla="*/ 108 w 235"/>
                <a:gd name="T9" fmla="*/ 27 h 159"/>
                <a:gd name="T10" fmla="*/ 79 w 235"/>
                <a:gd name="T11" fmla="*/ 10 h 159"/>
                <a:gd name="T12" fmla="*/ 31 w 235"/>
                <a:gd name="T13" fmla="*/ 4 h 159"/>
                <a:gd name="T14" fmla="*/ 10 w 235"/>
                <a:gd name="T15" fmla="*/ 14 h 159"/>
                <a:gd name="T16" fmla="*/ 9 w 235"/>
                <a:gd name="T17" fmla="*/ 18 h 159"/>
                <a:gd name="T18" fmla="*/ 17 w 235"/>
                <a:gd name="T19" fmla="*/ 37 h 159"/>
                <a:gd name="T20" fmla="*/ 11 w 235"/>
                <a:gd name="T21" fmla="*/ 62 h 159"/>
                <a:gd name="T22" fmla="*/ 10 w 235"/>
                <a:gd name="T23" fmla="*/ 93 h 159"/>
                <a:gd name="T24" fmla="*/ 2 w 235"/>
                <a:gd name="T25" fmla="*/ 118 h 159"/>
                <a:gd name="T26" fmla="*/ 4 w 235"/>
                <a:gd name="T27" fmla="*/ 128 h 159"/>
                <a:gd name="T28" fmla="*/ 9 w 235"/>
                <a:gd name="T29" fmla="*/ 133 h 159"/>
                <a:gd name="T30" fmla="*/ 31 w 235"/>
                <a:gd name="T31" fmla="*/ 158 h 159"/>
                <a:gd name="T32" fmla="*/ 45 w 235"/>
                <a:gd name="T33" fmla="*/ 145 h 159"/>
                <a:gd name="T34" fmla="*/ 75 w 235"/>
                <a:gd name="T35" fmla="*/ 117 h 159"/>
                <a:gd name="T36" fmla="*/ 113 w 235"/>
                <a:gd name="T37" fmla="*/ 126 h 159"/>
                <a:gd name="T38" fmla="*/ 147 w 235"/>
                <a:gd name="T39" fmla="*/ 114 h 159"/>
                <a:gd name="T40" fmla="*/ 176 w 235"/>
                <a:gd name="T41" fmla="*/ 111 h 159"/>
                <a:gd name="T42" fmla="*/ 231 w 235"/>
                <a:gd name="T43" fmla="*/ 119 h 159"/>
                <a:gd name="T44" fmla="*/ 224 w 235"/>
                <a:gd name="T45" fmla="*/ 95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35" h="159">
                  <a:moveTo>
                    <a:pt x="224" y="95"/>
                  </a:moveTo>
                  <a:cubicBezTo>
                    <a:pt x="214" y="86"/>
                    <a:pt x="228" y="76"/>
                    <a:pt x="222" y="64"/>
                  </a:cubicBezTo>
                  <a:cubicBezTo>
                    <a:pt x="215" y="52"/>
                    <a:pt x="192" y="43"/>
                    <a:pt x="177" y="44"/>
                  </a:cubicBezTo>
                  <a:cubicBezTo>
                    <a:pt x="163" y="45"/>
                    <a:pt x="139" y="56"/>
                    <a:pt x="131" y="42"/>
                  </a:cubicBezTo>
                  <a:cubicBezTo>
                    <a:pt x="123" y="28"/>
                    <a:pt x="122" y="32"/>
                    <a:pt x="108" y="27"/>
                  </a:cubicBezTo>
                  <a:cubicBezTo>
                    <a:pt x="93" y="22"/>
                    <a:pt x="90" y="19"/>
                    <a:pt x="79" y="10"/>
                  </a:cubicBezTo>
                  <a:cubicBezTo>
                    <a:pt x="68" y="0"/>
                    <a:pt x="48" y="2"/>
                    <a:pt x="31" y="4"/>
                  </a:cubicBezTo>
                  <a:cubicBezTo>
                    <a:pt x="15" y="6"/>
                    <a:pt x="10" y="7"/>
                    <a:pt x="10" y="14"/>
                  </a:cubicBezTo>
                  <a:cubicBezTo>
                    <a:pt x="10" y="16"/>
                    <a:pt x="9" y="17"/>
                    <a:pt x="9" y="18"/>
                  </a:cubicBezTo>
                  <a:cubicBezTo>
                    <a:pt x="14" y="22"/>
                    <a:pt x="20" y="28"/>
                    <a:pt x="17" y="37"/>
                  </a:cubicBezTo>
                  <a:cubicBezTo>
                    <a:pt x="11" y="50"/>
                    <a:pt x="9" y="54"/>
                    <a:pt x="11" y="62"/>
                  </a:cubicBezTo>
                  <a:cubicBezTo>
                    <a:pt x="14" y="69"/>
                    <a:pt x="15" y="85"/>
                    <a:pt x="10" y="93"/>
                  </a:cubicBezTo>
                  <a:cubicBezTo>
                    <a:pt x="4" y="101"/>
                    <a:pt x="0" y="113"/>
                    <a:pt x="2" y="118"/>
                  </a:cubicBezTo>
                  <a:cubicBezTo>
                    <a:pt x="4" y="121"/>
                    <a:pt x="5" y="124"/>
                    <a:pt x="4" y="128"/>
                  </a:cubicBezTo>
                  <a:cubicBezTo>
                    <a:pt x="7" y="129"/>
                    <a:pt x="9" y="131"/>
                    <a:pt x="9" y="133"/>
                  </a:cubicBezTo>
                  <a:cubicBezTo>
                    <a:pt x="11" y="147"/>
                    <a:pt x="22" y="157"/>
                    <a:pt x="31" y="158"/>
                  </a:cubicBezTo>
                  <a:cubicBezTo>
                    <a:pt x="40" y="159"/>
                    <a:pt x="45" y="155"/>
                    <a:pt x="45" y="145"/>
                  </a:cubicBezTo>
                  <a:cubicBezTo>
                    <a:pt x="46" y="135"/>
                    <a:pt x="60" y="108"/>
                    <a:pt x="75" y="117"/>
                  </a:cubicBezTo>
                  <a:cubicBezTo>
                    <a:pt x="90" y="126"/>
                    <a:pt x="103" y="137"/>
                    <a:pt x="113" y="126"/>
                  </a:cubicBezTo>
                  <a:cubicBezTo>
                    <a:pt x="124" y="114"/>
                    <a:pt x="137" y="114"/>
                    <a:pt x="147" y="114"/>
                  </a:cubicBezTo>
                  <a:cubicBezTo>
                    <a:pt x="157" y="114"/>
                    <a:pt x="157" y="109"/>
                    <a:pt x="176" y="111"/>
                  </a:cubicBezTo>
                  <a:cubicBezTo>
                    <a:pt x="194" y="114"/>
                    <a:pt x="227" y="125"/>
                    <a:pt x="231" y="119"/>
                  </a:cubicBezTo>
                  <a:cubicBezTo>
                    <a:pt x="235" y="112"/>
                    <a:pt x="234" y="104"/>
                    <a:pt x="224" y="9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91" name="Freeform 25148"/>
            <p:cNvSpPr>
              <a:spLocks/>
            </p:cNvSpPr>
            <p:nvPr/>
          </p:nvSpPr>
          <p:spPr bwMode="auto">
            <a:xfrm>
              <a:off x="2180342" y="3381497"/>
              <a:ext cx="32514" cy="64870"/>
            </a:xfrm>
            <a:custGeom>
              <a:avLst/>
              <a:gdLst>
                <a:gd name="T0" fmla="*/ 30 w 87"/>
                <a:gd name="T1" fmla="*/ 170 h 174"/>
                <a:gd name="T2" fmla="*/ 27 w 87"/>
                <a:gd name="T3" fmla="*/ 164 h 174"/>
                <a:gd name="T4" fmla="*/ 37 w 87"/>
                <a:gd name="T5" fmla="*/ 147 h 174"/>
                <a:gd name="T6" fmla="*/ 56 w 87"/>
                <a:gd name="T7" fmla="*/ 126 h 174"/>
                <a:gd name="T8" fmla="*/ 66 w 87"/>
                <a:gd name="T9" fmla="*/ 103 h 174"/>
                <a:gd name="T10" fmla="*/ 68 w 87"/>
                <a:gd name="T11" fmla="*/ 39 h 174"/>
                <a:gd name="T12" fmla="*/ 87 w 87"/>
                <a:gd name="T13" fmla="*/ 26 h 174"/>
                <a:gd name="T14" fmla="*/ 74 w 87"/>
                <a:gd name="T15" fmla="*/ 14 h 174"/>
                <a:gd name="T16" fmla="*/ 63 w 87"/>
                <a:gd name="T17" fmla="*/ 3 h 174"/>
                <a:gd name="T18" fmla="*/ 38 w 87"/>
                <a:gd name="T19" fmla="*/ 21 h 174"/>
                <a:gd name="T20" fmla="*/ 16 w 87"/>
                <a:gd name="T21" fmla="*/ 34 h 174"/>
                <a:gd name="T22" fmla="*/ 1 w 87"/>
                <a:gd name="T23" fmla="*/ 45 h 174"/>
                <a:gd name="T24" fmla="*/ 1 w 87"/>
                <a:gd name="T25" fmla="*/ 45 h 174"/>
                <a:gd name="T26" fmla="*/ 0 w 87"/>
                <a:gd name="T27" fmla="*/ 171 h 174"/>
                <a:gd name="T28" fmla="*/ 30 w 87"/>
                <a:gd name="T29" fmla="*/ 170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7" h="174">
                  <a:moveTo>
                    <a:pt x="30" y="170"/>
                  </a:moveTo>
                  <a:cubicBezTo>
                    <a:pt x="28" y="168"/>
                    <a:pt x="27" y="166"/>
                    <a:pt x="27" y="164"/>
                  </a:cubicBezTo>
                  <a:cubicBezTo>
                    <a:pt x="26" y="156"/>
                    <a:pt x="27" y="152"/>
                    <a:pt x="37" y="147"/>
                  </a:cubicBezTo>
                  <a:cubicBezTo>
                    <a:pt x="48" y="141"/>
                    <a:pt x="55" y="138"/>
                    <a:pt x="56" y="126"/>
                  </a:cubicBezTo>
                  <a:cubicBezTo>
                    <a:pt x="58" y="114"/>
                    <a:pt x="68" y="122"/>
                    <a:pt x="66" y="103"/>
                  </a:cubicBezTo>
                  <a:cubicBezTo>
                    <a:pt x="64" y="84"/>
                    <a:pt x="58" y="51"/>
                    <a:pt x="68" y="39"/>
                  </a:cubicBezTo>
                  <a:cubicBezTo>
                    <a:pt x="72" y="33"/>
                    <a:pt x="80" y="30"/>
                    <a:pt x="87" y="26"/>
                  </a:cubicBezTo>
                  <a:cubicBezTo>
                    <a:pt x="80" y="24"/>
                    <a:pt x="74" y="18"/>
                    <a:pt x="74" y="14"/>
                  </a:cubicBezTo>
                  <a:cubicBezTo>
                    <a:pt x="72" y="8"/>
                    <a:pt x="70" y="5"/>
                    <a:pt x="63" y="3"/>
                  </a:cubicBezTo>
                  <a:cubicBezTo>
                    <a:pt x="56" y="0"/>
                    <a:pt x="44" y="0"/>
                    <a:pt x="38" y="21"/>
                  </a:cubicBezTo>
                  <a:cubicBezTo>
                    <a:pt x="32" y="43"/>
                    <a:pt x="27" y="38"/>
                    <a:pt x="16" y="34"/>
                  </a:cubicBezTo>
                  <a:cubicBezTo>
                    <a:pt x="4" y="31"/>
                    <a:pt x="7" y="36"/>
                    <a:pt x="1" y="45"/>
                  </a:cubicBezTo>
                  <a:cubicBezTo>
                    <a:pt x="1" y="45"/>
                    <a:pt x="1" y="45"/>
                    <a:pt x="1" y="45"/>
                  </a:cubicBezTo>
                  <a:cubicBezTo>
                    <a:pt x="0" y="171"/>
                    <a:pt x="0" y="171"/>
                    <a:pt x="0" y="171"/>
                  </a:cubicBezTo>
                  <a:cubicBezTo>
                    <a:pt x="0" y="171"/>
                    <a:pt x="16" y="174"/>
                    <a:pt x="30" y="17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92" name="Freeform 25149"/>
            <p:cNvSpPr>
              <a:spLocks/>
            </p:cNvSpPr>
            <p:nvPr/>
          </p:nvSpPr>
          <p:spPr bwMode="auto">
            <a:xfrm>
              <a:off x="2106160" y="3397123"/>
              <a:ext cx="96910" cy="99909"/>
            </a:xfrm>
            <a:custGeom>
              <a:avLst/>
              <a:gdLst>
                <a:gd name="T0" fmla="*/ 145 w 260"/>
                <a:gd name="T1" fmla="*/ 261 h 268"/>
                <a:gd name="T2" fmla="*/ 160 w 260"/>
                <a:gd name="T3" fmla="*/ 246 h 268"/>
                <a:gd name="T4" fmla="*/ 174 w 260"/>
                <a:gd name="T5" fmla="*/ 229 h 268"/>
                <a:gd name="T6" fmla="*/ 196 w 260"/>
                <a:gd name="T7" fmla="*/ 211 h 268"/>
                <a:gd name="T8" fmla="*/ 213 w 260"/>
                <a:gd name="T9" fmla="*/ 177 h 268"/>
                <a:gd name="T10" fmla="*/ 237 w 260"/>
                <a:gd name="T11" fmla="*/ 162 h 268"/>
                <a:gd name="T12" fmla="*/ 260 w 260"/>
                <a:gd name="T13" fmla="*/ 132 h 268"/>
                <a:gd name="T14" fmla="*/ 246 w 260"/>
                <a:gd name="T15" fmla="*/ 133 h 268"/>
                <a:gd name="T16" fmla="*/ 229 w 260"/>
                <a:gd name="T17" fmla="*/ 128 h 268"/>
                <a:gd name="T18" fmla="*/ 199 w 260"/>
                <a:gd name="T19" fmla="*/ 129 h 268"/>
                <a:gd name="T20" fmla="*/ 200 w 260"/>
                <a:gd name="T21" fmla="*/ 3 h 268"/>
                <a:gd name="T22" fmla="*/ 110 w 260"/>
                <a:gd name="T23" fmla="*/ 2 h 268"/>
                <a:gd name="T24" fmla="*/ 84 w 260"/>
                <a:gd name="T25" fmla="*/ 20 h 268"/>
                <a:gd name="T26" fmla="*/ 70 w 260"/>
                <a:gd name="T27" fmla="*/ 37 h 268"/>
                <a:gd name="T28" fmla="*/ 70 w 260"/>
                <a:gd name="T29" fmla="*/ 53 h 268"/>
                <a:gd name="T30" fmla="*/ 107 w 260"/>
                <a:gd name="T31" fmla="*/ 87 h 268"/>
                <a:gd name="T32" fmla="*/ 118 w 260"/>
                <a:gd name="T33" fmla="*/ 112 h 268"/>
                <a:gd name="T34" fmla="*/ 61 w 260"/>
                <a:gd name="T35" fmla="*/ 117 h 268"/>
                <a:gd name="T36" fmla="*/ 41 w 260"/>
                <a:gd name="T37" fmla="*/ 142 h 268"/>
                <a:gd name="T38" fmla="*/ 11 w 260"/>
                <a:gd name="T39" fmla="*/ 188 h 268"/>
                <a:gd name="T40" fmla="*/ 0 w 260"/>
                <a:gd name="T41" fmla="*/ 221 h 268"/>
                <a:gd name="T42" fmla="*/ 6 w 260"/>
                <a:gd name="T43" fmla="*/ 223 h 268"/>
                <a:gd name="T44" fmla="*/ 34 w 260"/>
                <a:gd name="T45" fmla="*/ 237 h 268"/>
                <a:gd name="T46" fmla="*/ 75 w 260"/>
                <a:gd name="T47" fmla="*/ 256 h 268"/>
                <a:gd name="T48" fmla="*/ 116 w 260"/>
                <a:gd name="T49" fmla="*/ 258 h 268"/>
                <a:gd name="T50" fmla="*/ 132 w 260"/>
                <a:gd name="T51" fmla="*/ 268 h 268"/>
                <a:gd name="T52" fmla="*/ 145 w 260"/>
                <a:gd name="T53" fmla="*/ 261 h 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60" h="268">
                  <a:moveTo>
                    <a:pt x="145" y="261"/>
                  </a:moveTo>
                  <a:cubicBezTo>
                    <a:pt x="160" y="261"/>
                    <a:pt x="150" y="247"/>
                    <a:pt x="160" y="246"/>
                  </a:cubicBezTo>
                  <a:cubicBezTo>
                    <a:pt x="171" y="244"/>
                    <a:pt x="171" y="237"/>
                    <a:pt x="174" y="229"/>
                  </a:cubicBezTo>
                  <a:cubicBezTo>
                    <a:pt x="178" y="221"/>
                    <a:pt x="194" y="227"/>
                    <a:pt x="196" y="211"/>
                  </a:cubicBezTo>
                  <a:cubicBezTo>
                    <a:pt x="197" y="196"/>
                    <a:pt x="197" y="181"/>
                    <a:pt x="213" y="177"/>
                  </a:cubicBezTo>
                  <a:cubicBezTo>
                    <a:pt x="230" y="173"/>
                    <a:pt x="229" y="169"/>
                    <a:pt x="237" y="162"/>
                  </a:cubicBezTo>
                  <a:cubicBezTo>
                    <a:pt x="244" y="156"/>
                    <a:pt x="255" y="148"/>
                    <a:pt x="260" y="132"/>
                  </a:cubicBezTo>
                  <a:cubicBezTo>
                    <a:pt x="255" y="133"/>
                    <a:pt x="250" y="133"/>
                    <a:pt x="246" y="133"/>
                  </a:cubicBezTo>
                  <a:cubicBezTo>
                    <a:pt x="240" y="133"/>
                    <a:pt x="233" y="131"/>
                    <a:pt x="229" y="128"/>
                  </a:cubicBezTo>
                  <a:cubicBezTo>
                    <a:pt x="215" y="132"/>
                    <a:pt x="199" y="129"/>
                    <a:pt x="199" y="129"/>
                  </a:cubicBezTo>
                  <a:cubicBezTo>
                    <a:pt x="200" y="3"/>
                    <a:pt x="200" y="3"/>
                    <a:pt x="200" y="3"/>
                  </a:cubicBezTo>
                  <a:cubicBezTo>
                    <a:pt x="194" y="12"/>
                    <a:pt x="134" y="4"/>
                    <a:pt x="110" y="2"/>
                  </a:cubicBezTo>
                  <a:cubicBezTo>
                    <a:pt x="87" y="0"/>
                    <a:pt x="84" y="10"/>
                    <a:pt x="84" y="20"/>
                  </a:cubicBezTo>
                  <a:cubicBezTo>
                    <a:pt x="84" y="29"/>
                    <a:pt x="95" y="37"/>
                    <a:pt x="70" y="37"/>
                  </a:cubicBezTo>
                  <a:cubicBezTo>
                    <a:pt x="45" y="37"/>
                    <a:pt x="56" y="43"/>
                    <a:pt x="70" y="53"/>
                  </a:cubicBezTo>
                  <a:cubicBezTo>
                    <a:pt x="84" y="62"/>
                    <a:pt x="90" y="74"/>
                    <a:pt x="107" y="87"/>
                  </a:cubicBezTo>
                  <a:cubicBezTo>
                    <a:pt x="123" y="100"/>
                    <a:pt x="118" y="99"/>
                    <a:pt x="118" y="112"/>
                  </a:cubicBezTo>
                  <a:cubicBezTo>
                    <a:pt x="118" y="125"/>
                    <a:pt x="88" y="117"/>
                    <a:pt x="61" y="117"/>
                  </a:cubicBezTo>
                  <a:cubicBezTo>
                    <a:pt x="34" y="117"/>
                    <a:pt x="41" y="131"/>
                    <a:pt x="41" y="142"/>
                  </a:cubicBezTo>
                  <a:cubicBezTo>
                    <a:pt x="41" y="152"/>
                    <a:pt x="21" y="170"/>
                    <a:pt x="11" y="188"/>
                  </a:cubicBezTo>
                  <a:cubicBezTo>
                    <a:pt x="5" y="199"/>
                    <a:pt x="2" y="212"/>
                    <a:pt x="0" y="221"/>
                  </a:cubicBezTo>
                  <a:cubicBezTo>
                    <a:pt x="2" y="222"/>
                    <a:pt x="4" y="222"/>
                    <a:pt x="6" y="223"/>
                  </a:cubicBezTo>
                  <a:cubicBezTo>
                    <a:pt x="18" y="226"/>
                    <a:pt x="17" y="218"/>
                    <a:pt x="34" y="237"/>
                  </a:cubicBezTo>
                  <a:cubicBezTo>
                    <a:pt x="52" y="257"/>
                    <a:pt x="64" y="256"/>
                    <a:pt x="75" y="256"/>
                  </a:cubicBezTo>
                  <a:cubicBezTo>
                    <a:pt x="86" y="256"/>
                    <a:pt x="98" y="252"/>
                    <a:pt x="116" y="258"/>
                  </a:cubicBezTo>
                  <a:cubicBezTo>
                    <a:pt x="123" y="260"/>
                    <a:pt x="128" y="264"/>
                    <a:pt x="132" y="268"/>
                  </a:cubicBezTo>
                  <a:cubicBezTo>
                    <a:pt x="135" y="264"/>
                    <a:pt x="139" y="261"/>
                    <a:pt x="145" y="261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93" name="Freeform 25150"/>
            <p:cNvSpPr>
              <a:spLocks/>
            </p:cNvSpPr>
            <p:nvPr/>
          </p:nvSpPr>
          <p:spPr bwMode="auto">
            <a:xfrm>
              <a:off x="2155404" y="3479196"/>
              <a:ext cx="60766" cy="33934"/>
            </a:xfrm>
            <a:custGeom>
              <a:avLst/>
              <a:gdLst>
                <a:gd name="T0" fmla="*/ 116 w 163"/>
                <a:gd name="T1" fmla="*/ 38 h 91"/>
                <a:gd name="T2" fmla="*/ 80 w 163"/>
                <a:gd name="T3" fmla="*/ 18 h 91"/>
                <a:gd name="T4" fmla="*/ 60 w 163"/>
                <a:gd name="T5" fmla="*/ 0 h 91"/>
                <a:gd name="T6" fmla="*/ 42 w 163"/>
                <a:gd name="T7" fmla="*/ 9 h 91"/>
                <a:gd name="T8" fmla="*/ 28 w 163"/>
                <a:gd name="T9" fmla="*/ 26 h 91"/>
                <a:gd name="T10" fmla="*/ 13 w 163"/>
                <a:gd name="T11" fmla="*/ 41 h 91"/>
                <a:gd name="T12" fmla="*/ 0 w 163"/>
                <a:gd name="T13" fmla="*/ 48 h 91"/>
                <a:gd name="T14" fmla="*/ 26 w 163"/>
                <a:gd name="T15" fmla="*/ 63 h 91"/>
                <a:gd name="T16" fmla="*/ 75 w 163"/>
                <a:gd name="T17" fmla="*/ 76 h 91"/>
                <a:gd name="T18" fmla="*/ 138 w 163"/>
                <a:gd name="T19" fmla="*/ 87 h 91"/>
                <a:gd name="T20" fmla="*/ 159 w 163"/>
                <a:gd name="T21" fmla="*/ 77 h 91"/>
                <a:gd name="T22" fmla="*/ 163 w 163"/>
                <a:gd name="T23" fmla="*/ 70 h 91"/>
                <a:gd name="T24" fmla="*/ 159 w 163"/>
                <a:gd name="T25" fmla="*/ 45 h 91"/>
                <a:gd name="T26" fmla="*/ 116 w 163"/>
                <a:gd name="T27" fmla="*/ 38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3" h="91">
                  <a:moveTo>
                    <a:pt x="116" y="38"/>
                  </a:moveTo>
                  <a:cubicBezTo>
                    <a:pt x="100" y="37"/>
                    <a:pt x="89" y="23"/>
                    <a:pt x="80" y="18"/>
                  </a:cubicBezTo>
                  <a:cubicBezTo>
                    <a:pt x="74" y="15"/>
                    <a:pt x="66" y="6"/>
                    <a:pt x="60" y="0"/>
                  </a:cubicBezTo>
                  <a:cubicBezTo>
                    <a:pt x="55" y="5"/>
                    <a:pt x="45" y="3"/>
                    <a:pt x="42" y="9"/>
                  </a:cubicBezTo>
                  <a:cubicBezTo>
                    <a:pt x="39" y="17"/>
                    <a:pt x="39" y="24"/>
                    <a:pt x="28" y="26"/>
                  </a:cubicBezTo>
                  <a:cubicBezTo>
                    <a:pt x="18" y="27"/>
                    <a:pt x="28" y="41"/>
                    <a:pt x="13" y="41"/>
                  </a:cubicBezTo>
                  <a:cubicBezTo>
                    <a:pt x="7" y="41"/>
                    <a:pt x="3" y="44"/>
                    <a:pt x="0" y="48"/>
                  </a:cubicBezTo>
                  <a:cubicBezTo>
                    <a:pt x="7" y="53"/>
                    <a:pt x="13" y="59"/>
                    <a:pt x="26" y="63"/>
                  </a:cubicBezTo>
                  <a:cubicBezTo>
                    <a:pt x="49" y="68"/>
                    <a:pt x="60" y="67"/>
                    <a:pt x="75" y="76"/>
                  </a:cubicBezTo>
                  <a:cubicBezTo>
                    <a:pt x="89" y="85"/>
                    <a:pt x="120" y="91"/>
                    <a:pt x="138" y="87"/>
                  </a:cubicBezTo>
                  <a:cubicBezTo>
                    <a:pt x="157" y="84"/>
                    <a:pt x="155" y="82"/>
                    <a:pt x="159" y="77"/>
                  </a:cubicBezTo>
                  <a:cubicBezTo>
                    <a:pt x="161" y="73"/>
                    <a:pt x="161" y="71"/>
                    <a:pt x="163" y="70"/>
                  </a:cubicBezTo>
                  <a:cubicBezTo>
                    <a:pt x="161" y="63"/>
                    <a:pt x="161" y="53"/>
                    <a:pt x="159" y="45"/>
                  </a:cubicBezTo>
                  <a:cubicBezTo>
                    <a:pt x="157" y="36"/>
                    <a:pt x="131" y="38"/>
                    <a:pt x="116" y="38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94" name="Freeform 25151"/>
            <p:cNvSpPr>
              <a:spLocks/>
            </p:cNvSpPr>
            <p:nvPr/>
          </p:nvSpPr>
          <p:spPr bwMode="auto">
            <a:xfrm>
              <a:off x="2177816" y="3441948"/>
              <a:ext cx="148048" cy="74498"/>
            </a:xfrm>
            <a:custGeom>
              <a:avLst/>
              <a:gdLst>
                <a:gd name="T0" fmla="*/ 129 w 397"/>
                <a:gd name="T1" fmla="*/ 198 h 200"/>
                <a:gd name="T2" fmla="*/ 148 w 397"/>
                <a:gd name="T3" fmla="*/ 192 h 200"/>
                <a:gd name="T4" fmla="*/ 165 w 397"/>
                <a:gd name="T5" fmla="*/ 171 h 200"/>
                <a:gd name="T6" fmla="*/ 177 w 397"/>
                <a:gd name="T7" fmla="*/ 148 h 200"/>
                <a:gd name="T8" fmla="*/ 197 w 397"/>
                <a:gd name="T9" fmla="*/ 137 h 200"/>
                <a:gd name="T10" fmla="*/ 213 w 397"/>
                <a:gd name="T11" fmla="*/ 136 h 200"/>
                <a:gd name="T12" fmla="*/ 231 w 397"/>
                <a:gd name="T13" fmla="*/ 140 h 200"/>
                <a:gd name="T14" fmla="*/ 249 w 397"/>
                <a:gd name="T15" fmla="*/ 122 h 200"/>
                <a:gd name="T16" fmla="*/ 265 w 397"/>
                <a:gd name="T17" fmla="*/ 100 h 200"/>
                <a:gd name="T18" fmla="*/ 282 w 397"/>
                <a:gd name="T19" fmla="*/ 78 h 200"/>
                <a:gd name="T20" fmla="*/ 298 w 397"/>
                <a:gd name="T21" fmla="*/ 84 h 200"/>
                <a:gd name="T22" fmla="*/ 304 w 397"/>
                <a:gd name="T23" fmla="*/ 96 h 200"/>
                <a:gd name="T24" fmla="*/ 325 w 397"/>
                <a:gd name="T25" fmla="*/ 84 h 200"/>
                <a:gd name="T26" fmla="*/ 351 w 397"/>
                <a:gd name="T27" fmla="*/ 80 h 200"/>
                <a:gd name="T28" fmla="*/ 370 w 397"/>
                <a:gd name="T29" fmla="*/ 72 h 200"/>
                <a:gd name="T30" fmla="*/ 396 w 397"/>
                <a:gd name="T31" fmla="*/ 65 h 200"/>
                <a:gd name="T32" fmla="*/ 395 w 397"/>
                <a:gd name="T33" fmla="*/ 55 h 200"/>
                <a:gd name="T34" fmla="*/ 359 w 397"/>
                <a:gd name="T35" fmla="*/ 36 h 200"/>
                <a:gd name="T36" fmla="*/ 301 w 397"/>
                <a:gd name="T37" fmla="*/ 4 h 200"/>
                <a:gd name="T38" fmla="*/ 259 w 397"/>
                <a:gd name="T39" fmla="*/ 3 h 200"/>
                <a:gd name="T40" fmla="*/ 200 w 397"/>
                <a:gd name="T41" fmla="*/ 6 h 200"/>
                <a:gd name="T42" fmla="*/ 161 w 397"/>
                <a:gd name="T43" fmla="*/ 10 h 200"/>
                <a:gd name="T44" fmla="*/ 119 w 397"/>
                <a:gd name="T45" fmla="*/ 9 h 200"/>
                <a:gd name="T46" fmla="*/ 87 w 397"/>
                <a:gd name="T47" fmla="*/ 7 h 200"/>
                <a:gd name="T48" fmla="*/ 68 w 397"/>
                <a:gd name="T49" fmla="*/ 12 h 200"/>
                <a:gd name="T50" fmla="*/ 45 w 397"/>
                <a:gd name="T51" fmla="*/ 42 h 200"/>
                <a:gd name="T52" fmla="*/ 21 w 397"/>
                <a:gd name="T53" fmla="*/ 57 h 200"/>
                <a:gd name="T54" fmla="*/ 4 w 397"/>
                <a:gd name="T55" fmla="*/ 91 h 200"/>
                <a:gd name="T56" fmla="*/ 0 w 397"/>
                <a:gd name="T57" fmla="*/ 100 h 200"/>
                <a:gd name="T58" fmla="*/ 20 w 397"/>
                <a:gd name="T59" fmla="*/ 118 h 200"/>
                <a:gd name="T60" fmla="*/ 56 w 397"/>
                <a:gd name="T61" fmla="*/ 138 h 200"/>
                <a:gd name="T62" fmla="*/ 99 w 397"/>
                <a:gd name="T63" fmla="*/ 145 h 200"/>
                <a:gd name="T64" fmla="*/ 103 w 397"/>
                <a:gd name="T65" fmla="*/ 170 h 200"/>
                <a:gd name="T66" fmla="*/ 109 w 397"/>
                <a:gd name="T67" fmla="*/ 171 h 200"/>
                <a:gd name="T68" fmla="*/ 121 w 397"/>
                <a:gd name="T69" fmla="*/ 189 h 200"/>
                <a:gd name="T70" fmla="*/ 105 w 397"/>
                <a:gd name="T71" fmla="*/ 199 h 200"/>
                <a:gd name="T72" fmla="*/ 129 w 397"/>
                <a:gd name="T73" fmla="*/ 198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97" h="200">
                  <a:moveTo>
                    <a:pt x="129" y="198"/>
                  </a:moveTo>
                  <a:cubicBezTo>
                    <a:pt x="140" y="198"/>
                    <a:pt x="144" y="200"/>
                    <a:pt x="148" y="192"/>
                  </a:cubicBezTo>
                  <a:cubicBezTo>
                    <a:pt x="153" y="183"/>
                    <a:pt x="165" y="185"/>
                    <a:pt x="165" y="171"/>
                  </a:cubicBezTo>
                  <a:cubicBezTo>
                    <a:pt x="165" y="157"/>
                    <a:pt x="166" y="148"/>
                    <a:pt x="177" y="148"/>
                  </a:cubicBezTo>
                  <a:cubicBezTo>
                    <a:pt x="188" y="148"/>
                    <a:pt x="194" y="141"/>
                    <a:pt x="197" y="137"/>
                  </a:cubicBezTo>
                  <a:cubicBezTo>
                    <a:pt x="200" y="133"/>
                    <a:pt x="209" y="129"/>
                    <a:pt x="213" y="136"/>
                  </a:cubicBezTo>
                  <a:cubicBezTo>
                    <a:pt x="217" y="144"/>
                    <a:pt x="225" y="148"/>
                    <a:pt x="231" y="140"/>
                  </a:cubicBezTo>
                  <a:cubicBezTo>
                    <a:pt x="237" y="133"/>
                    <a:pt x="241" y="124"/>
                    <a:pt x="249" y="122"/>
                  </a:cubicBezTo>
                  <a:cubicBezTo>
                    <a:pt x="257" y="120"/>
                    <a:pt x="262" y="106"/>
                    <a:pt x="265" y="100"/>
                  </a:cubicBezTo>
                  <a:cubicBezTo>
                    <a:pt x="268" y="93"/>
                    <a:pt x="273" y="78"/>
                    <a:pt x="282" y="78"/>
                  </a:cubicBezTo>
                  <a:cubicBezTo>
                    <a:pt x="292" y="78"/>
                    <a:pt x="296" y="75"/>
                    <a:pt x="298" y="84"/>
                  </a:cubicBezTo>
                  <a:cubicBezTo>
                    <a:pt x="300" y="94"/>
                    <a:pt x="296" y="97"/>
                    <a:pt x="304" y="96"/>
                  </a:cubicBezTo>
                  <a:cubicBezTo>
                    <a:pt x="311" y="96"/>
                    <a:pt x="315" y="84"/>
                    <a:pt x="325" y="84"/>
                  </a:cubicBezTo>
                  <a:cubicBezTo>
                    <a:pt x="335" y="84"/>
                    <a:pt x="340" y="86"/>
                    <a:pt x="351" y="80"/>
                  </a:cubicBezTo>
                  <a:cubicBezTo>
                    <a:pt x="362" y="73"/>
                    <a:pt x="362" y="72"/>
                    <a:pt x="370" y="72"/>
                  </a:cubicBezTo>
                  <a:cubicBezTo>
                    <a:pt x="378" y="71"/>
                    <a:pt x="383" y="66"/>
                    <a:pt x="396" y="65"/>
                  </a:cubicBezTo>
                  <a:cubicBezTo>
                    <a:pt x="397" y="62"/>
                    <a:pt x="397" y="60"/>
                    <a:pt x="395" y="55"/>
                  </a:cubicBezTo>
                  <a:cubicBezTo>
                    <a:pt x="391" y="44"/>
                    <a:pt x="374" y="51"/>
                    <a:pt x="359" y="36"/>
                  </a:cubicBezTo>
                  <a:cubicBezTo>
                    <a:pt x="345" y="22"/>
                    <a:pt x="318" y="4"/>
                    <a:pt x="301" y="4"/>
                  </a:cubicBezTo>
                  <a:cubicBezTo>
                    <a:pt x="285" y="4"/>
                    <a:pt x="277" y="0"/>
                    <a:pt x="259" y="3"/>
                  </a:cubicBezTo>
                  <a:cubicBezTo>
                    <a:pt x="241" y="6"/>
                    <a:pt x="223" y="6"/>
                    <a:pt x="200" y="6"/>
                  </a:cubicBezTo>
                  <a:cubicBezTo>
                    <a:pt x="177" y="6"/>
                    <a:pt x="177" y="5"/>
                    <a:pt x="161" y="10"/>
                  </a:cubicBezTo>
                  <a:cubicBezTo>
                    <a:pt x="145" y="16"/>
                    <a:pt x="132" y="13"/>
                    <a:pt x="119" y="9"/>
                  </a:cubicBezTo>
                  <a:cubicBezTo>
                    <a:pt x="106" y="5"/>
                    <a:pt x="98" y="2"/>
                    <a:pt x="87" y="7"/>
                  </a:cubicBezTo>
                  <a:cubicBezTo>
                    <a:pt x="81" y="9"/>
                    <a:pt x="74" y="11"/>
                    <a:pt x="68" y="12"/>
                  </a:cubicBezTo>
                  <a:cubicBezTo>
                    <a:pt x="63" y="28"/>
                    <a:pt x="52" y="36"/>
                    <a:pt x="45" y="42"/>
                  </a:cubicBezTo>
                  <a:cubicBezTo>
                    <a:pt x="37" y="49"/>
                    <a:pt x="38" y="53"/>
                    <a:pt x="21" y="57"/>
                  </a:cubicBezTo>
                  <a:cubicBezTo>
                    <a:pt x="5" y="61"/>
                    <a:pt x="5" y="76"/>
                    <a:pt x="4" y="91"/>
                  </a:cubicBezTo>
                  <a:cubicBezTo>
                    <a:pt x="3" y="95"/>
                    <a:pt x="2" y="98"/>
                    <a:pt x="0" y="100"/>
                  </a:cubicBezTo>
                  <a:cubicBezTo>
                    <a:pt x="6" y="106"/>
                    <a:pt x="14" y="115"/>
                    <a:pt x="20" y="118"/>
                  </a:cubicBezTo>
                  <a:cubicBezTo>
                    <a:pt x="29" y="123"/>
                    <a:pt x="40" y="137"/>
                    <a:pt x="56" y="138"/>
                  </a:cubicBezTo>
                  <a:cubicBezTo>
                    <a:pt x="71" y="138"/>
                    <a:pt x="97" y="136"/>
                    <a:pt x="99" y="145"/>
                  </a:cubicBezTo>
                  <a:cubicBezTo>
                    <a:pt x="101" y="153"/>
                    <a:pt x="101" y="163"/>
                    <a:pt x="103" y="170"/>
                  </a:cubicBezTo>
                  <a:cubicBezTo>
                    <a:pt x="105" y="170"/>
                    <a:pt x="106" y="170"/>
                    <a:pt x="109" y="171"/>
                  </a:cubicBezTo>
                  <a:cubicBezTo>
                    <a:pt x="117" y="172"/>
                    <a:pt x="133" y="188"/>
                    <a:pt x="121" y="189"/>
                  </a:cubicBezTo>
                  <a:cubicBezTo>
                    <a:pt x="112" y="190"/>
                    <a:pt x="106" y="194"/>
                    <a:pt x="105" y="199"/>
                  </a:cubicBezTo>
                  <a:cubicBezTo>
                    <a:pt x="112" y="198"/>
                    <a:pt x="122" y="197"/>
                    <a:pt x="129" y="198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95" name="Freeform 25152"/>
            <p:cNvSpPr>
              <a:spLocks/>
            </p:cNvSpPr>
            <p:nvPr/>
          </p:nvSpPr>
          <p:spPr bwMode="auto">
            <a:xfrm>
              <a:off x="2216959" y="3466096"/>
              <a:ext cx="108432" cy="105591"/>
            </a:xfrm>
            <a:custGeom>
              <a:avLst/>
              <a:gdLst>
                <a:gd name="T0" fmla="*/ 135 w 291"/>
                <a:gd name="T1" fmla="*/ 253 h 283"/>
                <a:gd name="T2" fmla="*/ 162 w 291"/>
                <a:gd name="T3" fmla="*/ 259 h 283"/>
                <a:gd name="T4" fmla="*/ 209 w 291"/>
                <a:gd name="T5" fmla="*/ 263 h 283"/>
                <a:gd name="T6" fmla="*/ 229 w 291"/>
                <a:gd name="T7" fmla="*/ 280 h 283"/>
                <a:gd name="T8" fmla="*/ 246 w 291"/>
                <a:gd name="T9" fmla="*/ 273 h 283"/>
                <a:gd name="T10" fmla="*/ 257 w 291"/>
                <a:gd name="T11" fmla="*/ 264 h 283"/>
                <a:gd name="T12" fmla="*/ 255 w 291"/>
                <a:gd name="T13" fmla="*/ 252 h 283"/>
                <a:gd name="T14" fmla="*/ 253 w 291"/>
                <a:gd name="T15" fmla="*/ 234 h 283"/>
                <a:gd name="T16" fmla="*/ 258 w 291"/>
                <a:gd name="T17" fmla="*/ 209 h 283"/>
                <a:gd name="T18" fmla="*/ 262 w 291"/>
                <a:gd name="T19" fmla="*/ 177 h 283"/>
                <a:gd name="T20" fmla="*/ 275 w 291"/>
                <a:gd name="T21" fmla="*/ 141 h 283"/>
                <a:gd name="T22" fmla="*/ 267 w 291"/>
                <a:gd name="T23" fmla="*/ 104 h 283"/>
                <a:gd name="T24" fmla="*/ 276 w 291"/>
                <a:gd name="T25" fmla="*/ 74 h 283"/>
                <a:gd name="T26" fmla="*/ 288 w 291"/>
                <a:gd name="T27" fmla="*/ 45 h 283"/>
                <a:gd name="T28" fmla="*/ 282 w 291"/>
                <a:gd name="T29" fmla="*/ 15 h 283"/>
                <a:gd name="T30" fmla="*/ 291 w 291"/>
                <a:gd name="T31" fmla="*/ 0 h 283"/>
                <a:gd name="T32" fmla="*/ 265 w 291"/>
                <a:gd name="T33" fmla="*/ 7 h 283"/>
                <a:gd name="T34" fmla="*/ 246 w 291"/>
                <a:gd name="T35" fmla="*/ 15 h 283"/>
                <a:gd name="T36" fmla="*/ 220 w 291"/>
                <a:gd name="T37" fmla="*/ 19 h 283"/>
                <a:gd name="T38" fmla="*/ 199 w 291"/>
                <a:gd name="T39" fmla="*/ 31 h 283"/>
                <a:gd name="T40" fmla="*/ 193 w 291"/>
                <a:gd name="T41" fmla="*/ 19 h 283"/>
                <a:gd name="T42" fmla="*/ 177 w 291"/>
                <a:gd name="T43" fmla="*/ 13 h 283"/>
                <a:gd name="T44" fmla="*/ 160 w 291"/>
                <a:gd name="T45" fmla="*/ 35 h 283"/>
                <a:gd name="T46" fmla="*/ 144 w 291"/>
                <a:gd name="T47" fmla="*/ 57 h 283"/>
                <a:gd name="T48" fmla="*/ 126 w 291"/>
                <a:gd name="T49" fmla="*/ 75 h 283"/>
                <a:gd name="T50" fmla="*/ 108 w 291"/>
                <a:gd name="T51" fmla="*/ 71 h 283"/>
                <a:gd name="T52" fmla="*/ 92 w 291"/>
                <a:gd name="T53" fmla="*/ 72 h 283"/>
                <a:gd name="T54" fmla="*/ 72 w 291"/>
                <a:gd name="T55" fmla="*/ 83 h 283"/>
                <a:gd name="T56" fmla="*/ 60 w 291"/>
                <a:gd name="T57" fmla="*/ 106 h 283"/>
                <a:gd name="T58" fmla="*/ 43 w 291"/>
                <a:gd name="T59" fmla="*/ 127 h 283"/>
                <a:gd name="T60" fmla="*/ 24 w 291"/>
                <a:gd name="T61" fmla="*/ 133 h 283"/>
                <a:gd name="T62" fmla="*/ 0 w 291"/>
                <a:gd name="T63" fmla="*/ 134 h 283"/>
                <a:gd name="T64" fmla="*/ 5 w 291"/>
                <a:gd name="T65" fmla="*/ 142 h 283"/>
                <a:gd name="T66" fmla="*/ 22 w 291"/>
                <a:gd name="T67" fmla="*/ 162 h 283"/>
                <a:gd name="T68" fmla="*/ 50 w 291"/>
                <a:gd name="T69" fmla="*/ 180 h 283"/>
                <a:gd name="T70" fmla="*/ 80 w 291"/>
                <a:gd name="T71" fmla="*/ 214 h 283"/>
                <a:gd name="T72" fmla="*/ 119 w 291"/>
                <a:gd name="T73" fmla="*/ 248 h 283"/>
                <a:gd name="T74" fmla="*/ 119 w 291"/>
                <a:gd name="T75" fmla="*/ 248 h 283"/>
                <a:gd name="T76" fmla="*/ 135 w 291"/>
                <a:gd name="T77" fmla="*/ 253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1" h="283">
                  <a:moveTo>
                    <a:pt x="135" y="253"/>
                  </a:moveTo>
                  <a:cubicBezTo>
                    <a:pt x="149" y="265"/>
                    <a:pt x="152" y="259"/>
                    <a:pt x="162" y="259"/>
                  </a:cubicBezTo>
                  <a:cubicBezTo>
                    <a:pt x="172" y="259"/>
                    <a:pt x="203" y="253"/>
                    <a:pt x="209" y="263"/>
                  </a:cubicBezTo>
                  <a:cubicBezTo>
                    <a:pt x="215" y="272"/>
                    <a:pt x="214" y="277"/>
                    <a:pt x="229" y="280"/>
                  </a:cubicBezTo>
                  <a:cubicBezTo>
                    <a:pt x="245" y="283"/>
                    <a:pt x="243" y="281"/>
                    <a:pt x="246" y="273"/>
                  </a:cubicBezTo>
                  <a:cubicBezTo>
                    <a:pt x="248" y="269"/>
                    <a:pt x="252" y="266"/>
                    <a:pt x="257" y="264"/>
                  </a:cubicBezTo>
                  <a:cubicBezTo>
                    <a:pt x="257" y="260"/>
                    <a:pt x="258" y="256"/>
                    <a:pt x="255" y="252"/>
                  </a:cubicBezTo>
                  <a:cubicBezTo>
                    <a:pt x="251" y="244"/>
                    <a:pt x="247" y="242"/>
                    <a:pt x="253" y="234"/>
                  </a:cubicBezTo>
                  <a:cubicBezTo>
                    <a:pt x="258" y="225"/>
                    <a:pt x="262" y="221"/>
                    <a:pt x="258" y="209"/>
                  </a:cubicBezTo>
                  <a:cubicBezTo>
                    <a:pt x="253" y="196"/>
                    <a:pt x="256" y="185"/>
                    <a:pt x="262" y="177"/>
                  </a:cubicBezTo>
                  <a:cubicBezTo>
                    <a:pt x="269" y="169"/>
                    <a:pt x="280" y="157"/>
                    <a:pt x="275" y="141"/>
                  </a:cubicBezTo>
                  <a:cubicBezTo>
                    <a:pt x="271" y="126"/>
                    <a:pt x="260" y="114"/>
                    <a:pt x="267" y="104"/>
                  </a:cubicBezTo>
                  <a:cubicBezTo>
                    <a:pt x="274" y="94"/>
                    <a:pt x="274" y="85"/>
                    <a:pt x="276" y="74"/>
                  </a:cubicBezTo>
                  <a:cubicBezTo>
                    <a:pt x="278" y="63"/>
                    <a:pt x="289" y="62"/>
                    <a:pt x="288" y="45"/>
                  </a:cubicBezTo>
                  <a:cubicBezTo>
                    <a:pt x="288" y="29"/>
                    <a:pt x="277" y="27"/>
                    <a:pt x="282" y="15"/>
                  </a:cubicBezTo>
                  <a:cubicBezTo>
                    <a:pt x="285" y="7"/>
                    <a:pt x="289" y="4"/>
                    <a:pt x="291" y="0"/>
                  </a:cubicBezTo>
                  <a:cubicBezTo>
                    <a:pt x="278" y="1"/>
                    <a:pt x="273" y="6"/>
                    <a:pt x="265" y="7"/>
                  </a:cubicBezTo>
                  <a:cubicBezTo>
                    <a:pt x="257" y="7"/>
                    <a:pt x="257" y="8"/>
                    <a:pt x="246" y="15"/>
                  </a:cubicBezTo>
                  <a:cubicBezTo>
                    <a:pt x="235" y="21"/>
                    <a:pt x="230" y="19"/>
                    <a:pt x="220" y="19"/>
                  </a:cubicBezTo>
                  <a:cubicBezTo>
                    <a:pt x="210" y="19"/>
                    <a:pt x="206" y="31"/>
                    <a:pt x="199" y="31"/>
                  </a:cubicBezTo>
                  <a:cubicBezTo>
                    <a:pt x="191" y="32"/>
                    <a:pt x="195" y="29"/>
                    <a:pt x="193" y="19"/>
                  </a:cubicBezTo>
                  <a:cubicBezTo>
                    <a:pt x="191" y="10"/>
                    <a:pt x="187" y="13"/>
                    <a:pt x="177" y="13"/>
                  </a:cubicBezTo>
                  <a:cubicBezTo>
                    <a:pt x="168" y="13"/>
                    <a:pt x="163" y="28"/>
                    <a:pt x="160" y="35"/>
                  </a:cubicBezTo>
                  <a:cubicBezTo>
                    <a:pt x="157" y="41"/>
                    <a:pt x="152" y="55"/>
                    <a:pt x="144" y="57"/>
                  </a:cubicBezTo>
                  <a:cubicBezTo>
                    <a:pt x="136" y="59"/>
                    <a:pt x="132" y="68"/>
                    <a:pt x="126" y="75"/>
                  </a:cubicBezTo>
                  <a:cubicBezTo>
                    <a:pt x="120" y="83"/>
                    <a:pt x="112" y="79"/>
                    <a:pt x="108" y="71"/>
                  </a:cubicBezTo>
                  <a:cubicBezTo>
                    <a:pt x="104" y="64"/>
                    <a:pt x="95" y="68"/>
                    <a:pt x="92" y="72"/>
                  </a:cubicBezTo>
                  <a:cubicBezTo>
                    <a:pt x="89" y="76"/>
                    <a:pt x="83" y="83"/>
                    <a:pt x="72" y="83"/>
                  </a:cubicBezTo>
                  <a:cubicBezTo>
                    <a:pt x="61" y="83"/>
                    <a:pt x="60" y="92"/>
                    <a:pt x="60" y="106"/>
                  </a:cubicBezTo>
                  <a:cubicBezTo>
                    <a:pt x="60" y="120"/>
                    <a:pt x="48" y="118"/>
                    <a:pt x="43" y="127"/>
                  </a:cubicBezTo>
                  <a:cubicBezTo>
                    <a:pt x="39" y="135"/>
                    <a:pt x="35" y="133"/>
                    <a:pt x="24" y="133"/>
                  </a:cubicBezTo>
                  <a:cubicBezTo>
                    <a:pt x="17" y="132"/>
                    <a:pt x="7" y="133"/>
                    <a:pt x="0" y="134"/>
                  </a:cubicBezTo>
                  <a:cubicBezTo>
                    <a:pt x="0" y="137"/>
                    <a:pt x="2" y="140"/>
                    <a:pt x="5" y="142"/>
                  </a:cubicBezTo>
                  <a:cubicBezTo>
                    <a:pt x="15" y="150"/>
                    <a:pt x="8" y="159"/>
                    <a:pt x="22" y="162"/>
                  </a:cubicBezTo>
                  <a:cubicBezTo>
                    <a:pt x="37" y="164"/>
                    <a:pt x="44" y="167"/>
                    <a:pt x="50" y="180"/>
                  </a:cubicBezTo>
                  <a:cubicBezTo>
                    <a:pt x="56" y="192"/>
                    <a:pt x="68" y="206"/>
                    <a:pt x="80" y="214"/>
                  </a:cubicBezTo>
                  <a:cubicBezTo>
                    <a:pt x="91" y="222"/>
                    <a:pt x="117" y="239"/>
                    <a:pt x="119" y="248"/>
                  </a:cubicBezTo>
                  <a:cubicBezTo>
                    <a:pt x="119" y="248"/>
                    <a:pt x="119" y="248"/>
                    <a:pt x="119" y="248"/>
                  </a:cubicBezTo>
                  <a:cubicBezTo>
                    <a:pt x="124" y="247"/>
                    <a:pt x="129" y="248"/>
                    <a:pt x="135" y="253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96" name="Freeform 25154"/>
            <p:cNvSpPr>
              <a:spLocks/>
            </p:cNvSpPr>
            <p:nvPr/>
          </p:nvSpPr>
          <p:spPr bwMode="auto">
            <a:xfrm>
              <a:off x="2257996" y="3558272"/>
              <a:ext cx="78602" cy="72762"/>
            </a:xfrm>
            <a:custGeom>
              <a:avLst/>
              <a:gdLst>
                <a:gd name="T0" fmla="*/ 198 w 211"/>
                <a:gd name="T1" fmla="*/ 172 h 195"/>
                <a:gd name="T2" fmla="*/ 203 w 211"/>
                <a:gd name="T3" fmla="*/ 157 h 195"/>
                <a:gd name="T4" fmla="*/ 199 w 211"/>
                <a:gd name="T5" fmla="*/ 145 h 195"/>
                <a:gd name="T6" fmla="*/ 192 w 211"/>
                <a:gd name="T7" fmla="*/ 128 h 195"/>
                <a:gd name="T8" fmla="*/ 199 w 211"/>
                <a:gd name="T9" fmla="*/ 106 h 195"/>
                <a:gd name="T10" fmla="*/ 208 w 211"/>
                <a:gd name="T11" fmla="*/ 90 h 195"/>
                <a:gd name="T12" fmla="*/ 172 w 211"/>
                <a:gd name="T13" fmla="*/ 59 h 195"/>
                <a:gd name="T14" fmla="*/ 158 w 211"/>
                <a:gd name="T15" fmla="*/ 33 h 195"/>
                <a:gd name="T16" fmla="*/ 147 w 211"/>
                <a:gd name="T17" fmla="*/ 17 h 195"/>
                <a:gd name="T18" fmla="*/ 136 w 211"/>
                <a:gd name="T19" fmla="*/ 26 h 195"/>
                <a:gd name="T20" fmla="*/ 119 w 211"/>
                <a:gd name="T21" fmla="*/ 33 h 195"/>
                <a:gd name="T22" fmla="*/ 99 w 211"/>
                <a:gd name="T23" fmla="*/ 16 h 195"/>
                <a:gd name="T24" fmla="*/ 52 w 211"/>
                <a:gd name="T25" fmla="*/ 12 h 195"/>
                <a:gd name="T26" fmla="*/ 25 w 211"/>
                <a:gd name="T27" fmla="*/ 6 h 195"/>
                <a:gd name="T28" fmla="*/ 9 w 211"/>
                <a:gd name="T29" fmla="*/ 1 h 195"/>
                <a:gd name="T30" fmla="*/ 11 w 211"/>
                <a:gd name="T31" fmla="*/ 27 h 195"/>
                <a:gd name="T32" fmla="*/ 9 w 211"/>
                <a:gd name="T33" fmla="*/ 44 h 195"/>
                <a:gd name="T34" fmla="*/ 10 w 211"/>
                <a:gd name="T35" fmla="*/ 72 h 195"/>
                <a:gd name="T36" fmla="*/ 37 w 211"/>
                <a:gd name="T37" fmla="*/ 91 h 195"/>
                <a:gd name="T38" fmla="*/ 64 w 211"/>
                <a:gd name="T39" fmla="*/ 98 h 195"/>
                <a:gd name="T40" fmla="*/ 81 w 211"/>
                <a:gd name="T41" fmla="*/ 90 h 195"/>
                <a:gd name="T42" fmla="*/ 99 w 211"/>
                <a:gd name="T43" fmla="*/ 110 h 195"/>
                <a:gd name="T44" fmla="*/ 141 w 211"/>
                <a:gd name="T45" fmla="*/ 127 h 195"/>
                <a:gd name="T46" fmla="*/ 151 w 211"/>
                <a:gd name="T47" fmla="*/ 150 h 195"/>
                <a:gd name="T48" fmla="*/ 154 w 211"/>
                <a:gd name="T49" fmla="*/ 177 h 195"/>
                <a:gd name="T50" fmla="*/ 195 w 211"/>
                <a:gd name="T51" fmla="*/ 191 h 195"/>
                <a:gd name="T52" fmla="*/ 198 w 211"/>
                <a:gd name="T53" fmla="*/ 172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11" h="195">
                  <a:moveTo>
                    <a:pt x="198" y="172"/>
                  </a:moveTo>
                  <a:cubicBezTo>
                    <a:pt x="198" y="167"/>
                    <a:pt x="199" y="162"/>
                    <a:pt x="203" y="157"/>
                  </a:cubicBezTo>
                  <a:cubicBezTo>
                    <a:pt x="207" y="152"/>
                    <a:pt x="211" y="146"/>
                    <a:pt x="199" y="145"/>
                  </a:cubicBezTo>
                  <a:cubicBezTo>
                    <a:pt x="188" y="144"/>
                    <a:pt x="193" y="133"/>
                    <a:pt x="192" y="128"/>
                  </a:cubicBezTo>
                  <a:cubicBezTo>
                    <a:pt x="191" y="122"/>
                    <a:pt x="192" y="112"/>
                    <a:pt x="199" y="106"/>
                  </a:cubicBezTo>
                  <a:cubicBezTo>
                    <a:pt x="202" y="102"/>
                    <a:pt x="205" y="96"/>
                    <a:pt x="208" y="90"/>
                  </a:cubicBezTo>
                  <a:cubicBezTo>
                    <a:pt x="198" y="88"/>
                    <a:pt x="185" y="69"/>
                    <a:pt x="172" y="59"/>
                  </a:cubicBezTo>
                  <a:cubicBezTo>
                    <a:pt x="160" y="49"/>
                    <a:pt x="173" y="46"/>
                    <a:pt x="158" y="33"/>
                  </a:cubicBezTo>
                  <a:cubicBezTo>
                    <a:pt x="150" y="27"/>
                    <a:pt x="148" y="22"/>
                    <a:pt x="147" y="17"/>
                  </a:cubicBezTo>
                  <a:cubicBezTo>
                    <a:pt x="142" y="19"/>
                    <a:pt x="138" y="22"/>
                    <a:pt x="136" y="26"/>
                  </a:cubicBezTo>
                  <a:cubicBezTo>
                    <a:pt x="133" y="34"/>
                    <a:pt x="135" y="36"/>
                    <a:pt x="119" y="33"/>
                  </a:cubicBezTo>
                  <a:cubicBezTo>
                    <a:pt x="104" y="30"/>
                    <a:pt x="105" y="25"/>
                    <a:pt x="99" y="16"/>
                  </a:cubicBezTo>
                  <a:cubicBezTo>
                    <a:pt x="93" y="6"/>
                    <a:pt x="62" y="12"/>
                    <a:pt x="52" y="12"/>
                  </a:cubicBezTo>
                  <a:cubicBezTo>
                    <a:pt x="42" y="12"/>
                    <a:pt x="39" y="18"/>
                    <a:pt x="25" y="6"/>
                  </a:cubicBezTo>
                  <a:cubicBezTo>
                    <a:pt x="19" y="1"/>
                    <a:pt x="14" y="0"/>
                    <a:pt x="9" y="1"/>
                  </a:cubicBezTo>
                  <a:cubicBezTo>
                    <a:pt x="10" y="9"/>
                    <a:pt x="5" y="20"/>
                    <a:pt x="11" y="27"/>
                  </a:cubicBezTo>
                  <a:cubicBezTo>
                    <a:pt x="18" y="34"/>
                    <a:pt x="16" y="40"/>
                    <a:pt x="9" y="44"/>
                  </a:cubicBezTo>
                  <a:cubicBezTo>
                    <a:pt x="1" y="48"/>
                    <a:pt x="0" y="62"/>
                    <a:pt x="10" y="72"/>
                  </a:cubicBezTo>
                  <a:cubicBezTo>
                    <a:pt x="20" y="82"/>
                    <a:pt x="32" y="81"/>
                    <a:pt x="37" y="91"/>
                  </a:cubicBezTo>
                  <a:cubicBezTo>
                    <a:pt x="42" y="102"/>
                    <a:pt x="59" y="108"/>
                    <a:pt x="64" y="98"/>
                  </a:cubicBezTo>
                  <a:cubicBezTo>
                    <a:pt x="69" y="89"/>
                    <a:pt x="80" y="73"/>
                    <a:pt x="81" y="90"/>
                  </a:cubicBezTo>
                  <a:cubicBezTo>
                    <a:pt x="82" y="108"/>
                    <a:pt x="87" y="108"/>
                    <a:pt x="99" y="110"/>
                  </a:cubicBezTo>
                  <a:cubicBezTo>
                    <a:pt x="112" y="112"/>
                    <a:pt x="135" y="118"/>
                    <a:pt x="141" y="127"/>
                  </a:cubicBezTo>
                  <a:cubicBezTo>
                    <a:pt x="146" y="137"/>
                    <a:pt x="154" y="139"/>
                    <a:pt x="151" y="150"/>
                  </a:cubicBezTo>
                  <a:cubicBezTo>
                    <a:pt x="148" y="161"/>
                    <a:pt x="140" y="170"/>
                    <a:pt x="154" y="177"/>
                  </a:cubicBezTo>
                  <a:cubicBezTo>
                    <a:pt x="168" y="183"/>
                    <a:pt x="181" y="195"/>
                    <a:pt x="195" y="191"/>
                  </a:cubicBezTo>
                  <a:cubicBezTo>
                    <a:pt x="195" y="182"/>
                    <a:pt x="198" y="176"/>
                    <a:pt x="198" y="172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97" name="Freeform 25155"/>
            <p:cNvSpPr>
              <a:spLocks/>
            </p:cNvSpPr>
            <p:nvPr/>
          </p:nvSpPr>
          <p:spPr bwMode="auto">
            <a:xfrm>
              <a:off x="2328074" y="3591733"/>
              <a:ext cx="79074" cy="62029"/>
            </a:xfrm>
            <a:custGeom>
              <a:avLst/>
              <a:gdLst>
                <a:gd name="T0" fmla="*/ 204 w 212"/>
                <a:gd name="T1" fmla="*/ 50 h 166"/>
                <a:gd name="T2" fmla="*/ 181 w 212"/>
                <a:gd name="T3" fmla="*/ 34 h 166"/>
                <a:gd name="T4" fmla="*/ 148 w 212"/>
                <a:gd name="T5" fmla="*/ 55 h 166"/>
                <a:gd name="T6" fmla="*/ 95 w 212"/>
                <a:gd name="T7" fmla="*/ 58 h 166"/>
                <a:gd name="T8" fmla="*/ 68 w 212"/>
                <a:gd name="T9" fmla="*/ 34 h 166"/>
                <a:gd name="T10" fmla="*/ 38 w 212"/>
                <a:gd name="T11" fmla="*/ 20 h 166"/>
                <a:gd name="T12" fmla="*/ 20 w 212"/>
                <a:gd name="T13" fmla="*/ 0 h 166"/>
                <a:gd name="T14" fmla="*/ 20 w 212"/>
                <a:gd name="T15" fmla="*/ 0 h 166"/>
                <a:gd name="T16" fmla="*/ 11 w 212"/>
                <a:gd name="T17" fmla="*/ 16 h 166"/>
                <a:gd name="T18" fmla="*/ 4 w 212"/>
                <a:gd name="T19" fmla="*/ 38 h 166"/>
                <a:gd name="T20" fmla="*/ 11 w 212"/>
                <a:gd name="T21" fmla="*/ 55 h 166"/>
                <a:gd name="T22" fmla="*/ 15 w 212"/>
                <a:gd name="T23" fmla="*/ 67 h 166"/>
                <a:gd name="T24" fmla="*/ 10 w 212"/>
                <a:gd name="T25" fmla="*/ 82 h 166"/>
                <a:gd name="T26" fmla="*/ 7 w 212"/>
                <a:gd name="T27" fmla="*/ 101 h 166"/>
                <a:gd name="T28" fmla="*/ 7 w 212"/>
                <a:gd name="T29" fmla="*/ 101 h 166"/>
                <a:gd name="T30" fmla="*/ 43 w 212"/>
                <a:gd name="T31" fmla="*/ 98 h 166"/>
                <a:gd name="T32" fmla="*/ 77 w 212"/>
                <a:gd name="T33" fmla="*/ 112 h 166"/>
                <a:gd name="T34" fmla="*/ 101 w 212"/>
                <a:gd name="T35" fmla="*/ 131 h 166"/>
                <a:gd name="T36" fmla="*/ 124 w 212"/>
                <a:gd name="T37" fmla="*/ 136 h 166"/>
                <a:gd name="T38" fmla="*/ 134 w 212"/>
                <a:gd name="T39" fmla="*/ 153 h 166"/>
                <a:gd name="T40" fmla="*/ 153 w 212"/>
                <a:gd name="T41" fmla="*/ 163 h 166"/>
                <a:gd name="T42" fmla="*/ 172 w 212"/>
                <a:gd name="T43" fmla="*/ 157 h 166"/>
                <a:gd name="T44" fmla="*/ 193 w 212"/>
                <a:gd name="T45" fmla="*/ 149 h 166"/>
                <a:gd name="T46" fmla="*/ 188 w 212"/>
                <a:gd name="T47" fmla="*/ 131 h 166"/>
                <a:gd name="T48" fmla="*/ 166 w 212"/>
                <a:gd name="T49" fmla="*/ 108 h 166"/>
                <a:gd name="T50" fmla="*/ 182 w 212"/>
                <a:gd name="T51" fmla="*/ 92 h 166"/>
                <a:gd name="T52" fmla="*/ 210 w 212"/>
                <a:gd name="T53" fmla="*/ 69 h 166"/>
                <a:gd name="T54" fmla="*/ 204 w 212"/>
                <a:gd name="T55" fmla="*/ 50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12" h="166">
                  <a:moveTo>
                    <a:pt x="204" y="50"/>
                  </a:moveTo>
                  <a:cubicBezTo>
                    <a:pt x="198" y="44"/>
                    <a:pt x="190" y="27"/>
                    <a:pt x="181" y="34"/>
                  </a:cubicBezTo>
                  <a:cubicBezTo>
                    <a:pt x="171" y="41"/>
                    <a:pt x="164" y="52"/>
                    <a:pt x="148" y="55"/>
                  </a:cubicBezTo>
                  <a:cubicBezTo>
                    <a:pt x="132" y="57"/>
                    <a:pt x="101" y="72"/>
                    <a:pt x="95" y="58"/>
                  </a:cubicBezTo>
                  <a:cubicBezTo>
                    <a:pt x="89" y="45"/>
                    <a:pt x="82" y="34"/>
                    <a:pt x="68" y="34"/>
                  </a:cubicBezTo>
                  <a:cubicBezTo>
                    <a:pt x="55" y="33"/>
                    <a:pt x="42" y="33"/>
                    <a:pt x="38" y="20"/>
                  </a:cubicBezTo>
                  <a:cubicBezTo>
                    <a:pt x="33" y="7"/>
                    <a:pt x="29" y="2"/>
                    <a:pt x="2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17" y="6"/>
                    <a:pt x="14" y="12"/>
                    <a:pt x="11" y="16"/>
                  </a:cubicBezTo>
                  <a:cubicBezTo>
                    <a:pt x="4" y="22"/>
                    <a:pt x="3" y="32"/>
                    <a:pt x="4" y="38"/>
                  </a:cubicBezTo>
                  <a:cubicBezTo>
                    <a:pt x="5" y="43"/>
                    <a:pt x="0" y="54"/>
                    <a:pt x="11" y="55"/>
                  </a:cubicBezTo>
                  <a:cubicBezTo>
                    <a:pt x="23" y="56"/>
                    <a:pt x="19" y="62"/>
                    <a:pt x="15" y="67"/>
                  </a:cubicBezTo>
                  <a:cubicBezTo>
                    <a:pt x="11" y="72"/>
                    <a:pt x="10" y="77"/>
                    <a:pt x="10" y="82"/>
                  </a:cubicBezTo>
                  <a:cubicBezTo>
                    <a:pt x="10" y="86"/>
                    <a:pt x="7" y="92"/>
                    <a:pt x="7" y="101"/>
                  </a:cubicBezTo>
                  <a:cubicBezTo>
                    <a:pt x="7" y="101"/>
                    <a:pt x="7" y="101"/>
                    <a:pt x="7" y="101"/>
                  </a:cubicBezTo>
                  <a:cubicBezTo>
                    <a:pt x="22" y="97"/>
                    <a:pt x="26" y="96"/>
                    <a:pt x="43" y="98"/>
                  </a:cubicBezTo>
                  <a:cubicBezTo>
                    <a:pt x="61" y="100"/>
                    <a:pt x="70" y="101"/>
                    <a:pt x="77" y="112"/>
                  </a:cubicBezTo>
                  <a:cubicBezTo>
                    <a:pt x="84" y="122"/>
                    <a:pt x="88" y="131"/>
                    <a:pt x="101" y="131"/>
                  </a:cubicBezTo>
                  <a:cubicBezTo>
                    <a:pt x="114" y="132"/>
                    <a:pt x="124" y="125"/>
                    <a:pt x="124" y="136"/>
                  </a:cubicBezTo>
                  <a:cubicBezTo>
                    <a:pt x="124" y="148"/>
                    <a:pt x="128" y="140"/>
                    <a:pt x="134" y="153"/>
                  </a:cubicBezTo>
                  <a:cubicBezTo>
                    <a:pt x="140" y="166"/>
                    <a:pt x="138" y="162"/>
                    <a:pt x="153" y="163"/>
                  </a:cubicBezTo>
                  <a:cubicBezTo>
                    <a:pt x="167" y="164"/>
                    <a:pt x="170" y="165"/>
                    <a:pt x="172" y="157"/>
                  </a:cubicBezTo>
                  <a:cubicBezTo>
                    <a:pt x="175" y="149"/>
                    <a:pt x="191" y="157"/>
                    <a:pt x="193" y="149"/>
                  </a:cubicBezTo>
                  <a:cubicBezTo>
                    <a:pt x="194" y="142"/>
                    <a:pt x="197" y="135"/>
                    <a:pt x="188" y="131"/>
                  </a:cubicBezTo>
                  <a:cubicBezTo>
                    <a:pt x="179" y="127"/>
                    <a:pt x="162" y="117"/>
                    <a:pt x="166" y="108"/>
                  </a:cubicBezTo>
                  <a:cubicBezTo>
                    <a:pt x="170" y="99"/>
                    <a:pt x="171" y="95"/>
                    <a:pt x="182" y="92"/>
                  </a:cubicBezTo>
                  <a:cubicBezTo>
                    <a:pt x="193" y="89"/>
                    <a:pt x="208" y="80"/>
                    <a:pt x="210" y="69"/>
                  </a:cubicBezTo>
                  <a:cubicBezTo>
                    <a:pt x="212" y="58"/>
                    <a:pt x="210" y="56"/>
                    <a:pt x="204" y="5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98" name="Freeform 25156"/>
            <p:cNvSpPr>
              <a:spLocks/>
            </p:cNvSpPr>
            <p:nvPr/>
          </p:nvSpPr>
          <p:spPr bwMode="auto">
            <a:xfrm>
              <a:off x="2401940" y="3595205"/>
              <a:ext cx="64081" cy="57452"/>
            </a:xfrm>
            <a:custGeom>
              <a:avLst/>
              <a:gdLst>
                <a:gd name="T0" fmla="*/ 135 w 172"/>
                <a:gd name="T1" fmla="*/ 150 h 154"/>
                <a:gd name="T2" fmla="*/ 137 w 172"/>
                <a:gd name="T3" fmla="*/ 125 h 154"/>
                <a:gd name="T4" fmla="*/ 148 w 172"/>
                <a:gd name="T5" fmla="*/ 133 h 154"/>
                <a:gd name="T6" fmla="*/ 166 w 172"/>
                <a:gd name="T7" fmla="*/ 123 h 154"/>
                <a:gd name="T8" fmla="*/ 171 w 172"/>
                <a:gd name="T9" fmla="*/ 106 h 154"/>
                <a:gd name="T10" fmla="*/ 164 w 172"/>
                <a:gd name="T11" fmla="*/ 94 h 154"/>
                <a:gd name="T12" fmla="*/ 158 w 172"/>
                <a:gd name="T13" fmla="*/ 81 h 154"/>
                <a:gd name="T14" fmla="*/ 159 w 172"/>
                <a:gd name="T15" fmla="*/ 67 h 154"/>
                <a:gd name="T16" fmla="*/ 162 w 172"/>
                <a:gd name="T17" fmla="*/ 56 h 154"/>
                <a:gd name="T18" fmla="*/ 132 w 172"/>
                <a:gd name="T19" fmla="*/ 30 h 154"/>
                <a:gd name="T20" fmla="*/ 84 w 172"/>
                <a:gd name="T21" fmla="*/ 12 h 154"/>
                <a:gd name="T22" fmla="*/ 30 w 172"/>
                <a:gd name="T23" fmla="*/ 3 h 154"/>
                <a:gd name="T24" fmla="*/ 17 w 172"/>
                <a:gd name="T25" fmla="*/ 10 h 154"/>
                <a:gd name="T26" fmla="*/ 5 w 172"/>
                <a:gd name="T27" fmla="*/ 21 h 154"/>
                <a:gd name="T28" fmla="*/ 15 w 172"/>
                <a:gd name="T29" fmla="*/ 38 h 154"/>
                <a:gd name="T30" fmla="*/ 23 w 172"/>
                <a:gd name="T31" fmla="*/ 60 h 154"/>
                <a:gd name="T32" fmla="*/ 44 w 172"/>
                <a:gd name="T33" fmla="*/ 69 h 154"/>
                <a:gd name="T34" fmla="*/ 63 w 172"/>
                <a:gd name="T35" fmla="*/ 61 h 154"/>
                <a:gd name="T36" fmla="*/ 79 w 172"/>
                <a:gd name="T37" fmla="*/ 63 h 154"/>
                <a:gd name="T38" fmla="*/ 110 w 172"/>
                <a:gd name="T39" fmla="*/ 65 h 154"/>
                <a:gd name="T40" fmla="*/ 116 w 172"/>
                <a:gd name="T41" fmla="*/ 80 h 154"/>
                <a:gd name="T42" fmla="*/ 102 w 172"/>
                <a:gd name="T43" fmla="*/ 104 h 154"/>
                <a:gd name="T44" fmla="*/ 115 w 172"/>
                <a:gd name="T45" fmla="*/ 133 h 154"/>
                <a:gd name="T46" fmla="*/ 132 w 172"/>
                <a:gd name="T47" fmla="*/ 154 h 154"/>
                <a:gd name="T48" fmla="*/ 135 w 172"/>
                <a:gd name="T49" fmla="*/ 15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72" h="154">
                  <a:moveTo>
                    <a:pt x="135" y="150"/>
                  </a:moveTo>
                  <a:cubicBezTo>
                    <a:pt x="137" y="147"/>
                    <a:pt x="136" y="131"/>
                    <a:pt x="137" y="125"/>
                  </a:cubicBezTo>
                  <a:cubicBezTo>
                    <a:pt x="137" y="120"/>
                    <a:pt x="145" y="126"/>
                    <a:pt x="148" y="133"/>
                  </a:cubicBezTo>
                  <a:cubicBezTo>
                    <a:pt x="151" y="139"/>
                    <a:pt x="161" y="128"/>
                    <a:pt x="166" y="123"/>
                  </a:cubicBezTo>
                  <a:cubicBezTo>
                    <a:pt x="172" y="118"/>
                    <a:pt x="171" y="110"/>
                    <a:pt x="171" y="106"/>
                  </a:cubicBezTo>
                  <a:cubicBezTo>
                    <a:pt x="171" y="103"/>
                    <a:pt x="170" y="95"/>
                    <a:pt x="164" y="94"/>
                  </a:cubicBezTo>
                  <a:cubicBezTo>
                    <a:pt x="157" y="92"/>
                    <a:pt x="161" y="88"/>
                    <a:pt x="158" y="81"/>
                  </a:cubicBezTo>
                  <a:cubicBezTo>
                    <a:pt x="155" y="74"/>
                    <a:pt x="160" y="74"/>
                    <a:pt x="159" y="67"/>
                  </a:cubicBezTo>
                  <a:cubicBezTo>
                    <a:pt x="159" y="63"/>
                    <a:pt x="160" y="59"/>
                    <a:pt x="162" y="56"/>
                  </a:cubicBezTo>
                  <a:cubicBezTo>
                    <a:pt x="154" y="46"/>
                    <a:pt x="145" y="38"/>
                    <a:pt x="132" y="30"/>
                  </a:cubicBezTo>
                  <a:cubicBezTo>
                    <a:pt x="107" y="16"/>
                    <a:pt x="97" y="16"/>
                    <a:pt x="84" y="12"/>
                  </a:cubicBezTo>
                  <a:cubicBezTo>
                    <a:pt x="71" y="7"/>
                    <a:pt x="63" y="0"/>
                    <a:pt x="30" y="3"/>
                  </a:cubicBezTo>
                  <a:cubicBezTo>
                    <a:pt x="30" y="3"/>
                    <a:pt x="26" y="6"/>
                    <a:pt x="17" y="10"/>
                  </a:cubicBezTo>
                  <a:cubicBezTo>
                    <a:pt x="9" y="14"/>
                    <a:pt x="0" y="15"/>
                    <a:pt x="5" y="21"/>
                  </a:cubicBezTo>
                  <a:cubicBezTo>
                    <a:pt x="10" y="28"/>
                    <a:pt x="12" y="35"/>
                    <a:pt x="15" y="38"/>
                  </a:cubicBezTo>
                  <a:cubicBezTo>
                    <a:pt x="17" y="41"/>
                    <a:pt x="23" y="52"/>
                    <a:pt x="23" y="60"/>
                  </a:cubicBezTo>
                  <a:cubicBezTo>
                    <a:pt x="23" y="69"/>
                    <a:pt x="37" y="79"/>
                    <a:pt x="44" y="69"/>
                  </a:cubicBezTo>
                  <a:cubicBezTo>
                    <a:pt x="52" y="58"/>
                    <a:pt x="55" y="56"/>
                    <a:pt x="63" y="61"/>
                  </a:cubicBezTo>
                  <a:cubicBezTo>
                    <a:pt x="70" y="65"/>
                    <a:pt x="69" y="56"/>
                    <a:pt x="79" y="63"/>
                  </a:cubicBezTo>
                  <a:cubicBezTo>
                    <a:pt x="89" y="71"/>
                    <a:pt x="105" y="63"/>
                    <a:pt x="110" y="65"/>
                  </a:cubicBezTo>
                  <a:cubicBezTo>
                    <a:pt x="115" y="67"/>
                    <a:pt x="128" y="74"/>
                    <a:pt x="116" y="80"/>
                  </a:cubicBezTo>
                  <a:cubicBezTo>
                    <a:pt x="103" y="86"/>
                    <a:pt x="99" y="92"/>
                    <a:pt x="102" y="104"/>
                  </a:cubicBezTo>
                  <a:cubicBezTo>
                    <a:pt x="105" y="116"/>
                    <a:pt x="103" y="122"/>
                    <a:pt x="115" y="133"/>
                  </a:cubicBezTo>
                  <a:cubicBezTo>
                    <a:pt x="124" y="142"/>
                    <a:pt x="126" y="144"/>
                    <a:pt x="132" y="154"/>
                  </a:cubicBezTo>
                  <a:cubicBezTo>
                    <a:pt x="134" y="153"/>
                    <a:pt x="135" y="152"/>
                    <a:pt x="135" y="15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99" name="Freeform 25157"/>
            <p:cNvSpPr>
              <a:spLocks/>
            </p:cNvSpPr>
            <p:nvPr/>
          </p:nvSpPr>
          <p:spPr bwMode="auto">
            <a:xfrm>
              <a:off x="2756436" y="3024161"/>
              <a:ext cx="5682" cy="5682"/>
            </a:xfrm>
            <a:custGeom>
              <a:avLst/>
              <a:gdLst>
                <a:gd name="T0" fmla="*/ 10 w 15"/>
                <a:gd name="T1" fmla="*/ 0 h 15"/>
                <a:gd name="T2" fmla="*/ 6 w 15"/>
                <a:gd name="T3" fmla="*/ 3 h 15"/>
                <a:gd name="T4" fmla="*/ 2 w 15"/>
                <a:gd name="T5" fmla="*/ 8 h 15"/>
                <a:gd name="T6" fmla="*/ 8 w 15"/>
                <a:gd name="T7" fmla="*/ 15 h 15"/>
                <a:gd name="T8" fmla="*/ 15 w 15"/>
                <a:gd name="T9" fmla="*/ 12 h 15"/>
                <a:gd name="T10" fmla="*/ 10 w 15"/>
                <a:gd name="T11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" h="15">
                  <a:moveTo>
                    <a:pt x="10" y="0"/>
                  </a:moveTo>
                  <a:cubicBezTo>
                    <a:pt x="10" y="0"/>
                    <a:pt x="8" y="1"/>
                    <a:pt x="6" y="3"/>
                  </a:cubicBezTo>
                  <a:cubicBezTo>
                    <a:pt x="3" y="6"/>
                    <a:pt x="0" y="7"/>
                    <a:pt x="2" y="8"/>
                  </a:cubicBezTo>
                  <a:cubicBezTo>
                    <a:pt x="4" y="10"/>
                    <a:pt x="6" y="15"/>
                    <a:pt x="8" y="15"/>
                  </a:cubicBezTo>
                  <a:cubicBezTo>
                    <a:pt x="10" y="14"/>
                    <a:pt x="15" y="15"/>
                    <a:pt x="15" y="12"/>
                  </a:cubicBezTo>
                  <a:cubicBezTo>
                    <a:pt x="15" y="9"/>
                    <a:pt x="14" y="0"/>
                    <a:pt x="10" y="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100" name="Freeform 25159"/>
            <p:cNvSpPr>
              <a:spLocks/>
            </p:cNvSpPr>
            <p:nvPr/>
          </p:nvSpPr>
          <p:spPr bwMode="auto">
            <a:xfrm>
              <a:off x="4779710" y="2264506"/>
              <a:ext cx="173775" cy="82863"/>
            </a:xfrm>
            <a:custGeom>
              <a:avLst/>
              <a:gdLst>
                <a:gd name="T0" fmla="*/ 465 w 466"/>
                <a:gd name="T1" fmla="*/ 172 h 222"/>
                <a:gd name="T2" fmla="*/ 455 w 466"/>
                <a:gd name="T3" fmla="*/ 135 h 222"/>
                <a:gd name="T4" fmla="*/ 441 w 466"/>
                <a:gd name="T5" fmla="*/ 109 h 222"/>
                <a:gd name="T6" fmla="*/ 440 w 466"/>
                <a:gd name="T7" fmla="*/ 85 h 222"/>
                <a:gd name="T8" fmla="*/ 442 w 466"/>
                <a:gd name="T9" fmla="*/ 66 h 222"/>
                <a:gd name="T10" fmla="*/ 420 w 466"/>
                <a:gd name="T11" fmla="*/ 45 h 222"/>
                <a:gd name="T12" fmla="*/ 419 w 466"/>
                <a:gd name="T13" fmla="*/ 42 h 222"/>
                <a:gd name="T14" fmla="*/ 392 w 466"/>
                <a:gd name="T15" fmla="*/ 44 h 222"/>
                <a:gd name="T16" fmla="*/ 371 w 466"/>
                <a:gd name="T17" fmla="*/ 49 h 222"/>
                <a:gd name="T18" fmla="*/ 346 w 466"/>
                <a:gd name="T19" fmla="*/ 40 h 222"/>
                <a:gd name="T20" fmla="*/ 326 w 466"/>
                <a:gd name="T21" fmla="*/ 25 h 222"/>
                <a:gd name="T22" fmla="*/ 305 w 466"/>
                <a:gd name="T23" fmla="*/ 13 h 222"/>
                <a:gd name="T24" fmla="*/ 289 w 466"/>
                <a:gd name="T25" fmla="*/ 5 h 222"/>
                <a:gd name="T26" fmla="*/ 257 w 466"/>
                <a:gd name="T27" fmla="*/ 3 h 222"/>
                <a:gd name="T28" fmla="*/ 232 w 466"/>
                <a:gd name="T29" fmla="*/ 15 h 222"/>
                <a:gd name="T30" fmla="*/ 218 w 466"/>
                <a:gd name="T31" fmla="*/ 18 h 222"/>
                <a:gd name="T32" fmla="*/ 222 w 466"/>
                <a:gd name="T33" fmla="*/ 29 h 222"/>
                <a:gd name="T34" fmla="*/ 223 w 466"/>
                <a:gd name="T35" fmla="*/ 81 h 222"/>
                <a:gd name="T36" fmla="*/ 170 w 466"/>
                <a:gd name="T37" fmla="*/ 92 h 222"/>
                <a:gd name="T38" fmla="*/ 113 w 466"/>
                <a:gd name="T39" fmla="*/ 41 h 222"/>
                <a:gd name="T40" fmla="*/ 60 w 466"/>
                <a:gd name="T41" fmla="*/ 37 h 222"/>
                <a:gd name="T42" fmla="*/ 41 w 466"/>
                <a:gd name="T43" fmla="*/ 78 h 222"/>
                <a:gd name="T44" fmla="*/ 10 w 466"/>
                <a:gd name="T45" fmla="*/ 123 h 222"/>
                <a:gd name="T46" fmla="*/ 8 w 466"/>
                <a:gd name="T47" fmla="*/ 177 h 222"/>
                <a:gd name="T48" fmla="*/ 9 w 466"/>
                <a:gd name="T49" fmla="*/ 184 h 222"/>
                <a:gd name="T50" fmla="*/ 19 w 466"/>
                <a:gd name="T51" fmla="*/ 176 h 222"/>
                <a:gd name="T52" fmla="*/ 42 w 466"/>
                <a:gd name="T53" fmla="*/ 163 h 222"/>
                <a:gd name="T54" fmla="*/ 61 w 466"/>
                <a:gd name="T55" fmla="*/ 156 h 222"/>
                <a:gd name="T56" fmla="*/ 84 w 466"/>
                <a:gd name="T57" fmla="*/ 150 h 222"/>
                <a:gd name="T58" fmla="*/ 121 w 466"/>
                <a:gd name="T59" fmla="*/ 154 h 222"/>
                <a:gd name="T60" fmla="*/ 143 w 466"/>
                <a:gd name="T61" fmla="*/ 157 h 222"/>
                <a:gd name="T62" fmla="*/ 162 w 466"/>
                <a:gd name="T63" fmla="*/ 158 h 222"/>
                <a:gd name="T64" fmla="*/ 186 w 466"/>
                <a:gd name="T65" fmla="*/ 161 h 222"/>
                <a:gd name="T66" fmla="*/ 219 w 466"/>
                <a:gd name="T67" fmla="*/ 161 h 222"/>
                <a:gd name="T68" fmla="*/ 241 w 466"/>
                <a:gd name="T69" fmla="*/ 157 h 222"/>
                <a:gd name="T70" fmla="*/ 262 w 466"/>
                <a:gd name="T71" fmla="*/ 155 h 222"/>
                <a:gd name="T72" fmla="*/ 278 w 466"/>
                <a:gd name="T73" fmla="*/ 172 h 222"/>
                <a:gd name="T74" fmla="*/ 300 w 466"/>
                <a:gd name="T75" fmla="*/ 176 h 222"/>
                <a:gd name="T76" fmla="*/ 321 w 466"/>
                <a:gd name="T77" fmla="*/ 189 h 222"/>
                <a:gd name="T78" fmla="*/ 343 w 466"/>
                <a:gd name="T79" fmla="*/ 204 h 222"/>
                <a:gd name="T80" fmla="*/ 358 w 466"/>
                <a:gd name="T81" fmla="*/ 218 h 222"/>
                <a:gd name="T82" fmla="*/ 373 w 466"/>
                <a:gd name="T83" fmla="*/ 222 h 222"/>
                <a:gd name="T84" fmla="*/ 378 w 466"/>
                <a:gd name="T85" fmla="*/ 215 h 222"/>
                <a:gd name="T86" fmla="*/ 405 w 466"/>
                <a:gd name="T87" fmla="*/ 202 h 222"/>
                <a:gd name="T88" fmla="*/ 432 w 466"/>
                <a:gd name="T89" fmla="*/ 204 h 222"/>
                <a:gd name="T90" fmla="*/ 451 w 466"/>
                <a:gd name="T91" fmla="*/ 181 h 222"/>
                <a:gd name="T92" fmla="*/ 465 w 466"/>
                <a:gd name="T93" fmla="*/ 174 h 222"/>
                <a:gd name="T94" fmla="*/ 465 w 466"/>
                <a:gd name="T95" fmla="*/ 172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66" h="222">
                  <a:moveTo>
                    <a:pt x="465" y="172"/>
                  </a:moveTo>
                  <a:cubicBezTo>
                    <a:pt x="463" y="158"/>
                    <a:pt x="466" y="148"/>
                    <a:pt x="455" y="135"/>
                  </a:cubicBezTo>
                  <a:cubicBezTo>
                    <a:pt x="444" y="123"/>
                    <a:pt x="447" y="114"/>
                    <a:pt x="441" y="109"/>
                  </a:cubicBezTo>
                  <a:cubicBezTo>
                    <a:pt x="436" y="103"/>
                    <a:pt x="435" y="93"/>
                    <a:pt x="440" y="85"/>
                  </a:cubicBezTo>
                  <a:cubicBezTo>
                    <a:pt x="444" y="77"/>
                    <a:pt x="452" y="74"/>
                    <a:pt x="442" y="66"/>
                  </a:cubicBezTo>
                  <a:cubicBezTo>
                    <a:pt x="432" y="59"/>
                    <a:pt x="420" y="56"/>
                    <a:pt x="420" y="45"/>
                  </a:cubicBezTo>
                  <a:cubicBezTo>
                    <a:pt x="420" y="44"/>
                    <a:pt x="419" y="43"/>
                    <a:pt x="419" y="42"/>
                  </a:cubicBezTo>
                  <a:cubicBezTo>
                    <a:pt x="410" y="43"/>
                    <a:pt x="399" y="44"/>
                    <a:pt x="392" y="44"/>
                  </a:cubicBezTo>
                  <a:cubicBezTo>
                    <a:pt x="383" y="43"/>
                    <a:pt x="380" y="43"/>
                    <a:pt x="371" y="49"/>
                  </a:cubicBezTo>
                  <a:cubicBezTo>
                    <a:pt x="362" y="55"/>
                    <a:pt x="351" y="44"/>
                    <a:pt x="346" y="40"/>
                  </a:cubicBezTo>
                  <a:cubicBezTo>
                    <a:pt x="342" y="35"/>
                    <a:pt x="333" y="29"/>
                    <a:pt x="326" y="25"/>
                  </a:cubicBezTo>
                  <a:cubicBezTo>
                    <a:pt x="318" y="21"/>
                    <a:pt x="314" y="14"/>
                    <a:pt x="305" y="13"/>
                  </a:cubicBezTo>
                  <a:cubicBezTo>
                    <a:pt x="295" y="12"/>
                    <a:pt x="295" y="10"/>
                    <a:pt x="289" y="5"/>
                  </a:cubicBezTo>
                  <a:cubicBezTo>
                    <a:pt x="282" y="0"/>
                    <a:pt x="268" y="2"/>
                    <a:pt x="257" y="3"/>
                  </a:cubicBezTo>
                  <a:cubicBezTo>
                    <a:pt x="246" y="5"/>
                    <a:pt x="240" y="11"/>
                    <a:pt x="232" y="15"/>
                  </a:cubicBezTo>
                  <a:cubicBezTo>
                    <a:pt x="228" y="17"/>
                    <a:pt x="223" y="18"/>
                    <a:pt x="218" y="18"/>
                  </a:cubicBezTo>
                  <a:cubicBezTo>
                    <a:pt x="218" y="21"/>
                    <a:pt x="220" y="24"/>
                    <a:pt x="222" y="29"/>
                  </a:cubicBezTo>
                  <a:cubicBezTo>
                    <a:pt x="226" y="42"/>
                    <a:pt x="229" y="61"/>
                    <a:pt x="223" y="81"/>
                  </a:cubicBezTo>
                  <a:cubicBezTo>
                    <a:pt x="218" y="101"/>
                    <a:pt x="186" y="95"/>
                    <a:pt x="170" y="92"/>
                  </a:cubicBezTo>
                  <a:cubicBezTo>
                    <a:pt x="154" y="90"/>
                    <a:pt x="130" y="67"/>
                    <a:pt x="113" y="41"/>
                  </a:cubicBezTo>
                  <a:cubicBezTo>
                    <a:pt x="96" y="15"/>
                    <a:pt x="74" y="29"/>
                    <a:pt x="60" y="37"/>
                  </a:cubicBezTo>
                  <a:cubicBezTo>
                    <a:pt x="46" y="44"/>
                    <a:pt x="41" y="54"/>
                    <a:pt x="41" y="78"/>
                  </a:cubicBezTo>
                  <a:cubicBezTo>
                    <a:pt x="41" y="102"/>
                    <a:pt x="20" y="107"/>
                    <a:pt x="10" y="123"/>
                  </a:cubicBezTo>
                  <a:cubicBezTo>
                    <a:pt x="0" y="138"/>
                    <a:pt x="5" y="151"/>
                    <a:pt x="8" y="177"/>
                  </a:cubicBezTo>
                  <a:cubicBezTo>
                    <a:pt x="9" y="180"/>
                    <a:pt x="9" y="182"/>
                    <a:pt x="9" y="184"/>
                  </a:cubicBezTo>
                  <a:cubicBezTo>
                    <a:pt x="13" y="182"/>
                    <a:pt x="17" y="179"/>
                    <a:pt x="19" y="176"/>
                  </a:cubicBezTo>
                  <a:cubicBezTo>
                    <a:pt x="23" y="170"/>
                    <a:pt x="33" y="164"/>
                    <a:pt x="42" y="163"/>
                  </a:cubicBezTo>
                  <a:cubicBezTo>
                    <a:pt x="50" y="162"/>
                    <a:pt x="55" y="160"/>
                    <a:pt x="61" y="156"/>
                  </a:cubicBezTo>
                  <a:cubicBezTo>
                    <a:pt x="68" y="152"/>
                    <a:pt x="73" y="149"/>
                    <a:pt x="84" y="150"/>
                  </a:cubicBezTo>
                  <a:cubicBezTo>
                    <a:pt x="95" y="151"/>
                    <a:pt x="113" y="147"/>
                    <a:pt x="121" y="154"/>
                  </a:cubicBezTo>
                  <a:cubicBezTo>
                    <a:pt x="130" y="161"/>
                    <a:pt x="141" y="160"/>
                    <a:pt x="143" y="157"/>
                  </a:cubicBezTo>
                  <a:cubicBezTo>
                    <a:pt x="146" y="155"/>
                    <a:pt x="155" y="155"/>
                    <a:pt x="162" y="158"/>
                  </a:cubicBezTo>
                  <a:cubicBezTo>
                    <a:pt x="169" y="160"/>
                    <a:pt x="182" y="162"/>
                    <a:pt x="186" y="161"/>
                  </a:cubicBezTo>
                  <a:cubicBezTo>
                    <a:pt x="190" y="160"/>
                    <a:pt x="211" y="161"/>
                    <a:pt x="219" y="161"/>
                  </a:cubicBezTo>
                  <a:cubicBezTo>
                    <a:pt x="227" y="161"/>
                    <a:pt x="239" y="162"/>
                    <a:pt x="241" y="157"/>
                  </a:cubicBezTo>
                  <a:cubicBezTo>
                    <a:pt x="244" y="152"/>
                    <a:pt x="256" y="143"/>
                    <a:pt x="262" y="155"/>
                  </a:cubicBezTo>
                  <a:cubicBezTo>
                    <a:pt x="268" y="167"/>
                    <a:pt x="271" y="170"/>
                    <a:pt x="278" y="172"/>
                  </a:cubicBezTo>
                  <a:cubicBezTo>
                    <a:pt x="285" y="174"/>
                    <a:pt x="292" y="175"/>
                    <a:pt x="300" y="176"/>
                  </a:cubicBezTo>
                  <a:cubicBezTo>
                    <a:pt x="308" y="176"/>
                    <a:pt x="312" y="180"/>
                    <a:pt x="321" y="189"/>
                  </a:cubicBezTo>
                  <a:cubicBezTo>
                    <a:pt x="330" y="198"/>
                    <a:pt x="339" y="200"/>
                    <a:pt x="343" y="204"/>
                  </a:cubicBezTo>
                  <a:cubicBezTo>
                    <a:pt x="346" y="208"/>
                    <a:pt x="355" y="216"/>
                    <a:pt x="358" y="218"/>
                  </a:cubicBezTo>
                  <a:cubicBezTo>
                    <a:pt x="360" y="219"/>
                    <a:pt x="366" y="221"/>
                    <a:pt x="373" y="222"/>
                  </a:cubicBezTo>
                  <a:cubicBezTo>
                    <a:pt x="375" y="221"/>
                    <a:pt x="377" y="218"/>
                    <a:pt x="378" y="215"/>
                  </a:cubicBezTo>
                  <a:cubicBezTo>
                    <a:pt x="380" y="208"/>
                    <a:pt x="393" y="201"/>
                    <a:pt x="405" y="202"/>
                  </a:cubicBezTo>
                  <a:cubicBezTo>
                    <a:pt x="416" y="204"/>
                    <a:pt x="415" y="221"/>
                    <a:pt x="432" y="204"/>
                  </a:cubicBezTo>
                  <a:cubicBezTo>
                    <a:pt x="449" y="188"/>
                    <a:pt x="443" y="184"/>
                    <a:pt x="451" y="181"/>
                  </a:cubicBezTo>
                  <a:cubicBezTo>
                    <a:pt x="457" y="178"/>
                    <a:pt x="461" y="176"/>
                    <a:pt x="465" y="174"/>
                  </a:cubicBezTo>
                  <a:cubicBezTo>
                    <a:pt x="465" y="174"/>
                    <a:pt x="465" y="173"/>
                    <a:pt x="465" y="172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101" name="Freeform 25160"/>
            <p:cNvSpPr>
              <a:spLocks/>
            </p:cNvSpPr>
            <p:nvPr/>
          </p:nvSpPr>
          <p:spPr bwMode="auto">
            <a:xfrm>
              <a:off x="4780025" y="2317854"/>
              <a:ext cx="139210" cy="87598"/>
            </a:xfrm>
            <a:custGeom>
              <a:avLst/>
              <a:gdLst>
                <a:gd name="T0" fmla="*/ 364 w 373"/>
                <a:gd name="T1" fmla="*/ 103 h 235"/>
                <a:gd name="T2" fmla="*/ 363 w 373"/>
                <a:gd name="T3" fmla="*/ 86 h 235"/>
                <a:gd name="T4" fmla="*/ 372 w 373"/>
                <a:gd name="T5" fmla="*/ 79 h 235"/>
                <a:gd name="T6" fmla="*/ 357 w 373"/>
                <a:gd name="T7" fmla="*/ 75 h 235"/>
                <a:gd name="T8" fmla="*/ 342 w 373"/>
                <a:gd name="T9" fmla="*/ 61 h 235"/>
                <a:gd name="T10" fmla="*/ 320 w 373"/>
                <a:gd name="T11" fmla="*/ 46 h 235"/>
                <a:gd name="T12" fmla="*/ 299 w 373"/>
                <a:gd name="T13" fmla="*/ 33 h 235"/>
                <a:gd name="T14" fmla="*/ 277 w 373"/>
                <a:gd name="T15" fmla="*/ 29 h 235"/>
                <a:gd name="T16" fmla="*/ 261 w 373"/>
                <a:gd name="T17" fmla="*/ 12 h 235"/>
                <a:gd name="T18" fmla="*/ 240 w 373"/>
                <a:gd name="T19" fmla="*/ 14 h 235"/>
                <a:gd name="T20" fmla="*/ 218 w 373"/>
                <a:gd name="T21" fmla="*/ 18 h 235"/>
                <a:gd name="T22" fmla="*/ 185 w 373"/>
                <a:gd name="T23" fmla="*/ 18 h 235"/>
                <a:gd name="T24" fmla="*/ 161 w 373"/>
                <a:gd name="T25" fmla="*/ 15 h 235"/>
                <a:gd name="T26" fmla="*/ 142 w 373"/>
                <a:gd name="T27" fmla="*/ 14 h 235"/>
                <a:gd name="T28" fmla="*/ 120 w 373"/>
                <a:gd name="T29" fmla="*/ 11 h 235"/>
                <a:gd name="T30" fmla="*/ 83 w 373"/>
                <a:gd name="T31" fmla="*/ 7 h 235"/>
                <a:gd name="T32" fmla="*/ 60 w 373"/>
                <a:gd name="T33" fmla="*/ 13 h 235"/>
                <a:gd name="T34" fmla="*/ 41 w 373"/>
                <a:gd name="T35" fmla="*/ 20 h 235"/>
                <a:gd name="T36" fmla="*/ 18 w 373"/>
                <a:gd name="T37" fmla="*/ 33 h 235"/>
                <a:gd name="T38" fmla="*/ 8 w 373"/>
                <a:gd name="T39" fmla="*/ 41 h 235"/>
                <a:gd name="T40" fmla="*/ 13 w 373"/>
                <a:gd name="T41" fmla="*/ 76 h 235"/>
                <a:gd name="T42" fmla="*/ 0 w 373"/>
                <a:gd name="T43" fmla="*/ 108 h 235"/>
                <a:gd name="T44" fmla="*/ 0 w 373"/>
                <a:gd name="T45" fmla="*/ 108 h 235"/>
                <a:gd name="T46" fmla="*/ 14 w 373"/>
                <a:gd name="T47" fmla="*/ 109 h 235"/>
                <a:gd name="T48" fmla="*/ 27 w 373"/>
                <a:gd name="T49" fmla="*/ 114 h 235"/>
                <a:gd name="T50" fmla="*/ 42 w 373"/>
                <a:gd name="T51" fmla="*/ 117 h 235"/>
                <a:gd name="T52" fmla="*/ 64 w 373"/>
                <a:gd name="T53" fmla="*/ 130 h 235"/>
                <a:gd name="T54" fmla="*/ 86 w 373"/>
                <a:gd name="T55" fmla="*/ 130 h 235"/>
                <a:gd name="T56" fmla="*/ 115 w 373"/>
                <a:gd name="T57" fmla="*/ 138 h 235"/>
                <a:gd name="T58" fmla="*/ 121 w 373"/>
                <a:gd name="T59" fmla="*/ 161 h 235"/>
                <a:gd name="T60" fmla="*/ 119 w 373"/>
                <a:gd name="T61" fmla="*/ 188 h 235"/>
                <a:gd name="T62" fmla="*/ 145 w 373"/>
                <a:gd name="T63" fmla="*/ 195 h 235"/>
                <a:gd name="T64" fmla="*/ 161 w 373"/>
                <a:gd name="T65" fmla="*/ 211 h 235"/>
                <a:gd name="T66" fmla="*/ 174 w 373"/>
                <a:gd name="T67" fmla="*/ 234 h 235"/>
                <a:gd name="T68" fmla="*/ 189 w 373"/>
                <a:gd name="T69" fmla="*/ 231 h 235"/>
                <a:gd name="T70" fmla="*/ 242 w 373"/>
                <a:gd name="T71" fmla="*/ 228 h 235"/>
                <a:gd name="T72" fmla="*/ 272 w 373"/>
                <a:gd name="T73" fmla="*/ 208 h 235"/>
                <a:gd name="T74" fmla="*/ 295 w 373"/>
                <a:gd name="T75" fmla="*/ 212 h 235"/>
                <a:gd name="T76" fmla="*/ 311 w 373"/>
                <a:gd name="T77" fmla="*/ 209 h 235"/>
                <a:gd name="T78" fmla="*/ 303 w 373"/>
                <a:gd name="T79" fmla="*/ 191 h 235"/>
                <a:gd name="T80" fmla="*/ 307 w 373"/>
                <a:gd name="T81" fmla="*/ 162 h 235"/>
                <a:gd name="T82" fmla="*/ 324 w 373"/>
                <a:gd name="T83" fmla="*/ 141 h 235"/>
                <a:gd name="T84" fmla="*/ 346 w 373"/>
                <a:gd name="T85" fmla="*/ 127 h 235"/>
                <a:gd name="T86" fmla="*/ 372 w 373"/>
                <a:gd name="T87" fmla="*/ 115 h 235"/>
                <a:gd name="T88" fmla="*/ 364 w 373"/>
                <a:gd name="T89" fmla="*/ 103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373" h="235">
                  <a:moveTo>
                    <a:pt x="364" y="103"/>
                  </a:moveTo>
                  <a:cubicBezTo>
                    <a:pt x="358" y="101"/>
                    <a:pt x="356" y="91"/>
                    <a:pt x="363" y="86"/>
                  </a:cubicBezTo>
                  <a:cubicBezTo>
                    <a:pt x="366" y="83"/>
                    <a:pt x="369" y="81"/>
                    <a:pt x="372" y="79"/>
                  </a:cubicBezTo>
                  <a:cubicBezTo>
                    <a:pt x="365" y="78"/>
                    <a:pt x="359" y="76"/>
                    <a:pt x="357" y="75"/>
                  </a:cubicBezTo>
                  <a:cubicBezTo>
                    <a:pt x="354" y="73"/>
                    <a:pt x="345" y="65"/>
                    <a:pt x="342" y="61"/>
                  </a:cubicBezTo>
                  <a:cubicBezTo>
                    <a:pt x="338" y="57"/>
                    <a:pt x="329" y="55"/>
                    <a:pt x="320" y="46"/>
                  </a:cubicBezTo>
                  <a:cubicBezTo>
                    <a:pt x="311" y="37"/>
                    <a:pt x="307" y="33"/>
                    <a:pt x="299" y="33"/>
                  </a:cubicBezTo>
                  <a:cubicBezTo>
                    <a:pt x="291" y="32"/>
                    <a:pt x="284" y="31"/>
                    <a:pt x="277" y="29"/>
                  </a:cubicBezTo>
                  <a:cubicBezTo>
                    <a:pt x="270" y="27"/>
                    <a:pt x="267" y="24"/>
                    <a:pt x="261" y="12"/>
                  </a:cubicBezTo>
                  <a:cubicBezTo>
                    <a:pt x="255" y="0"/>
                    <a:pt x="243" y="9"/>
                    <a:pt x="240" y="14"/>
                  </a:cubicBezTo>
                  <a:cubicBezTo>
                    <a:pt x="238" y="19"/>
                    <a:pt x="226" y="18"/>
                    <a:pt x="218" y="18"/>
                  </a:cubicBezTo>
                  <a:cubicBezTo>
                    <a:pt x="210" y="18"/>
                    <a:pt x="189" y="17"/>
                    <a:pt x="185" y="18"/>
                  </a:cubicBezTo>
                  <a:cubicBezTo>
                    <a:pt x="181" y="19"/>
                    <a:pt x="168" y="17"/>
                    <a:pt x="161" y="15"/>
                  </a:cubicBezTo>
                  <a:cubicBezTo>
                    <a:pt x="154" y="12"/>
                    <a:pt x="145" y="12"/>
                    <a:pt x="142" y="14"/>
                  </a:cubicBezTo>
                  <a:cubicBezTo>
                    <a:pt x="140" y="17"/>
                    <a:pt x="129" y="18"/>
                    <a:pt x="120" y="11"/>
                  </a:cubicBezTo>
                  <a:cubicBezTo>
                    <a:pt x="112" y="4"/>
                    <a:pt x="94" y="8"/>
                    <a:pt x="83" y="7"/>
                  </a:cubicBezTo>
                  <a:cubicBezTo>
                    <a:pt x="72" y="6"/>
                    <a:pt x="67" y="9"/>
                    <a:pt x="60" y="13"/>
                  </a:cubicBezTo>
                  <a:cubicBezTo>
                    <a:pt x="54" y="17"/>
                    <a:pt x="49" y="19"/>
                    <a:pt x="41" y="20"/>
                  </a:cubicBezTo>
                  <a:cubicBezTo>
                    <a:pt x="32" y="21"/>
                    <a:pt x="22" y="27"/>
                    <a:pt x="18" y="33"/>
                  </a:cubicBezTo>
                  <a:cubicBezTo>
                    <a:pt x="16" y="36"/>
                    <a:pt x="12" y="39"/>
                    <a:pt x="8" y="41"/>
                  </a:cubicBezTo>
                  <a:cubicBezTo>
                    <a:pt x="10" y="58"/>
                    <a:pt x="12" y="54"/>
                    <a:pt x="13" y="76"/>
                  </a:cubicBezTo>
                  <a:cubicBezTo>
                    <a:pt x="14" y="100"/>
                    <a:pt x="5" y="91"/>
                    <a:pt x="0" y="108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6" y="107"/>
                    <a:pt x="12" y="107"/>
                    <a:pt x="14" y="109"/>
                  </a:cubicBezTo>
                  <a:cubicBezTo>
                    <a:pt x="20" y="113"/>
                    <a:pt x="24" y="117"/>
                    <a:pt x="27" y="114"/>
                  </a:cubicBezTo>
                  <a:cubicBezTo>
                    <a:pt x="30" y="112"/>
                    <a:pt x="39" y="111"/>
                    <a:pt x="42" y="117"/>
                  </a:cubicBezTo>
                  <a:cubicBezTo>
                    <a:pt x="45" y="122"/>
                    <a:pt x="55" y="131"/>
                    <a:pt x="64" y="130"/>
                  </a:cubicBezTo>
                  <a:cubicBezTo>
                    <a:pt x="72" y="128"/>
                    <a:pt x="79" y="130"/>
                    <a:pt x="86" y="130"/>
                  </a:cubicBezTo>
                  <a:cubicBezTo>
                    <a:pt x="93" y="130"/>
                    <a:pt x="109" y="132"/>
                    <a:pt x="115" y="138"/>
                  </a:cubicBezTo>
                  <a:cubicBezTo>
                    <a:pt x="120" y="145"/>
                    <a:pt x="125" y="150"/>
                    <a:pt x="121" y="161"/>
                  </a:cubicBezTo>
                  <a:cubicBezTo>
                    <a:pt x="118" y="172"/>
                    <a:pt x="110" y="184"/>
                    <a:pt x="119" y="188"/>
                  </a:cubicBezTo>
                  <a:cubicBezTo>
                    <a:pt x="127" y="192"/>
                    <a:pt x="138" y="188"/>
                    <a:pt x="145" y="195"/>
                  </a:cubicBezTo>
                  <a:cubicBezTo>
                    <a:pt x="152" y="202"/>
                    <a:pt x="160" y="204"/>
                    <a:pt x="161" y="211"/>
                  </a:cubicBezTo>
                  <a:cubicBezTo>
                    <a:pt x="163" y="216"/>
                    <a:pt x="165" y="227"/>
                    <a:pt x="174" y="234"/>
                  </a:cubicBezTo>
                  <a:cubicBezTo>
                    <a:pt x="176" y="232"/>
                    <a:pt x="180" y="231"/>
                    <a:pt x="189" y="231"/>
                  </a:cubicBezTo>
                  <a:cubicBezTo>
                    <a:pt x="211" y="231"/>
                    <a:pt x="231" y="235"/>
                    <a:pt x="242" y="228"/>
                  </a:cubicBezTo>
                  <a:cubicBezTo>
                    <a:pt x="252" y="220"/>
                    <a:pt x="262" y="209"/>
                    <a:pt x="272" y="208"/>
                  </a:cubicBezTo>
                  <a:cubicBezTo>
                    <a:pt x="282" y="208"/>
                    <a:pt x="288" y="209"/>
                    <a:pt x="295" y="212"/>
                  </a:cubicBezTo>
                  <a:cubicBezTo>
                    <a:pt x="302" y="214"/>
                    <a:pt x="309" y="213"/>
                    <a:pt x="311" y="209"/>
                  </a:cubicBezTo>
                  <a:cubicBezTo>
                    <a:pt x="314" y="205"/>
                    <a:pt x="303" y="201"/>
                    <a:pt x="303" y="191"/>
                  </a:cubicBezTo>
                  <a:cubicBezTo>
                    <a:pt x="303" y="181"/>
                    <a:pt x="303" y="173"/>
                    <a:pt x="307" y="162"/>
                  </a:cubicBezTo>
                  <a:cubicBezTo>
                    <a:pt x="311" y="150"/>
                    <a:pt x="315" y="141"/>
                    <a:pt x="324" y="141"/>
                  </a:cubicBezTo>
                  <a:cubicBezTo>
                    <a:pt x="333" y="140"/>
                    <a:pt x="338" y="126"/>
                    <a:pt x="346" y="127"/>
                  </a:cubicBezTo>
                  <a:cubicBezTo>
                    <a:pt x="355" y="128"/>
                    <a:pt x="371" y="123"/>
                    <a:pt x="372" y="115"/>
                  </a:cubicBezTo>
                  <a:cubicBezTo>
                    <a:pt x="373" y="108"/>
                    <a:pt x="370" y="105"/>
                    <a:pt x="364" y="103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102" name="Freeform 25161"/>
            <p:cNvSpPr>
              <a:spLocks/>
            </p:cNvSpPr>
            <p:nvPr/>
          </p:nvSpPr>
          <p:spPr bwMode="auto">
            <a:xfrm>
              <a:off x="4834163" y="2329376"/>
              <a:ext cx="229017" cy="163358"/>
            </a:xfrm>
            <a:custGeom>
              <a:avLst/>
              <a:gdLst>
                <a:gd name="T0" fmla="*/ 95 w 614"/>
                <a:gd name="T1" fmla="*/ 372 h 438"/>
                <a:gd name="T2" fmla="*/ 182 w 614"/>
                <a:gd name="T3" fmla="*/ 374 h 438"/>
                <a:gd name="T4" fmla="*/ 253 w 614"/>
                <a:gd name="T5" fmla="*/ 389 h 438"/>
                <a:gd name="T6" fmla="*/ 314 w 614"/>
                <a:gd name="T7" fmla="*/ 397 h 438"/>
                <a:gd name="T8" fmla="*/ 356 w 614"/>
                <a:gd name="T9" fmla="*/ 414 h 438"/>
                <a:gd name="T10" fmla="*/ 391 w 614"/>
                <a:gd name="T11" fmla="*/ 406 h 438"/>
                <a:gd name="T12" fmla="*/ 431 w 614"/>
                <a:gd name="T13" fmla="*/ 414 h 438"/>
                <a:gd name="T14" fmla="*/ 476 w 614"/>
                <a:gd name="T15" fmla="*/ 431 h 438"/>
                <a:gd name="T16" fmla="*/ 502 w 614"/>
                <a:gd name="T17" fmla="*/ 357 h 438"/>
                <a:gd name="T18" fmla="*/ 536 w 614"/>
                <a:gd name="T19" fmla="*/ 332 h 438"/>
                <a:gd name="T20" fmla="*/ 528 w 614"/>
                <a:gd name="T21" fmla="*/ 292 h 438"/>
                <a:gd name="T22" fmla="*/ 540 w 614"/>
                <a:gd name="T23" fmla="*/ 265 h 438"/>
                <a:gd name="T24" fmla="*/ 585 w 614"/>
                <a:gd name="T25" fmla="*/ 266 h 438"/>
                <a:gd name="T26" fmla="*/ 603 w 614"/>
                <a:gd name="T27" fmla="*/ 235 h 438"/>
                <a:gd name="T28" fmla="*/ 556 w 614"/>
                <a:gd name="T29" fmla="*/ 207 h 438"/>
                <a:gd name="T30" fmla="*/ 505 w 614"/>
                <a:gd name="T31" fmla="*/ 141 h 438"/>
                <a:gd name="T32" fmla="*/ 493 w 614"/>
                <a:gd name="T33" fmla="*/ 85 h 438"/>
                <a:gd name="T34" fmla="*/ 442 w 614"/>
                <a:gd name="T35" fmla="*/ 27 h 438"/>
                <a:gd name="T36" fmla="*/ 395 w 614"/>
                <a:gd name="T37" fmla="*/ 33 h 438"/>
                <a:gd name="T38" fmla="*/ 354 w 614"/>
                <a:gd name="T39" fmla="*/ 11 h 438"/>
                <a:gd name="T40" fmla="*/ 305 w 614"/>
                <a:gd name="T41" fmla="*/ 7 h 438"/>
                <a:gd name="T42" fmla="*/ 259 w 614"/>
                <a:gd name="T43" fmla="*/ 28 h 438"/>
                <a:gd name="T44" fmla="*/ 218 w 614"/>
                <a:gd name="T45" fmla="*/ 55 h 438"/>
                <a:gd name="T46" fmla="*/ 227 w 614"/>
                <a:gd name="T47" fmla="*/ 84 h 438"/>
                <a:gd name="T48" fmla="*/ 179 w 614"/>
                <a:gd name="T49" fmla="*/ 110 h 438"/>
                <a:gd name="T50" fmla="*/ 158 w 614"/>
                <a:gd name="T51" fmla="*/ 160 h 438"/>
                <a:gd name="T52" fmla="*/ 150 w 614"/>
                <a:gd name="T53" fmla="*/ 181 h 438"/>
                <a:gd name="T54" fmla="*/ 97 w 614"/>
                <a:gd name="T55" fmla="*/ 197 h 438"/>
                <a:gd name="T56" fmla="*/ 29 w 614"/>
                <a:gd name="T57" fmla="*/ 218 h 438"/>
                <a:gd name="T58" fmla="*/ 46 w 614"/>
                <a:gd name="T59" fmla="*/ 298 h 438"/>
                <a:gd name="T60" fmla="*/ 0 w 614"/>
                <a:gd name="T61" fmla="*/ 342 h 438"/>
                <a:gd name="T62" fmla="*/ 30 w 614"/>
                <a:gd name="T63" fmla="*/ 371 h 438"/>
                <a:gd name="T64" fmla="*/ 24 w 614"/>
                <a:gd name="T65" fmla="*/ 398 h 438"/>
                <a:gd name="T66" fmla="*/ 70 w 614"/>
                <a:gd name="T67" fmla="*/ 386 h 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14" h="438">
                  <a:moveTo>
                    <a:pt x="70" y="386"/>
                  </a:moveTo>
                  <a:cubicBezTo>
                    <a:pt x="74" y="377"/>
                    <a:pt x="75" y="372"/>
                    <a:pt x="95" y="372"/>
                  </a:cubicBezTo>
                  <a:cubicBezTo>
                    <a:pt x="115" y="372"/>
                    <a:pt x="117" y="368"/>
                    <a:pt x="130" y="368"/>
                  </a:cubicBezTo>
                  <a:cubicBezTo>
                    <a:pt x="143" y="368"/>
                    <a:pt x="169" y="372"/>
                    <a:pt x="182" y="374"/>
                  </a:cubicBezTo>
                  <a:cubicBezTo>
                    <a:pt x="195" y="376"/>
                    <a:pt x="203" y="381"/>
                    <a:pt x="214" y="382"/>
                  </a:cubicBezTo>
                  <a:cubicBezTo>
                    <a:pt x="225" y="383"/>
                    <a:pt x="237" y="381"/>
                    <a:pt x="253" y="389"/>
                  </a:cubicBezTo>
                  <a:cubicBezTo>
                    <a:pt x="269" y="397"/>
                    <a:pt x="289" y="410"/>
                    <a:pt x="297" y="408"/>
                  </a:cubicBezTo>
                  <a:cubicBezTo>
                    <a:pt x="305" y="406"/>
                    <a:pt x="305" y="397"/>
                    <a:pt x="314" y="397"/>
                  </a:cubicBezTo>
                  <a:cubicBezTo>
                    <a:pt x="323" y="397"/>
                    <a:pt x="337" y="395"/>
                    <a:pt x="340" y="401"/>
                  </a:cubicBezTo>
                  <a:cubicBezTo>
                    <a:pt x="343" y="407"/>
                    <a:pt x="350" y="414"/>
                    <a:pt x="356" y="414"/>
                  </a:cubicBezTo>
                  <a:cubicBezTo>
                    <a:pt x="362" y="414"/>
                    <a:pt x="362" y="398"/>
                    <a:pt x="369" y="398"/>
                  </a:cubicBezTo>
                  <a:cubicBezTo>
                    <a:pt x="376" y="398"/>
                    <a:pt x="391" y="401"/>
                    <a:pt x="391" y="406"/>
                  </a:cubicBezTo>
                  <a:cubicBezTo>
                    <a:pt x="391" y="411"/>
                    <a:pt x="393" y="423"/>
                    <a:pt x="404" y="419"/>
                  </a:cubicBezTo>
                  <a:cubicBezTo>
                    <a:pt x="415" y="415"/>
                    <a:pt x="419" y="414"/>
                    <a:pt x="431" y="414"/>
                  </a:cubicBezTo>
                  <a:cubicBezTo>
                    <a:pt x="443" y="414"/>
                    <a:pt x="451" y="412"/>
                    <a:pt x="456" y="422"/>
                  </a:cubicBezTo>
                  <a:cubicBezTo>
                    <a:pt x="461" y="432"/>
                    <a:pt x="476" y="438"/>
                    <a:pt x="476" y="431"/>
                  </a:cubicBezTo>
                  <a:cubicBezTo>
                    <a:pt x="476" y="424"/>
                    <a:pt x="470" y="402"/>
                    <a:pt x="476" y="391"/>
                  </a:cubicBezTo>
                  <a:cubicBezTo>
                    <a:pt x="482" y="380"/>
                    <a:pt x="489" y="357"/>
                    <a:pt x="502" y="357"/>
                  </a:cubicBezTo>
                  <a:cubicBezTo>
                    <a:pt x="513" y="357"/>
                    <a:pt x="537" y="361"/>
                    <a:pt x="552" y="356"/>
                  </a:cubicBezTo>
                  <a:cubicBezTo>
                    <a:pt x="545" y="348"/>
                    <a:pt x="539" y="341"/>
                    <a:pt x="536" y="332"/>
                  </a:cubicBezTo>
                  <a:cubicBezTo>
                    <a:pt x="532" y="321"/>
                    <a:pt x="544" y="324"/>
                    <a:pt x="538" y="314"/>
                  </a:cubicBezTo>
                  <a:cubicBezTo>
                    <a:pt x="533" y="305"/>
                    <a:pt x="535" y="296"/>
                    <a:pt x="528" y="292"/>
                  </a:cubicBezTo>
                  <a:cubicBezTo>
                    <a:pt x="521" y="289"/>
                    <a:pt x="518" y="287"/>
                    <a:pt x="522" y="278"/>
                  </a:cubicBezTo>
                  <a:cubicBezTo>
                    <a:pt x="527" y="269"/>
                    <a:pt x="526" y="258"/>
                    <a:pt x="540" y="265"/>
                  </a:cubicBezTo>
                  <a:cubicBezTo>
                    <a:pt x="554" y="271"/>
                    <a:pt x="558" y="278"/>
                    <a:pt x="565" y="277"/>
                  </a:cubicBezTo>
                  <a:cubicBezTo>
                    <a:pt x="573" y="277"/>
                    <a:pt x="574" y="266"/>
                    <a:pt x="585" y="266"/>
                  </a:cubicBezTo>
                  <a:cubicBezTo>
                    <a:pt x="596" y="265"/>
                    <a:pt x="604" y="257"/>
                    <a:pt x="606" y="252"/>
                  </a:cubicBezTo>
                  <a:cubicBezTo>
                    <a:pt x="608" y="246"/>
                    <a:pt x="614" y="245"/>
                    <a:pt x="603" y="235"/>
                  </a:cubicBezTo>
                  <a:cubicBezTo>
                    <a:pt x="592" y="225"/>
                    <a:pt x="590" y="212"/>
                    <a:pt x="580" y="212"/>
                  </a:cubicBezTo>
                  <a:cubicBezTo>
                    <a:pt x="571" y="212"/>
                    <a:pt x="557" y="217"/>
                    <a:pt x="556" y="207"/>
                  </a:cubicBezTo>
                  <a:cubicBezTo>
                    <a:pt x="554" y="196"/>
                    <a:pt x="553" y="187"/>
                    <a:pt x="542" y="185"/>
                  </a:cubicBezTo>
                  <a:cubicBezTo>
                    <a:pt x="531" y="184"/>
                    <a:pt x="512" y="153"/>
                    <a:pt x="505" y="141"/>
                  </a:cubicBezTo>
                  <a:cubicBezTo>
                    <a:pt x="498" y="129"/>
                    <a:pt x="488" y="126"/>
                    <a:pt x="495" y="113"/>
                  </a:cubicBezTo>
                  <a:cubicBezTo>
                    <a:pt x="502" y="100"/>
                    <a:pt x="500" y="93"/>
                    <a:pt x="493" y="85"/>
                  </a:cubicBezTo>
                  <a:cubicBezTo>
                    <a:pt x="486" y="78"/>
                    <a:pt x="506" y="59"/>
                    <a:pt x="487" y="49"/>
                  </a:cubicBezTo>
                  <a:cubicBezTo>
                    <a:pt x="469" y="39"/>
                    <a:pt x="455" y="28"/>
                    <a:pt x="442" y="27"/>
                  </a:cubicBezTo>
                  <a:cubicBezTo>
                    <a:pt x="428" y="26"/>
                    <a:pt x="430" y="33"/>
                    <a:pt x="418" y="39"/>
                  </a:cubicBezTo>
                  <a:cubicBezTo>
                    <a:pt x="407" y="45"/>
                    <a:pt x="398" y="44"/>
                    <a:pt x="395" y="33"/>
                  </a:cubicBezTo>
                  <a:cubicBezTo>
                    <a:pt x="393" y="22"/>
                    <a:pt x="395" y="14"/>
                    <a:pt x="382" y="14"/>
                  </a:cubicBezTo>
                  <a:cubicBezTo>
                    <a:pt x="368" y="14"/>
                    <a:pt x="366" y="12"/>
                    <a:pt x="354" y="11"/>
                  </a:cubicBezTo>
                  <a:cubicBezTo>
                    <a:pt x="343" y="9"/>
                    <a:pt x="324" y="11"/>
                    <a:pt x="319" y="0"/>
                  </a:cubicBezTo>
                  <a:cubicBezTo>
                    <a:pt x="315" y="2"/>
                    <a:pt x="311" y="4"/>
                    <a:pt x="305" y="7"/>
                  </a:cubicBezTo>
                  <a:cubicBezTo>
                    <a:pt x="297" y="10"/>
                    <a:pt x="303" y="14"/>
                    <a:pt x="286" y="30"/>
                  </a:cubicBezTo>
                  <a:cubicBezTo>
                    <a:pt x="269" y="47"/>
                    <a:pt x="270" y="30"/>
                    <a:pt x="259" y="28"/>
                  </a:cubicBezTo>
                  <a:cubicBezTo>
                    <a:pt x="247" y="27"/>
                    <a:pt x="234" y="34"/>
                    <a:pt x="232" y="41"/>
                  </a:cubicBezTo>
                  <a:cubicBezTo>
                    <a:pt x="230" y="48"/>
                    <a:pt x="225" y="50"/>
                    <a:pt x="218" y="55"/>
                  </a:cubicBezTo>
                  <a:cubicBezTo>
                    <a:pt x="211" y="60"/>
                    <a:pt x="213" y="70"/>
                    <a:pt x="219" y="72"/>
                  </a:cubicBezTo>
                  <a:cubicBezTo>
                    <a:pt x="225" y="74"/>
                    <a:pt x="228" y="77"/>
                    <a:pt x="227" y="84"/>
                  </a:cubicBezTo>
                  <a:cubicBezTo>
                    <a:pt x="226" y="92"/>
                    <a:pt x="210" y="97"/>
                    <a:pt x="201" y="96"/>
                  </a:cubicBezTo>
                  <a:cubicBezTo>
                    <a:pt x="193" y="95"/>
                    <a:pt x="188" y="109"/>
                    <a:pt x="179" y="110"/>
                  </a:cubicBezTo>
                  <a:cubicBezTo>
                    <a:pt x="170" y="110"/>
                    <a:pt x="166" y="119"/>
                    <a:pt x="162" y="131"/>
                  </a:cubicBezTo>
                  <a:cubicBezTo>
                    <a:pt x="158" y="142"/>
                    <a:pt x="158" y="150"/>
                    <a:pt x="158" y="160"/>
                  </a:cubicBezTo>
                  <a:cubicBezTo>
                    <a:pt x="158" y="170"/>
                    <a:pt x="169" y="174"/>
                    <a:pt x="166" y="178"/>
                  </a:cubicBezTo>
                  <a:cubicBezTo>
                    <a:pt x="164" y="182"/>
                    <a:pt x="157" y="183"/>
                    <a:pt x="150" y="181"/>
                  </a:cubicBezTo>
                  <a:cubicBezTo>
                    <a:pt x="143" y="178"/>
                    <a:pt x="137" y="177"/>
                    <a:pt x="127" y="177"/>
                  </a:cubicBezTo>
                  <a:cubicBezTo>
                    <a:pt x="117" y="178"/>
                    <a:pt x="107" y="189"/>
                    <a:pt x="97" y="197"/>
                  </a:cubicBezTo>
                  <a:cubicBezTo>
                    <a:pt x="86" y="204"/>
                    <a:pt x="66" y="200"/>
                    <a:pt x="44" y="200"/>
                  </a:cubicBezTo>
                  <a:cubicBezTo>
                    <a:pt x="23" y="200"/>
                    <a:pt x="29" y="207"/>
                    <a:pt x="29" y="218"/>
                  </a:cubicBezTo>
                  <a:cubicBezTo>
                    <a:pt x="28" y="230"/>
                    <a:pt x="30" y="241"/>
                    <a:pt x="40" y="254"/>
                  </a:cubicBezTo>
                  <a:cubicBezTo>
                    <a:pt x="51" y="267"/>
                    <a:pt x="47" y="281"/>
                    <a:pt x="46" y="298"/>
                  </a:cubicBezTo>
                  <a:cubicBezTo>
                    <a:pt x="44" y="316"/>
                    <a:pt x="28" y="316"/>
                    <a:pt x="17" y="322"/>
                  </a:cubicBezTo>
                  <a:cubicBezTo>
                    <a:pt x="6" y="328"/>
                    <a:pt x="0" y="335"/>
                    <a:pt x="0" y="342"/>
                  </a:cubicBezTo>
                  <a:cubicBezTo>
                    <a:pt x="0" y="348"/>
                    <a:pt x="13" y="351"/>
                    <a:pt x="19" y="353"/>
                  </a:cubicBezTo>
                  <a:cubicBezTo>
                    <a:pt x="26" y="356"/>
                    <a:pt x="34" y="364"/>
                    <a:pt x="30" y="371"/>
                  </a:cubicBezTo>
                  <a:cubicBezTo>
                    <a:pt x="27" y="377"/>
                    <a:pt x="27" y="385"/>
                    <a:pt x="25" y="398"/>
                  </a:cubicBezTo>
                  <a:cubicBezTo>
                    <a:pt x="24" y="398"/>
                    <a:pt x="24" y="398"/>
                    <a:pt x="24" y="398"/>
                  </a:cubicBezTo>
                  <a:cubicBezTo>
                    <a:pt x="27" y="397"/>
                    <a:pt x="31" y="397"/>
                    <a:pt x="35" y="397"/>
                  </a:cubicBezTo>
                  <a:cubicBezTo>
                    <a:pt x="51" y="397"/>
                    <a:pt x="66" y="395"/>
                    <a:pt x="70" y="386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103" name="Freeform 25162"/>
            <p:cNvSpPr>
              <a:spLocks/>
            </p:cNvSpPr>
            <p:nvPr/>
          </p:nvSpPr>
          <p:spPr bwMode="auto">
            <a:xfrm>
              <a:off x="4806541" y="2450277"/>
              <a:ext cx="432623" cy="248746"/>
            </a:xfrm>
            <a:custGeom>
              <a:avLst/>
              <a:gdLst>
                <a:gd name="T0" fmla="*/ 1148 w 1160"/>
                <a:gd name="T1" fmla="*/ 283 h 667"/>
                <a:gd name="T2" fmla="*/ 1123 w 1160"/>
                <a:gd name="T3" fmla="*/ 243 h 667"/>
                <a:gd name="T4" fmla="*/ 1036 w 1160"/>
                <a:gd name="T5" fmla="*/ 211 h 667"/>
                <a:gd name="T6" fmla="*/ 945 w 1160"/>
                <a:gd name="T7" fmla="*/ 185 h 667"/>
                <a:gd name="T8" fmla="*/ 883 w 1160"/>
                <a:gd name="T9" fmla="*/ 180 h 667"/>
                <a:gd name="T10" fmla="*/ 832 w 1160"/>
                <a:gd name="T11" fmla="*/ 110 h 667"/>
                <a:gd name="T12" fmla="*/ 774 w 1160"/>
                <a:gd name="T13" fmla="*/ 74 h 667"/>
                <a:gd name="T14" fmla="*/ 759 w 1160"/>
                <a:gd name="T15" fmla="*/ 16 h 667"/>
                <a:gd name="T16" fmla="*/ 695 w 1160"/>
                <a:gd name="T17" fmla="*/ 24 h 667"/>
                <a:gd name="T18" fmla="*/ 628 w 1160"/>
                <a:gd name="T19" fmla="*/ 34 h 667"/>
                <a:gd name="T20" fmla="*/ 550 w 1160"/>
                <a:gd name="T21" fmla="*/ 67 h 667"/>
                <a:gd name="T22" fmla="*/ 505 w 1160"/>
                <a:gd name="T23" fmla="*/ 90 h 667"/>
                <a:gd name="T24" fmla="*/ 443 w 1160"/>
                <a:gd name="T25" fmla="*/ 74 h 667"/>
                <a:gd name="T26" fmla="*/ 388 w 1160"/>
                <a:gd name="T27" fmla="*/ 73 h 667"/>
                <a:gd name="T28" fmla="*/ 288 w 1160"/>
                <a:gd name="T29" fmla="*/ 58 h 667"/>
                <a:gd name="T30" fmla="*/ 169 w 1160"/>
                <a:gd name="T31" fmla="*/ 48 h 667"/>
                <a:gd name="T32" fmla="*/ 98 w 1160"/>
                <a:gd name="T33" fmla="*/ 74 h 667"/>
                <a:gd name="T34" fmla="*/ 131 w 1160"/>
                <a:gd name="T35" fmla="*/ 162 h 667"/>
                <a:gd name="T36" fmla="*/ 47 w 1160"/>
                <a:gd name="T37" fmla="*/ 270 h 667"/>
                <a:gd name="T38" fmla="*/ 11 w 1160"/>
                <a:gd name="T39" fmla="*/ 327 h 667"/>
                <a:gd name="T40" fmla="*/ 57 w 1160"/>
                <a:gd name="T41" fmla="*/ 374 h 667"/>
                <a:gd name="T42" fmla="*/ 165 w 1160"/>
                <a:gd name="T43" fmla="*/ 381 h 667"/>
                <a:gd name="T44" fmla="*/ 238 w 1160"/>
                <a:gd name="T45" fmla="*/ 381 h 667"/>
                <a:gd name="T46" fmla="*/ 335 w 1160"/>
                <a:gd name="T47" fmla="*/ 346 h 667"/>
                <a:gd name="T48" fmla="*/ 438 w 1160"/>
                <a:gd name="T49" fmla="*/ 373 h 667"/>
                <a:gd name="T50" fmla="*/ 495 w 1160"/>
                <a:gd name="T51" fmla="*/ 471 h 667"/>
                <a:gd name="T52" fmla="*/ 452 w 1160"/>
                <a:gd name="T53" fmla="*/ 497 h 667"/>
                <a:gd name="T54" fmla="*/ 415 w 1160"/>
                <a:gd name="T55" fmla="*/ 567 h 667"/>
                <a:gd name="T56" fmla="*/ 464 w 1160"/>
                <a:gd name="T57" fmla="*/ 582 h 667"/>
                <a:gd name="T58" fmla="*/ 485 w 1160"/>
                <a:gd name="T59" fmla="*/ 575 h 667"/>
                <a:gd name="T60" fmla="*/ 611 w 1160"/>
                <a:gd name="T61" fmla="*/ 485 h 667"/>
                <a:gd name="T62" fmla="*/ 621 w 1160"/>
                <a:gd name="T63" fmla="*/ 510 h 667"/>
                <a:gd name="T64" fmla="*/ 696 w 1160"/>
                <a:gd name="T65" fmla="*/ 538 h 667"/>
                <a:gd name="T66" fmla="*/ 710 w 1160"/>
                <a:gd name="T67" fmla="*/ 555 h 667"/>
                <a:gd name="T68" fmla="*/ 727 w 1160"/>
                <a:gd name="T69" fmla="*/ 605 h 667"/>
                <a:gd name="T70" fmla="*/ 793 w 1160"/>
                <a:gd name="T71" fmla="*/ 645 h 667"/>
                <a:gd name="T72" fmla="*/ 897 w 1160"/>
                <a:gd name="T73" fmla="*/ 616 h 667"/>
                <a:gd name="T74" fmla="*/ 872 w 1160"/>
                <a:gd name="T75" fmla="*/ 583 h 667"/>
                <a:gd name="T76" fmla="*/ 878 w 1160"/>
                <a:gd name="T77" fmla="*/ 496 h 667"/>
                <a:gd name="T78" fmla="*/ 1008 w 1160"/>
                <a:gd name="T79" fmla="*/ 452 h 667"/>
                <a:gd name="T80" fmla="*/ 1057 w 1160"/>
                <a:gd name="T81" fmla="*/ 406 h 667"/>
                <a:gd name="T82" fmla="*/ 1150 w 1160"/>
                <a:gd name="T83" fmla="*/ 365 h 667"/>
                <a:gd name="T84" fmla="*/ 1136 w 1160"/>
                <a:gd name="T85" fmla="*/ 314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160" h="667">
                  <a:moveTo>
                    <a:pt x="1136" y="314"/>
                  </a:moveTo>
                  <a:cubicBezTo>
                    <a:pt x="1145" y="312"/>
                    <a:pt x="1154" y="311"/>
                    <a:pt x="1150" y="305"/>
                  </a:cubicBezTo>
                  <a:cubicBezTo>
                    <a:pt x="1146" y="298"/>
                    <a:pt x="1137" y="294"/>
                    <a:pt x="1148" y="283"/>
                  </a:cubicBezTo>
                  <a:cubicBezTo>
                    <a:pt x="1159" y="273"/>
                    <a:pt x="1159" y="269"/>
                    <a:pt x="1159" y="261"/>
                  </a:cubicBezTo>
                  <a:cubicBezTo>
                    <a:pt x="1160" y="253"/>
                    <a:pt x="1156" y="245"/>
                    <a:pt x="1148" y="247"/>
                  </a:cubicBezTo>
                  <a:cubicBezTo>
                    <a:pt x="1139" y="248"/>
                    <a:pt x="1135" y="254"/>
                    <a:pt x="1123" y="243"/>
                  </a:cubicBezTo>
                  <a:cubicBezTo>
                    <a:pt x="1112" y="231"/>
                    <a:pt x="1101" y="219"/>
                    <a:pt x="1094" y="223"/>
                  </a:cubicBezTo>
                  <a:cubicBezTo>
                    <a:pt x="1086" y="227"/>
                    <a:pt x="1075" y="237"/>
                    <a:pt x="1067" y="226"/>
                  </a:cubicBezTo>
                  <a:cubicBezTo>
                    <a:pt x="1059" y="216"/>
                    <a:pt x="1046" y="210"/>
                    <a:pt x="1036" y="211"/>
                  </a:cubicBezTo>
                  <a:cubicBezTo>
                    <a:pt x="1027" y="212"/>
                    <a:pt x="1022" y="223"/>
                    <a:pt x="1008" y="209"/>
                  </a:cubicBezTo>
                  <a:cubicBezTo>
                    <a:pt x="994" y="195"/>
                    <a:pt x="977" y="170"/>
                    <a:pt x="971" y="176"/>
                  </a:cubicBezTo>
                  <a:cubicBezTo>
                    <a:pt x="965" y="181"/>
                    <a:pt x="948" y="178"/>
                    <a:pt x="945" y="185"/>
                  </a:cubicBezTo>
                  <a:cubicBezTo>
                    <a:pt x="942" y="193"/>
                    <a:pt x="933" y="197"/>
                    <a:pt x="924" y="194"/>
                  </a:cubicBezTo>
                  <a:cubicBezTo>
                    <a:pt x="915" y="192"/>
                    <a:pt x="909" y="180"/>
                    <a:pt x="900" y="179"/>
                  </a:cubicBezTo>
                  <a:cubicBezTo>
                    <a:pt x="892" y="178"/>
                    <a:pt x="886" y="175"/>
                    <a:pt x="883" y="180"/>
                  </a:cubicBezTo>
                  <a:cubicBezTo>
                    <a:pt x="880" y="185"/>
                    <a:pt x="869" y="184"/>
                    <a:pt x="865" y="180"/>
                  </a:cubicBezTo>
                  <a:cubicBezTo>
                    <a:pt x="860" y="175"/>
                    <a:pt x="859" y="153"/>
                    <a:pt x="853" y="141"/>
                  </a:cubicBezTo>
                  <a:cubicBezTo>
                    <a:pt x="847" y="129"/>
                    <a:pt x="841" y="111"/>
                    <a:pt x="832" y="110"/>
                  </a:cubicBezTo>
                  <a:cubicBezTo>
                    <a:pt x="823" y="108"/>
                    <a:pt x="816" y="119"/>
                    <a:pt x="804" y="113"/>
                  </a:cubicBezTo>
                  <a:cubicBezTo>
                    <a:pt x="793" y="106"/>
                    <a:pt x="781" y="112"/>
                    <a:pt x="780" y="100"/>
                  </a:cubicBezTo>
                  <a:cubicBezTo>
                    <a:pt x="779" y="87"/>
                    <a:pt x="777" y="78"/>
                    <a:pt x="774" y="74"/>
                  </a:cubicBezTo>
                  <a:cubicBezTo>
                    <a:pt x="771" y="70"/>
                    <a:pt x="773" y="63"/>
                    <a:pt x="779" y="62"/>
                  </a:cubicBezTo>
                  <a:cubicBezTo>
                    <a:pt x="785" y="61"/>
                    <a:pt x="793" y="59"/>
                    <a:pt x="783" y="50"/>
                  </a:cubicBezTo>
                  <a:cubicBezTo>
                    <a:pt x="772" y="40"/>
                    <a:pt x="770" y="19"/>
                    <a:pt x="759" y="16"/>
                  </a:cubicBezTo>
                  <a:cubicBezTo>
                    <a:pt x="749" y="14"/>
                    <a:pt x="747" y="5"/>
                    <a:pt x="742" y="11"/>
                  </a:cubicBezTo>
                  <a:cubicBezTo>
                    <a:pt x="738" y="17"/>
                    <a:pt x="727" y="0"/>
                    <a:pt x="719" y="7"/>
                  </a:cubicBezTo>
                  <a:cubicBezTo>
                    <a:pt x="712" y="14"/>
                    <a:pt x="708" y="27"/>
                    <a:pt x="695" y="24"/>
                  </a:cubicBezTo>
                  <a:cubicBezTo>
                    <a:pt x="681" y="22"/>
                    <a:pt x="677" y="12"/>
                    <a:pt x="671" y="16"/>
                  </a:cubicBezTo>
                  <a:cubicBezTo>
                    <a:pt x="665" y="19"/>
                    <a:pt x="659" y="20"/>
                    <a:pt x="655" y="28"/>
                  </a:cubicBezTo>
                  <a:cubicBezTo>
                    <a:pt x="651" y="37"/>
                    <a:pt x="636" y="43"/>
                    <a:pt x="628" y="34"/>
                  </a:cubicBezTo>
                  <a:cubicBezTo>
                    <a:pt x="627" y="33"/>
                    <a:pt x="627" y="32"/>
                    <a:pt x="626" y="32"/>
                  </a:cubicBezTo>
                  <a:cubicBezTo>
                    <a:pt x="611" y="37"/>
                    <a:pt x="587" y="33"/>
                    <a:pt x="576" y="33"/>
                  </a:cubicBezTo>
                  <a:cubicBezTo>
                    <a:pt x="563" y="33"/>
                    <a:pt x="556" y="56"/>
                    <a:pt x="550" y="67"/>
                  </a:cubicBezTo>
                  <a:cubicBezTo>
                    <a:pt x="544" y="78"/>
                    <a:pt x="550" y="100"/>
                    <a:pt x="550" y="107"/>
                  </a:cubicBezTo>
                  <a:cubicBezTo>
                    <a:pt x="550" y="114"/>
                    <a:pt x="535" y="108"/>
                    <a:pt x="530" y="98"/>
                  </a:cubicBezTo>
                  <a:cubicBezTo>
                    <a:pt x="525" y="88"/>
                    <a:pt x="517" y="90"/>
                    <a:pt x="505" y="90"/>
                  </a:cubicBezTo>
                  <a:cubicBezTo>
                    <a:pt x="493" y="90"/>
                    <a:pt x="489" y="91"/>
                    <a:pt x="478" y="95"/>
                  </a:cubicBezTo>
                  <a:cubicBezTo>
                    <a:pt x="467" y="99"/>
                    <a:pt x="465" y="87"/>
                    <a:pt x="465" y="82"/>
                  </a:cubicBezTo>
                  <a:cubicBezTo>
                    <a:pt x="465" y="77"/>
                    <a:pt x="450" y="74"/>
                    <a:pt x="443" y="74"/>
                  </a:cubicBezTo>
                  <a:cubicBezTo>
                    <a:pt x="436" y="74"/>
                    <a:pt x="436" y="90"/>
                    <a:pt x="430" y="90"/>
                  </a:cubicBezTo>
                  <a:cubicBezTo>
                    <a:pt x="424" y="90"/>
                    <a:pt x="417" y="83"/>
                    <a:pt x="414" y="77"/>
                  </a:cubicBezTo>
                  <a:cubicBezTo>
                    <a:pt x="411" y="71"/>
                    <a:pt x="397" y="73"/>
                    <a:pt x="388" y="73"/>
                  </a:cubicBezTo>
                  <a:cubicBezTo>
                    <a:pt x="379" y="73"/>
                    <a:pt x="379" y="82"/>
                    <a:pt x="371" y="84"/>
                  </a:cubicBezTo>
                  <a:cubicBezTo>
                    <a:pt x="363" y="86"/>
                    <a:pt x="343" y="73"/>
                    <a:pt x="327" y="65"/>
                  </a:cubicBezTo>
                  <a:cubicBezTo>
                    <a:pt x="311" y="57"/>
                    <a:pt x="299" y="59"/>
                    <a:pt x="288" y="58"/>
                  </a:cubicBezTo>
                  <a:cubicBezTo>
                    <a:pt x="277" y="57"/>
                    <a:pt x="269" y="52"/>
                    <a:pt x="256" y="50"/>
                  </a:cubicBezTo>
                  <a:cubicBezTo>
                    <a:pt x="243" y="48"/>
                    <a:pt x="217" y="44"/>
                    <a:pt x="204" y="44"/>
                  </a:cubicBezTo>
                  <a:cubicBezTo>
                    <a:pt x="191" y="44"/>
                    <a:pt x="189" y="48"/>
                    <a:pt x="169" y="48"/>
                  </a:cubicBezTo>
                  <a:cubicBezTo>
                    <a:pt x="149" y="48"/>
                    <a:pt x="148" y="53"/>
                    <a:pt x="144" y="62"/>
                  </a:cubicBezTo>
                  <a:cubicBezTo>
                    <a:pt x="140" y="71"/>
                    <a:pt x="125" y="73"/>
                    <a:pt x="109" y="73"/>
                  </a:cubicBezTo>
                  <a:cubicBezTo>
                    <a:pt x="105" y="73"/>
                    <a:pt x="101" y="73"/>
                    <a:pt x="98" y="74"/>
                  </a:cubicBezTo>
                  <a:cubicBezTo>
                    <a:pt x="96" y="87"/>
                    <a:pt x="107" y="92"/>
                    <a:pt x="108" y="102"/>
                  </a:cubicBezTo>
                  <a:cubicBezTo>
                    <a:pt x="109" y="112"/>
                    <a:pt x="117" y="120"/>
                    <a:pt x="126" y="127"/>
                  </a:cubicBezTo>
                  <a:cubicBezTo>
                    <a:pt x="135" y="134"/>
                    <a:pt x="133" y="149"/>
                    <a:pt x="131" y="162"/>
                  </a:cubicBezTo>
                  <a:cubicBezTo>
                    <a:pt x="129" y="175"/>
                    <a:pt x="117" y="181"/>
                    <a:pt x="105" y="187"/>
                  </a:cubicBezTo>
                  <a:cubicBezTo>
                    <a:pt x="92" y="193"/>
                    <a:pt x="76" y="219"/>
                    <a:pt x="59" y="229"/>
                  </a:cubicBezTo>
                  <a:cubicBezTo>
                    <a:pt x="42" y="240"/>
                    <a:pt x="45" y="254"/>
                    <a:pt x="47" y="270"/>
                  </a:cubicBezTo>
                  <a:cubicBezTo>
                    <a:pt x="48" y="287"/>
                    <a:pt x="50" y="285"/>
                    <a:pt x="42" y="287"/>
                  </a:cubicBezTo>
                  <a:cubicBezTo>
                    <a:pt x="34" y="289"/>
                    <a:pt x="31" y="289"/>
                    <a:pt x="29" y="300"/>
                  </a:cubicBezTo>
                  <a:cubicBezTo>
                    <a:pt x="27" y="310"/>
                    <a:pt x="21" y="314"/>
                    <a:pt x="11" y="327"/>
                  </a:cubicBezTo>
                  <a:cubicBezTo>
                    <a:pt x="0" y="341"/>
                    <a:pt x="14" y="349"/>
                    <a:pt x="19" y="354"/>
                  </a:cubicBezTo>
                  <a:cubicBezTo>
                    <a:pt x="25" y="359"/>
                    <a:pt x="41" y="366"/>
                    <a:pt x="50" y="369"/>
                  </a:cubicBezTo>
                  <a:cubicBezTo>
                    <a:pt x="53" y="370"/>
                    <a:pt x="56" y="372"/>
                    <a:pt x="57" y="374"/>
                  </a:cubicBezTo>
                  <a:cubicBezTo>
                    <a:pt x="62" y="372"/>
                    <a:pt x="70" y="370"/>
                    <a:pt x="77" y="371"/>
                  </a:cubicBezTo>
                  <a:cubicBezTo>
                    <a:pt x="92" y="373"/>
                    <a:pt x="102" y="382"/>
                    <a:pt x="114" y="382"/>
                  </a:cubicBezTo>
                  <a:cubicBezTo>
                    <a:pt x="126" y="382"/>
                    <a:pt x="156" y="376"/>
                    <a:pt x="165" y="381"/>
                  </a:cubicBezTo>
                  <a:cubicBezTo>
                    <a:pt x="174" y="386"/>
                    <a:pt x="180" y="411"/>
                    <a:pt x="190" y="401"/>
                  </a:cubicBezTo>
                  <a:cubicBezTo>
                    <a:pt x="200" y="391"/>
                    <a:pt x="207" y="384"/>
                    <a:pt x="214" y="384"/>
                  </a:cubicBezTo>
                  <a:cubicBezTo>
                    <a:pt x="221" y="384"/>
                    <a:pt x="230" y="381"/>
                    <a:pt x="238" y="381"/>
                  </a:cubicBezTo>
                  <a:cubicBezTo>
                    <a:pt x="246" y="381"/>
                    <a:pt x="259" y="384"/>
                    <a:pt x="265" y="373"/>
                  </a:cubicBezTo>
                  <a:cubicBezTo>
                    <a:pt x="271" y="362"/>
                    <a:pt x="283" y="361"/>
                    <a:pt x="293" y="357"/>
                  </a:cubicBezTo>
                  <a:cubicBezTo>
                    <a:pt x="303" y="353"/>
                    <a:pt x="320" y="352"/>
                    <a:pt x="335" y="346"/>
                  </a:cubicBezTo>
                  <a:cubicBezTo>
                    <a:pt x="350" y="340"/>
                    <a:pt x="368" y="336"/>
                    <a:pt x="374" y="344"/>
                  </a:cubicBezTo>
                  <a:cubicBezTo>
                    <a:pt x="380" y="352"/>
                    <a:pt x="386" y="365"/>
                    <a:pt x="401" y="365"/>
                  </a:cubicBezTo>
                  <a:cubicBezTo>
                    <a:pt x="416" y="365"/>
                    <a:pt x="433" y="367"/>
                    <a:pt x="438" y="373"/>
                  </a:cubicBezTo>
                  <a:cubicBezTo>
                    <a:pt x="443" y="379"/>
                    <a:pt x="455" y="388"/>
                    <a:pt x="460" y="402"/>
                  </a:cubicBezTo>
                  <a:cubicBezTo>
                    <a:pt x="465" y="416"/>
                    <a:pt x="482" y="422"/>
                    <a:pt x="482" y="434"/>
                  </a:cubicBezTo>
                  <a:cubicBezTo>
                    <a:pt x="482" y="446"/>
                    <a:pt x="484" y="467"/>
                    <a:pt x="495" y="471"/>
                  </a:cubicBezTo>
                  <a:cubicBezTo>
                    <a:pt x="506" y="475"/>
                    <a:pt x="511" y="480"/>
                    <a:pt x="509" y="491"/>
                  </a:cubicBezTo>
                  <a:cubicBezTo>
                    <a:pt x="507" y="502"/>
                    <a:pt x="498" y="516"/>
                    <a:pt x="487" y="509"/>
                  </a:cubicBezTo>
                  <a:cubicBezTo>
                    <a:pt x="476" y="502"/>
                    <a:pt x="458" y="493"/>
                    <a:pt x="452" y="497"/>
                  </a:cubicBezTo>
                  <a:cubicBezTo>
                    <a:pt x="446" y="501"/>
                    <a:pt x="439" y="507"/>
                    <a:pt x="442" y="514"/>
                  </a:cubicBezTo>
                  <a:cubicBezTo>
                    <a:pt x="445" y="521"/>
                    <a:pt x="451" y="535"/>
                    <a:pt x="435" y="543"/>
                  </a:cubicBezTo>
                  <a:cubicBezTo>
                    <a:pt x="419" y="551"/>
                    <a:pt x="415" y="561"/>
                    <a:pt x="415" y="567"/>
                  </a:cubicBezTo>
                  <a:cubicBezTo>
                    <a:pt x="415" y="573"/>
                    <a:pt x="393" y="584"/>
                    <a:pt x="404" y="592"/>
                  </a:cubicBezTo>
                  <a:cubicBezTo>
                    <a:pt x="415" y="600"/>
                    <a:pt x="428" y="600"/>
                    <a:pt x="437" y="596"/>
                  </a:cubicBezTo>
                  <a:cubicBezTo>
                    <a:pt x="446" y="592"/>
                    <a:pt x="457" y="582"/>
                    <a:pt x="464" y="582"/>
                  </a:cubicBezTo>
                  <a:cubicBezTo>
                    <a:pt x="471" y="582"/>
                    <a:pt x="476" y="578"/>
                    <a:pt x="483" y="590"/>
                  </a:cubicBezTo>
                  <a:cubicBezTo>
                    <a:pt x="487" y="598"/>
                    <a:pt x="489" y="595"/>
                    <a:pt x="492" y="593"/>
                  </a:cubicBezTo>
                  <a:cubicBezTo>
                    <a:pt x="490" y="587"/>
                    <a:pt x="487" y="580"/>
                    <a:pt x="485" y="575"/>
                  </a:cubicBezTo>
                  <a:cubicBezTo>
                    <a:pt x="481" y="563"/>
                    <a:pt x="505" y="560"/>
                    <a:pt x="521" y="550"/>
                  </a:cubicBezTo>
                  <a:cubicBezTo>
                    <a:pt x="537" y="540"/>
                    <a:pt x="553" y="526"/>
                    <a:pt x="564" y="503"/>
                  </a:cubicBezTo>
                  <a:cubicBezTo>
                    <a:pt x="576" y="480"/>
                    <a:pt x="598" y="487"/>
                    <a:pt x="611" y="485"/>
                  </a:cubicBezTo>
                  <a:cubicBezTo>
                    <a:pt x="624" y="482"/>
                    <a:pt x="633" y="472"/>
                    <a:pt x="641" y="479"/>
                  </a:cubicBezTo>
                  <a:cubicBezTo>
                    <a:pt x="650" y="486"/>
                    <a:pt x="640" y="489"/>
                    <a:pt x="627" y="490"/>
                  </a:cubicBezTo>
                  <a:cubicBezTo>
                    <a:pt x="614" y="492"/>
                    <a:pt x="629" y="503"/>
                    <a:pt x="621" y="510"/>
                  </a:cubicBezTo>
                  <a:cubicBezTo>
                    <a:pt x="614" y="517"/>
                    <a:pt x="629" y="525"/>
                    <a:pt x="640" y="525"/>
                  </a:cubicBezTo>
                  <a:cubicBezTo>
                    <a:pt x="651" y="525"/>
                    <a:pt x="651" y="530"/>
                    <a:pt x="663" y="535"/>
                  </a:cubicBezTo>
                  <a:cubicBezTo>
                    <a:pt x="674" y="539"/>
                    <a:pt x="683" y="530"/>
                    <a:pt x="696" y="538"/>
                  </a:cubicBezTo>
                  <a:cubicBezTo>
                    <a:pt x="709" y="545"/>
                    <a:pt x="712" y="533"/>
                    <a:pt x="723" y="529"/>
                  </a:cubicBezTo>
                  <a:cubicBezTo>
                    <a:pt x="735" y="525"/>
                    <a:pt x="749" y="538"/>
                    <a:pt x="743" y="546"/>
                  </a:cubicBezTo>
                  <a:cubicBezTo>
                    <a:pt x="737" y="555"/>
                    <a:pt x="722" y="555"/>
                    <a:pt x="710" y="555"/>
                  </a:cubicBezTo>
                  <a:cubicBezTo>
                    <a:pt x="699" y="555"/>
                    <a:pt x="694" y="562"/>
                    <a:pt x="679" y="573"/>
                  </a:cubicBezTo>
                  <a:cubicBezTo>
                    <a:pt x="663" y="585"/>
                    <a:pt x="674" y="591"/>
                    <a:pt x="692" y="591"/>
                  </a:cubicBezTo>
                  <a:cubicBezTo>
                    <a:pt x="709" y="591"/>
                    <a:pt x="700" y="599"/>
                    <a:pt x="727" y="605"/>
                  </a:cubicBezTo>
                  <a:cubicBezTo>
                    <a:pt x="755" y="611"/>
                    <a:pt x="736" y="632"/>
                    <a:pt x="732" y="645"/>
                  </a:cubicBezTo>
                  <a:cubicBezTo>
                    <a:pt x="727" y="658"/>
                    <a:pt x="742" y="667"/>
                    <a:pt x="756" y="665"/>
                  </a:cubicBezTo>
                  <a:cubicBezTo>
                    <a:pt x="770" y="664"/>
                    <a:pt x="786" y="658"/>
                    <a:pt x="793" y="645"/>
                  </a:cubicBezTo>
                  <a:cubicBezTo>
                    <a:pt x="801" y="632"/>
                    <a:pt x="803" y="632"/>
                    <a:pt x="822" y="632"/>
                  </a:cubicBezTo>
                  <a:cubicBezTo>
                    <a:pt x="841" y="632"/>
                    <a:pt x="842" y="631"/>
                    <a:pt x="849" y="622"/>
                  </a:cubicBezTo>
                  <a:cubicBezTo>
                    <a:pt x="856" y="614"/>
                    <a:pt x="878" y="616"/>
                    <a:pt x="897" y="616"/>
                  </a:cubicBezTo>
                  <a:cubicBezTo>
                    <a:pt x="915" y="616"/>
                    <a:pt x="924" y="619"/>
                    <a:pt x="931" y="596"/>
                  </a:cubicBezTo>
                  <a:cubicBezTo>
                    <a:pt x="938" y="573"/>
                    <a:pt x="930" y="576"/>
                    <a:pt x="922" y="576"/>
                  </a:cubicBezTo>
                  <a:cubicBezTo>
                    <a:pt x="915" y="576"/>
                    <a:pt x="895" y="585"/>
                    <a:pt x="872" y="583"/>
                  </a:cubicBezTo>
                  <a:cubicBezTo>
                    <a:pt x="849" y="582"/>
                    <a:pt x="841" y="572"/>
                    <a:pt x="833" y="558"/>
                  </a:cubicBezTo>
                  <a:cubicBezTo>
                    <a:pt x="826" y="543"/>
                    <a:pt x="816" y="529"/>
                    <a:pt x="831" y="523"/>
                  </a:cubicBezTo>
                  <a:cubicBezTo>
                    <a:pt x="845" y="517"/>
                    <a:pt x="868" y="510"/>
                    <a:pt x="878" y="496"/>
                  </a:cubicBezTo>
                  <a:cubicBezTo>
                    <a:pt x="888" y="482"/>
                    <a:pt x="904" y="483"/>
                    <a:pt x="921" y="480"/>
                  </a:cubicBezTo>
                  <a:cubicBezTo>
                    <a:pt x="938" y="477"/>
                    <a:pt x="950" y="483"/>
                    <a:pt x="961" y="474"/>
                  </a:cubicBezTo>
                  <a:cubicBezTo>
                    <a:pt x="973" y="466"/>
                    <a:pt x="990" y="452"/>
                    <a:pt x="1008" y="452"/>
                  </a:cubicBezTo>
                  <a:cubicBezTo>
                    <a:pt x="1018" y="452"/>
                    <a:pt x="1025" y="450"/>
                    <a:pt x="1031" y="448"/>
                  </a:cubicBezTo>
                  <a:cubicBezTo>
                    <a:pt x="1031" y="441"/>
                    <a:pt x="1030" y="427"/>
                    <a:pt x="1036" y="423"/>
                  </a:cubicBezTo>
                  <a:cubicBezTo>
                    <a:pt x="1045" y="417"/>
                    <a:pt x="1046" y="410"/>
                    <a:pt x="1057" y="406"/>
                  </a:cubicBezTo>
                  <a:cubicBezTo>
                    <a:pt x="1068" y="402"/>
                    <a:pt x="1069" y="388"/>
                    <a:pt x="1088" y="388"/>
                  </a:cubicBezTo>
                  <a:cubicBezTo>
                    <a:pt x="1106" y="388"/>
                    <a:pt x="1137" y="395"/>
                    <a:pt x="1139" y="384"/>
                  </a:cubicBezTo>
                  <a:cubicBezTo>
                    <a:pt x="1142" y="373"/>
                    <a:pt x="1147" y="373"/>
                    <a:pt x="1150" y="365"/>
                  </a:cubicBezTo>
                  <a:cubicBezTo>
                    <a:pt x="1152" y="357"/>
                    <a:pt x="1149" y="357"/>
                    <a:pt x="1144" y="349"/>
                  </a:cubicBezTo>
                  <a:cubicBezTo>
                    <a:pt x="1139" y="341"/>
                    <a:pt x="1139" y="337"/>
                    <a:pt x="1134" y="332"/>
                  </a:cubicBezTo>
                  <a:cubicBezTo>
                    <a:pt x="1130" y="327"/>
                    <a:pt x="1126" y="315"/>
                    <a:pt x="1136" y="314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104" name="Freeform 25163"/>
            <p:cNvSpPr>
              <a:spLocks/>
            </p:cNvSpPr>
            <p:nvPr/>
          </p:nvSpPr>
          <p:spPr bwMode="auto">
            <a:xfrm>
              <a:off x="4921129" y="2575597"/>
              <a:ext cx="75918" cy="93595"/>
            </a:xfrm>
            <a:custGeom>
              <a:avLst/>
              <a:gdLst>
                <a:gd name="T0" fmla="*/ 188 w 204"/>
                <a:gd name="T1" fmla="*/ 135 h 251"/>
                <a:gd name="T2" fmla="*/ 175 w 204"/>
                <a:gd name="T3" fmla="*/ 98 h 251"/>
                <a:gd name="T4" fmla="*/ 153 w 204"/>
                <a:gd name="T5" fmla="*/ 66 h 251"/>
                <a:gd name="T6" fmla="*/ 131 w 204"/>
                <a:gd name="T7" fmla="*/ 37 h 251"/>
                <a:gd name="T8" fmla="*/ 94 w 204"/>
                <a:gd name="T9" fmla="*/ 29 h 251"/>
                <a:gd name="T10" fmla="*/ 67 w 204"/>
                <a:gd name="T11" fmla="*/ 8 h 251"/>
                <a:gd name="T12" fmla="*/ 28 w 204"/>
                <a:gd name="T13" fmla="*/ 10 h 251"/>
                <a:gd name="T14" fmla="*/ 0 w 204"/>
                <a:gd name="T15" fmla="*/ 17 h 251"/>
                <a:gd name="T16" fmla="*/ 17 w 204"/>
                <a:gd name="T17" fmla="*/ 37 h 251"/>
                <a:gd name="T18" fmla="*/ 57 w 204"/>
                <a:gd name="T19" fmla="*/ 102 h 251"/>
                <a:gd name="T20" fmla="*/ 83 w 204"/>
                <a:gd name="T21" fmla="*/ 130 h 251"/>
                <a:gd name="T22" fmla="*/ 93 w 204"/>
                <a:gd name="T23" fmla="*/ 159 h 251"/>
                <a:gd name="T24" fmla="*/ 85 w 204"/>
                <a:gd name="T25" fmla="*/ 187 h 251"/>
                <a:gd name="T26" fmla="*/ 81 w 204"/>
                <a:gd name="T27" fmla="*/ 209 h 251"/>
                <a:gd name="T28" fmla="*/ 86 w 204"/>
                <a:gd name="T29" fmla="*/ 242 h 251"/>
                <a:gd name="T30" fmla="*/ 94 w 204"/>
                <a:gd name="T31" fmla="*/ 251 h 251"/>
                <a:gd name="T32" fmla="*/ 108 w 204"/>
                <a:gd name="T33" fmla="*/ 231 h 251"/>
                <a:gd name="T34" fmla="*/ 128 w 204"/>
                <a:gd name="T35" fmla="*/ 207 h 251"/>
                <a:gd name="T36" fmla="*/ 135 w 204"/>
                <a:gd name="T37" fmla="*/ 178 h 251"/>
                <a:gd name="T38" fmla="*/ 145 w 204"/>
                <a:gd name="T39" fmla="*/ 161 h 251"/>
                <a:gd name="T40" fmla="*/ 180 w 204"/>
                <a:gd name="T41" fmla="*/ 173 h 251"/>
                <a:gd name="T42" fmla="*/ 202 w 204"/>
                <a:gd name="T43" fmla="*/ 155 h 251"/>
                <a:gd name="T44" fmla="*/ 188 w 204"/>
                <a:gd name="T45" fmla="*/ 135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04" h="251">
                  <a:moveTo>
                    <a:pt x="188" y="135"/>
                  </a:moveTo>
                  <a:cubicBezTo>
                    <a:pt x="177" y="131"/>
                    <a:pt x="175" y="110"/>
                    <a:pt x="175" y="98"/>
                  </a:cubicBezTo>
                  <a:cubicBezTo>
                    <a:pt x="175" y="86"/>
                    <a:pt x="158" y="80"/>
                    <a:pt x="153" y="66"/>
                  </a:cubicBezTo>
                  <a:cubicBezTo>
                    <a:pt x="148" y="52"/>
                    <a:pt x="136" y="43"/>
                    <a:pt x="131" y="37"/>
                  </a:cubicBezTo>
                  <a:cubicBezTo>
                    <a:pt x="126" y="31"/>
                    <a:pt x="109" y="29"/>
                    <a:pt x="94" y="29"/>
                  </a:cubicBezTo>
                  <a:cubicBezTo>
                    <a:pt x="79" y="29"/>
                    <a:pt x="73" y="16"/>
                    <a:pt x="67" y="8"/>
                  </a:cubicBezTo>
                  <a:cubicBezTo>
                    <a:pt x="61" y="0"/>
                    <a:pt x="43" y="4"/>
                    <a:pt x="28" y="10"/>
                  </a:cubicBezTo>
                  <a:cubicBezTo>
                    <a:pt x="19" y="14"/>
                    <a:pt x="9" y="15"/>
                    <a:pt x="0" y="17"/>
                  </a:cubicBezTo>
                  <a:cubicBezTo>
                    <a:pt x="6" y="21"/>
                    <a:pt x="12" y="27"/>
                    <a:pt x="17" y="37"/>
                  </a:cubicBezTo>
                  <a:cubicBezTo>
                    <a:pt x="29" y="62"/>
                    <a:pt x="42" y="92"/>
                    <a:pt x="57" y="102"/>
                  </a:cubicBezTo>
                  <a:cubicBezTo>
                    <a:pt x="72" y="112"/>
                    <a:pt x="80" y="124"/>
                    <a:pt x="83" y="130"/>
                  </a:cubicBezTo>
                  <a:cubicBezTo>
                    <a:pt x="86" y="136"/>
                    <a:pt x="93" y="146"/>
                    <a:pt x="93" y="159"/>
                  </a:cubicBezTo>
                  <a:cubicBezTo>
                    <a:pt x="93" y="172"/>
                    <a:pt x="90" y="181"/>
                    <a:pt x="85" y="187"/>
                  </a:cubicBezTo>
                  <a:cubicBezTo>
                    <a:pt x="80" y="193"/>
                    <a:pt x="77" y="201"/>
                    <a:pt x="81" y="209"/>
                  </a:cubicBezTo>
                  <a:cubicBezTo>
                    <a:pt x="85" y="217"/>
                    <a:pt x="81" y="236"/>
                    <a:pt x="86" y="242"/>
                  </a:cubicBezTo>
                  <a:cubicBezTo>
                    <a:pt x="89" y="246"/>
                    <a:pt x="90" y="249"/>
                    <a:pt x="94" y="251"/>
                  </a:cubicBezTo>
                  <a:cubicBezTo>
                    <a:pt x="94" y="244"/>
                    <a:pt x="108" y="236"/>
                    <a:pt x="108" y="231"/>
                  </a:cubicBezTo>
                  <a:cubicBezTo>
                    <a:pt x="108" y="225"/>
                    <a:pt x="112" y="215"/>
                    <a:pt x="128" y="207"/>
                  </a:cubicBezTo>
                  <a:cubicBezTo>
                    <a:pt x="144" y="199"/>
                    <a:pt x="138" y="185"/>
                    <a:pt x="135" y="178"/>
                  </a:cubicBezTo>
                  <a:cubicBezTo>
                    <a:pt x="132" y="171"/>
                    <a:pt x="139" y="165"/>
                    <a:pt x="145" y="161"/>
                  </a:cubicBezTo>
                  <a:cubicBezTo>
                    <a:pt x="151" y="157"/>
                    <a:pt x="169" y="166"/>
                    <a:pt x="180" y="173"/>
                  </a:cubicBezTo>
                  <a:cubicBezTo>
                    <a:pt x="191" y="180"/>
                    <a:pt x="200" y="166"/>
                    <a:pt x="202" y="155"/>
                  </a:cubicBezTo>
                  <a:cubicBezTo>
                    <a:pt x="204" y="144"/>
                    <a:pt x="199" y="139"/>
                    <a:pt x="188" y="13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105" name="Freeform 25164"/>
            <p:cNvSpPr>
              <a:spLocks/>
            </p:cNvSpPr>
            <p:nvPr/>
          </p:nvSpPr>
          <p:spPr bwMode="auto">
            <a:xfrm>
              <a:off x="4764400" y="2581910"/>
              <a:ext cx="226808" cy="140945"/>
            </a:xfrm>
            <a:custGeom>
              <a:avLst/>
              <a:gdLst>
                <a:gd name="T0" fmla="*/ 605 w 608"/>
                <a:gd name="T1" fmla="*/ 240 h 378"/>
                <a:gd name="T2" fmla="*/ 596 w 608"/>
                <a:gd name="T3" fmla="*/ 237 h 378"/>
                <a:gd name="T4" fmla="*/ 577 w 608"/>
                <a:gd name="T5" fmla="*/ 229 h 378"/>
                <a:gd name="T6" fmla="*/ 550 w 608"/>
                <a:gd name="T7" fmla="*/ 243 h 378"/>
                <a:gd name="T8" fmla="*/ 517 w 608"/>
                <a:gd name="T9" fmla="*/ 239 h 378"/>
                <a:gd name="T10" fmla="*/ 514 w 608"/>
                <a:gd name="T11" fmla="*/ 234 h 378"/>
                <a:gd name="T12" fmla="*/ 506 w 608"/>
                <a:gd name="T13" fmla="*/ 225 h 378"/>
                <a:gd name="T14" fmla="*/ 501 w 608"/>
                <a:gd name="T15" fmla="*/ 192 h 378"/>
                <a:gd name="T16" fmla="*/ 505 w 608"/>
                <a:gd name="T17" fmla="*/ 170 h 378"/>
                <a:gd name="T18" fmla="*/ 513 w 608"/>
                <a:gd name="T19" fmla="*/ 142 h 378"/>
                <a:gd name="T20" fmla="*/ 503 w 608"/>
                <a:gd name="T21" fmla="*/ 113 h 378"/>
                <a:gd name="T22" fmla="*/ 477 w 608"/>
                <a:gd name="T23" fmla="*/ 85 h 378"/>
                <a:gd name="T24" fmla="*/ 437 w 608"/>
                <a:gd name="T25" fmla="*/ 20 h 378"/>
                <a:gd name="T26" fmla="*/ 420 w 608"/>
                <a:gd name="T27" fmla="*/ 0 h 378"/>
                <a:gd name="T28" fmla="*/ 406 w 608"/>
                <a:gd name="T29" fmla="*/ 4 h 378"/>
                <a:gd name="T30" fmla="*/ 378 w 608"/>
                <a:gd name="T31" fmla="*/ 20 h 378"/>
                <a:gd name="T32" fmla="*/ 351 w 608"/>
                <a:gd name="T33" fmla="*/ 28 h 378"/>
                <a:gd name="T34" fmla="*/ 327 w 608"/>
                <a:gd name="T35" fmla="*/ 31 h 378"/>
                <a:gd name="T36" fmla="*/ 303 w 608"/>
                <a:gd name="T37" fmla="*/ 48 h 378"/>
                <a:gd name="T38" fmla="*/ 278 w 608"/>
                <a:gd name="T39" fmla="*/ 28 h 378"/>
                <a:gd name="T40" fmla="*/ 227 w 608"/>
                <a:gd name="T41" fmla="*/ 29 h 378"/>
                <a:gd name="T42" fmla="*/ 190 w 608"/>
                <a:gd name="T43" fmla="*/ 18 h 378"/>
                <a:gd name="T44" fmla="*/ 170 w 608"/>
                <a:gd name="T45" fmla="*/ 21 h 378"/>
                <a:gd name="T46" fmla="*/ 168 w 608"/>
                <a:gd name="T47" fmla="*/ 33 h 378"/>
                <a:gd name="T48" fmla="*/ 138 w 608"/>
                <a:gd name="T49" fmla="*/ 45 h 378"/>
                <a:gd name="T50" fmla="*/ 104 w 608"/>
                <a:gd name="T51" fmla="*/ 76 h 378"/>
                <a:gd name="T52" fmla="*/ 73 w 608"/>
                <a:gd name="T53" fmla="*/ 142 h 378"/>
                <a:gd name="T54" fmla="*/ 41 w 608"/>
                <a:gd name="T55" fmla="*/ 161 h 378"/>
                <a:gd name="T56" fmla="*/ 15 w 608"/>
                <a:gd name="T57" fmla="*/ 170 h 378"/>
                <a:gd name="T58" fmla="*/ 5 w 608"/>
                <a:gd name="T59" fmla="*/ 180 h 378"/>
                <a:gd name="T60" fmla="*/ 22 w 608"/>
                <a:gd name="T61" fmla="*/ 199 h 378"/>
                <a:gd name="T62" fmla="*/ 36 w 608"/>
                <a:gd name="T63" fmla="*/ 225 h 378"/>
                <a:gd name="T64" fmla="*/ 62 w 608"/>
                <a:gd name="T65" fmla="*/ 243 h 378"/>
                <a:gd name="T66" fmla="*/ 79 w 608"/>
                <a:gd name="T67" fmla="*/ 253 h 378"/>
                <a:gd name="T68" fmla="*/ 72 w 608"/>
                <a:gd name="T69" fmla="*/ 269 h 378"/>
                <a:gd name="T70" fmla="*/ 84 w 608"/>
                <a:gd name="T71" fmla="*/ 286 h 378"/>
                <a:gd name="T72" fmla="*/ 113 w 608"/>
                <a:gd name="T73" fmla="*/ 298 h 378"/>
                <a:gd name="T74" fmla="*/ 138 w 608"/>
                <a:gd name="T75" fmla="*/ 286 h 378"/>
                <a:gd name="T76" fmla="*/ 156 w 608"/>
                <a:gd name="T77" fmla="*/ 291 h 378"/>
                <a:gd name="T78" fmla="*/ 156 w 608"/>
                <a:gd name="T79" fmla="*/ 304 h 378"/>
                <a:gd name="T80" fmla="*/ 156 w 608"/>
                <a:gd name="T81" fmla="*/ 323 h 378"/>
                <a:gd name="T82" fmla="*/ 154 w 608"/>
                <a:gd name="T83" fmla="*/ 331 h 378"/>
                <a:gd name="T84" fmla="*/ 158 w 608"/>
                <a:gd name="T85" fmla="*/ 334 h 378"/>
                <a:gd name="T86" fmla="*/ 169 w 608"/>
                <a:gd name="T87" fmla="*/ 343 h 378"/>
                <a:gd name="T88" fmla="*/ 188 w 608"/>
                <a:gd name="T89" fmla="*/ 359 h 378"/>
                <a:gd name="T90" fmla="*/ 219 w 608"/>
                <a:gd name="T91" fmla="*/ 357 h 378"/>
                <a:gd name="T92" fmla="*/ 246 w 608"/>
                <a:gd name="T93" fmla="*/ 366 h 378"/>
                <a:gd name="T94" fmla="*/ 275 w 608"/>
                <a:gd name="T95" fmla="*/ 364 h 378"/>
                <a:gd name="T96" fmla="*/ 304 w 608"/>
                <a:gd name="T97" fmla="*/ 368 h 378"/>
                <a:gd name="T98" fmla="*/ 324 w 608"/>
                <a:gd name="T99" fmla="*/ 369 h 378"/>
                <a:gd name="T100" fmla="*/ 342 w 608"/>
                <a:gd name="T101" fmla="*/ 372 h 378"/>
                <a:gd name="T102" fmla="*/ 369 w 608"/>
                <a:gd name="T103" fmla="*/ 351 h 378"/>
                <a:gd name="T104" fmla="*/ 400 w 608"/>
                <a:gd name="T105" fmla="*/ 338 h 378"/>
                <a:gd name="T106" fmla="*/ 433 w 608"/>
                <a:gd name="T107" fmla="*/ 330 h 378"/>
                <a:gd name="T108" fmla="*/ 463 w 608"/>
                <a:gd name="T109" fmla="*/ 338 h 378"/>
                <a:gd name="T110" fmla="*/ 489 w 608"/>
                <a:gd name="T111" fmla="*/ 347 h 378"/>
                <a:gd name="T112" fmla="*/ 505 w 608"/>
                <a:gd name="T113" fmla="*/ 359 h 378"/>
                <a:gd name="T114" fmla="*/ 542 w 608"/>
                <a:gd name="T115" fmla="*/ 365 h 378"/>
                <a:gd name="T116" fmla="*/ 537 w 608"/>
                <a:gd name="T117" fmla="*/ 322 h 378"/>
                <a:gd name="T118" fmla="*/ 557 w 608"/>
                <a:gd name="T119" fmla="*/ 291 h 378"/>
                <a:gd name="T120" fmla="*/ 574 w 608"/>
                <a:gd name="T121" fmla="*/ 279 h 378"/>
                <a:gd name="T122" fmla="*/ 604 w 608"/>
                <a:gd name="T123" fmla="*/ 263 h 378"/>
                <a:gd name="T124" fmla="*/ 605 w 608"/>
                <a:gd name="T125" fmla="*/ 240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08" h="378">
                  <a:moveTo>
                    <a:pt x="605" y="240"/>
                  </a:moveTo>
                  <a:cubicBezTo>
                    <a:pt x="602" y="242"/>
                    <a:pt x="600" y="245"/>
                    <a:pt x="596" y="237"/>
                  </a:cubicBezTo>
                  <a:cubicBezTo>
                    <a:pt x="589" y="225"/>
                    <a:pt x="584" y="229"/>
                    <a:pt x="577" y="229"/>
                  </a:cubicBezTo>
                  <a:cubicBezTo>
                    <a:pt x="570" y="229"/>
                    <a:pt x="559" y="239"/>
                    <a:pt x="550" y="243"/>
                  </a:cubicBezTo>
                  <a:cubicBezTo>
                    <a:pt x="541" y="247"/>
                    <a:pt x="528" y="247"/>
                    <a:pt x="517" y="239"/>
                  </a:cubicBezTo>
                  <a:cubicBezTo>
                    <a:pt x="515" y="237"/>
                    <a:pt x="514" y="236"/>
                    <a:pt x="514" y="234"/>
                  </a:cubicBezTo>
                  <a:cubicBezTo>
                    <a:pt x="510" y="232"/>
                    <a:pt x="509" y="229"/>
                    <a:pt x="506" y="225"/>
                  </a:cubicBezTo>
                  <a:cubicBezTo>
                    <a:pt x="501" y="219"/>
                    <a:pt x="505" y="200"/>
                    <a:pt x="501" y="192"/>
                  </a:cubicBezTo>
                  <a:cubicBezTo>
                    <a:pt x="497" y="184"/>
                    <a:pt x="500" y="176"/>
                    <a:pt x="505" y="170"/>
                  </a:cubicBezTo>
                  <a:cubicBezTo>
                    <a:pt x="510" y="164"/>
                    <a:pt x="513" y="155"/>
                    <a:pt x="513" y="142"/>
                  </a:cubicBezTo>
                  <a:cubicBezTo>
                    <a:pt x="513" y="129"/>
                    <a:pt x="506" y="119"/>
                    <a:pt x="503" y="113"/>
                  </a:cubicBezTo>
                  <a:cubicBezTo>
                    <a:pt x="500" y="107"/>
                    <a:pt x="492" y="95"/>
                    <a:pt x="477" y="85"/>
                  </a:cubicBezTo>
                  <a:cubicBezTo>
                    <a:pt x="462" y="75"/>
                    <a:pt x="449" y="45"/>
                    <a:pt x="437" y="20"/>
                  </a:cubicBezTo>
                  <a:cubicBezTo>
                    <a:pt x="432" y="10"/>
                    <a:pt x="426" y="4"/>
                    <a:pt x="420" y="0"/>
                  </a:cubicBezTo>
                  <a:cubicBezTo>
                    <a:pt x="415" y="1"/>
                    <a:pt x="410" y="2"/>
                    <a:pt x="406" y="4"/>
                  </a:cubicBezTo>
                  <a:cubicBezTo>
                    <a:pt x="396" y="8"/>
                    <a:pt x="384" y="9"/>
                    <a:pt x="378" y="20"/>
                  </a:cubicBezTo>
                  <a:cubicBezTo>
                    <a:pt x="372" y="31"/>
                    <a:pt x="359" y="28"/>
                    <a:pt x="351" y="28"/>
                  </a:cubicBezTo>
                  <a:cubicBezTo>
                    <a:pt x="343" y="28"/>
                    <a:pt x="334" y="31"/>
                    <a:pt x="327" y="31"/>
                  </a:cubicBezTo>
                  <a:cubicBezTo>
                    <a:pt x="320" y="31"/>
                    <a:pt x="313" y="38"/>
                    <a:pt x="303" y="48"/>
                  </a:cubicBezTo>
                  <a:cubicBezTo>
                    <a:pt x="293" y="58"/>
                    <a:pt x="287" y="33"/>
                    <a:pt x="278" y="28"/>
                  </a:cubicBezTo>
                  <a:cubicBezTo>
                    <a:pt x="269" y="23"/>
                    <a:pt x="239" y="29"/>
                    <a:pt x="227" y="29"/>
                  </a:cubicBezTo>
                  <a:cubicBezTo>
                    <a:pt x="215" y="29"/>
                    <a:pt x="205" y="20"/>
                    <a:pt x="190" y="18"/>
                  </a:cubicBezTo>
                  <a:cubicBezTo>
                    <a:pt x="183" y="17"/>
                    <a:pt x="175" y="19"/>
                    <a:pt x="170" y="21"/>
                  </a:cubicBezTo>
                  <a:cubicBezTo>
                    <a:pt x="173" y="24"/>
                    <a:pt x="172" y="29"/>
                    <a:pt x="168" y="33"/>
                  </a:cubicBezTo>
                  <a:cubicBezTo>
                    <a:pt x="162" y="38"/>
                    <a:pt x="148" y="41"/>
                    <a:pt x="138" y="45"/>
                  </a:cubicBezTo>
                  <a:cubicBezTo>
                    <a:pt x="127" y="49"/>
                    <a:pt x="117" y="66"/>
                    <a:pt x="104" y="76"/>
                  </a:cubicBezTo>
                  <a:cubicBezTo>
                    <a:pt x="92" y="87"/>
                    <a:pt x="82" y="121"/>
                    <a:pt x="73" y="142"/>
                  </a:cubicBezTo>
                  <a:cubicBezTo>
                    <a:pt x="64" y="163"/>
                    <a:pt x="52" y="160"/>
                    <a:pt x="41" y="161"/>
                  </a:cubicBezTo>
                  <a:cubicBezTo>
                    <a:pt x="29" y="162"/>
                    <a:pt x="28" y="171"/>
                    <a:pt x="15" y="170"/>
                  </a:cubicBezTo>
                  <a:cubicBezTo>
                    <a:pt x="2" y="170"/>
                    <a:pt x="0" y="175"/>
                    <a:pt x="5" y="180"/>
                  </a:cubicBezTo>
                  <a:cubicBezTo>
                    <a:pt x="11" y="185"/>
                    <a:pt x="15" y="191"/>
                    <a:pt x="22" y="199"/>
                  </a:cubicBezTo>
                  <a:cubicBezTo>
                    <a:pt x="29" y="207"/>
                    <a:pt x="32" y="211"/>
                    <a:pt x="36" y="225"/>
                  </a:cubicBezTo>
                  <a:cubicBezTo>
                    <a:pt x="39" y="238"/>
                    <a:pt x="54" y="244"/>
                    <a:pt x="62" y="243"/>
                  </a:cubicBezTo>
                  <a:cubicBezTo>
                    <a:pt x="71" y="241"/>
                    <a:pt x="77" y="246"/>
                    <a:pt x="79" y="253"/>
                  </a:cubicBezTo>
                  <a:cubicBezTo>
                    <a:pt x="81" y="260"/>
                    <a:pt x="81" y="260"/>
                    <a:pt x="72" y="269"/>
                  </a:cubicBezTo>
                  <a:cubicBezTo>
                    <a:pt x="64" y="279"/>
                    <a:pt x="82" y="281"/>
                    <a:pt x="84" y="286"/>
                  </a:cubicBezTo>
                  <a:cubicBezTo>
                    <a:pt x="87" y="290"/>
                    <a:pt x="105" y="290"/>
                    <a:pt x="113" y="298"/>
                  </a:cubicBezTo>
                  <a:cubicBezTo>
                    <a:pt x="122" y="305"/>
                    <a:pt x="135" y="294"/>
                    <a:pt x="138" y="286"/>
                  </a:cubicBezTo>
                  <a:cubicBezTo>
                    <a:pt x="141" y="278"/>
                    <a:pt x="150" y="287"/>
                    <a:pt x="156" y="291"/>
                  </a:cubicBezTo>
                  <a:cubicBezTo>
                    <a:pt x="163" y="295"/>
                    <a:pt x="160" y="297"/>
                    <a:pt x="156" y="304"/>
                  </a:cubicBezTo>
                  <a:cubicBezTo>
                    <a:pt x="152" y="310"/>
                    <a:pt x="156" y="313"/>
                    <a:pt x="156" y="323"/>
                  </a:cubicBezTo>
                  <a:cubicBezTo>
                    <a:pt x="156" y="328"/>
                    <a:pt x="155" y="330"/>
                    <a:pt x="154" y="331"/>
                  </a:cubicBezTo>
                  <a:cubicBezTo>
                    <a:pt x="155" y="332"/>
                    <a:pt x="156" y="333"/>
                    <a:pt x="158" y="334"/>
                  </a:cubicBezTo>
                  <a:cubicBezTo>
                    <a:pt x="163" y="335"/>
                    <a:pt x="168" y="338"/>
                    <a:pt x="169" y="343"/>
                  </a:cubicBezTo>
                  <a:cubicBezTo>
                    <a:pt x="169" y="348"/>
                    <a:pt x="169" y="364"/>
                    <a:pt x="188" y="359"/>
                  </a:cubicBezTo>
                  <a:cubicBezTo>
                    <a:pt x="207" y="354"/>
                    <a:pt x="213" y="353"/>
                    <a:pt x="219" y="357"/>
                  </a:cubicBezTo>
                  <a:cubicBezTo>
                    <a:pt x="224" y="362"/>
                    <a:pt x="234" y="365"/>
                    <a:pt x="246" y="366"/>
                  </a:cubicBezTo>
                  <a:cubicBezTo>
                    <a:pt x="259" y="367"/>
                    <a:pt x="267" y="360"/>
                    <a:pt x="275" y="364"/>
                  </a:cubicBezTo>
                  <a:cubicBezTo>
                    <a:pt x="282" y="368"/>
                    <a:pt x="299" y="368"/>
                    <a:pt x="304" y="368"/>
                  </a:cubicBezTo>
                  <a:cubicBezTo>
                    <a:pt x="309" y="368"/>
                    <a:pt x="321" y="366"/>
                    <a:pt x="324" y="369"/>
                  </a:cubicBezTo>
                  <a:cubicBezTo>
                    <a:pt x="327" y="373"/>
                    <a:pt x="335" y="378"/>
                    <a:pt x="342" y="372"/>
                  </a:cubicBezTo>
                  <a:cubicBezTo>
                    <a:pt x="349" y="365"/>
                    <a:pt x="364" y="360"/>
                    <a:pt x="369" y="351"/>
                  </a:cubicBezTo>
                  <a:cubicBezTo>
                    <a:pt x="375" y="342"/>
                    <a:pt x="392" y="338"/>
                    <a:pt x="400" y="338"/>
                  </a:cubicBezTo>
                  <a:cubicBezTo>
                    <a:pt x="409" y="338"/>
                    <a:pt x="422" y="329"/>
                    <a:pt x="433" y="330"/>
                  </a:cubicBezTo>
                  <a:cubicBezTo>
                    <a:pt x="444" y="330"/>
                    <a:pt x="450" y="332"/>
                    <a:pt x="463" y="338"/>
                  </a:cubicBezTo>
                  <a:cubicBezTo>
                    <a:pt x="476" y="345"/>
                    <a:pt x="486" y="341"/>
                    <a:pt x="489" y="347"/>
                  </a:cubicBezTo>
                  <a:cubicBezTo>
                    <a:pt x="492" y="352"/>
                    <a:pt x="496" y="359"/>
                    <a:pt x="505" y="359"/>
                  </a:cubicBezTo>
                  <a:cubicBezTo>
                    <a:pt x="512" y="360"/>
                    <a:pt x="528" y="364"/>
                    <a:pt x="542" y="365"/>
                  </a:cubicBezTo>
                  <a:cubicBezTo>
                    <a:pt x="542" y="352"/>
                    <a:pt x="535" y="336"/>
                    <a:pt x="537" y="322"/>
                  </a:cubicBezTo>
                  <a:cubicBezTo>
                    <a:pt x="539" y="301"/>
                    <a:pt x="554" y="306"/>
                    <a:pt x="557" y="291"/>
                  </a:cubicBezTo>
                  <a:cubicBezTo>
                    <a:pt x="560" y="275"/>
                    <a:pt x="562" y="282"/>
                    <a:pt x="574" y="279"/>
                  </a:cubicBezTo>
                  <a:cubicBezTo>
                    <a:pt x="585" y="276"/>
                    <a:pt x="597" y="279"/>
                    <a:pt x="604" y="263"/>
                  </a:cubicBezTo>
                  <a:cubicBezTo>
                    <a:pt x="608" y="255"/>
                    <a:pt x="607" y="247"/>
                    <a:pt x="605" y="24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106" name="Freeform 25165"/>
            <p:cNvSpPr>
              <a:spLocks/>
            </p:cNvSpPr>
            <p:nvPr/>
          </p:nvSpPr>
          <p:spPr bwMode="auto">
            <a:xfrm>
              <a:off x="4813328" y="2704547"/>
              <a:ext cx="153572" cy="85072"/>
            </a:xfrm>
            <a:custGeom>
              <a:avLst/>
              <a:gdLst>
                <a:gd name="T0" fmla="*/ 13 w 412"/>
                <a:gd name="T1" fmla="*/ 155 h 228"/>
                <a:gd name="T2" fmla="*/ 33 w 412"/>
                <a:gd name="T3" fmla="*/ 169 h 228"/>
                <a:gd name="T4" fmla="*/ 57 w 412"/>
                <a:gd name="T5" fmla="*/ 186 h 228"/>
                <a:gd name="T6" fmla="*/ 98 w 412"/>
                <a:gd name="T7" fmla="*/ 205 h 228"/>
                <a:gd name="T8" fmla="*/ 137 w 412"/>
                <a:gd name="T9" fmla="*/ 202 h 228"/>
                <a:gd name="T10" fmla="*/ 174 w 412"/>
                <a:gd name="T11" fmla="*/ 218 h 228"/>
                <a:gd name="T12" fmla="*/ 216 w 412"/>
                <a:gd name="T13" fmla="*/ 225 h 228"/>
                <a:gd name="T14" fmla="*/ 239 w 412"/>
                <a:gd name="T15" fmla="*/ 211 h 228"/>
                <a:gd name="T16" fmla="*/ 250 w 412"/>
                <a:gd name="T17" fmla="*/ 187 h 228"/>
                <a:gd name="T18" fmla="*/ 265 w 412"/>
                <a:gd name="T19" fmla="*/ 181 h 228"/>
                <a:gd name="T20" fmla="*/ 283 w 412"/>
                <a:gd name="T21" fmla="*/ 167 h 228"/>
                <a:gd name="T22" fmla="*/ 301 w 412"/>
                <a:gd name="T23" fmla="*/ 165 h 228"/>
                <a:gd name="T24" fmla="*/ 325 w 412"/>
                <a:gd name="T25" fmla="*/ 165 h 228"/>
                <a:gd name="T26" fmla="*/ 351 w 412"/>
                <a:gd name="T27" fmla="*/ 172 h 228"/>
                <a:gd name="T28" fmla="*/ 365 w 412"/>
                <a:gd name="T29" fmla="*/ 170 h 228"/>
                <a:gd name="T30" fmla="*/ 355 w 412"/>
                <a:gd name="T31" fmla="*/ 144 h 228"/>
                <a:gd name="T32" fmla="*/ 365 w 412"/>
                <a:gd name="T33" fmla="*/ 75 h 228"/>
                <a:gd name="T34" fmla="*/ 401 w 412"/>
                <a:gd name="T35" fmla="*/ 56 h 228"/>
                <a:gd name="T36" fmla="*/ 411 w 412"/>
                <a:gd name="T37" fmla="*/ 36 h 228"/>
                <a:gd name="T38" fmla="*/ 374 w 412"/>
                <a:gd name="T39" fmla="*/ 30 h 228"/>
                <a:gd name="T40" fmla="*/ 358 w 412"/>
                <a:gd name="T41" fmla="*/ 18 h 228"/>
                <a:gd name="T42" fmla="*/ 332 w 412"/>
                <a:gd name="T43" fmla="*/ 9 h 228"/>
                <a:gd name="T44" fmla="*/ 302 w 412"/>
                <a:gd name="T45" fmla="*/ 1 h 228"/>
                <a:gd name="T46" fmla="*/ 269 w 412"/>
                <a:gd name="T47" fmla="*/ 9 h 228"/>
                <a:gd name="T48" fmla="*/ 238 w 412"/>
                <a:gd name="T49" fmla="*/ 22 h 228"/>
                <a:gd name="T50" fmla="*/ 211 w 412"/>
                <a:gd name="T51" fmla="*/ 43 h 228"/>
                <a:gd name="T52" fmla="*/ 193 w 412"/>
                <a:gd name="T53" fmla="*/ 40 h 228"/>
                <a:gd name="T54" fmla="*/ 173 w 412"/>
                <a:gd name="T55" fmla="*/ 39 h 228"/>
                <a:gd name="T56" fmla="*/ 144 w 412"/>
                <a:gd name="T57" fmla="*/ 35 h 228"/>
                <a:gd name="T58" fmla="*/ 115 w 412"/>
                <a:gd name="T59" fmla="*/ 37 h 228"/>
                <a:gd name="T60" fmla="*/ 88 w 412"/>
                <a:gd name="T61" fmla="*/ 28 h 228"/>
                <a:gd name="T62" fmla="*/ 57 w 412"/>
                <a:gd name="T63" fmla="*/ 30 h 228"/>
                <a:gd name="T64" fmla="*/ 38 w 412"/>
                <a:gd name="T65" fmla="*/ 14 h 228"/>
                <a:gd name="T66" fmla="*/ 27 w 412"/>
                <a:gd name="T67" fmla="*/ 5 h 228"/>
                <a:gd name="T68" fmla="*/ 23 w 412"/>
                <a:gd name="T69" fmla="*/ 2 h 228"/>
                <a:gd name="T70" fmla="*/ 16 w 412"/>
                <a:gd name="T71" fmla="*/ 6 h 228"/>
                <a:gd name="T72" fmla="*/ 6 w 412"/>
                <a:gd name="T73" fmla="*/ 24 h 228"/>
                <a:gd name="T74" fmla="*/ 12 w 412"/>
                <a:gd name="T75" fmla="*/ 40 h 228"/>
                <a:gd name="T76" fmla="*/ 20 w 412"/>
                <a:gd name="T77" fmla="*/ 55 h 228"/>
                <a:gd name="T78" fmla="*/ 42 w 412"/>
                <a:gd name="T79" fmla="*/ 76 h 228"/>
                <a:gd name="T80" fmla="*/ 35 w 412"/>
                <a:gd name="T81" fmla="*/ 95 h 228"/>
                <a:gd name="T82" fmla="*/ 12 w 412"/>
                <a:gd name="T83" fmla="*/ 104 h 228"/>
                <a:gd name="T84" fmla="*/ 5 w 412"/>
                <a:gd name="T85" fmla="*/ 113 h 228"/>
                <a:gd name="T86" fmla="*/ 9 w 412"/>
                <a:gd name="T87" fmla="*/ 132 h 228"/>
                <a:gd name="T88" fmla="*/ 4 w 412"/>
                <a:gd name="T89" fmla="*/ 140 h 228"/>
                <a:gd name="T90" fmla="*/ 13 w 412"/>
                <a:gd name="T91" fmla="*/ 155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12" h="228">
                  <a:moveTo>
                    <a:pt x="13" y="155"/>
                  </a:moveTo>
                  <a:cubicBezTo>
                    <a:pt x="20" y="159"/>
                    <a:pt x="30" y="166"/>
                    <a:pt x="33" y="169"/>
                  </a:cubicBezTo>
                  <a:cubicBezTo>
                    <a:pt x="37" y="171"/>
                    <a:pt x="51" y="180"/>
                    <a:pt x="57" y="186"/>
                  </a:cubicBezTo>
                  <a:cubicBezTo>
                    <a:pt x="63" y="193"/>
                    <a:pt x="85" y="206"/>
                    <a:pt x="98" y="205"/>
                  </a:cubicBezTo>
                  <a:cubicBezTo>
                    <a:pt x="111" y="204"/>
                    <a:pt x="128" y="200"/>
                    <a:pt x="137" y="202"/>
                  </a:cubicBezTo>
                  <a:cubicBezTo>
                    <a:pt x="147" y="204"/>
                    <a:pt x="168" y="213"/>
                    <a:pt x="174" y="218"/>
                  </a:cubicBezTo>
                  <a:cubicBezTo>
                    <a:pt x="180" y="223"/>
                    <a:pt x="205" y="228"/>
                    <a:pt x="216" y="225"/>
                  </a:cubicBezTo>
                  <a:cubicBezTo>
                    <a:pt x="226" y="222"/>
                    <a:pt x="239" y="221"/>
                    <a:pt x="239" y="211"/>
                  </a:cubicBezTo>
                  <a:cubicBezTo>
                    <a:pt x="240" y="200"/>
                    <a:pt x="243" y="189"/>
                    <a:pt x="250" y="187"/>
                  </a:cubicBezTo>
                  <a:cubicBezTo>
                    <a:pt x="257" y="186"/>
                    <a:pt x="260" y="191"/>
                    <a:pt x="265" y="181"/>
                  </a:cubicBezTo>
                  <a:cubicBezTo>
                    <a:pt x="270" y="172"/>
                    <a:pt x="273" y="167"/>
                    <a:pt x="283" y="167"/>
                  </a:cubicBezTo>
                  <a:cubicBezTo>
                    <a:pt x="292" y="167"/>
                    <a:pt x="295" y="172"/>
                    <a:pt x="301" y="165"/>
                  </a:cubicBezTo>
                  <a:cubicBezTo>
                    <a:pt x="306" y="158"/>
                    <a:pt x="313" y="157"/>
                    <a:pt x="325" y="165"/>
                  </a:cubicBezTo>
                  <a:cubicBezTo>
                    <a:pt x="337" y="173"/>
                    <a:pt x="344" y="172"/>
                    <a:pt x="351" y="172"/>
                  </a:cubicBezTo>
                  <a:cubicBezTo>
                    <a:pt x="356" y="172"/>
                    <a:pt x="360" y="171"/>
                    <a:pt x="365" y="170"/>
                  </a:cubicBezTo>
                  <a:cubicBezTo>
                    <a:pt x="361" y="161"/>
                    <a:pt x="358" y="151"/>
                    <a:pt x="355" y="144"/>
                  </a:cubicBezTo>
                  <a:cubicBezTo>
                    <a:pt x="350" y="126"/>
                    <a:pt x="363" y="93"/>
                    <a:pt x="365" y="75"/>
                  </a:cubicBezTo>
                  <a:cubicBezTo>
                    <a:pt x="368" y="56"/>
                    <a:pt x="380" y="69"/>
                    <a:pt x="401" y="56"/>
                  </a:cubicBezTo>
                  <a:cubicBezTo>
                    <a:pt x="409" y="51"/>
                    <a:pt x="412" y="44"/>
                    <a:pt x="411" y="36"/>
                  </a:cubicBezTo>
                  <a:cubicBezTo>
                    <a:pt x="397" y="35"/>
                    <a:pt x="381" y="31"/>
                    <a:pt x="374" y="30"/>
                  </a:cubicBezTo>
                  <a:cubicBezTo>
                    <a:pt x="365" y="30"/>
                    <a:pt x="361" y="23"/>
                    <a:pt x="358" y="18"/>
                  </a:cubicBezTo>
                  <a:cubicBezTo>
                    <a:pt x="355" y="12"/>
                    <a:pt x="345" y="16"/>
                    <a:pt x="332" y="9"/>
                  </a:cubicBezTo>
                  <a:cubicBezTo>
                    <a:pt x="319" y="3"/>
                    <a:pt x="313" y="1"/>
                    <a:pt x="302" y="1"/>
                  </a:cubicBezTo>
                  <a:cubicBezTo>
                    <a:pt x="291" y="0"/>
                    <a:pt x="278" y="9"/>
                    <a:pt x="269" y="9"/>
                  </a:cubicBezTo>
                  <a:cubicBezTo>
                    <a:pt x="261" y="9"/>
                    <a:pt x="244" y="13"/>
                    <a:pt x="238" y="22"/>
                  </a:cubicBezTo>
                  <a:cubicBezTo>
                    <a:pt x="233" y="31"/>
                    <a:pt x="218" y="36"/>
                    <a:pt x="211" y="43"/>
                  </a:cubicBezTo>
                  <a:cubicBezTo>
                    <a:pt x="204" y="49"/>
                    <a:pt x="196" y="44"/>
                    <a:pt x="193" y="40"/>
                  </a:cubicBezTo>
                  <a:cubicBezTo>
                    <a:pt x="190" y="37"/>
                    <a:pt x="178" y="39"/>
                    <a:pt x="173" y="39"/>
                  </a:cubicBezTo>
                  <a:cubicBezTo>
                    <a:pt x="168" y="39"/>
                    <a:pt x="151" y="39"/>
                    <a:pt x="144" y="35"/>
                  </a:cubicBezTo>
                  <a:cubicBezTo>
                    <a:pt x="136" y="31"/>
                    <a:pt x="128" y="38"/>
                    <a:pt x="115" y="37"/>
                  </a:cubicBezTo>
                  <a:cubicBezTo>
                    <a:pt x="103" y="36"/>
                    <a:pt x="93" y="33"/>
                    <a:pt x="88" y="28"/>
                  </a:cubicBezTo>
                  <a:cubicBezTo>
                    <a:pt x="82" y="24"/>
                    <a:pt x="76" y="25"/>
                    <a:pt x="57" y="30"/>
                  </a:cubicBezTo>
                  <a:cubicBezTo>
                    <a:pt x="38" y="35"/>
                    <a:pt x="38" y="19"/>
                    <a:pt x="38" y="14"/>
                  </a:cubicBezTo>
                  <a:cubicBezTo>
                    <a:pt x="37" y="9"/>
                    <a:pt x="32" y="6"/>
                    <a:pt x="27" y="5"/>
                  </a:cubicBezTo>
                  <a:cubicBezTo>
                    <a:pt x="25" y="4"/>
                    <a:pt x="24" y="3"/>
                    <a:pt x="23" y="2"/>
                  </a:cubicBezTo>
                  <a:cubicBezTo>
                    <a:pt x="22" y="3"/>
                    <a:pt x="19" y="4"/>
                    <a:pt x="16" y="6"/>
                  </a:cubicBezTo>
                  <a:cubicBezTo>
                    <a:pt x="8" y="10"/>
                    <a:pt x="10" y="12"/>
                    <a:pt x="6" y="24"/>
                  </a:cubicBezTo>
                  <a:cubicBezTo>
                    <a:pt x="1" y="37"/>
                    <a:pt x="8" y="37"/>
                    <a:pt x="12" y="40"/>
                  </a:cubicBezTo>
                  <a:cubicBezTo>
                    <a:pt x="16" y="42"/>
                    <a:pt x="19" y="47"/>
                    <a:pt x="20" y="55"/>
                  </a:cubicBezTo>
                  <a:cubicBezTo>
                    <a:pt x="21" y="62"/>
                    <a:pt x="37" y="67"/>
                    <a:pt x="42" y="76"/>
                  </a:cubicBezTo>
                  <a:cubicBezTo>
                    <a:pt x="47" y="85"/>
                    <a:pt x="39" y="87"/>
                    <a:pt x="35" y="95"/>
                  </a:cubicBezTo>
                  <a:cubicBezTo>
                    <a:pt x="30" y="102"/>
                    <a:pt x="21" y="104"/>
                    <a:pt x="12" y="104"/>
                  </a:cubicBezTo>
                  <a:cubicBezTo>
                    <a:pt x="3" y="104"/>
                    <a:pt x="0" y="107"/>
                    <a:pt x="5" y="113"/>
                  </a:cubicBezTo>
                  <a:cubicBezTo>
                    <a:pt x="10" y="119"/>
                    <a:pt x="9" y="124"/>
                    <a:pt x="9" y="132"/>
                  </a:cubicBezTo>
                  <a:cubicBezTo>
                    <a:pt x="9" y="136"/>
                    <a:pt x="7" y="138"/>
                    <a:pt x="4" y="140"/>
                  </a:cubicBezTo>
                  <a:cubicBezTo>
                    <a:pt x="6" y="145"/>
                    <a:pt x="9" y="152"/>
                    <a:pt x="13" y="15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107" name="Freeform 25166"/>
            <p:cNvSpPr>
              <a:spLocks/>
            </p:cNvSpPr>
            <p:nvPr/>
          </p:nvSpPr>
          <p:spPr bwMode="auto">
            <a:xfrm>
              <a:off x="4769293" y="2756001"/>
              <a:ext cx="58241" cy="44036"/>
            </a:xfrm>
            <a:custGeom>
              <a:avLst/>
              <a:gdLst>
                <a:gd name="T0" fmla="*/ 52 w 156"/>
                <a:gd name="T1" fmla="*/ 115 h 118"/>
                <a:gd name="T2" fmla="*/ 88 w 156"/>
                <a:gd name="T3" fmla="*/ 111 h 118"/>
                <a:gd name="T4" fmla="*/ 103 w 156"/>
                <a:gd name="T5" fmla="*/ 99 h 118"/>
                <a:gd name="T6" fmla="*/ 147 w 156"/>
                <a:gd name="T7" fmla="*/ 96 h 118"/>
                <a:gd name="T8" fmla="*/ 154 w 156"/>
                <a:gd name="T9" fmla="*/ 79 h 118"/>
                <a:gd name="T10" fmla="*/ 150 w 156"/>
                <a:gd name="T11" fmla="*/ 50 h 118"/>
                <a:gd name="T12" fmla="*/ 155 w 156"/>
                <a:gd name="T13" fmla="*/ 33 h 118"/>
                <a:gd name="T14" fmla="*/ 151 w 156"/>
                <a:gd name="T15" fmla="*/ 31 h 118"/>
                <a:gd name="T16" fmla="*/ 131 w 156"/>
                <a:gd name="T17" fmla="*/ 17 h 118"/>
                <a:gd name="T18" fmla="*/ 122 w 156"/>
                <a:gd name="T19" fmla="*/ 2 h 118"/>
                <a:gd name="T20" fmla="*/ 108 w 156"/>
                <a:gd name="T21" fmla="*/ 2 h 118"/>
                <a:gd name="T22" fmla="*/ 82 w 156"/>
                <a:gd name="T23" fmla="*/ 6 h 118"/>
                <a:gd name="T24" fmla="*/ 60 w 156"/>
                <a:gd name="T25" fmla="*/ 14 h 118"/>
                <a:gd name="T26" fmla="*/ 26 w 156"/>
                <a:gd name="T27" fmla="*/ 22 h 118"/>
                <a:gd name="T28" fmla="*/ 6 w 156"/>
                <a:gd name="T29" fmla="*/ 49 h 118"/>
                <a:gd name="T30" fmla="*/ 5 w 156"/>
                <a:gd name="T31" fmla="*/ 91 h 118"/>
                <a:gd name="T32" fmla="*/ 32 w 156"/>
                <a:gd name="T33" fmla="*/ 118 h 118"/>
                <a:gd name="T34" fmla="*/ 52 w 156"/>
                <a:gd name="T35" fmla="*/ 115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6" h="118">
                  <a:moveTo>
                    <a:pt x="52" y="115"/>
                  </a:moveTo>
                  <a:cubicBezTo>
                    <a:pt x="69" y="117"/>
                    <a:pt x="86" y="117"/>
                    <a:pt x="88" y="111"/>
                  </a:cubicBezTo>
                  <a:cubicBezTo>
                    <a:pt x="90" y="106"/>
                    <a:pt x="93" y="99"/>
                    <a:pt x="103" y="99"/>
                  </a:cubicBezTo>
                  <a:cubicBezTo>
                    <a:pt x="112" y="99"/>
                    <a:pt x="142" y="102"/>
                    <a:pt x="147" y="96"/>
                  </a:cubicBezTo>
                  <a:cubicBezTo>
                    <a:pt x="151" y="91"/>
                    <a:pt x="156" y="89"/>
                    <a:pt x="154" y="79"/>
                  </a:cubicBezTo>
                  <a:cubicBezTo>
                    <a:pt x="151" y="68"/>
                    <a:pt x="148" y="57"/>
                    <a:pt x="150" y="50"/>
                  </a:cubicBezTo>
                  <a:cubicBezTo>
                    <a:pt x="152" y="44"/>
                    <a:pt x="153" y="38"/>
                    <a:pt x="155" y="33"/>
                  </a:cubicBezTo>
                  <a:cubicBezTo>
                    <a:pt x="153" y="32"/>
                    <a:pt x="152" y="31"/>
                    <a:pt x="151" y="31"/>
                  </a:cubicBezTo>
                  <a:cubicBezTo>
                    <a:pt x="148" y="28"/>
                    <a:pt x="138" y="21"/>
                    <a:pt x="131" y="17"/>
                  </a:cubicBezTo>
                  <a:cubicBezTo>
                    <a:pt x="127" y="14"/>
                    <a:pt x="124" y="7"/>
                    <a:pt x="122" y="2"/>
                  </a:cubicBezTo>
                  <a:cubicBezTo>
                    <a:pt x="119" y="3"/>
                    <a:pt x="114" y="3"/>
                    <a:pt x="108" y="2"/>
                  </a:cubicBezTo>
                  <a:cubicBezTo>
                    <a:pt x="96" y="0"/>
                    <a:pt x="90" y="6"/>
                    <a:pt x="82" y="6"/>
                  </a:cubicBezTo>
                  <a:cubicBezTo>
                    <a:pt x="74" y="6"/>
                    <a:pt x="69" y="8"/>
                    <a:pt x="60" y="14"/>
                  </a:cubicBezTo>
                  <a:cubicBezTo>
                    <a:pt x="50" y="21"/>
                    <a:pt x="43" y="22"/>
                    <a:pt x="26" y="22"/>
                  </a:cubicBezTo>
                  <a:cubicBezTo>
                    <a:pt x="10" y="22"/>
                    <a:pt x="12" y="39"/>
                    <a:pt x="6" y="49"/>
                  </a:cubicBezTo>
                  <a:cubicBezTo>
                    <a:pt x="0" y="59"/>
                    <a:pt x="5" y="76"/>
                    <a:pt x="5" y="91"/>
                  </a:cubicBezTo>
                  <a:cubicBezTo>
                    <a:pt x="5" y="105"/>
                    <a:pt x="24" y="111"/>
                    <a:pt x="32" y="118"/>
                  </a:cubicBezTo>
                  <a:cubicBezTo>
                    <a:pt x="37" y="116"/>
                    <a:pt x="43" y="113"/>
                    <a:pt x="52" y="11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108" name="Freeform 25167"/>
            <p:cNvSpPr>
              <a:spLocks/>
            </p:cNvSpPr>
            <p:nvPr/>
          </p:nvSpPr>
          <p:spPr bwMode="auto">
            <a:xfrm>
              <a:off x="4419532" y="2523038"/>
              <a:ext cx="18625" cy="21150"/>
            </a:xfrm>
            <a:custGeom>
              <a:avLst/>
              <a:gdLst>
                <a:gd name="T0" fmla="*/ 12 w 50"/>
                <a:gd name="T1" fmla="*/ 4 h 57"/>
                <a:gd name="T2" fmla="*/ 2 w 50"/>
                <a:gd name="T3" fmla="*/ 26 h 57"/>
                <a:gd name="T4" fmla="*/ 11 w 50"/>
                <a:gd name="T5" fmla="*/ 42 h 57"/>
                <a:gd name="T6" fmla="*/ 11 w 50"/>
                <a:gd name="T7" fmla="*/ 55 h 57"/>
                <a:gd name="T8" fmla="*/ 20 w 50"/>
                <a:gd name="T9" fmla="*/ 55 h 57"/>
                <a:gd name="T10" fmla="*/ 47 w 50"/>
                <a:gd name="T11" fmla="*/ 57 h 57"/>
                <a:gd name="T12" fmla="*/ 49 w 50"/>
                <a:gd name="T13" fmla="*/ 43 h 57"/>
                <a:gd name="T14" fmla="*/ 39 w 50"/>
                <a:gd name="T15" fmla="*/ 24 h 57"/>
                <a:gd name="T16" fmla="*/ 24 w 50"/>
                <a:gd name="T17" fmla="*/ 10 h 57"/>
                <a:gd name="T18" fmla="*/ 24 w 50"/>
                <a:gd name="T19" fmla="*/ 0 h 57"/>
                <a:gd name="T20" fmla="*/ 12 w 50"/>
                <a:gd name="T21" fmla="*/ 4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0" h="57">
                  <a:moveTo>
                    <a:pt x="12" y="4"/>
                  </a:moveTo>
                  <a:cubicBezTo>
                    <a:pt x="3" y="12"/>
                    <a:pt x="0" y="22"/>
                    <a:pt x="2" y="26"/>
                  </a:cubicBezTo>
                  <a:cubicBezTo>
                    <a:pt x="5" y="29"/>
                    <a:pt x="11" y="36"/>
                    <a:pt x="11" y="42"/>
                  </a:cubicBezTo>
                  <a:cubicBezTo>
                    <a:pt x="11" y="46"/>
                    <a:pt x="11" y="50"/>
                    <a:pt x="11" y="55"/>
                  </a:cubicBezTo>
                  <a:cubicBezTo>
                    <a:pt x="14" y="55"/>
                    <a:pt x="17" y="55"/>
                    <a:pt x="20" y="55"/>
                  </a:cubicBezTo>
                  <a:cubicBezTo>
                    <a:pt x="27" y="55"/>
                    <a:pt x="38" y="54"/>
                    <a:pt x="47" y="57"/>
                  </a:cubicBezTo>
                  <a:cubicBezTo>
                    <a:pt x="48" y="52"/>
                    <a:pt x="50" y="48"/>
                    <a:pt x="49" y="43"/>
                  </a:cubicBezTo>
                  <a:cubicBezTo>
                    <a:pt x="48" y="36"/>
                    <a:pt x="46" y="26"/>
                    <a:pt x="39" y="24"/>
                  </a:cubicBezTo>
                  <a:cubicBezTo>
                    <a:pt x="32" y="22"/>
                    <a:pt x="30" y="18"/>
                    <a:pt x="24" y="10"/>
                  </a:cubicBezTo>
                  <a:cubicBezTo>
                    <a:pt x="22" y="7"/>
                    <a:pt x="22" y="3"/>
                    <a:pt x="24" y="0"/>
                  </a:cubicBezTo>
                  <a:cubicBezTo>
                    <a:pt x="21" y="0"/>
                    <a:pt x="16" y="1"/>
                    <a:pt x="12" y="4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109" name="Freeform 25168"/>
            <p:cNvSpPr>
              <a:spLocks/>
            </p:cNvSpPr>
            <p:nvPr/>
          </p:nvSpPr>
          <p:spPr bwMode="auto">
            <a:xfrm>
              <a:off x="4341563" y="2478529"/>
              <a:ext cx="93595" cy="64870"/>
            </a:xfrm>
            <a:custGeom>
              <a:avLst/>
              <a:gdLst>
                <a:gd name="T0" fmla="*/ 195 w 251"/>
                <a:gd name="T1" fmla="*/ 29 h 174"/>
                <a:gd name="T2" fmla="*/ 171 w 251"/>
                <a:gd name="T3" fmla="*/ 9 h 174"/>
                <a:gd name="T4" fmla="*/ 140 w 251"/>
                <a:gd name="T5" fmla="*/ 9 h 174"/>
                <a:gd name="T6" fmla="*/ 113 w 251"/>
                <a:gd name="T7" fmla="*/ 25 h 174"/>
                <a:gd name="T8" fmla="*/ 91 w 251"/>
                <a:gd name="T9" fmla="*/ 27 h 174"/>
                <a:gd name="T10" fmla="*/ 65 w 251"/>
                <a:gd name="T11" fmla="*/ 25 h 174"/>
                <a:gd name="T12" fmla="*/ 56 w 251"/>
                <a:gd name="T13" fmla="*/ 16 h 174"/>
                <a:gd name="T14" fmla="*/ 0 w 251"/>
                <a:gd name="T15" fmla="*/ 34 h 174"/>
                <a:gd name="T16" fmla="*/ 9 w 251"/>
                <a:gd name="T17" fmla="*/ 50 h 174"/>
                <a:gd name="T18" fmla="*/ 27 w 251"/>
                <a:gd name="T19" fmla="*/ 66 h 174"/>
                <a:gd name="T20" fmla="*/ 51 w 251"/>
                <a:gd name="T21" fmla="*/ 74 h 174"/>
                <a:gd name="T22" fmla="*/ 61 w 251"/>
                <a:gd name="T23" fmla="*/ 89 h 174"/>
                <a:gd name="T24" fmla="*/ 85 w 251"/>
                <a:gd name="T25" fmla="*/ 100 h 174"/>
                <a:gd name="T26" fmla="*/ 107 w 251"/>
                <a:gd name="T27" fmla="*/ 113 h 174"/>
                <a:gd name="T28" fmla="*/ 117 w 251"/>
                <a:gd name="T29" fmla="*/ 137 h 174"/>
                <a:gd name="T30" fmla="*/ 135 w 251"/>
                <a:gd name="T31" fmla="*/ 133 h 174"/>
                <a:gd name="T32" fmla="*/ 155 w 251"/>
                <a:gd name="T33" fmla="*/ 133 h 174"/>
                <a:gd name="T34" fmla="*/ 170 w 251"/>
                <a:gd name="T35" fmla="*/ 155 h 174"/>
                <a:gd name="T36" fmla="*/ 189 w 251"/>
                <a:gd name="T37" fmla="*/ 165 h 174"/>
                <a:gd name="T38" fmla="*/ 201 w 251"/>
                <a:gd name="T39" fmla="*/ 173 h 174"/>
                <a:gd name="T40" fmla="*/ 220 w 251"/>
                <a:gd name="T41" fmla="*/ 174 h 174"/>
                <a:gd name="T42" fmla="*/ 220 w 251"/>
                <a:gd name="T43" fmla="*/ 161 h 174"/>
                <a:gd name="T44" fmla="*/ 211 w 251"/>
                <a:gd name="T45" fmla="*/ 145 h 174"/>
                <a:gd name="T46" fmla="*/ 221 w 251"/>
                <a:gd name="T47" fmla="*/ 123 h 174"/>
                <a:gd name="T48" fmla="*/ 233 w 251"/>
                <a:gd name="T49" fmla="*/ 119 h 174"/>
                <a:gd name="T50" fmla="*/ 242 w 251"/>
                <a:gd name="T51" fmla="*/ 110 h 174"/>
                <a:gd name="T52" fmla="*/ 250 w 251"/>
                <a:gd name="T53" fmla="*/ 99 h 174"/>
                <a:gd name="T54" fmla="*/ 241 w 251"/>
                <a:gd name="T55" fmla="*/ 82 h 174"/>
                <a:gd name="T56" fmla="*/ 234 w 251"/>
                <a:gd name="T57" fmla="*/ 61 h 174"/>
                <a:gd name="T58" fmla="*/ 232 w 251"/>
                <a:gd name="T59" fmla="*/ 42 h 174"/>
                <a:gd name="T60" fmla="*/ 219 w 251"/>
                <a:gd name="T61" fmla="*/ 33 h 174"/>
                <a:gd name="T62" fmla="*/ 195 w 251"/>
                <a:gd name="T63" fmla="*/ 29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51" h="174">
                  <a:moveTo>
                    <a:pt x="195" y="29"/>
                  </a:moveTo>
                  <a:cubicBezTo>
                    <a:pt x="181" y="29"/>
                    <a:pt x="178" y="19"/>
                    <a:pt x="171" y="9"/>
                  </a:cubicBezTo>
                  <a:cubicBezTo>
                    <a:pt x="165" y="0"/>
                    <a:pt x="154" y="9"/>
                    <a:pt x="140" y="9"/>
                  </a:cubicBezTo>
                  <a:cubicBezTo>
                    <a:pt x="126" y="9"/>
                    <a:pt x="119" y="21"/>
                    <a:pt x="113" y="25"/>
                  </a:cubicBezTo>
                  <a:cubicBezTo>
                    <a:pt x="107" y="29"/>
                    <a:pt x="99" y="31"/>
                    <a:pt x="91" y="27"/>
                  </a:cubicBezTo>
                  <a:cubicBezTo>
                    <a:pt x="83" y="23"/>
                    <a:pt x="75" y="27"/>
                    <a:pt x="65" y="25"/>
                  </a:cubicBezTo>
                  <a:cubicBezTo>
                    <a:pt x="60" y="24"/>
                    <a:pt x="57" y="20"/>
                    <a:pt x="56" y="16"/>
                  </a:cubicBezTo>
                  <a:cubicBezTo>
                    <a:pt x="40" y="25"/>
                    <a:pt x="20" y="30"/>
                    <a:pt x="0" y="34"/>
                  </a:cubicBezTo>
                  <a:cubicBezTo>
                    <a:pt x="3" y="39"/>
                    <a:pt x="8" y="46"/>
                    <a:pt x="9" y="50"/>
                  </a:cubicBezTo>
                  <a:cubicBezTo>
                    <a:pt x="11" y="58"/>
                    <a:pt x="15" y="65"/>
                    <a:pt x="27" y="66"/>
                  </a:cubicBezTo>
                  <a:cubicBezTo>
                    <a:pt x="38" y="67"/>
                    <a:pt x="48" y="66"/>
                    <a:pt x="51" y="74"/>
                  </a:cubicBezTo>
                  <a:cubicBezTo>
                    <a:pt x="53" y="82"/>
                    <a:pt x="50" y="87"/>
                    <a:pt x="61" y="89"/>
                  </a:cubicBezTo>
                  <a:cubicBezTo>
                    <a:pt x="71" y="91"/>
                    <a:pt x="77" y="97"/>
                    <a:pt x="85" y="100"/>
                  </a:cubicBezTo>
                  <a:cubicBezTo>
                    <a:pt x="93" y="103"/>
                    <a:pt x="107" y="107"/>
                    <a:pt x="107" y="113"/>
                  </a:cubicBezTo>
                  <a:cubicBezTo>
                    <a:pt x="107" y="119"/>
                    <a:pt x="109" y="136"/>
                    <a:pt x="117" y="137"/>
                  </a:cubicBezTo>
                  <a:cubicBezTo>
                    <a:pt x="125" y="139"/>
                    <a:pt x="124" y="133"/>
                    <a:pt x="135" y="133"/>
                  </a:cubicBezTo>
                  <a:cubicBezTo>
                    <a:pt x="145" y="133"/>
                    <a:pt x="149" y="117"/>
                    <a:pt x="155" y="133"/>
                  </a:cubicBezTo>
                  <a:cubicBezTo>
                    <a:pt x="162" y="148"/>
                    <a:pt x="161" y="151"/>
                    <a:pt x="170" y="155"/>
                  </a:cubicBezTo>
                  <a:cubicBezTo>
                    <a:pt x="179" y="158"/>
                    <a:pt x="186" y="159"/>
                    <a:pt x="189" y="165"/>
                  </a:cubicBezTo>
                  <a:cubicBezTo>
                    <a:pt x="191" y="171"/>
                    <a:pt x="192" y="172"/>
                    <a:pt x="201" y="173"/>
                  </a:cubicBezTo>
                  <a:cubicBezTo>
                    <a:pt x="208" y="173"/>
                    <a:pt x="214" y="173"/>
                    <a:pt x="220" y="174"/>
                  </a:cubicBezTo>
                  <a:cubicBezTo>
                    <a:pt x="220" y="169"/>
                    <a:pt x="220" y="165"/>
                    <a:pt x="220" y="161"/>
                  </a:cubicBezTo>
                  <a:cubicBezTo>
                    <a:pt x="220" y="155"/>
                    <a:pt x="214" y="148"/>
                    <a:pt x="211" y="145"/>
                  </a:cubicBezTo>
                  <a:cubicBezTo>
                    <a:pt x="209" y="141"/>
                    <a:pt x="212" y="131"/>
                    <a:pt x="221" y="123"/>
                  </a:cubicBezTo>
                  <a:cubicBezTo>
                    <a:pt x="225" y="120"/>
                    <a:pt x="230" y="119"/>
                    <a:pt x="233" y="119"/>
                  </a:cubicBezTo>
                  <a:cubicBezTo>
                    <a:pt x="235" y="114"/>
                    <a:pt x="239" y="111"/>
                    <a:pt x="242" y="110"/>
                  </a:cubicBezTo>
                  <a:cubicBezTo>
                    <a:pt x="247" y="109"/>
                    <a:pt x="251" y="105"/>
                    <a:pt x="250" y="99"/>
                  </a:cubicBezTo>
                  <a:cubicBezTo>
                    <a:pt x="249" y="93"/>
                    <a:pt x="247" y="89"/>
                    <a:pt x="241" y="82"/>
                  </a:cubicBezTo>
                  <a:cubicBezTo>
                    <a:pt x="236" y="75"/>
                    <a:pt x="234" y="71"/>
                    <a:pt x="234" y="61"/>
                  </a:cubicBezTo>
                  <a:cubicBezTo>
                    <a:pt x="234" y="54"/>
                    <a:pt x="232" y="48"/>
                    <a:pt x="232" y="42"/>
                  </a:cubicBezTo>
                  <a:cubicBezTo>
                    <a:pt x="227" y="40"/>
                    <a:pt x="224" y="36"/>
                    <a:pt x="219" y="33"/>
                  </a:cubicBezTo>
                  <a:cubicBezTo>
                    <a:pt x="213" y="30"/>
                    <a:pt x="208" y="29"/>
                    <a:pt x="195" y="2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110" name="Freeform 25169"/>
            <p:cNvSpPr>
              <a:spLocks/>
            </p:cNvSpPr>
            <p:nvPr/>
          </p:nvSpPr>
          <p:spPr bwMode="auto">
            <a:xfrm>
              <a:off x="4362554" y="2416974"/>
              <a:ext cx="95016" cy="77339"/>
            </a:xfrm>
            <a:custGeom>
              <a:avLst/>
              <a:gdLst>
                <a:gd name="T0" fmla="*/ 231 w 255"/>
                <a:gd name="T1" fmla="*/ 70 h 207"/>
                <a:gd name="T2" fmla="*/ 240 w 255"/>
                <a:gd name="T3" fmla="*/ 59 h 207"/>
                <a:gd name="T4" fmla="*/ 252 w 255"/>
                <a:gd name="T5" fmla="*/ 38 h 207"/>
                <a:gd name="T6" fmla="*/ 246 w 255"/>
                <a:gd name="T7" fmla="*/ 14 h 207"/>
                <a:gd name="T8" fmla="*/ 238 w 255"/>
                <a:gd name="T9" fmla="*/ 1 h 207"/>
                <a:gd name="T10" fmla="*/ 221 w 255"/>
                <a:gd name="T11" fmla="*/ 2 h 207"/>
                <a:gd name="T12" fmla="*/ 168 w 255"/>
                <a:gd name="T13" fmla="*/ 3 h 207"/>
                <a:gd name="T14" fmla="*/ 133 w 255"/>
                <a:gd name="T15" fmla="*/ 29 h 207"/>
                <a:gd name="T16" fmla="*/ 94 w 255"/>
                <a:gd name="T17" fmla="*/ 50 h 207"/>
                <a:gd name="T18" fmla="*/ 57 w 255"/>
                <a:gd name="T19" fmla="*/ 121 h 207"/>
                <a:gd name="T20" fmla="*/ 14 w 255"/>
                <a:gd name="T21" fmla="*/ 172 h 207"/>
                <a:gd name="T22" fmla="*/ 0 w 255"/>
                <a:gd name="T23" fmla="*/ 181 h 207"/>
                <a:gd name="T24" fmla="*/ 9 w 255"/>
                <a:gd name="T25" fmla="*/ 190 h 207"/>
                <a:gd name="T26" fmla="*/ 35 w 255"/>
                <a:gd name="T27" fmla="*/ 192 h 207"/>
                <a:gd name="T28" fmla="*/ 57 w 255"/>
                <a:gd name="T29" fmla="*/ 190 h 207"/>
                <a:gd name="T30" fmla="*/ 84 w 255"/>
                <a:gd name="T31" fmla="*/ 174 h 207"/>
                <a:gd name="T32" fmla="*/ 115 w 255"/>
                <a:gd name="T33" fmla="*/ 174 h 207"/>
                <a:gd name="T34" fmla="*/ 139 w 255"/>
                <a:gd name="T35" fmla="*/ 194 h 207"/>
                <a:gd name="T36" fmla="*/ 163 w 255"/>
                <a:gd name="T37" fmla="*/ 198 h 207"/>
                <a:gd name="T38" fmla="*/ 176 w 255"/>
                <a:gd name="T39" fmla="*/ 207 h 207"/>
                <a:gd name="T40" fmla="*/ 177 w 255"/>
                <a:gd name="T41" fmla="*/ 198 h 207"/>
                <a:gd name="T42" fmla="*/ 184 w 255"/>
                <a:gd name="T43" fmla="*/ 179 h 207"/>
                <a:gd name="T44" fmla="*/ 174 w 255"/>
                <a:gd name="T45" fmla="*/ 163 h 207"/>
                <a:gd name="T46" fmla="*/ 169 w 255"/>
                <a:gd name="T47" fmla="*/ 148 h 207"/>
                <a:gd name="T48" fmla="*/ 185 w 255"/>
                <a:gd name="T49" fmla="*/ 142 h 207"/>
                <a:gd name="T50" fmla="*/ 208 w 255"/>
                <a:gd name="T51" fmla="*/ 138 h 207"/>
                <a:gd name="T52" fmla="*/ 226 w 255"/>
                <a:gd name="T53" fmla="*/ 116 h 207"/>
                <a:gd name="T54" fmla="*/ 242 w 255"/>
                <a:gd name="T55" fmla="*/ 101 h 207"/>
                <a:gd name="T56" fmla="*/ 227 w 255"/>
                <a:gd name="T57" fmla="*/ 91 h 207"/>
                <a:gd name="T58" fmla="*/ 219 w 255"/>
                <a:gd name="T59" fmla="*/ 82 h 207"/>
                <a:gd name="T60" fmla="*/ 231 w 255"/>
                <a:gd name="T61" fmla="*/ 70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55" h="207">
                  <a:moveTo>
                    <a:pt x="231" y="70"/>
                  </a:moveTo>
                  <a:cubicBezTo>
                    <a:pt x="238" y="68"/>
                    <a:pt x="240" y="63"/>
                    <a:pt x="240" y="59"/>
                  </a:cubicBezTo>
                  <a:cubicBezTo>
                    <a:pt x="240" y="55"/>
                    <a:pt x="249" y="44"/>
                    <a:pt x="252" y="38"/>
                  </a:cubicBezTo>
                  <a:cubicBezTo>
                    <a:pt x="255" y="31"/>
                    <a:pt x="248" y="22"/>
                    <a:pt x="246" y="14"/>
                  </a:cubicBezTo>
                  <a:cubicBezTo>
                    <a:pt x="245" y="10"/>
                    <a:pt x="241" y="5"/>
                    <a:pt x="238" y="1"/>
                  </a:cubicBezTo>
                  <a:cubicBezTo>
                    <a:pt x="235" y="3"/>
                    <a:pt x="227" y="2"/>
                    <a:pt x="221" y="2"/>
                  </a:cubicBezTo>
                  <a:cubicBezTo>
                    <a:pt x="211" y="0"/>
                    <a:pt x="191" y="3"/>
                    <a:pt x="168" y="3"/>
                  </a:cubicBezTo>
                  <a:cubicBezTo>
                    <a:pt x="145" y="3"/>
                    <a:pt x="144" y="12"/>
                    <a:pt x="133" y="29"/>
                  </a:cubicBezTo>
                  <a:cubicBezTo>
                    <a:pt x="121" y="46"/>
                    <a:pt x="117" y="45"/>
                    <a:pt x="94" y="50"/>
                  </a:cubicBezTo>
                  <a:cubicBezTo>
                    <a:pt x="71" y="56"/>
                    <a:pt x="59" y="96"/>
                    <a:pt x="57" y="121"/>
                  </a:cubicBezTo>
                  <a:cubicBezTo>
                    <a:pt x="54" y="145"/>
                    <a:pt x="35" y="155"/>
                    <a:pt x="14" y="172"/>
                  </a:cubicBezTo>
                  <a:cubicBezTo>
                    <a:pt x="10" y="175"/>
                    <a:pt x="5" y="178"/>
                    <a:pt x="0" y="181"/>
                  </a:cubicBezTo>
                  <a:cubicBezTo>
                    <a:pt x="1" y="185"/>
                    <a:pt x="4" y="189"/>
                    <a:pt x="9" y="190"/>
                  </a:cubicBezTo>
                  <a:cubicBezTo>
                    <a:pt x="19" y="192"/>
                    <a:pt x="27" y="188"/>
                    <a:pt x="35" y="192"/>
                  </a:cubicBezTo>
                  <a:cubicBezTo>
                    <a:pt x="43" y="196"/>
                    <a:pt x="51" y="194"/>
                    <a:pt x="57" y="190"/>
                  </a:cubicBezTo>
                  <a:cubicBezTo>
                    <a:pt x="63" y="186"/>
                    <a:pt x="70" y="174"/>
                    <a:pt x="84" y="174"/>
                  </a:cubicBezTo>
                  <a:cubicBezTo>
                    <a:pt x="98" y="174"/>
                    <a:pt x="109" y="165"/>
                    <a:pt x="115" y="174"/>
                  </a:cubicBezTo>
                  <a:cubicBezTo>
                    <a:pt x="122" y="184"/>
                    <a:pt x="125" y="194"/>
                    <a:pt x="139" y="194"/>
                  </a:cubicBezTo>
                  <a:cubicBezTo>
                    <a:pt x="152" y="194"/>
                    <a:pt x="157" y="195"/>
                    <a:pt x="163" y="198"/>
                  </a:cubicBezTo>
                  <a:cubicBezTo>
                    <a:pt x="168" y="201"/>
                    <a:pt x="171" y="205"/>
                    <a:pt x="176" y="207"/>
                  </a:cubicBezTo>
                  <a:cubicBezTo>
                    <a:pt x="176" y="204"/>
                    <a:pt x="176" y="201"/>
                    <a:pt x="177" y="198"/>
                  </a:cubicBezTo>
                  <a:cubicBezTo>
                    <a:pt x="181" y="189"/>
                    <a:pt x="177" y="187"/>
                    <a:pt x="184" y="179"/>
                  </a:cubicBezTo>
                  <a:cubicBezTo>
                    <a:pt x="191" y="171"/>
                    <a:pt x="179" y="167"/>
                    <a:pt x="174" y="163"/>
                  </a:cubicBezTo>
                  <a:cubicBezTo>
                    <a:pt x="169" y="159"/>
                    <a:pt x="169" y="156"/>
                    <a:pt x="169" y="148"/>
                  </a:cubicBezTo>
                  <a:cubicBezTo>
                    <a:pt x="169" y="141"/>
                    <a:pt x="175" y="140"/>
                    <a:pt x="185" y="142"/>
                  </a:cubicBezTo>
                  <a:cubicBezTo>
                    <a:pt x="195" y="143"/>
                    <a:pt x="199" y="140"/>
                    <a:pt x="208" y="138"/>
                  </a:cubicBezTo>
                  <a:cubicBezTo>
                    <a:pt x="217" y="135"/>
                    <a:pt x="223" y="124"/>
                    <a:pt x="226" y="116"/>
                  </a:cubicBezTo>
                  <a:cubicBezTo>
                    <a:pt x="229" y="108"/>
                    <a:pt x="241" y="105"/>
                    <a:pt x="242" y="101"/>
                  </a:cubicBezTo>
                  <a:cubicBezTo>
                    <a:pt x="243" y="97"/>
                    <a:pt x="235" y="91"/>
                    <a:pt x="227" y="91"/>
                  </a:cubicBezTo>
                  <a:cubicBezTo>
                    <a:pt x="218" y="91"/>
                    <a:pt x="219" y="88"/>
                    <a:pt x="219" y="82"/>
                  </a:cubicBezTo>
                  <a:cubicBezTo>
                    <a:pt x="218" y="76"/>
                    <a:pt x="223" y="72"/>
                    <a:pt x="231" y="7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111" name="Freeform 25170"/>
            <p:cNvSpPr>
              <a:spLocks/>
            </p:cNvSpPr>
            <p:nvPr/>
          </p:nvSpPr>
          <p:spPr bwMode="auto">
            <a:xfrm>
              <a:off x="4567580" y="2493839"/>
              <a:ext cx="162569" cy="79864"/>
            </a:xfrm>
            <a:custGeom>
              <a:avLst/>
              <a:gdLst>
                <a:gd name="T0" fmla="*/ 415 w 436"/>
                <a:gd name="T1" fmla="*/ 100 h 214"/>
                <a:gd name="T2" fmla="*/ 385 w 436"/>
                <a:gd name="T3" fmla="*/ 93 h 214"/>
                <a:gd name="T4" fmla="*/ 367 w 436"/>
                <a:gd name="T5" fmla="*/ 80 h 214"/>
                <a:gd name="T6" fmla="*/ 349 w 436"/>
                <a:gd name="T7" fmla="*/ 68 h 214"/>
                <a:gd name="T8" fmla="*/ 336 w 436"/>
                <a:gd name="T9" fmla="*/ 63 h 214"/>
                <a:gd name="T10" fmla="*/ 325 w 436"/>
                <a:gd name="T11" fmla="*/ 56 h 214"/>
                <a:gd name="T12" fmla="*/ 320 w 436"/>
                <a:gd name="T13" fmla="*/ 67 h 214"/>
                <a:gd name="T14" fmla="*/ 314 w 436"/>
                <a:gd name="T15" fmla="*/ 77 h 214"/>
                <a:gd name="T16" fmla="*/ 293 w 436"/>
                <a:gd name="T17" fmla="*/ 73 h 214"/>
                <a:gd name="T18" fmla="*/ 283 w 436"/>
                <a:gd name="T19" fmla="*/ 59 h 214"/>
                <a:gd name="T20" fmla="*/ 269 w 436"/>
                <a:gd name="T21" fmla="*/ 44 h 214"/>
                <a:gd name="T22" fmla="*/ 251 w 436"/>
                <a:gd name="T23" fmla="*/ 34 h 214"/>
                <a:gd name="T24" fmla="*/ 227 w 436"/>
                <a:gd name="T25" fmla="*/ 29 h 214"/>
                <a:gd name="T26" fmla="*/ 213 w 436"/>
                <a:gd name="T27" fmla="*/ 17 h 214"/>
                <a:gd name="T28" fmla="*/ 199 w 436"/>
                <a:gd name="T29" fmla="*/ 10 h 214"/>
                <a:gd name="T30" fmla="*/ 195 w 436"/>
                <a:gd name="T31" fmla="*/ 8 h 214"/>
                <a:gd name="T32" fmla="*/ 183 w 436"/>
                <a:gd name="T33" fmla="*/ 18 h 214"/>
                <a:gd name="T34" fmla="*/ 163 w 436"/>
                <a:gd name="T35" fmla="*/ 8 h 214"/>
                <a:gd name="T36" fmla="*/ 151 w 436"/>
                <a:gd name="T37" fmla="*/ 4 h 214"/>
                <a:gd name="T38" fmla="*/ 141 w 436"/>
                <a:gd name="T39" fmla="*/ 19 h 214"/>
                <a:gd name="T40" fmla="*/ 124 w 436"/>
                <a:gd name="T41" fmla="*/ 26 h 214"/>
                <a:gd name="T42" fmla="*/ 103 w 436"/>
                <a:gd name="T43" fmla="*/ 32 h 214"/>
                <a:gd name="T44" fmla="*/ 87 w 436"/>
                <a:gd name="T45" fmla="*/ 40 h 214"/>
                <a:gd name="T46" fmla="*/ 72 w 436"/>
                <a:gd name="T47" fmla="*/ 48 h 214"/>
                <a:gd name="T48" fmla="*/ 53 w 436"/>
                <a:gd name="T49" fmla="*/ 56 h 214"/>
                <a:gd name="T50" fmla="*/ 30 w 436"/>
                <a:gd name="T51" fmla="*/ 58 h 214"/>
                <a:gd name="T52" fmla="*/ 19 w 436"/>
                <a:gd name="T53" fmla="*/ 65 h 214"/>
                <a:gd name="T54" fmla="*/ 12 w 436"/>
                <a:gd name="T55" fmla="*/ 75 h 214"/>
                <a:gd name="T56" fmla="*/ 27 w 436"/>
                <a:gd name="T57" fmla="*/ 90 h 214"/>
                <a:gd name="T58" fmla="*/ 35 w 436"/>
                <a:gd name="T59" fmla="*/ 105 h 214"/>
                <a:gd name="T60" fmla="*/ 37 w 436"/>
                <a:gd name="T61" fmla="*/ 128 h 214"/>
                <a:gd name="T62" fmla="*/ 60 w 436"/>
                <a:gd name="T63" fmla="*/ 149 h 214"/>
                <a:gd name="T64" fmla="*/ 79 w 436"/>
                <a:gd name="T65" fmla="*/ 162 h 214"/>
                <a:gd name="T66" fmla="*/ 98 w 436"/>
                <a:gd name="T67" fmla="*/ 174 h 214"/>
                <a:gd name="T68" fmla="*/ 111 w 436"/>
                <a:gd name="T69" fmla="*/ 185 h 214"/>
                <a:gd name="T70" fmla="*/ 131 w 436"/>
                <a:gd name="T71" fmla="*/ 204 h 214"/>
                <a:gd name="T72" fmla="*/ 133 w 436"/>
                <a:gd name="T73" fmla="*/ 204 h 214"/>
                <a:gd name="T74" fmla="*/ 156 w 436"/>
                <a:gd name="T75" fmla="*/ 211 h 214"/>
                <a:gd name="T76" fmla="*/ 180 w 436"/>
                <a:gd name="T77" fmla="*/ 206 h 214"/>
                <a:gd name="T78" fmla="*/ 193 w 436"/>
                <a:gd name="T79" fmla="*/ 188 h 214"/>
                <a:gd name="T80" fmla="*/ 209 w 436"/>
                <a:gd name="T81" fmla="*/ 174 h 214"/>
                <a:gd name="T82" fmla="*/ 229 w 436"/>
                <a:gd name="T83" fmla="*/ 183 h 214"/>
                <a:gd name="T84" fmla="*/ 249 w 436"/>
                <a:gd name="T85" fmla="*/ 191 h 214"/>
                <a:gd name="T86" fmla="*/ 268 w 436"/>
                <a:gd name="T87" fmla="*/ 199 h 214"/>
                <a:gd name="T88" fmla="*/ 288 w 436"/>
                <a:gd name="T89" fmla="*/ 191 h 214"/>
                <a:gd name="T90" fmla="*/ 297 w 436"/>
                <a:gd name="T91" fmla="*/ 196 h 214"/>
                <a:gd name="T92" fmla="*/ 313 w 436"/>
                <a:gd name="T93" fmla="*/ 200 h 214"/>
                <a:gd name="T94" fmla="*/ 328 w 436"/>
                <a:gd name="T95" fmla="*/ 197 h 214"/>
                <a:gd name="T96" fmla="*/ 336 w 436"/>
                <a:gd name="T97" fmla="*/ 182 h 214"/>
                <a:gd name="T98" fmla="*/ 347 w 436"/>
                <a:gd name="T99" fmla="*/ 187 h 214"/>
                <a:gd name="T100" fmla="*/ 360 w 436"/>
                <a:gd name="T101" fmla="*/ 191 h 214"/>
                <a:gd name="T102" fmla="*/ 373 w 436"/>
                <a:gd name="T103" fmla="*/ 184 h 214"/>
                <a:gd name="T104" fmla="*/ 384 w 436"/>
                <a:gd name="T105" fmla="*/ 174 h 214"/>
                <a:gd name="T106" fmla="*/ 396 w 436"/>
                <a:gd name="T107" fmla="*/ 167 h 214"/>
                <a:gd name="T108" fmla="*/ 406 w 436"/>
                <a:gd name="T109" fmla="*/ 148 h 214"/>
                <a:gd name="T110" fmla="*/ 421 w 436"/>
                <a:gd name="T111" fmla="*/ 138 h 214"/>
                <a:gd name="T112" fmla="*/ 436 w 436"/>
                <a:gd name="T113" fmla="*/ 130 h 214"/>
                <a:gd name="T114" fmla="*/ 415 w 436"/>
                <a:gd name="T115" fmla="*/ 100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36" h="214">
                  <a:moveTo>
                    <a:pt x="415" y="100"/>
                  </a:moveTo>
                  <a:cubicBezTo>
                    <a:pt x="411" y="92"/>
                    <a:pt x="395" y="93"/>
                    <a:pt x="385" y="93"/>
                  </a:cubicBezTo>
                  <a:cubicBezTo>
                    <a:pt x="376" y="93"/>
                    <a:pt x="369" y="88"/>
                    <a:pt x="367" y="80"/>
                  </a:cubicBezTo>
                  <a:cubicBezTo>
                    <a:pt x="364" y="72"/>
                    <a:pt x="358" y="69"/>
                    <a:pt x="349" y="68"/>
                  </a:cubicBezTo>
                  <a:cubicBezTo>
                    <a:pt x="341" y="66"/>
                    <a:pt x="339" y="66"/>
                    <a:pt x="336" y="63"/>
                  </a:cubicBezTo>
                  <a:cubicBezTo>
                    <a:pt x="333" y="60"/>
                    <a:pt x="332" y="56"/>
                    <a:pt x="325" y="56"/>
                  </a:cubicBezTo>
                  <a:cubicBezTo>
                    <a:pt x="317" y="56"/>
                    <a:pt x="317" y="62"/>
                    <a:pt x="320" y="67"/>
                  </a:cubicBezTo>
                  <a:cubicBezTo>
                    <a:pt x="323" y="72"/>
                    <a:pt x="317" y="70"/>
                    <a:pt x="314" y="77"/>
                  </a:cubicBezTo>
                  <a:cubicBezTo>
                    <a:pt x="311" y="84"/>
                    <a:pt x="302" y="78"/>
                    <a:pt x="293" y="73"/>
                  </a:cubicBezTo>
                  <a:cubicBezTo>
                    <a:pt x="283" y="68"/>
                    <a:pt x="285" y="65"/>
                    <a:pt x="283" y="59"/>
                  </a:cubicBezTo>
                  <a:cubicBezTo>
                    <a:pt x="280" y="53"/>
                    <a:pt x="275" y="49"/>
                    <a:pt x="269" y="44"/>
                  </a:cubicBezTo>
                  <a:cubicBezTo>
                    <a:pt x="264" y="38"/>
                    <a:pt x="260" y="38"/>
                    <a:pt x="251" y="34"/>
                  </a:cubicBezTo>
                  <a:cubicBezTo>
                    <a:pt x="243" y="31"/>
                    <a:pt x="233" y="29"/>
                    <a:pt x="227" y="29"/>
                  </a:cubicBezTo>
                  <a:cubicBezTo>
                    <a:pt x="221" y="29"/>
                    <a:pt x="215" y="25"/>
                    <a:pt x="213" y="17"/>
                  </a:cubicBezTo>
                  <a:cubicBezTo>
                    <a:pt x="211" y="9"/>
                    <a:pt x="206" y="10"/>
                    <a:pt x="199" y="10"/>
                  </a:cubicBezTo>
                  <a:cubicBezTo>
                    <a:pt x="197" y="10"/>
                    <a:pt x="196" y="9"/>
                    <a:pt x="195" y="8"/>
                  </a:cubicBezTo>
                  <a:cubicBezTo>
                    <a:pt x="193" y="13"/>
                    <a:pt x="189" y="19"/>
                    <a:pt x="183" y="18"/>
                  </a:cubicBezTo>
                  <a:cubicBezTo>
                    <a:pt x="172" y="18"/>
                    <a:pt x="165" y="13"/>
                    <a:pt x="163" y="8"/>
                  </a:cubicBezTo>
                  <a:cubicBezTo>
                    <a:pt x="161" y="2"/>
                    <a:pt x="151" y="0"/>
                    <a:pt x="151" y="4"/>
                  </a:cubicBezTo>
                  <a:cubicBezTo>
                    <a:pt x="150" y="8"/>
                    <a:pt x="148" y="19"/>
                    <a:pt x="141" y="19"/>
                  </a:cubicBezTo>
                  <a:cubicBezTo>
                    <a:pt x="133" y="19"/>
                    <a:pt x="129" y="20"/>
                    <a:pt x="124" y="26"/>
                  </a:cubicBezTo>
                  <a:cubicBezTo>
                    <a:pt x="119" y="31"/>
                    <a:pt x="105" y="26"/>
                    <a:pt x="103" y="32"/>
                  </a:cubicBezTo>
                  <a:cubicBezTo>
                    <a:pt x="100" y="38"/>
                    <a:pt x="94" y="40"/>
                    <a:pt x="87" y="40"/>
                  </a:cubicBezTo>
                  <a:cubicBezTo>
                    <a:pt x="81" y="40"/>
                    <a:pt x="78" y="44"/>
                    <a:pt x="72" y="48"/>
                  </a:cubicBezTo>
                  <a:cubicBezTo>
                    <a:pt x="66" y="53"/>
                    <a:pt x="57" y="56"/>
                    <a:pt x="53" y="56"/>
                  </a:cubicBezTo>
                  <a:cubicBezTo>
                    <a:pt x="49" y="56"/>
                    <a:pt x="37" y="55"/>
                    <a:pt x="30" y="58"/>
                  </a:cubicBezTo>
                  <a:cubicBezTo>
                    <a:pt x="23" y="60"/>
                    <a:pt x="30" y="66"/>
                    <a:pt x="19" y="65"/>
                  </a:cubicBezTo>
                  <a:cubicBezTo>
                    <a:pt x="9" y="64"/>
                    <a:pt x="0" y="68"/>
                    <a:pt x="12" y="75"/>
                  </a:cubicBezTo>
                  <a:cubicBezTo>
                    <a:pt x="24" y="82"/>
                    <a:pt x="19" y="89"/>
                    <a:pt x="27" y="90"/>
                  </a:cubicBezTo>
                  <a:cubicBezTo>
                    <a:pt x="34" y="90"/>
                    <a:pt x="35" y="98"/>
                    <a:pt x="35" y="105"/>
                  </a:cubicBezTo>
                  <a:cubicBezTo>
                    <a:pt x="35" y="112"/>
                    <a:pt x="32" y="123"/>
                    <a:pt x="37" y="128"/>
                  </a:cubicBezTo>
                  <a:cubicBezTo>
                    <a:pt x="41" y="132"/>
                    <a:pt x="55" y="144"/>
                    <a:pt x="60" y="149"/>
                  </a:cubicBezTo>
                  <a:cubicBezTo>
                    <a:pt x="65" y="154"/>
                    <a:pt x="72" y="159"/>
                    <a:pt x="79" y="162"/>
                  </a:cubicBezTo>
                  <a:cubicBezTo>
                    <a:pt x="85" y="166"/>
                    <a:pt x="93" y="170"/>
                    <a:pt x="98" y="174"/>
                  </a:cubicBezTo>
                  <a:cubicBezTo>
                    <a:pt x="103" y="177"/>
                    <a:pt x="104" y="182"/>
                    <a:pt x="111" y="185"/>
                  </a:cubicBezTo>
                  <a:cubicBezTo>
                    <a:pt x="117" y="187"/>
                    <a:pt x="127" y="194"/>
                    <a:pt x="131" y="204"/>
                  </a:cubicBezTo>
                  <a:cubicBezTo>
                    <a:pt x="132" y="204"/>
                    <a:pt x="132" y="204"/>
                    <a:pt x="133" y="204"/>
                  </a:cubicBezTo>
                  <a:cubicBezTo>
                    <a:pt x="145" y="206"/>
                    <a:pt x="150" y="214"/>
                    <a:pt x="156" y="211"/>
                  </a:cubicBezTo>
                  <a:cubicBezTo>
                    <a:pt x="163" y="209"/>
                    <a:pt x="173" y="213"/>
                    <a:pt x="180" y="206"/>
                  </a:cubicBezTo>
                  <a:cubicBezTo>
                    <a:pt x="187" y="199"/>
                    <a:pt x="191" y="196"/>
                    <a:pt x="193" y="188"/>
                  </a:cubicBezTo>
                  <a:cubicBezTo>
                    <a:pt x="195" y="179"/>
                    <a:pt x="199" y="173"/>
                    <a:pt x="209" y="174"/>
                  </a:cubicBezTo>
                  <a:cubicBezTo>
                    <a:pt x="219" y="175"/>
                    <a:pt x="226" y="178"/>
                    <a:pt x="229" y="183"/>
                  </a:cubicBezTo>
                  <a:cubicBezTo>
                    <a:pt x="232" y="188"/>
                    <a:pt x="243" y="190"/>
                    <a:pt x="249" y="191"/>
                  </a:cubicBezTo>
                  <a:cubicBezTo>
                    <a:pt x="255" y="192"/>
                    <a:pt x="255" y="199"/>
                    <a:pt x="268" y="199"/>
                  </a:cubicBezTo>
                  <a:cubicBezTo>
                    <a:pt x="281" y="199"/>
                    <a:pt x="284" y="195"/>
                    <a:pt x="288" y="191"/>
                  </a:cubicBezTo>
                  <a:cubicBezTo>
                    <a:pt x="292" y="187"/>
                    <a:pt x="295" y="191"/>
                    <a:pt x="297" y="196"/>
                  </a:cubicBezTo>
                  <a:cubicBezTo>
                    <a:pt x="298" y="202"/>
                    <a:pt x="306" y="200"/>
                    <a:pt x="313" y="200"/>
                  </a:cubicBezTo>
                  <a:cubicBezTo>
                    <a:pt x="319" y="201"/>
                    <a:pt x="324" y="202"/>
                    <a:pt x="328" y="197"/>
                  </a:cubicBezTo>
                  <a:cubicBezTo>
                    <a:pt x="333" y="191"/>
                    <a:pt x="333" y="182"/>
                    <a:pt x="336" y="182"/>
                  </a:cubicBezTo>
                  <a:cubicBezTo>
                    <a:pt x="340" y="182"/>
                    <a:pt x="346" y="182"/>
                    <a:pt x="347" y="187"/>
                  </a:cubicBezTo>
                  <a:cubicBezTo>
                    <a:pt x="348" y="191"/>
                    <a:pt x="353" y="191"/>
                    <a:pt x="360" y="191"/>
                  </a:cubicBezTo>
                  <a:cubicBezTo>
                    <a:pt x="366" y="190"/>
                    <a:pt x="370" y="190"/>
                    <a:pt x="373" y="184"/>
                  </a:cubicBezTo>
                  <a:cubicBezTo>
                    <a:pt x="377" y="178"/>
                    <a:pt x="378" y="175"/>
                    <a:pt x="384" y="174"/>
                  </a:cubicBezTo>
                  <a:cubicBezTo>
                    <a:pt x="389" y="173"/>
                    <a:pt x="393" y="174"/>
                    <a:pt x="396" y="167"/>
                  </a:cubicBezTo>
                  <a:cubicBezTo>
                    <a:pt x="399" y="161"/>
                    <a:pt x="401" y="151"/>
                    <a:pt x="406" y="148"/>
                  </a:cubicBezTo>
                  <a:cubicBezTo>
                    <a:pt x="411" y="145"/>
                    <a:pt x="414" y="138"/>
                    <a:pt x="421" y="138"/>
                  </a:cubicBezTo>
                  <a:cubicBezTo>
                    <a:pt x="426" y="138"/>
                    <a:pt x="431" y="131"/>
                    <a:pt x="436" y="130"/>
                  </a:cubicBezTo>
                  <a:cubicBezTo>
                    <a:pt x="431" y="114"/>
                    <a:pt x="420" y="108"/>
                    <a:pt x="415" y="10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112" name="Freeform 25171"/>
            <p:cNvSpPr>
              <a:spLocks/>
            </p:cNvSpPr>
            <p:nvPr/>
          </p:nvSpPr>
          <p:spPr bwMode="auto">
            <a:xfrm>
              <a:off x="4685009" y="2540558"/>
              <a:ext cx="133054" cy="59188"/>
            </a:xfrm>
            <a:custGeom>
              <a:avLst/>
              <a:gdLst>
                <a:gd name="T0" fmla="*/ 26 w 357"/>
                <a:gd name="T1" fmla="*/ 134 h 159"/>
                <a:gd name="T2" fmla="*/ 47 w 357"/>
                <a:gd name="T3" fmla="*/ 149 h 159"/>
                <a:gd name="T4" fmla="*/ 63 w 357"/>
                <a:gd name="T5" fmla="*/ 157 h 159"/>
                <a:gd name="T6" fmla="*/ 104 w 357"/>
                <a:gd name="T7" fmla="*/ 153 h 159"/>
                <a:gd name="T8" fmla="*/ 122 w 357"/>
                <a:gd name="T9" fmla="*/ 146 h 159"/>
                <a:gd name="T10" fmla="*/ 132 w 357"/>
                <a:gd name="T11" fmla="*/ 131 h 159"/>
                <a:gd name="T12" fmla="*/ 150 w 357"/>
                <a:gd name="T13" fmla="*/ 127 h 159"/>
                <a:gd name="T14" fmla="*/ 165 w 357"/>
                <a:gd name="T15" fmla="*/ 121 h 159"/>
                <a:gd name="T16" fmla="*/ 181 w 357"/>
                <a:gd name="T17" fmla="*/ 117 h 159"/>
                <a:gd name="T18" fmla="*/ 198 w 357"/>
                <a:gd name="T19" fmla="*/ 123 h 159"/>
                <a:gd name="T20" fmla="*/ 222 w 357"/>
                <a:gd name="T21" fmla="*/ 107 h 159"/>
                <a:gd name="T22" fmla="*/ 238 w 357"/>
                <a:gd name="T23" fmla="*/ 81 h 159"/>
                <a:gd name="T24" fmla="*/ 259 w 357"/>
                <a:gd name="T25" fmla="*/ 81 h 159"/>
                <a:gd name="T26" fmla="*/ 280 w 357"/>
                <a:gd name="T27" fmla="*/ 87 h 159"/>
                <a:gd name="T28" fmla="*/ 301 w 357"/>
                <a:gd name="T29" fmla="*/ 96 h 159"/>
                <a:gd name="T30" fmla="*/ 320 w 357"/>
                <a:gd name="T31" fmla="*/ 106 h 159"/>
                <a:gd name="T32" fmla="*/ 336 w 357"/>
                <a:gd name="T33" fmla="*/ 103 h 159"/>
                <a:gd name="T34" fmla="*/ 337 w 357"/>
                <a:gd name="T35" fmla="*/ 85 h 159"/>
                <a:gd name="T36" fmla="*/ 355 w 357"/>
                <a:gd name="T37" fmla="*/ 58 h 159"/>
                <a:gd name="T38" fmla="*/ 357 w 357"/>
                <a:gd name="T39" fmla="*/ 50 h 159"/>
                <a:gd name="T40" fmla="*/ 351 w 357"/>
                <a:gd name="T41" fmla="*/ 43 h 159"/>
                <a:gd name="T42" fmla="*/ 332 w 357"/>
                <a:gd name="T43" fmla="*/ 33 h 159"/>
                <a:gd name="T44" fmla="*/ 315 w 357"/>
                <a:gd name="T45" fmla="*/ 19 h 159"/>
                <a:gd name="T46" fmla="*/ 278 w 357"/>
                <a:gd name="T47" fmla="*/ 13 h 159"/>
                <a:gd name="T48" fmla="*/ 261 w 357"/>
                <a:gd name="T49" fmla="*/ 24 h 159"/>
                <a:gd name="T50" fmla="*/ 239 w 357"/>
                <a:gd name="T51" fmla="*/ 15 h 159"/>
                <a:gd name="T52" fmla="*/ 213 w 357"/>
                <a:gd name="T53" fmla="*/ 22 h 159"/>
                <a:gd name="T54" fmla="*/ 183 w 357"/>
                <a:gd name="T55" fmla="*/ 19 h 159"/>
                <a:gd name="T56" fmla="*/ 174 w 357"/>
                <a:gd name="T57" fmla="*/ 8 h 159"/>
                <a:gd name="T58" fmla="*/ 161 w 357"/>
                <a:gd name="T59" fmla="*/ 4 h 159"/>
                <a:gd name="T60" fmla="*/ 147 w 357"/>
                <a:gd name="T61" fmla="*/ 14 h 159"/>
                <a:gd name="T62" fmla="*/ 127 w 357"/>
                <a:gd name="T63" fmla="*/ 7 h 159"/>
                <a:gd name="T64" fmla="*/ 106 w 357"/>
                <a:gd name="T65" fmla="*/ 13 h 159"/>
                <a:gd name="T66" fmla="*/ 91 w 357"/>
                <a:gd name="T67" fmla="*/ 23 h 159"/>
                <a:gd name="T68" fmla="*/ 81 w 357"/>
                <a:gd name="T69" fmla="*/ 42 h 159"/>
                <a:gd name="T70" fmla="*/ 69 w 357"/>
                <a:gd name="T71" fmla="*/ 49 h 159"/>
                <a:gd name="T72" fmla="*/ 58 w 357"/>
                <a:gd name="T73" fmla="*/ 59 h 159"/>
                <a:gd name="T74" fmla="*/ 45 w 357"/>
                <a:gd name="T75" fmla="*/ 66 h 159"/>
                <a:gd name="T76" fmla="*/ 32 w 357"/>
                <a:gd name="T77" fmla="*/ 62 h 159"/>
                <a:gd name="T78" fmla="*/ 21 w 357"/>
                <a:gd name="T79" fmla="*/ 57 h 159"/>
                <a:gd name="T80" fmla="*/ 13 w 357"/>
                <a:gd name="T81" fmla="*/ 72 h 159"/>
                <a:gd name="T82" fmla="*/ 2 w 357"/>
                <a:gd name="T83" fmla="*/ 75 h 159"/>
                <a:gd name="T84" fmla="*/ 0 w 357"/>
                <a:gd name="T85" fmla="*/ 107 h 159"/>
                <a:gd name="T86" fmla="*/ 12 w 357"/>
                <a:gd name="T87" fmla="*/ 127 h 159"/>
                <a:gd name="T88" fmla="*/ 15 w 357"/>
                <a:gd name="T89" fmla="*/ 132 h 159"/>
                <a:gd name="T90" fmla="*/ 26 w 357"/>
                <a:gd name="T91" fmla="*/ 134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57" h="159">
                  <a:moveTo>
                    <a:pt x="26" y="134"/>
                  </a:moveTo>
                  <a:cubicBezTo>
                    <a:pt x="37" y="139"/>
                    <a:pt x="40" y="148"/>
                    <a:pt x="47" y="149"/>
                  </a:cubicBezTo>
                  <a:cubicBezTo>
                    <a:pt x="54" y="149"/>
                    <a:pt x="50" y="157"/>
                    <a:pt x="63" y="157"/>
                  </a:cubicBezTo>
                  <a:cubicBezTo>
                    <a:pt x="76" y="157"/>
                    <a:pt x="98" y="159"/>
                    <a:pt x="104" y="153"/>
                  </a:cubicBezTo>
                  <a:cubicBezTo>
                    <a:pt x="109" y="146"/>
                    <a:pt x="122" y="151"/>
                    <a:pt x="122" y="146"/>
                  </a:cubicBezTo>
                  <a:cubicBezTo>
                    <a:pt x="123" y="141"/>
                    <a:pt x="126" y="131"/>
                    <a:pt x="132" y="131"/>
                  </a:cubicBezTo>
                  <a:cubicBezTo>
                    <a:pt x="139" y="131"/>
                    <a:pt x="144" y="131"/>
                    <a:pt x="150" y="127"/>
                  </a:cubicBezTo>
                  <a:cubicBezTo>
                    <a:pt x="155" y="123"/>
                    <a:pt x="163" y="125"/>
                    <a:pt x="165" y="121"/>
                  </a:cubicBezTo>
                  <a:cubicBezTo>
                    <a:pt x="167" y="116"/>
                    <a:pt x="176" y="111"/>
                    <a:pt x="181" y="117"/>
                  </a:cubicBezTo>
                  <a:cubicBezTo>
                    <a:pt x="186" y="123"/>
                    <a:pt x="192" y="123"/>
                    <a:pt x="198" y="123"/>
                  </a:cubicBezTo>
                  <a:cubicBezTo>
                    <a:pt x="204" y="123"/>
                    <a:pt x="216" y="116"/>
                    <a:pt x="222" y="107"/>
                  </a:cubicBezTo>
                  <a:cubicBezTo>
                    <a:pt x="227" y="97"/>
                    <a:pt x="228" y="83"/>
                    <a:pt x="238" y="81"/>
                  </a:cubicBezTo>
                  <a:cubicBezTo>
                    <a:pt x="248" y="80"/>
                    <a:pt x="249" y="77"/>
                    <a:pt x="259" y="81"/>
                  </a:cubicBezTo>
                  <a:cubicBezTo>
                    <a:pt x="269" y="85"/>
                    <a:pt x="270" y="87"/>
                    <a:pt x="280" y="87"/>
                  </a:cubicBezTo>
                  <a:cubicBezTo>
                    <a:pt x="289" y="87"/>
                    <a:pt x="300" y="91"/>
                    <a:pt x="301" y="96"/>
                  </a:cubicBezTo>
                  <a:cubicBezTo>
                    <a:pt x="302" y="101"/>
                    <a:pt x="310" y="106"/>
                    <a:pt x="320" y="106"/>
                  </a:cubicBezTo>
                  <a:cubicBezTo>
                    <a:pt x="326" y="106"/>
                    <a:pt x="331" y="104"/>
                    <a:pt x="336" y="103"/>
                  </a:cubicBezTo>
                  <a:cubicBezTo>
                    <a:pt x="332" y="99"/>
                    <a:pt x="331" y="93"/>
                    <a:pt x="337" y="85"/>
                  </a:cubicBezTo>
                  <a:cubicBezTo>
                    <a:pt x="347" y="72"/>
                    <a:pt x="353" y="68"/>
                    <a:pt x="355" y="58"/>
                  </a:cubicBezTo>
                  <a:cubicBezTo>
                    <a:pt x="355" y="54"/>
                    <a:pt x="356" y="52"/>
                    <a:pt x="357" y="50"/>
                  </a:cubicBezTo>
                  <a:cubicBezTo>
                    <a:pt x="355" y="47"/>
                    <a:pt x="352" y="44"/>
                    <a:pt x="351" y="43"/>
                  </a:cubicBezTo>
                  <a:cubicBezTo>
                    <a:pt x="349" y="41"/>
                    <a:pt x="342" y="35"/>
                    <a:pt x="332" y="33"/>
                  </a:cubicBezTo>
                  <a:cubicBezTo>
                    <a:pt x="323" y="31"/>
                    <a:pt x="321" y="27"/>
                    <a:pt x="315" y="19"/>
                  </a:cubicBezTo>
                  <a:cubicBezTo>
                    <a:pt x="310" y="10"/>
                    <a:pt x="284" y="13"/>
                    <a:pt x="278" y="13"/>
                  </a:cubicBezTo>
                  <a:cubicBezTo>
                    <a:pt x="272" y="13"/>
                    <a:pt x="266" y="21"/>
                    <a:pt x="261" y="24"/>
                  </a:cubicBezTo>
                  <a:cubicBezTo>
                    <a:pt x="256" y="27"/>
                    <a:pt x="244" y="17"/>
                    <a:pt x="239" y="15"/>
                  </a:cubicBezTo>
                  <a:cubicBezTo>
                    <a:pt x="233" y="14"/>
                    <a:pt x="222" y="16"/>
                    <a:pt x="213" y="22"/>
                  </a:cubicBezTo>
                  <a:cubicBezTo>
                    <a:pt x="203" y="27"/>
                    <a:pt x="187" y="20"/>
                    <a:pt x="183" y="19"/>
                  </a:cubicBezTo>
                  <a:cubicBezTo>
                    <a:pt x="180" y="18"/>
                    <a:pt x="175" y="16"/>
                    <a:pt x="174" y="8"/>
                  </a:cubicBezTo>
                  <a:cubicBezTo>
                    <a:pt x="172" y="0"/>
                    <a:pt x="166" y="3"/>
                    <a:pt x="161" y="4"/>
                  </a:cubicBezTo>
                  <a:cubicBezTo>
                    <a:pt x="155" y="4"/>
                    <a:pt x="156" y="12"/>
                    <a:pt x="147" y="14"/>
                  </a:cubicBezTo>
                  <a:cubicBezTo>
                    <a:pt x="139" y="16"/>
                    <a:pt x="135" y="14"/>
                    <a:pt x="127" y="7"/>
                  </a:cubicBezTo>
                  <a:cubicBezTo>
                    <a:pt x="119" y="0"/>
                    <a:pt x="114" y="13"/>
                    <a:pt x="106" y="13"/>
                  </a:cubicBezTo>
                  <a:cubicBezTo>
                    <a:pt x="99" y="13"/>
                    <a:pt x="96" y="20"/>
                    <a:pt x="91" y="23"/>
                  </a:cubicBezTo>
                  <a:cubicBezTo>
                    <a:pt x="86" y="26"/>
                    <a:pt x="84" y="36"/>
                    <a:pt x="81" y="42"/>
                  </a:cubicBezTo>
                  <a:cubicBezTo>
                    <a:pt x="78" y="49"/>
                    <a:pt x="74" y="48"/>
                    <a:pt x="69" y="49"/>
                  </a:cubicBezTo>
                  <a:cubicBezTo>
                    <a:pt x="63" y="50"/>
                    <a:pt x="62" y="53"/>
                    <a:pt x="58" y="59"/>
                  </a:cubicBezTo>
                  <a:cubicBezTo>
                    <a:pt x="55" y="65"/>
                    <a:pt x="51" y="65"/>
                    <a:pt x="45" y="66"/>
                  </a:cubicBezTo>
                  <a:cubicBezTo>
                    <a:pt x="38" y="66"/>
                    <a:pt x="33" y="66"/>
                    <a:pt x="32" y="62"/>
                  </a:cubicBezTo>
                  <a:cubicBezTo>
                    <a:pt x="31" y="57"/>
                    <a:pt x="25" y="57"/>
                    <a:pt x="21" y="57"/>
                  </a:cubicBezTo>
                  <a:cubicBezTo>
                    <a:pt x="18" y="57"/>
                    <a:pt x="18" y="66"/>
                    <a:pt x="13" y="72"/>
                  </a:cubicBezTo>
                  <a:cubicBezTo>
                    <a:pt x="10" y="76"/>
                    <a:pt x="6" y="76"/>
                    <a:pt x="2" y="75"/>
                  </a:cubicBezTo>
                  <a:cubicBezTo>
                    <a:pt x="1" y="88"/>
                    <a:pt x="0" y="102"/>
                    <a:pt x="0" y="107"/>
                  </a:cubicBezTo>
                  <a:cubicBezTo>
                    <a:pt x="0" y="112"/>
                    <a:pt x="6" y="118"/>
                    <a:pt x="12" y="127"/>
                  </a:cubicBezTo>
                  <a:cubicBezTo>
                    <a:pt x="14" y="128"/>
                    <a:pt x="14" y="130"/>
                    <a:pt x="15" y="132"/>
                  </a:cubicBezTo>
                  <a:cubicBezTo>
                    <a:pt x="18" y="131"/>
                    <a:pt x="22" y="132"/>
                    <a:pt x="26" y="134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113" name="Freeform 25172"/>
            <p:cNvSpPr>
              <a:spLocks/>
            </p:cNvSpPr>
            <p:nvPr/>
          </p:nvSpPr>
          <p:spPr bwMode="auto">
            <a:xfrm>
              <a:off x="4422531" y="2597220"/>
              <a:ext cx="111115" cy="59188"/>
            </a:xfrm>
            <a:custGeom>
              <a:avLst/>
              <a:gdLst>
                <a:gd name="T0" fmla="*/ 283 w 298"/>
                <a:gd name="T1" fmla="*/ 71 h 159"/>
                <a:gd name="T2" fmla="*/ 269 w 298"/>
                <a:gd name="T3" fmla="*/ 68 h 159"/>
                <a:gd name="T4" fmla="*/ 252 w 298"/>
                <a:gd name="T5" fmla="*/ 61 h 159"/>
                <a:gd name="T6" fmla="*/ 241 w 298"/>
                <a:gd name="T7" fmla="*/ 55 h 159"/>
                <a:gd name="T8" fmla="*/ 234 w 298"/>
                <a:gd name="T9" fmla="*/ 46 h 159"/>
                <a:gd name="T10" fmla="*/ 239 w 298"/>
                <a:gd name="T11" fmla="*/ 30 h 159"/>
                <a:gd name="T12" fmla="*/ 239 w 298"/>
                <a:gd name="T13" fmla="*/ 16 h 159"/>
                <a:gd name="T14" fmla="*/ 239 w 298"/>
                <a:gd name="T15" fmla="*/ 16 h 159"/>
                <a:gd name="T16" fmla="*/ 216 w 298"/>
                <a:gd name="T17" fmla="*/ 11 h 159"/>
                <a:gd name="T18" fmla="*/ 197 w 298"/>
                <a:gd name="T19" fmla="*/ 12 h 159"/>
                <a:gd name="T20" fmla="*/ 180 w 298"/>
                <a:gd name="T21" fmla="*/ 1 h 159"/>
                <a:gd name="T22" fmla="*/ 175 w 298"/>
                <a:gd name="T23" fmla="*/ 19 h 159"/>
                <a:gd name="T24" fmla="*/ 153 w 298"/>
                <a:gd name="T25" fmla="*/ 14 h 159"/>
                <a:gd name="T26" fmla="*/ 127 w 298"/>
                <a:gd name="T27" fmla="*/ 12 h 159"/>
                <a:gd name="T28" fmla="*/ 110 w 298"/>
                <a:gd name="T29" fmla="*/ 13 h 159"/>
                <a:gd name="T30" fmla="*/ 106 w 298"/>
                <a:gd name="T31" fmla="*/ 21 h 159"/>
                <a:gd name="T32" fmla="*/ 87 w 298"/>
                <a:gd name="T33" fmla="*/ 23 h 159"/>
                <a:gd name="T34" fmla="*/ 75 w 298"/>
                <a:gd name="T35" fmla="*/ 29 h 159"/>
                <a:gd name="T36" fmla="*/ 67 w 298"/>
                <a:gd name="T37" fmla="*/ 45 h 159"/>
                <a:gd name="T38" fmla="*/ 40 w 298"/>
                <a:gd name="T39" fmla="*/ 69 h 159"/>
                <a:gd name="T40" fmla="*/ 22 w 298"/>
                <a:gd name="T41" fmla="*/ 94 h 159"/>
                <a:gd name="T42" fmla="*/ 12 w 298"/>
                <a:gd name="T43" fmla="*/ 113 h 159"/>
                <a:gd name="T44" fmla="*/ 10 w 298"/>
                <a:gd name="T45" fmla="*/ 132 h 159"/>
                <a:gd name="T46" fmla="*/ 29 w 298"/>
                <a:gd name="T47" fmla="*/ 117 h 159"/>
                <a:gd name="T48" fmla="*/ 46 w 298"/>
                <a:gd name="T49" fmla="*/ 107 h 159"/>
                <a:gd name="T50" fmla="*/ 59 w 298"/>
                <a:gd name="T51" fmla="*/ 115 h 159"/>
                <a:gd name="T52" fmla="*/ 64 w 298"/>
                <a:gd name="T53" fmla="*/ 129 h 159"/>
                <a:gd name="T54" fmla="*/ 76 w 298"/>
                <a:gd name="T55" fmla="*/ 143 h 159"/>
                <a:gd name="T56" fmla="*/ 87 w 298"/>
                <a:gd name="T57" fmla="*/ 145 h 159"/>
                <a:gd name="T58" fmla="*/ 114 w 298"/>
                <a:gd name="T59" fmla="*/ 145 h 159"/>
                <a:gd name="T60" fmla="*/ 134 w 298"/>
                <a:gd name="T61" fmla="*/ 139 h 159"/>
                <a:gd name="T62" fmla="*/ 146 w 298"/>
                <a:gd name="T63" fmla="*/ 121 h 159"/>
                <a:gd name="T64" fmla="*/ 162 w 298"/>
                <a:gd name="T65" fmla="*/ 114 h 159"/>
                <a:gd name="T66" fmla="*/ 178 w 298"/>
                <a:gd name="T67" fmla="*/ 130 h 159"/>
                <a:gd name="T68" fmla="*/ 190 w 298"/>
                <a:gd name="T69" fmla="*/ 142 h 159"/>
                <a:gd name="T70" fmla="*/ 202 w 298"/>
                <a:gd name="T71" fmla="*/ 148 h 159"/>
                <a:gd name="T72" fmla="*/ 207 w 298"/>
                <a:gd name="T73" fmla="*/ 129 h 159"/>
                <a:gd name="T74" fmla="*/ 214 w 298"/>
                <a:gd name="T75" fmla="*/ 119 h 159"/>
                <a:gd name="T76" fmla="*/ 221 w 298"/>
                <a:gd name="T77" fmla="*/ 104 h 159"/>
                <a:gd name="T78" fmla="*/ 234 w 298"/>
                <a:gd name="T79" fmla="*/ 111 h 159"/>
                <a:gd name="T80" fmla="*/ 252 w 298"/>
                <a:gd name="T81" fmla="*/ 117 h 159"/>
                <a:gd name="T82" fmla="*/ 275 w 298"/>
                <a:gd name="T83" fmla="*/ 101 h 159"/>
                <a:gd name="T84" fmla="*/ 292 w 298"/>
                <a:gd name="T85" fmla="*/ 91 h 159"/>
                <a:gd name="T86" fmla="*/ 298 w 298"/>
                <a:gd name="T87" fmla="*/ 74 h 159"/>
                <a:gd name="T88" fmla="*/ 283 w 298"/>
                <a:gd name="T89" fmla="*/ 71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98" h="159">
                  <a:moveTo>
                    <a:pt x="283" y="71"/>
                  </a:moveTo>
                  <a:cubicBezTo>
                    <a:pt x="278" y="71"/>
                    <a:pt x="271" y="71"/>
                    <a:pt x="269" y="68"/>
                  </a:cubicBezTo>
                  <a:cubicBezTo>
                    <a:pt x="267" y="66"/>
                    <a:pt x="262" y="66"/>
                    <a:pt x="252" y="61"/>
                  </a:cubicBezTo>
                  <a:cubicBezTo>
                    <a:pt x="243" y="57"/>
                    <a:pt x="246" y="56"/>
                    <a:pt x="241" y="55"/>
                  </a:cubicBezTo>
                  <a:cubicBezTo>
                    <a:pt x="236" y="54"/>
                    <a:pt x="236" y="52"/>
                    <a:pt x="234" y="46"/>
                  </a:cubicBezTo>
                  <a:cubicBezTo>
                    <a:pt x="231" y="41"/>
                    <a:pt x="236" y="35"/>
                    <a:pt x="239" y="30"/>
                  </a:cubicBezTo>
                  <a:cubicBezTo>
                    <a:pt x="240" y="27"/>
                    <a:pt x="240" y="21"/>
                    <a:pt x="239" y="16"/>
                  </a:cubicBezTo>
                  <a:cubicBezTo>
                    <a:pt x="239" y="16"/>
                    <a:pt x="239" y="16"/>
                    <a:pt x="239" y="16"/>
                  </a:cubicBezTo>
                  <a:cubicBezTo>
                    <a:pt x="231" y="15"/>
                    <a:pt x="221" y="17"/>
                    <a:pt x="216" y="11"/>
                  </a:cubicBezTo>
                  <a:cubicBezTo>
                    <a:pt x="210" y="6"/>
                    <a:pt x="202" y="9"/>
                    <a:pt x="197" y="12"/>
                  </a:cubicBezTo>
                  <a:cubicBezTo>
                    <a:pt x="192" y="14"/>
                    <a:pt x="186" y="1"/>
                    <a:pt x="180" y="1"/>
                  </a:cubicBezTo>
                  <a:cubicBezTo>
                    <a:pt x="173" y="0"/>
                    <a:pt x="176" y="8"/>
                    <a:pt x="175" y="19"/>
                  </a:cubicBezTo>
                  <a:cubicBezTo>
                    <a:pt x="174" y="30"/>
                    <a:pt x="158" y="17"/>
                    <a:pt x="153" y="14"/>
                  </a:cubicBezTo>
                  <a:cubicBezTo>
                    <a:pt x="147" y="11"/>
                    <a:pt x="141" y="13"/>
                    <a:pt x="127" y="12"/>
                  </a:cubicBezTo>
                  <a:cubicBezTo>
                    <a:pt x="120" y="11"/>
                    <a:pt x="114" y="12"/>
                    <a:pt x="110" y="13"/>
                  </a:cubicBezTo>
                  <a:cubicBezTo>
                    <a:pt x="109" y="16"/>
                    <a:pt x="108" y="19"/>
                    <a:pt x="106" y="21"/>
                  </a:cubicBezTo>
                  <a:cubicBezTo>
                    <a:pt x="99" y="26"/>
                    <a:pt x="97" y="25"/>
                    <a:pt x="87" y="23"/>
                  </a:cubicBezTo>
                  <a:cubicBezTo>
                    <a:pt x="77" y="22"/>
                    <a:pt x="75" y="25"/>
                    <a:pt x="75" y="29"/>
                  </a:cubicBezTo>
                  <a:cubicBezTo>
                    <a:pt x="75" y="34"/>
                    <a:pt x="74" y="43"/>
                    <a:pt x="67" y="45"/>
                  </a:cubicBezTo>
                  <a:cubicBezTo>
                    <a:pt x="60" y="48"/>
                    <a:pt x="44" y="59"/>
                    <a:pt x="40" y="69"/>
                  </a:cubicBezTo>
                  <a:cubicBezTo>
                    <a:pt x="36" y="78"/>
                    <a:pt x="26" y="89"/>
                    <a:pt x="22" y="94"/>
                  </a:cubicBezTo>
                  <a:cubicBezTo>
                    <a:pt x="17" y="99"/>
                    <a:pt x="14" y="103"/>
                    <a:pt x="12" y="113"/>
                  </a:cubicBezTo>
                  <a:cubicBezTo>
                    <a:pt x="11" y="122"/>
                    <a:pt x="0" y="133"/>
                    <a:pt x="10" y="132"/>
                  </a:cubicBezTo>
                  <a:cubicBezTo>
                    <a:pt x="20" y="131"/>
                    <a:pt x="25" y="125"/>
                    <a:pt x="29" y="117"/>
                  </a:cubicBezTo>
                  <a:cubicBezTo>
                    <a:pt x="33" y="109"/>
                    <a:pt x="38" y="108"/>
                    <a:pt x="46" y="107"/>
                  </a:cubicBezTo>
                  <a:cubicBezTo>
                    <a:pt x="54" y="105"/>
                    <a:pt x="59" y="110"/>
                    <a:pt x="59" y="115"/>
                  </a:cubicBezTo>
                  <a:cubicBezTo>
                    <a:pt x="59" y="119"/>
                    <a:pt x="58" y="127"/>
                    <a:pt x="64" y="129"/>
                  </a:cubicBezTo>
                  <a:cubicBezTo>
                    <a:pt x="68" y="131"/>
                    <a:pt x="76" y="137"/>
                    <a:pt x="76" y="143"/>
                  </a:cubicBezTo>
                  <a:cubicBezTo>
                    <a:pt x="80" y="143"/>
                    <a:pt x="84" y="144"/>
                    <a:pt x="87" y="145"/>
                  </a:cubicBezTo>
                  <a:cubicBezTo>
                    <a:pt x="96" y="147"/>
                    <a:pt x="107" y="142"/>
                    <a:pt x="114" y="145"/>
                  </a:cubicBezTo>
                  <a:cubicBezTo>
                    <a:pt x="122" y="149"/>
                    <a:pt x="129" y="148"/>
                    <a:pt x="134" y="139"/>
                  </a:cubicBezTo>
                  <a:cubicBezTo>
                    <a:pt x="140" y="129"/>
                    <a:pt x="141" y="128"/>
                    <a:pt x="146" y="121"/>
                  </a:cubicBezTo>
                  <a:cubicBezTo>
                    <a:pt x="150" y="115"/>
                    <a:pt x="156" y="103"/>
                    <a:pt x="162" y="114"/>
                  </a:cubicBezTo>
                  <a:cubicBezTo>
                    <a:pt x="169" y="125"/>
                    <a:pt x="174" y="127"/>
                    <a:pt x="178" y="130"/>
                  </a:cubicBezTo>
                  <a:cubicBezTo>
                    <a:pt x="183" y="133"/>
                    <a:pt x="188" y="137"/>
                    <a:pt x="190" y="142"/>
                  </a:cubicBezTo>
                  <a:cubicBezTo>
                    <a:pt x="192" y="147"/>
                    <a:pt x="200" y="159"/>
                    <a:pt x="202" y="148"/>
                  </a:cubicBezTo>
                  <a:cubicBezTo>
                    <a:pt x="203" y="137"/>
                    <a:pt x="202" y="131"/>
                    <a:pt x="207" y="129"/>
                  </a:cubicBezTo>
                  <a:cubicBezTo>
                    <a:pt x="212" y="127"/>
                    <a:pt x="214" y="126"/>
                    <a:pt x="214" y="119"/>
                  </a:cubicBezTo>
                  <a:cubicBezTo>
                    <a:pt x="215" y="113"/>
                    <a:pt x="210" y="103"/>
                    <a:pt x="221" y="104"/>
                  </a:cubicBezTo>
                  <a:cubicBezTo>
                    <a:pt x="232" y="105"/>
                    <a:pt x="228" y="111"/>
                    <a:pt x="234" y="111"/>
                  </a:cubicBezTo>
                  <a:cubicBezTo>
                    <a:pt x="239" y="112"/>
                    <a:pt x="235" y="121"/>
                    <a:pt x="252" y="117"/>
                  </a:cubicBezTo>
                  <a:cubicBezTo>
                    <a:pt x="268" y="112"/>
                    <a:pt x="272" y="109"/>
                    <a:pt x="275" y="101"/>
                  </a:cubicBezTo>
                  <a:cubicBezTo>
                    <a:pt x="278" y="93"/>
                    <a:pt x="292" y="99"/>
                    <a:pt x="292" y="91"/>
                  </a:cubicBezTo>
                  <a:cubicBezTo>
                    <a:pt x="293" y="86"/>
                    <a:pt x="293" y="78"/>
                    <a:pt x="298" y="74"/>
                  </a:cubicBezTo>
                  <a:cubicBezTo>
                    <a:pt x="293" y="71"/>
                    <a:pt x="287" y="70"/>
                    <a:pt x="283" y="71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114" name="Freeform 25173"/>
            <p:cNvSpPr>
              <a:spLocks/>
            </p:cNvSpPr>
            <p:nvPr/>
          </p:nvSpPr>
          <p:spPr bwMode="auto">
            <a:xfrm>
              <a:off x="4508708" y="2558393"/>
              <a:ext cx="183403" cy="80179"/>
            </a:xfrm>
            <a:custGeom>
              <a:avLst/>
              <a:gdLst>
                <a:gd name="T0" fmla="*/ 485 w 492"/>
                <a:gd name="T1" fmla="*/ 79 h 215"/>
                <a:gd name="T2" fmla="*/ 473 w 492"/>
                <a:gd name="T3" fmla="*/ 59 h 215"/>
                <a:gd name="T4" fmla="*/ 475 w 492"/>
                <a:gd name="T5" fmla="*/ 27 h 215"/>
                <a:gd name="T6" fmla="*/ 471 w 492"/>
                <a:gd name="T7" fmla="*/ 27 h 215"/>
                <a:gd name="T8" fmla="*/ 455 w 492"/>
                <a:gd name="T9" fmla="*/ 23 h 215"/>
                <a:gd name="T10" fmla="*/ 446 w 492"/>
                <a:gd name="T11" fmla="*/ 18 h 215"/>
                <a:gd name="T12" fmla="*/ 426 w 492"/>
                <a:gd name="T13" fmla="*/ 26 h 215"/>
                <a:gd name="T14" fmla="*/ 407 w 492"/>
                <a:gd name="T15" fmla="*/ 18 h 215"/>
                <a:gd name="T16" fmla="*/ 387 w 492"/>
                <a:gd name="T17" fmla="*/ 10 h 215"/>
                <a:gd name="T18" fmla="*/ 367 w 492"/>
                <a:gd name="T19" fmla="*/ 1 h 215"/>
                <a:gd name="T20" fmla="*/ 351 w 492"/>
                <a:gd name="T21" fmla="*/ 15 h 215"/>
                <a:gd name="T22" fmla="*/ 338 w 492"/>
                <a:gd name="T23" fmla="*/ 33 h 215"/>
                <a:gd name="T24" fmla="*/ 314 w 492"/>
                <a:gd name="T25" fmla="*/ 38 h 215"/>
                <a:gd name="T26" fmla="*/ 291 w 492"/>
                <a:gd name="T27" fmla="*/ 31 h 215"/>
                <a:gd name="T28" fmla="*/ 260 w 492"/>
                <a:gd name="T29" fmla="*/ 33 h 215"/>
                <a:gd name="T30" fmla="*/ 249 w 492"/>
                <a:gd name="T31" fmla="*/ 50 h 215"/>
                <a:gd name="T32" fmla="*/ 229 w 492"/>
                <a:gd name="T33" fmla="*/ 61 h 215"/>
                <a:gd name="T34" fmla="*/ 214 w 492"/>
                <a:gd name="T35" fmla="*/ 76 h 215"/>
                <a:gd name="T36" fmla="*/ 219 w 492"/>
                <a:gd name="T37" fmla="*/ 90 h 215"/>
                <a:gd name="T38" fmla="*/ 228 w 492"/>
                <a:gd name="T39" fmla="*/ 105 h 215"/>
                <a:gd name="T40" fmla="*/ 223 w 492"/>
                <a:gd name="T41" fmla="*/ 119 h 215"/>
                <a:gd name="T42" fmla="*/ 204 w 492"/>
                <a:gd name="T43" fmla="*/ 115 h 215"/>
                <a:gd name="T44" fmla="*/ 184 w 492"/>
                <a:gd name="T45" fmla="*/ 113 h 215"/>
                <a:gd name="T46" fmla="*/ 168 w 492"/>
                <a:gd name="T47" fmla="*/ 118 h 215"/>
                <a:gd name="T48" fmla="*/ 143 w 492"/>
                <a:gd name="T49" fmla="*/ 114 h 215"/>
                <a:gd name="T50" fmla="*/ 126 w 492"/>
                <a:gd name="T51" fmla="*/ 125 h 215"/>
                <a:gd name="T52" fmla="*/ 112 w 492"/>
                <a:gd name="T53" fmla="*/ 134 h 215"/>
                <a:gd name="T54" fmla="*/ 96 w 492"/>
                <a:gd name="T55" fmla="*/ 129 h 215"/>
                <a:gd name="T56" fmla="*/ 85 w 492"/>
                <a:gd name="T57" fmla="*/ 120 h 215"/>
                <a:gd name="T58" fmla="*/ 69 w 492"/>
                <a:gd name="T59" fmla="*/ 121 h 215"/>
                <a:gd name="T60" fmla="*/ 58 w 492"/>
                <a:gd name="T61" fmla="*/ 129 h 215"/>
                <a:gd name="T62" fmla="*/ 48 w 492"/>
                <a:gd name="T63" fmla="*/ 138 h 215"/>
                <a:gd name="T64" fmla="*/ 36 w 492"/>
                <a:gd name="T65" fmla="*/ 128 h 215"/>
                <a:gd name="T66" fmla="*/ 8 w 492"/>
                <a:gd name="T67" fmla="*/ 120 h 215"/>
                <a:gd name="T68" fmla="*/ 8 w 492"/>
                <a:gd name="T69" fmla="*/ 134 h 215"/>
                <a:gd name="T70" fmla="*/ 3 w 492"/>
                <a:gd name="T71" fmla="*/ 150 h 215"/>
                <a:gd name="T72" fmla="*/ 10 w 492"/>
                <a:gd name="T73" fmla="*/ 159 h 215"/>
                <a:gd name="T74" fmla="*/ 21 w 492"/>
                <a:gd name="T75" fmla="*/ 165 h 215"/>
                <a:gd name="T76" fmla="*/ 38 w 492"/>
                <a:gd name="T77" fmla="*/ 172 h 215"/>
                <a:gd name="T78" fmla="*/ 52 w 492"/>
                <a:gd name="T79" fmla="*/ 175 h 215"/>
                <a:gd name="T80" fmla="*/ 67 w 492"/>
                <a:gd name="T81" fmla="*/ 178 h 215"/>
                <a:gd name="T82" fmla="*/ 77 w 492"/>
                <a:gd name="T83" fmla="*/ 174 h 215"/>
                <a:gd name="T84" fmla="*/ 101 w 492"/>
                <a:gd name="T85" fmla="*/ 176 h 215"/>
                <a:gd name="T86" fmla="*/ 124 w 492"/>
                <a:gd name="T87" fmla="*/ 166 h 215"/>
                <a:gd name="T88" fmla="*/ 164 w 492"/>
                <a:gd name="T89" fmla="*/ 162 h 215"/>
                <a:gd name="T90" fmla="*/ 176 w 492"/>
                <a:gd name="T91" fmla="*/ 169 h 215"/>
                <a:gd name="T92" fmla="*/ 185 w 492"/>
                <a:gd name="T93" fmla="*/ 189 h 215"/>
                <a:gd name="T94" fmla="*/ 216 w 492"/>
                <a:gd name="T95" fmla="*/ 197 h 215"/>
                <a:gd name="T96" fmla="*/ 261 w 492"/>
                <a:gd name="T97" fmla="*/ 205 h 215"/>
                <a:gd name="T98" fmla="*/ 289 w 492"/>
                <a:gd name="T99" fmla="*/ 209 h 215"/>
                <a:gd name="T100" fmla="*/ 314 w 492"/>
                <a:gd name="T101" fmla="*/ 210 h 215"/>
                <a:gd name="T102" fmla="*/ 336 w 492"/>
                <a:gd name="T103" fmla="*/ 207 h 215"/>
                <a:gd name="T104" fmla="*/ 357 w 492"/>
                <a:gd name="T105" fmla="*/ 193 h 215"/>
                <a:gd name="T106" fmla="*/ 389 w 492"/>
                <a:gd name="T107" fmla="*/ 192 h 215"/>
                <a:gd name="T108" fmla="*/ 421 w 492"/>
                <a:gd name="T109" fmla="*/ 185 h 215"/>
                <a:gd name="T110" fmla="*/ 433 w 492"/>
                <a:gd name="T111" fmla="*/ 167 h 215"/>
                <a:gd name="T112" fmla="*/ 447 w 492"/>
                <a:gd name="T113" fmla="*/ 155 h 215"/>
                <a:gd name="T114" fmla="*/ 454 w 492"/>
                <a:gd name="T115" fmla="*/ 131 h 215"/>
                <a:gd name="T116" fmla="*/ 458 w 492"/>
                <a:gd name="T117" fmla="*/ 117 h 215"/>
                <a:gd name="T118" fmla="*/ 465 w 492"/>
                <a:gd name="T119" fmla="*/ 107 h 215"/>
                <a:gd name="T120" fmla="*/ 483 w 492"/>
                <a:gd name="T121" fmla="*/ 98 h 215"/>
                <a:gd name="T122" fmla="*/ 485 w 492"/>
                <a:gd name="T123" fmla="*/ 79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92" h="215">
                  <a:moveTo>
                    <a:pt x="485" y="79"/>
                  </a:moveTo>
                  <a:cubicBezTo>
                    <a:pt x="479" y="70"/>
                    <a:pt x="473" y="64"/>
                    <a:pt x="473" y="59"/>
                  </a:cubicBezTo>
                  <a:cubicBezTo>
                    <a:pt x="473" y="54"/>
                    <a:pt x="474" y="40"/>
                    <a:pt x="475" y="27"/>
                  </a:cubicBezTo>
                  <a:cubicBezTo>
                    <a:pt x="473" y="27"/>
                    <a:pt x="472" y="27"/>
                    <a:pt x="471" y="27"/>
                  </a:cubicBezTo>
                  <a:cubicBezTo>
                    <a:pt x="464" y="27"/>
                    <a:pt x="456" y="29"/>
                    <a:pt x="455" y="23"/>
                  </a:cubicBezTo>
                  <a:cubicBezTo>
                    <a:pt x="453" y="18"/>
                    <a:pt x="450" y="14"/>
                    <a:pt x="446" y="18"/>
                  </a:cubicBezTo>
                  <a:cubicBezTo>
                    <a:pt x="442" y="22"/>
                    <a:pt x="439" y="26"/>
                    <a:pt x="426" y="26"/>
                  </a:cubicBezTo>
                  <a:cubicBezTo>
                    <a:pt x="413" y="26"/>
                    <a:pt x="413" y="19"/>
                    <a:pt x="407" y="18"/>
                  </a:cubicBezTo>
                  <a:cubicBezTo>
                    <a:pt x="401" y="17"/>
                    <a:pt x="390" y="15"/>
                    <a:pt x="387" y="10"/>
                  </a:cubicBezTo>
                  <a:cubicBezTo>
                    <a:pt x="384" y="5"/>
                    <a:pt x="377" y="2"/>
                    <a:pt x="367" y="1"/>
                  </a:cubicBezTo>
                  <a:cubicBezTo>
                    <a:pt x="357" y="0"/>
                    <a:pt x="353" y="6"/>
                    <a:pt x="351" y="15"/>
                  </a:cubicBezTo>
                  <a:cubicBezTo>
                    <a:pt x="349" y="23"/>
                    <a:pt x="345" y="26"/>
                    <a:pt x="338" y="33"/>
                  </a:cubicBezTo>
                  <a:cubicBezTo>
                    <a:pt x="331" y="40"/>
                    <a:pt x="321" y="36"/>
                    <a:pt x="314" y="38"/>
                  </a:cubicBezTo>
                  <a:cubicBezTo>
                    <a:pt x="308" y="41"/>
                    <a:pt x="303" y="33"/>
                    <a:pt x="291" y="31"/>
                  </a:cubicBezTo>
                  <a:cubicBezTo>
                    <a:pt x="280" y="30"/>
                    <a:pt x="268" y="32"/>
                    <a:pt x="260" y="33"/>
                  </a:cubicBezTo>
                  <a:cubicBezTo>
                    <a:pt x="253" y="33"/>
                    <a:pt x="251" y="39"/>
                    <a:pt x="249" y="50"/>
                  </a:cubicBezTo>
                  <a:cubicBezTo>
                    <a:pt x="247" y="61"/>
                    <a:pt x="240" y="61"/>
                    <a:pt x="229" y="61"/>
                  </a:cubicBezTo>
                  <a:cubicBezTo>
                    <a:pt x="219" y="61"/>
                    <a:pt x="216" y="67"/>
                    <a:pt x="214" y="76"/>
                  </a:cubicBezTo>
                  <a:cubicBezTo>
                    <a:pt x="211" y="86"/>
                    <a:pt x="213" y="85"/>
                    <a:pt x="219" y="90"/>
                  </a:cubicBezTo>
                  <a:cubicBezTo>
                    <a:pt x="225" y="95"/>
                    <a:pt x="222" y="101"/>
                    <a:pt x="228" y="105"/>
                  </a:cubicBezTo>
                  <a:cubicBezTo>
                    <a:pt x="234" y="110"/>
                    <a:pt x="227" y="111"/>
                    <a:pt x="223" y="119"/>
                  </a:cubicBezTo>
                  <a:cubicBezTo>
                    <a:pt x="219" y="127"/>
                    <a:pt x="209" y="118"/>
                    <a:pt x="204" y="115"/>
                  </a:cubicBezTo>
                  <a:cubicBezTo>
                    <a:pt x="199" y="112"/>
                    <a:pt x="185" y="102"/>
                    <a:pt x="184" y="113"/>
                  </a:cubicBezTo>
                  <a:cubicBezTo>
                    <a:pt x="183" y="125"/>
                    <a:pt x="179" y="121"/>
                    <a:pt x="168" y="118"/>
                  </a:cubicBezTo>
                  <a:cubicBezTo>
                    <a:pt x="157" y="115"/>
                    <a:pt x="151" y="114"/>
                    <a:pt x="143" y="114"/>
                  </a:cubicBezTo>
                  <a:cubicBezTo>
                    <a:pt x="136" y="114"/>
                    <a:pt x="129" y="120"/>
                    <a:pt x="126" y="125"/>
                  </a:cubicBezTo>
                  <a:cubicBezTo>
                    <a:pt x="124" y="131"/>
                    <a:pt x="118" y="132"/>
                    <a:pt x="112" y="134"/>
                  </a:cubicBezTo>
                  <a:cubicBezTo>
                    <a:pt x="105" y="136"/>
                    <a:pt x="96" y="129"/>
                    <a:pt x="96" y="129"/>
                  </a:cubicBezTo>
                  <a:cubicBezTo>
                    <a:pt x="96" y="129"/>
                    <a:pt x="91" y="125"/>
                    <a:pt x="85" y="120"/>
                  </a:cubicBezTo>
                  <a:cubicBezTo>
                    <a:pt x="79" y="116"/>
                    <a:pt x="75" y="120"/>
                    <a:pt x="69" y="121"/>
                  </a:cubicBezTo>
                  <a:cubicBezTo>
                    <a:pt x="64" y="122"/>
                    <a:pt x="61" y="122"/>
                    <a:pt x="58" y="129"/>
                  </a:cubicBezTo>
                  <a:cubicBezTo>
                    <a:pt x="56" y="135"/>
                    <a:pt x="54" y="138"/>
                    <a:pt x="48" y="138"/>
                  </a:cubicBezTo>
                  <a:cubicBezTo>
                    <a:pt x="43" y="139"/>
                    <a:pt x="40" y="134"/>
                    <a:pt x="36" y="128"/>
                  </a:cubicBezTo>
                  <a:cubicBezTo>
                    <a:pt x="32" y="121"/>
                    <a:pt x="17" y="121"/>
                    <a:pt x="8" y="120"/>
                  </a:cubicBezTo>
                  <a:cubicBezTo>
                    <a:pt x="9" y="125"/>
                    <a:pt x="9" y="131"/>
                    <a:pt x="8" y="134"/>
                  </a:cubicBezTo>
                  <a:cubicBezTo>
                    <a:pt x="5" y="139"/>
                    <a:pt x="0" y="145"/>
                    <a:pt x="3" y="150"/>
                  </a:cubicBezTo>
                  <a:cubicBezTo>
                    <a:pt x="5" y="156"/>
                    <a:pt x="5" y="158"/>
                    <a:pt x="10" y="159"/>
                  </a:cubicBezTo>
                  <a:cubicBezTo>
                    <a:pt x="15" y="160"/>
                    <a:pt x="12" y="161"/>
                    <a:pt x="21" y="165"/>
                  </a:cubicBezTo>
                  <a:cubicBezTo>
                    <a:pt x="31" y="170"/>
                    <a:pt x="36" y="170"/>
                    <a:pt x="38" y="172"/>
                  </a:cubicBezTo>
                  <a:cubicBezTo>
                    <a:pt x="40" y="175"/>
                    <a:pt x="47" y="175"/>
                    <a:pt x="52" y="175"/>
                  </a:cubicBezTo>
                  <a:cubicBezTo>
                    <a:pt x="56" y="174"/>
                    <a:pt x="62" y="175"/>
                    <a:pt x="67" y="178"/>
                  </a:cubicBezTo>
                  <a:cubicBezTo>
                    <a:pt x="69" y="175"/>
                    <a:pt x="72" y="173"/>
                    <a:pt x="77" y="174"/>
                  </a:cubicBezTo>
                  <a:cubicBezTo>
                    <a:pt x="91" y="176"/>
                    <a:pt x="88" y="184"/>
                    <a:pt x="101" y="176"/>
                  </a:cubicBezTo>
                  <a:cubicBezTo>
                    <a:pt x="113" y="168"/>
                    <a:pt x="99" y="167"/>
                    <a:pt x="124" y="166"/>
                  </a:cubicBezTo>
                  <a:cubicBezTo>
                    <a:pt x="149" y="165"/>
                    <a:pt x="159" y="164"/>
                    <a:pt x="164" y="162"/>
                  </a:cubicBezTo>
                  <a:cubicBezTo>
                    <a:pt x="169" y="160"/>
                    <a:pt x="176" y="161"/>
                    <a:pt x="176" y="169"/>
                  </a:cubicBezTo>
                  <a:cubicBezTo>
                    <a:pt x="176" y="176"/>
                    <a:pt x="179" y="183"/>
                    <a:pt x="185" y="189"/>
                  </a:cubicBezTo>
                  <a:cubicBezTo>
                    <a:pt x="191" y="194"/>
                    <a:pt x="207" y="191"/>
                    <a:pt x="216" y="197"/>
                  </a:cubicBezTo>
                  <a:cubicBezTo>
                    <a:pt x="225" y="203"/>
                    <a:pt x="248" y="197"/>
                    <a:pt x="261" y="205"/>
                  </a:cubicBezTo>
                  <a:cubicBezTo>
                    <a:pt x="273" y="212"/>
                    <a:pt x="281" y="209"/>
                    <a:pt x="289" y="209"/>
                  </a:cubicBezTo>
                  <a:cubicBezTo>
                    <a:pt x="297" y="209"/>
                    <a:pt x="305" y="205"/>
                    <a:pt x="314" y="210"/>
                  </a:cubicBezTo>
                  <a:cubicBezTo>
                    <a:pt x="323" y="215"/>
                    <a:pt x="331" y="213"/>
                    <a:pt x="336" y="207"/>
                  </a:cubicBezTo>
                  <a:cubicBezTo>
                    <a:pt x="341" y="201"/>
                    <a:pt x="347" y="193"/>
                    <a:pt x="357" y="193"/>
                  </a:cubicBezTo>
                  <a:cubicBezTo>
                    <a:pt x="368" y="193"/>
                    <a:pt x="379" y="197"/>
                    <a:pt x="389" y="192"/>
                  </a:cubicBezTo>
                  <a:cubicBezTo>
                    <a:pt x="399" y="187"/>
                    <a:pt x="416" y="196"/>
                    <a:pt x="421" y="185"/>
                  </a:cubicBezTo>
                  <a:cubicBezTo>
                    <a:pt x="425" y="175"/>
                    <a:pt x="426" y="169"/>
                    <a:pt x="433" y="167"/>
                  </a:cubicBezTo>
                  <a:cubicBezTo>
                    <a:pt x="441" y="165"/>
                    <a:pt x="446" y="167"/>
                    <a:pt x="447" y="155"/>
                  </a:cubicBezTo>
                  <a:cubicBezTo>
                    <a:pt x="449" y="142"/>
                    <a:pt x="446" y="133"/>
                    <a:pt x="454" y="131"/>
                  </a:cubicBezTo>
                  <a:cubicBezTo>
                    <a:pt x="462" y="129"/>
                    <a:pt x="461" y="125"/>
                    <a:pt x="458" y="117"/>
                  </a:cubicBezTo>
                  <a:cubicBezTo>
                    <a:pt x="455" y="109"/>
                    <a:pt x="453" y="107"/>
                    <a:pt x="465" y="107"/>
                  </a:cubicBezTo>
                  <a:cubicBezTo>
                    <a:pt x="478" y="107"/>
                    <a:pt x="483" y="105"/>
                    <a:pt x="483" y="98"/>
                  </a:cubicBezTo>
                  <a:cubicBezTo>
                    <a:pt x="483" y="91"/>
                    <a:pt x="492" y="87"/>
                    <a:pt x="485" y="7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115" name="Freeform 25174"/>
            <p:cNvSpPr>
              <a:spLocks/>
            </p:cNvSpPr>
            <p:nvPr/>
          </p:nvSpPr>
          <p:spPr bwMode="auto">
            <a:xfrm>
              <a:off x="4670804" y="2569283"/>
              <a:ext cx="158465" cy="89019"/>
            </a:xfrm>
            <a:custGeom>
              <a:avLst/>
              <a:gdLst>
                <a:gd name="T0" fmla="*/ 6 w 425"/>
                <a:gd name="T1" fmla="*/ 174 h 239"/>
                <a:gd name="T2" fmla="*/ 20 w 425"/>
                <a:gd name="T3" fmla="*/ 180 h 239"/>
                <a:gd name="T4" fmla="*/ 36 w 425"/>
                <a:gd name="T5" fmla="*/ 189 h 239"/>
                <a:gd name="T6" fmla="*/ 44 w 425"/>
                <a:gd name="T7" fmla="*/ 203 h 239"/>
                <a:gd name="T8" fmla="*/ 61 w 425"/>
                <a:gd name="T9" fmla="*/ 210 h 239"/>
                <a:gd name="T10" fmla="*/ 75 w 425"/>
                <a:gd name="T11" fmla="*/ 221 h 239"/>
                <a:gd name="T12" fmla="*/ 89 w 425"/>
                <a:gd name="T13" fmla="*/ 234 h 239"/>
                <a:gd name="T14" fmla="*/ 109 w 425"/>
                <a:gd name="T15" fmla="*/ 238 h 239"/>
                <a:gd name="T16" fmla="*/ 141 w 425"/>
                <a:gd name="T17" fmla="*/ 234 h 239"/>
                <a:gd name="T18" fmla="*/ 162 w 425"/>
                <a:gd name="T19" fmla="*/ 221 h 239"/>
                <a:gd name="T20" fmla="*/ 198 w 425"/>
                <a:gd name="T21" fmla="*/ 217 h 239"/>
                <a:gd name="T22" fmla="*/ 214 w 425"/>
                <a:gd name="T23" fmla="*/ 204 h 239"/>
                <a:gd name="T24" fmla="*/ 239 w 425"/>
                <a:gd name="T25" fmla="*/ 204 h 239"/>
                <a:gd name="T26" fmla="*/ 254 w 425"/>
                <a:gd name="T27" fmla="*/ 207 h 239"/>
                <a:gd name="T28" fmla="*/ 266 w 425"/>
                <a:gd name="T29" fmla="*/ 204 h 239"/>
                <a:gd name="T30" fmla="*/ 292 w 425"/>
                <a:gd name="T31" fmla="*/ 195 h 239"/>
                <a:gd name="T32" fmla="*/ 324 w 425"/>
                <a:gd name="T33" fmla="*/ 176 h 239"/>
                <a:gd name="T34" fmla="*/ 355 w 425"/>
                <a:gd name="T35" fmla="*/ 110 h 239"/>
                <a:gd name="T36" fmla="*/ 389 w 425"/>
                <a:gd name="T37" fmla="*/ 79 h 239"/>
                <a:gd name="T38" fmla="*/ 419 w 425"/>
                <a:gd name="T39" fmla="*/ 67 h 239"/>
                <a:gd name="T40" fmla="*/ 414 w 425"/>
                <a:gd name="T41" fmla="*/ 50 h 239"/>
                <a:gd name="T42" fmla="*/ 383 w 425"/>
                <a:gd name="T43" fmla="*/ 35 h 239"/>
                <a:gd name="T44" fmla="*/ 374 w 425"/>
                <a:gd name="T45" fmla="*/ 26 h 239"/>
                <a:gd name="T46" fmla="*/ 358 w 425"/>
                <a:gd name="T47" fmla="*/ 29 h 239"/>
                <a:gd name="T48" fmla="*/ 339 w 425"/>
                <a:gd name="T49" fmla="*/ 19 h 239"/>
                <a:gd name="T50" fmla="*/ 318 w 425"/>
                <a:gd name="T51" fmla="*/ 10 h 239"/>
                <a:gd name="T52" fmla="*/ 297 w 425"/>
                <a:gd name="T53" fmla="*/ 4 h 239"/>
                <a:gd name="T54" fmla="*/ 276 w 425"/>
                <a:gd name="T55" fmla="*/ 4 h 239"/>
                <a:gd name="T56" fmla="*/ 260 w 425"/>
                <a:gd name="T57" fmla="*/ 30 h 239"/>
                <a:gd name="T58" fmla="*/ 236 w 425"/>
                <a:gd name="T59" fmla="*/ 46 h 239"/>
                <a:gd name="T60" fmla="*/ 219 w 425"/>
                <a:gd name="T61" fmla="*/ 40 h 239"/>
                <a:gd name="T62" fmla="*/ 203 w 425"/>
                <a:gd name="T63" fmla="*/ 44 h 239"/>
                <a:gd name="T64" fmla="*/ 188 w 425"/>
                <a:gd name="T65" fmla="*/ 50 h 239"/>
                <a:gd name="T66" fmla="*/ 170 w 425"/>
                <a:gd name="T67" fmla="*/ 54 h 239"/>
                <a:gd name="T68" fmla="*/ 160 w 425"/>
                <a:gd name="T69" fmla="*/ 69 h 239"/>
                <a:gd name="T70" fmla="*/ 142 w 425"/>
                <a:gd name="T71" fmla="*/ 76 h 239"/>
                <a:gd name="T72" fmla="*/ 101 w 425"/>
                <a:gd name="T73" fmla="*/ 80 h 239"/>
                <a:gd name="T74" fmla="*/ 85 w 425"/>
                <a:gd name="T75" fmla="*/ 72 h 239"/>
                <a:gd name="T76" fmla="*/ 64 w 425"/>
                <a:gd name="T77" fmla="*/ 57 h 239"/>
                <a:gd name="T78" fmla="*/ 53 w 425"/>
                <a:gd name="T79" fmla="*/ 55 h 239"/>
                <a:gd name="T80" fmla="*/ 48 w 425"/>
                <a:gd name="T81" fmla="*/ 69 h 239"/>
                <a:gd name="T82" fmla="*/ 30 w 425"/>
                <a:gd name="T83" fmla="*/ 78 h 239"/>
                <a:gd name="T84" fmla="*/ 23 w 425"/>
                <a:gd name="T85" fmla="*/ 88 h 239"/>
                <a:gd name="T86" fmla="*/ 19 w 425"/>
                <a:gd name="T87" fmla="*/ 102 h 239"/>
                <a:gd name="T88" fmla="*/ 12 w 425"/>
                <a:gd name="T89" fmla="*/ 126 h 239"/>
                <a:gd name="T90" fmla="*/ 0 w 425"/>
                <a:gd name="T91" fmla="*/ 137 h 239"/>
                <a:gd name="T92" fmla="*/ 2 w 425"/>
                <a:gd name="T93" fmla="*/ 152 h 239"/>
                <a:gd name="T94" fmla="*/ 6 w 425"/>
                <a:gd name="T95" fmla="*/ 174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25" h="239">
                  <a:moveTo>
                    <a:pt x="6" y="174"/>
                  </a:moveTo>
                  <a:cubicBezTo>
                    <a:pt x="12" y="176"/>
                    <a:pt x="15" y="174"/>
                    <a:pt x="20" y="180"/>
                  </a:cubicBezTo>
                  <a:cubicBezTo>
                    <a:pt x="25" y="185"/>
                    <a:pt x="35" y="184"/>
                    <a:pt x="36" y="189"/>
                  </a:cubicBezTo>
                  <a:cubicBezTo>
                    <a:pt x="37" y="193"/>
                    <a:pt x="37" y="203"/>
                    <a:pt x="44" y="203"/>
                  </a:cubicBezTo>
                  <a:cubicBezTo>
                    <a:pt x="51" y="204"/>
                    <a:pt x="58" y="205"/>
                    <a:pt x="61" y="210"/>
                  </a:cubicBezTo>
                  <a:cubicBezTo>
                    <a:pt x="64" y="214"/>
                    <a:pt x="69" y="219"/>
                    <a:pt x="75" y="221"/>
                  </a:cubicBezTo>
                  <a:cubicBezTo>
                    <a:pt x="81" y="222"/>
                    <a:pt x="85" y="232"/>
                    <a:pt x="89" y="234"/>
                  </a:cubicBezTo>
                  <a:cubicBezTo>
                    <a:pt x="92" y="236"/>
                    <a:pt x="98" y="238"/>
                    <a:pt x="109" y="238"/>
                  </a:cubicBezTo>
                  <a:cubicBezTo>
                    <a:pt x="120" y="238"/>
                    <a:pt x="135" y="239"/>
                    <a:pt x="141" y="234"/>
                  </a:cubicBezTo>
                  <a:cubicBezTo>
                    <a:pt x="147" y="229"/>
                    <a:pt x="152" y="221"/>
                    <a:pt x="162" y="221"/>
                  </a:cubicBezTo>
                  <a:cubicBezTo>
                    <a:pt x="171" y="221"/>
                    <a:pt x="195" y="222"/>
                    <a:pt x="198" y="217"/>
                  </a:cubicBezTo>
                  <a:cubicBezTo>
                    <a:pt x="201" y="212"/>
                    <a:pt x="206" y="204"/>
                    <a:pt x="214" y="204"/>
                  </a:cubicBezTo>
                  <a:cubicBezTo>
                    <a:pt x="222" y="204"/>
                    <a:pt x="232" y="204"/>
                    <a:pt x="239" y="204"/>
                  </a:cubicBezTo>
                  <a:cubicBezTo>
                    <a:pt x="244" y="204"/>
                    <a:pt x="249" y="205"/>
                    <a:pt x="254" y="207"/>
                  </a:cubicBezTo>
                  <a:cubicBezTo>
                    <a:pt x="256" y="205"/>
                    <a:pt x="260" y="204"/>
                    <a:pt x="266" y="204"/>
                  </a:cubicBezTo>
                  <a:cubicBezTo>
                    <a:pt x="279" y="205"/>
                    <a:pt x="280" y="196"/>
                    <a:pt x="292" y="195"/>
                  </a:cubicBezTo>
                  <a:cubicBezTo>
                    <a:pt x="303" y="194"/>
                    <a:pt x="315" y="197"/>
                    <a:pt x="324" y="176"/>
                  </a:cubicBezTo>
                  <a:cubicBezTo>
                    <a:pt x="333" y="155"/>
                    <a:pt x="343" y="121"/>
                    <a:pt x="355" y="110"/>
                  </a:cubicBezTo>
                  <a:cubicBezTo>
                    <a:pt x="368" y="100"/>
                    <a:pt x="378" y="83"/>
                    <a:pt x="389" y="79"/>
                  </a:cubicBezTo>
                  <a:cubicBezTo>
                    <a:pt x="399" y="75"/>
                    <a:pt x="413" y="72"/>
                    <a:pt x="419" y="67"/>
                  </a:cubicBezTo>
                  <a:cubicBezTo>
                    <a:pt x="425" y="61"/>
                    <a:pt x="424" y="53"/>
                    <a:pt x="414" y="50"/>
                  </a:cubicBezTo>
                  <a:cubicBezTo>
                    <a:pt x="405" y="47"/>
                    <a:pt x="389" y="40"/>
                    <a:pt x="383" y="35"/>
                  </a:cubicBezTo>
                  <a:cubicBezTo>
                    <a:pt x="381" y="32"/>
                    <a:pt x="377" y="30"/>
                    <a:pt x="374" y="26"/>
                  </a:cubicBezTo>
                  <a:cubicBezTo>
                    <a:pt x="369" y="27"/>
                    <a:pt x="364" y="29"/>
                    <a:pt x="358" y="29"/>
                  </a:cubicBezTo>
                  <a:cubicBezTo>
                    <a:pt x="348" y="29"/>
                    <a:pt x="340" y="24"/>
                    <a:pt x="339" y="19"/>
                  </a:cubicBezTo>
                  <a:cubicBezTo>
                    <a:pt x="338" y="14"/>
                    <a:pt x="327" y="10"/>
                    <a:pt x="318" y="10"/>
                  </a:cubicBezTo>
                  <a:cubicBezTo>
                    <a:pt x="308" y="10"/>
                    <a:pt x="307" y="8"/>
                    <a:pt x="297" y="4"/>
                  </a:cubicBezTo>
                  <a:cubicBezTo>
                    <a:pt x="287" y="0"/>
                    <a:pt x="286" y="3"/>
                    <a:pt x="276" y="4"/>
                  </a:cubicBezTo>
                  <a:cubicBezTo>
                    <a:pt x="266" y="6"/>
                    <a:pt x="265" y="20"/>
                    <a:pt x="260" y="30"/>
                  </a:cubicBezTo>
                  <a:cubicBezTo>
                    <a:pt x="254" y="39"/>
                    <a:pt x="242" y="46"/>
                    <a:pt x="236" y="46"/>
                  </a:cubicBezTo>
                  <a:cubicBezTo>
                    <a:pt x="230" y="46"/>
                    <a:pt x="224" y="46"/>
                    <a:pt x="219" y="40"/>
                  </a:cubicBezTo>
                  <a:cubicBezTo>
                    <a:pt x="214" y="34"/>
                    <a:pt x="205" y="39"/>
                    <a:pt x="203" y="44"/>
                  </a:cubicBezTo>
                  <a:cubicBezTo>
                    <a:pt x="201" y="48"/>
                    <a:pt x="193" y="46"/>
                    <a:pt x="188" y="50"/>
                  </a:cubicBezTo>
                  <a:cubicBezTo>
                    <a:pt x="182" y="54"/>
                    <a:pt x="177" y="54"/>
                    <a:pt x="170" y="54"/>
                  </a:cubicBezTo>
                  <a:cubicBezTo>
                    <a:pt x="164" y="54"/>
                    <a:pt x="161" y="64"/>
                    <a:pt x="160" y="69"/>
                  </a:cubicBezTo>
                  <a:cubicBezTo>
                    <a:pt x="160" y="74"/>
                    <a:pt x="147" y="69"/>
                    <a:pt x="142" y="76"/>
                  </a:cubicBezTo>
                  <a:cubicBezTo>
                    <a:pt x="136" y="82"/>
                    <a:pt x="114" y="80"/>
                    <a:pt x="101" y="80"/>
                  </a:cubicBezTo>
                  <a:cubicBezTo>
                    <a:pt x="88" y="80"/>
                    <a:pt x="92" y="72"/>
                    <a:pt x="85" y="72"/>
                  </a:cubicBezTo>
                  <a:cubicBezTo>
                    <a:pt x="78" y="71"/>
                    <a:pt x="75" y="62"/>
                    <a:pt x="64" y="57"/>
                  </a:cubicBezTo>
                  <a:cubicBezTo>
                    <a:pt x="60" y="55"/>
                    <a:pt x="56" y="54"/>
                    <a:pt x="53" y="55"/>
                  </a:cubicBezTo>
                  <a:cubicBezTo>
                    <a:pt x="54" y="60"/>
                    <a:pt x="48" y="64"/>
                    <a:pt x="48" y="69"/>
                  </a:cubicBezTo>
                  <a:cubicBezTo>
                    <a:pt x="48" y="76"/>
                    <a:pt x="43" y="78"/>
                    <a:pt x="30" y="78"/>
                  </a:cubicBezTo>
                  <a:cubicBezTo>
                    <a:pt x="18" y="78"/>
                    <a:pt x="20" y="80"/>
                    <a:pt x="23" y="88"/>
                  </a:cubicBezTo>
                  <a:cubicBezTo>
                    <a:pt x="26" y="96"/>
                    <a:pt x="27" y="100"/>
                    <a:pt x="19" y="102"/>
                  </a:cubicBezTo>
                  <a:cubicBezTo>
                    <a:pt x="11" y="104"/>
                    <a:pt x="14" y="113"/>
                    <a:pt x="12" y="126"/>
                  </a:cubicBezTo>
                  <a:cubicBezTo>
                    <a:pt x="11" y="137"/>
                    <a:pt x="7" y="136"/>
                    <a:pt x="0" y="137"/>
                  </a:cubicBezTo>
                  <a:cubicBezTo>
                    <a:pt x="1" y="141"/>
                    <a:pt x="2" y="147"/>
                    <a:pt x="2" y="152"/>
                  </a:cubicBezTo>
                  <a:cubicBezTo>
                    <a:pt x="2" y="160"/>
                    <a:pt x="0" y="171"/>
                    <a:pt x="6" y="174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116" name="Freeform 25175"/>
            <p:cNvSpPr>
              <a:spLocks/>
            </p:cNvSpPr>
            <p:nvPr/>
          </p:nvSpPr>
          <p:spPr bwMode="auto">
            <a:xfrm>
              <a:off x="4727940" y="2645360"/>
              <a:ext cx="102908" cy="120427"/>
            </a:xfrm>
            <a:custGeom>
              <a:avLst/>
              <a:gdLst>
                <a:gd name="T0" fmla="*/ 271 w 276"/>
                <a:gd name="T1" fmla="*/ 235 h 323"/>
                <a:gd name="T2" fmla="*/ 249 w 276"/>
                <a:gd name="T3" fmla="*/ 214 h 323"/>
                <a:gd name="T4" fmla="*/ 241 w 276"/>
                <a:gd name="T5" fmla="*/ 199 h 323"/>
                <a:gd name="T6" fmla="*/ 235 w 276"/>
                <a:gd name="T7" fmla="*/ 183 h 323"/>
                <a:gd name="T8" fmla="*/ 245 w 276"/>
                <a:gd name="T9" fmla="*/ 165 h 323"/>
                <a:gd name="T10" fmla="*/ 254 w 276"/>
                <a:gd name="T11" fmla="*/ 153 h 323"/>
                <a:gd name="T12" fmla="*/ 254 w 276"/>
                <a:gd name="T13" fmla="*/ 134 h 323"/>
                <a:gd name="T14" fmla="*/ 254 w 276"/>
                <a:gd name="T15" fmla="*/ 121 h 323"/>
                <a:gd name="T16" fmla="*/ 236 w 276"/>
                <a:gd name="T17" fmla="*/ 116 h 323"/>
                <a:gd name="T18" fmla="*/ 211 w 276"/>
                <a:gd name="T19" fmla="*/ 128 h 323"/>
                <a:gd name="T20" fmla="*/ 182 w 276"/>
                <a:gd name="T21" fmla="*/ 116 h 323"/>
                <a:gd name="T22" fmla="*/ 170 w 276"/>
                <a:gd name="T23" fmla="*/ 99 h 323"/>
                <a:gd name="T24" fmla="*/ 177 w 276"/>
                <a:gd name="T25" fmla="*/ 83 h 323"/>
                <a:gd name="T26" fmla="*/ 160 w 276"/>
                <a:gd name="T27" fmla="*/ 73 h 323"/>
                <a:gd name="T28" fmla="*/ 134 w 276"/>
                <a:gd name="T29" fmla="*/ 55 h 323"/>
                <a:gd name="T30" fmla="*/ 120 w 276"/>
                <a:gd name="T31" fmla="*/ 29 h 323"/>
                <a:gd name="T32" fmla="*/ 103 w 276"/>
                <a:gd name="T33" fmla="*/ 10 h 323"/>
                <a:gd name="T34" fmla="*/ 101 w 276"/>
                <a:gd name="T35" fmla="*/ 3 h 323"/>
                <a:gd name="T36" fmla="*/ 86 w 276"/>
                <a:gd name="T37" fmla="*/ 0 h 323"/>
                <a:gd name="T38" fmla="*/ 61 w 276"/>
                <a:gd name="T39" fmla="*/ 0 h 323"/>
                <a:gd name="T40" fmla="*/ 45 w 276"/>
                <a:gd name="T41" fmla="*/ 13 h 323"/>
                <a:gd name="T42" fmla="*/ 9 w 276"/>
                <a:gd name="T43" fmla="*/ 17 h 323"/>
                <a:gd name="T44" fmla="*/ 0 w 276"/>
                <a:gd name="T45" fmla="*/ 20 h 323"/>
                <a:gd name="T46" fmla="*/ 6 w 276"/>
                <a:gd name="T47" fmla="*/ 27 h 323"/>
                <a:gd name="T48" fmla="*/ 14 w 276"/>
                <a:gd name="T49" fmla="*/ 41 h 323"/>
                <a:gd name="T50" fmla="*/ 20 w 276"/>
                <a:gd name="T51" fmla="*/ 57 h 323"/>
                <a:gd name="T52" fmla="*/ 25 w 276"/>
                <a:gd name="T53" fmla="*/ 67 h 323"/>
                <a:gd name="T54" fmla="*/ 31 w 276"/>
                <a:gd name="T55" fmla="*/ 81 h 323"/>
                <a:gd name="T56" fmla="*/ 29 w 276"/>
                <a:gd name="T57" fmla="*/ 98 h 323"/>
                <a:gd name="T58" fmla="*/ 40 w 276"/>
                <a:gd name="T59" fmla="*/ 118 h 323"/>
                <a:gd name="T60" fmla="*/ 24 w 276"/>
                <a:gd name="T61" fmla="*/ 141 h 323"/>
                <a:gd name="T62" fmla="*/ 38 w 276"/>
                <a:gd name="T63" fmla="*/ 155 h 323"/>
                <a:gd name="T64" fmla="*/ 51 w 276"/>
                <a:gd name="T65" fmla="*/ 166 h 323"/>
                <a:gd name="T66" fmla="*/ 34 w 276"/>
                <a:gd name="T67" fmla="*/ 176 h 323"/>
                <a:gd name="T68" fmla="*/ 43 w 276"/>
                <a:gd name="T69" fmla="*/ 185 h 323"/>
                <a:gd name="T70" fmla="*/ 48 w 276"/>
                <a:gd name="T71" fmla="*/ 200 h 323"/>
                <a:gd name="T72" fmla="*/ 41 w 276"/>
                <a:gd name="T73" fmla="*/ 215 h 323"/>
                <a:gd name="T74" fmla="*/ 53 w 276"/>
                <a:gd name="T75" fmla="*/ 229 h 323"/>
                <a:gd name="T76" fmla="*/ 83 w 276"/>
                <a:gd name="T77" fmla="*/ 243 h 323"/>
                <a:gd name="T78" fmla="*/ 99 w 276"/>
                <a:gd name="T79" fmla="*/ 263 h 323"/>
                <a:gd name="T80" fmla="*/ 94 w 276"/>
                <a:gd name="T81" fmla="*/ 290 h 323"/>
                <a:gd name="T82" fmla="*/ 116 w 276"/>
                <a:gd name="T83" fmla="*/ 309 h 323"/>
                <a:gd name="T84" fmla="*/ 126 w 276"/>
                <a:gd name="T85" fmla="*/ 323 h 323"/>
                <a:gd name="T86" fmla="*/ 137 w 276"/>
                <a:gd name="T87" fmla="*/ 319 h 323"/>
                <a:gd name="T88" fmla="*/ 171 w 276"/>
                <a:gd name="T89" fmla="*/ 311 h 323"/>
                <a:gd name="T90" fmla="*/ 193 w 276"/>
                <a:gd name="T91" fmla="*/ 303 h 323"/>
                <a:gd name="T92" fmla="*/ 219 w 276"/>
                <a:gd name="T93" fmla="*/ 299 h 323"/>
                <a:gd name="T94" fmla="*/ 238 w 276"/>
                <a:gd name="T95" fmla="*/ 291 h 323"/>
                <a:gd name="T96" fmla="*/ 234 w 276"/>
                <a:gd name="T97" fmla="*/ 272 h 323"/>
                <a:gd name="T98" fmla="*/ 241 w 276"/>
                <a:gd name="T99" fmla="*/ 263 h 323"/>
                <a:gd name="T100" fmla="*/ 264 w 276"/>
                <a:gd name="T101" fmla="*/ 254 h 323"/>
                <a:gd name="T102" fmla="*/ 271 w 276"/>
                <a:gd name="T103" fmla="*/ 235 h 3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76" h="323">
                  <a:moveTo>
                    <a:pt x="271" y="235"/>
                  </a:moveTo>
                  <a:cubicBezTo>
                    <a:pt x="266" y="226"/>
                    <a:pt x="250" y="221"/>
                    <a:pt x="249" y="214"/>
                  </a:cubicBezTo>
                  <a:cubicBezTo>
                    <a:pt x="248" y="206"/>
                    <a:pt x="245" y="201"/>
                    <a:pt x="241" y="199"/>
                  </a:cubicBezTo>
                  <a:cubicBezTo>
                    <a:pt x="237" y="196"/>
                    <a:pt x="230" y="196"/>
                    <a:pt x="235" y="183"/>
                  </a:cubicBezTo>
                  <a:cubicBezTo>
                    <a:pt x="239" y="171"/>
                    <a:pt x="237" y="169"/>
                    <a:pt x="245" y="165"/>
                  </a:cubicBezTo>
                  <a:cubicBezTo>
                    <a:pt x="252" y="161"/>
                    <a:pt x="254" y="163"/>
                    <a:pt x="254" y="153"/>
                  </a:cubicBezTo>
                  <a:cubicBezTo>
                    <a:pt x="254" y="143"/>
                    <a:pt x="250" y="140"/>
                    <a:pt x="254" y="134"/>
                  </a:cubicBezTo>
                  <a:cubicBezTo>
                    <a:pt x="258" y="127"/>
                    <a:pt x="261" y="125"/>
                    <a:pt x="254" y="121"/>
                  </a:cubicBezTo>
                  <a:cubicBezTo>
                    <a:pt x="248" y="117"/>
                    <a:pt x="239" y="108"/>
                    <a:pt x="236" y="116"/>
                  </a:cubicBezTo>
                  <a:cubicBezTo>
                    <a:pt x="233" y="124"/>
                    <a:pt x="220" y="135"/>
                    <a:pt x="211" y="128"/>
                  </a:cubicBezTo>
                  <a:cubicBezTo>
                    <a:pt x="203" y="120"/>
                    <a:pt x="185" y="120"/>
                    <a:pt x="182" y="116"/>
                  </a:cubicBezTo>
                  <a:cubicBezTo>
                    <a:pt x="180" y="111"/>
                    <a:pt x="162" y="109"/>
                    <a:pt x="170" y="99"/>
                  </a:cubicBezTo>
                  <a:cubicBezTo>
                    <a:pt x="179" y="90"/>
                    <a:pt x="179" y="90"/>
                    <a:pt x="177" y="83"/>
                  </a:cubicBezTo>
                  <a:cubicBezTo>
                    <a:pt x="175" y="76"/>
                    <a:pt x="169" y="71"/>
                    <a:pt x="160" y="73"/>
                  </a:cubicBezTo>
                  <a:cubicBezTo>
                    <a:pt x="152" y="74"/>
                    <a:pt x="137" y="68"/>
                    <a:pt x="134" y="55"/>
                  </a:cubicBezTo>
                  <a:cubicBezTo>
                    <a:pt x="130" y="41"/>
                    <a:pt x="127" y="37"/>
                    <a:pt x="120" y="29"/>
                  </a:cubicBezTo>
                  <a:cubicBezTo>
                    <a:pt x="113" y="21"/>
                    <a:pt x="109" y="15"/>
                    <a:pt x="103" y="10"/>
                  </a:cubicBezTo>
                  <a:cubicBezTo>
                    <a:pt x="100" y="7"/>
                    <a:pt x="99" y="5"/>
                    <a:pt x="101" y="3"/>
                  </a:cubicBezTo>
                  <a:cubicBezTo>
                    <a:pt x="96" y="1"/>
                    <a:pt x="91" y="0"/>
                    <a:pt x="86" y="0"/>
                  </a:cubicBezTo>
                  <a:cubicBezTo>
                    <a:pt x="79" y="0"/>
                    <a:pt x="69" y="0"/>
                    <a:pt x="61" y="0"/>
                  </a:cubicBezTo>
                  <a:cubicBezTo>
                    <a:pt x="53" y="0"/>
                    <a:pt x="48" y="8"/>
                    <a:pt x="45" y="13"/>
                  </a:cubicBezTo>
                  <a:cubicBezTo>
                    <a:pt x="42" y="18"/>
                    <a:pt x="18" y="17"/>
                    <a:pt x="9" y="17"/>
                  </a:cubicBezTo>
                  <a:cubicBezTo>
                    <a:pt x="5" y="17"/>
                    <a:pt x="2" y="18"/>
                    <a:pt x="0" y="20"/>
                  </a:cubicBezTo>
                  <a:cubicBezTo>
                    <a:pt x="1" y="23"/>
                    <a:pt x="3" y="26"/>
                    <a:pt x="6" y="27"/>
                  </a:cubicBezTo>
                  <a:cubicBezTo>
                    <a:pt x="13" y="30"/>
                    <a:pt x="14" y="38"/>
                    <a:pt x="14" y="41"/>
                  </a:cubicBezTo>
                  <a:cubicBezTo>
                    <a:pt x="14" y="44"/>
                    <a:pt x="15" y="55"/>
                    <a:pt x="20" y="57"/>
                  </a:cubicBezTo>
                  <a:cubicBezTo>
                    <a:pt x="25" y="59"/>
                    <a:pt x="25" y="64"/>
                    <a:pt x="25" y="67"/>
                  </a:cubicBezTo>
                  <a:cubicBezTo>
                    <a:pt x="25" y="70"/>
                    <a:pt x="27" y="78"/>
                    <a:pt x="31" y="81"/>
                  </a:cubicBezTo>
                  <a:cubicBezTo>
                    <a:pt x="34" y="83"/>
                    <a:pt x="23" y="95"/>
                    <a:pt x="29" y="98"/>
                  </a:cubicBezTo>
                  <a:cubicBezTo>
                    <a:pt x="35" y="102"/>
                    <a:pt x="42" y="112"/>
                    <a:pt x="40" y="118"/>
                  </a:cubicBezTo>
                  <a:cubicBezTo>
                    <a:pt x="37" y="124"/>
                    <a:pt x="24" y="133"/>
                    <a:pt x="24" y="141"/>
                  </a:cubicBezTo>
                  <a:cubicBezTo>
                    <a:pt x="23" y="148"/>
                    <a:pt x="31" y="153"/>
                    <a:pt x="38" y="155"/>
                  </a:cubicBezTo>
                  <a:cubicBezTo>
                    <a:pt x="45" y="157"/>
                    <a:pt x="54" y="160"/>
                    <a:pt x="51" y="166"/>
                  </a:cubicBezTo>
                  <a:cubicBezTo>
                    <a:pt x="49" y="172"/>
                    <a:pt x="32" y="170"/>
                    <a:pt x="34" y="176"/>
                  </a:cubicBezTo>
                  <a:cubicBezTo>
                    <a:pt x="36" y="183"/>
                    <a:pt x="40" y="178"/>
                    <a:pt x="43" y="185"/>
                  </a:cubicBezTo>
                  <a:cubicBezTo>
                    <a:pt x="46" y="191"/>
                    <a:pt x="52" y="195"/>
                    <a:pt x="48" y="200"/>
                  </a:cubicBezTo>
                  <a:cubicBezTo>
                    <a:pt x="44" y="205"/>
                    <a:pt x="39" y="210"/>
                    <a:pt x="41" y="215"/>
                  </a:cubicBezTo>
                  <a:cubicBezTo>
                    <a:pt x="42" y="219"/>
                    <a:pt x="42" y="222"/>
                    <a:pt x="53" y="229"/>
                  </a:cubicBezTo>
                  <a:cubicBezTo>
                    <a:pt x="64" y="235"/>
                    <a:pt x="73" y="238"/>
                    <a:pt x="83" y="243"/>
                  </a:cubicBezTo>
                  <a:cubicBezTo>
                    <a:pt x="92" y="249"/>
                    <a:pt x="106" y="253"/>
                    <a:pt x="99" y="263"/>
                  </a:cubicBezTo>
                  <a:cubicBezTo>
                    <a:pt x="93" y="273"/>
                    <a:pt x="83" y="283"/>
                    <a:pt x="94" y="290"/>
                  </a:cubicBezTo>
                  <a:cubicBezTo>
                    <a:pt x="106" y="296"/>
                    <a:pt x="110" y="301"/>
                    <a:pt x="116" y="309"/>
                  </a:cubicBezTo>
                  <a:cubicBezTo>
                    <a:pt x="119" y="313"/>
                    <a:pt x="123" y="319"/>
                    <a:pt x="126" y="323"/>
                  </a:cubicBezTo>
                  <a:cubicBezTo>
                    <a:pt x="128" y="320"/>
                    <a:pt x="132" y="319"/>
                    <a:pt x="137" y="319"/>
                  </a:cubicBezTo>
                  <a:cubicBezTo>
                    <a:pt x="154" y="319"/>
                    <a:pt x="161" y="318"/>
                    <a:pt x="171" y="311"/>
                  </a:cubicBezTo>
                  <a:cubicBezTo>
                    <a:pt x="180" y="305"/>
                    <a:pt x="185" y="303"/>
                    <a:pt x="193" y="303"/>
                  </a:cubicBezTo>
                  <a:cubicBezTo>
                    <a:pt x="201" y="303"/>
                    <a:pt x="207" y="297"/>
                    <a:pt x="219" y="299"/>
                  </a:cubicBezTo>
                  <a:cubicBezTo>
                    <a:pt x="230" y="301"/>
                    <a:pt x="238" y="300"/>
                    <a:pt x="238" y="291"/>
                  </a:cubicBezTo>
                  <a:cubicBezTo>
                    <a:pt x="238" y="283"/>
                    <a:pt x="239" y="278"/>
                    <a:pt x="234" y="272"/>
                  </a:cubicBezTo>
                  <a:cubicBezTo>
                    <a:pt x="229" y="266"/>
                    <a:pt x="232" y="263"/>
                    <a:pt x="241" y="263"/>
                  </a:cubicBezTo>
                  <a:cubicBezTo>
                    <a:pt x="250" y="263"/>
                    <a:pt x="259" y="261"/>
                    <a:pt x="264" y="254"/>
                  </a:cubicBezTo>
                  <a:cubicBezTo>
                    <a:pt x="268" y="246"/>
                    <a:pt x="276" y="244"/>
                    <a:pt x="271" y="23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117" name="Freeform 25176"/>
            <p:cNvSpPr>
              <a:spLocks/>
            </p:cNvSpPr>
            <p:nvPr/>
          </p:nvSpPr>
          <p:spPr bwMode="auto">
            <a:xfrm>
              <a:off x="4742145" y="2748583"/>
              <a:ext cx="41984" cy="84599"/>
            </a:xfrm>
            <a:custGeom>
              <a:avLst/>
              <a:gdLst>
                <a:gd name="T0" fmla="*/ 107 w 113"/>
                <a:gd name="T1" fmla="*/ 140 h 227"/>
                <a:gd name="T2" fmla="*/ 78 w 113"/>
                <a:gd name="T3" fmla="*/ 111 h 227"/>
                <a:gd name="T4" fmla="*/ 79 w 113"/>
                <a:gd name="T5" fmla="*/ 69 h 227"/>
                <a:gd name="T6" fmla="*/ 88 w 113"/>
                <a:gd name="T7" fmla="*/ 46 h 227"/>
                <a:gd name="T8" fmla="*/ 78 w 113"/>
                <a:gd name="T9" fmla="*/ 32 h 227"/>
                <a:gd name="T10" fmla="*/ 56 w 113"/>
                <a:gd name="T11" fmla="*/ 13 h 227"/>
                <a:gd name="T12" fmla="*/ 51 w 113"/>
                <a:gd name="T13" fmla="*/ 5 h 227"/>
                <a:gd name="T14" fmla="*/ 40 w 113"/>
                <a:gd name="T15" fmla="*/ 8 h 227"/>
                <a:gd name="T16" fmla="*/ 24 w 113"/>
                <a:gd name="T17" fmla="*/ 3 h 227"/>
                <a:gd name="T18" fmla="*/ 10 w 113"/>
                <a:gd name="T19" fmla="*/ 18 h 227"/>
                <a:gd name="T20" fmla="*/ 5 w 113"/>
                <a:gd name="T21" fmla="*/ 39 h 227"/>
                <a:gd name="T22" fmla="*/ 2 w 113"/>
                <a:gd name="T23" fmla="*/ 53 h 227"/>
                <a:gd name="T24" fmla="*/ 15 w 113"/>
                <a:gd name="T25" fmla="*/ 64 h 227"/>
                <a:gd name="T26" fmla="*/ 15 w 113"/>
                <a:gd name="T27" fmla="*/ 136 h 227"/>
                <a:gd name="T28" fmla="*/ 19 w 113"/>
                <a:gd name="T29" fmla="*/ 182 h 227"/>
                <a:gd name="T30" fmla="*/ 29 w 113"/>
                <a:gd name="T31" fmla="*/ 209 h 227"/>
                <a:gd name="T32" fmla="*/ 27 w 113"/>
                <a:gd name="T33" fmla="*/ 227 h 227"/>
                <a:gd name="T34" fmla="*/ 46 w 113"/>
                <a:gd name="T35" fmla="*/ 224 h 227"/>
                <a:gd name="T36" fmla="*/ 74 w 113"/>
                <a:gd name="T37" fmla="*/ 210 h 227"/>
                <a:gd name="T38" fmla="*/ 91 w 113"/>
                <a:gd name="T39" fmla="*/ 180 h 227"/>
                <a:gd name="T40" fmla="*/ 105 w 113"/>
                <a:gd name="T41" fmla="*/ 162 h 227"/>
                <a:gd name="T42" fmla="*/ 107 w 113"/>
                <a:gd name="T43" fmla="*/ 140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13" h="227">
                  <a:moveTo>
                    <a:pt x="107" y="140"/>
                  </a:moveTo>
                  <a:cubicBezTo>
                    <a:pt x="101" y="132"/>
                    <a:pt x="78" y="126"/>
                    <a:pt x="78" y="111"/>
                  </a:cubicBezTo>
                  <a:cubicBezTo>
                    <a:pt x="78" y="96"/>
                    <a:pt x="73" y="79"/>
                    <a:pt x="79" y="69"/>
                  </a:cubicBezTo>
                  <a:cubicBezTo>
                    <a:pt x="83" y="62"/>
                    <a:pt x="83" y="52"/>
                    <a:pt x="88" y="46"/>
                  </a:cubicBezTo>
                  <a:cubicBezTo>
                    <a:pt x="85" y="42"/>
                    <a:pt x="81" y="36"/>
                    <a:pt x="78" y="32"/>
                  </a:cubicBezTo>
                  <a:cubicBezTo>
                    <a:pt x="72" y="24"/>
                    <a:pt x="68" y="19"/>
                    <a:pt x="56" y="13"/>
                  </a:cubicBezTo>
                  <a:cubicBezTo>
                    <a:pt x="52" y="10"/>
                    <a:pt x="51" y="8"/>
                    <a:pt x="51" y="5"/>
                  </a:cubicBezTo>
                  <a:cubicBezTo>
                    <a:pt x="47" y="6"/>
                    <a:pt x="43" y="8"/>
                    <a:pt x="40" y="8"/>
                  </a:cubicBezTo>
                  <a:cubicBezTo>
                    <a:pt x="35" y="9"/>
                    <a:pt x="32" y="6"/>
                    <a:pt x="24" y="3"/>
                  </a:cubicBezTo>
                  <a:cubicBezTo>
                    <a:pt x="17" y="0"/>
                    <a:pt x="17" y="13"/>
                    <a:pt x="10" y="18"/>
                  </a:cubicBezTo>
                  <a:cubicBezTo>
                    <a:pt x="4" y="23"/>
                    <a:pt x="4" y="30"/>
                    <a:pt x="5" y="39"/>
                  </a:cubicBezTo>
                  <a:cubicBezTo>
                    <a:pt x="5" y="43"/>
                    <a:pt x="4" y="48"/>
                    <a:pt x="2" y="53"/>
                  </a:cubicBezTo>
                  <a:cubicBezTo>
                    <a:pt x="7" y="58"/>
                    <a:pt x="11" y="62"/>
                    <a:pt x="15" y="64"/>
                  </a:cubicBezTo>
                  <a:cubicBezTo>
                    <a:pt x="30" y="76"/>
                    <a:pt x="15" y="106"/>
                    <a:pt x="15" y="136"/>
                  </a:cubicBezTo>
                  <a:cubicBezTo>
                    <a:pt x="15" y="166"/>
                    <a:pt x="0" y="173"/>
                    <a:pt x="19" y="182"/>
                  </a:cubicBezTo>
                  <a:cubicBezTo>
                    <a:pt x="38" y="190"/>
                    <a:pt x="32" y="198"/>
                    <a:pt x="29" y="209"/>
                  </a:cubicBezTo>
                  <a:cubicBezTo>
                    <a:pt x="27" y="215"/>
                    <a:pt x="26" y="221"/>
                    <a:pt x="27" y="227"/>
                  </a:cubicBezTo>
                  <a:cubicBezTo>
                    <a:pt x="31" y="226"/>
                    <a:pt x="38" y="224"/>
                    <a:pt x="46" y="224"/>
                  </a:cubicBezTo>
                  <a:cubicBezTo>
                    <a:pt x="61" y="223"/>
                    <a:pt x="70" y="220"/>
                    <a:pt x="74" y="210"/>
                  </a:cubicBezTo>
                  <a:cubicBezTo>
                    <a:pt x="77" y="200"/>
                    <a:pt x="82" y="188"/>
                    <a:pt x="91" y="180"/>
                  </a:cubicBezTo>
                  <a:cubicBezTo>
                    <a:pt x="100" y="173"/>
                    <a:pt x="102" y="165"/>
                    <a:pt x="105" y="162"/>
                  </a:cubicBezTo>
                  <a:cubicBezTo>
                    <a:pt x="109" y="158"/>
                    <a:pt x="113" y="148"/>
                    <a:pt x="107" y="14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118" name="Freeform 25177"/>
            <p:cNvSpPr>
              <a:spLocks/>
            </p:cNvSpPr>
            <p:nvPr/>
          </p:nvSpPr>
          <p:spPr bwMode="auto">
            <a:xfrm>
              <a:off x="4656757" y="2672192"/>
              <a:ext cx="91228" cy="76392"/>
            </a:xfrm>
            <a:custGeom>
              <a:avLst/>
              <a:gdLst>
                <a:gd name="T0" fmla="*/ 173 w 245"/>
                <a:gd name="T1" fmla="*/ 198 h 205"/>
                <a:gd name="T2" fmla="*/ 178 w 245"/>
                <a:gd name="T3" fmla="*/ 188 h 205"/>
                <a:gd name="T4" fmla="*/ 173 w 245"/>
                <a:gd name="T5" fmla="*/ 173 h 205"/>
                <a:gd name="T6" fmla="*/ 188 w 245"/>
                <a:gd name="T7" fmla="*/ 165 h 205"/>
                <a:gd name="T8" fmla="*/ 196 w 245"/>
                <a:gd name="T9" fmla="*/ 153 h 205"/>
                <a:gd name="T10" fmla="*/ 207 w 245"/>
                <a:gd name="T11" fmla="*/ 149 h 205"/>
                <a:gd name="T12" fmla="*/ 214 w 245"/>
                <a:gd name="T13" fmla="*/ 136 h 205"/>
                <a:gd name="T14" fmla="*/ 234 w 245"/>
                <a:gd name="T15" fmla="*/ 133 h 205"/>
                <a:gd name="T16" fmla="*/ 239 w 245"/>
                <a:gd name="T17" fmla="*/ 128 h 205"/>
                <a:gd name="T18" fmla="*/ 234 w 245"/>
                <a:gd name="T19" fmla="*/ 113 h 205"/>
                <a:gd name="T20" fmla="*/ 225 w 245"/>
                <a:gd name="T21" fmla="*/ 104 h 205"/>
                <a:gd name="T22" fmla="*/ 242 w 245"/>
                <a:gd name="T23" fmla="*/ 94 h 205"/>
                <a:gd name="T24" fmla="*/ 229 w 245"/>
                <a:gd name="T25" fmla="*/ 83 h 205"/>
                <a:gd name="T26" fmla="*/ 215 w 245"/>
                <a:gd name="T27" fmla="*/ 69 h 205"/>
                <a:gd name="T28" fmla="*/ 231 w 245"/>
                <a:gd name="T29" fmla="*/ 46 h 205"/>
                <a:gd name="T30" fmla="*/ 220 w 245"/>
                <a:gd name="T31" fmla="*/ 26 h 205"/>
                <a:gd name="T32" fmla="*/ 218 w 245"/>
                <a:gd name="T33" fmla="*/ 23 h 205"/>
                <a:gd name="T34" fmla="*/ 209 w 245"/>
                <a:gd name="T35" fmla="*/ 22 h 205"/>
                <a:gd name="T36" fmla="*/ 183 w 245"/>
                <a:gd name="T37" fmla="*/ 15 h 205"/>
                <a:gd name="T38" fmla="*/ 147 w 245"/>
                <a:gd name="T39" fmla="*/ 15 h 205"/>
                <a:gd name="T40" fmla="*/ 116 w 245"/>
                <a:gd name="T41" fmla="*/ 9 h 205"/>
                <a:gd name="T42" fmla="*/ 85 w 245"/>
                <a:gd name="T43" fmla="*/ 8 h 205"/>
                <a:gd name="T44" fmla="*/ 69 w 245"/>
                <a:gd name="T45" fmla="*/ 4 h 205"/>
                <a:gd name="T46" fmla="*/ 54 w 245"/>
                <a:gd name="T47" fmla="*/ 6 h 205"/>
                <a:gd name="T48" fmla="*/ 41 w 245"/>
                <a:gd name="T49" fmla="*/ 19 h 205"/>
                <a:gd name="T50" fmla="*/ 25 w 245"/>
                <a:gd name="T51" fmla="*/ 10 h 205"/>
                <a:gd name="T52" fmla="*/ 6 w 245"/>
                <a:gd name="T53" fmla="*/ 9 h 205"/>
                <a:gd name="T54" fmla="*/ 1 w 245"/>
                <a:gd name="T55" fmla="*/ 25 h 205"/>
                <a:gd name="T56" fmla="*/ 14 w 245"/>
                <a:gd name="T57" fmla="*/ 45 h 205"/>
                <a:gd name="T58" fmla="*/ 26 w 245"/>
                <a:gd name="T59" fmla="*/ 62 h 205"/>
                <a:gd name="T60" fmla="*/ 39 w 245"/>
                <a:gd name="T61" fmla="*/ 85 h 205"/>
                <a:gd name="T62" fmla="*/ 58 w 245"/>
                <a:gd name="T63" fmla="*/ 105 h 205"/>
                <a:gd name="T64" fmla="*/ 81 w 245"/>
                <a:gd name="T65" fmla="*/ 131 h 205"/>
                <a:gd name="T66" fmla="*/ 101 w 245"/>
                <a:gd name="T67" fmla="*/ 148 h 205"/>
                <a:gd name="T68" fmla="*/ 117 w 245"/>
                <a:gd name="T69" fmla="*/ 166 h 205"/>
                <a:gd name="T70" fmla="*/ 150 w 245"/>
                <a:gd name="T71" fmla="*/ 186 h 205"/>
                <a:gd name="T72" fmla="*/ 162 w 245"/>
                <a:gd name="T73" fmla="*/ 203 h 205"/>
                <a:gd name="T74" fmla="*/ 170 w 245"/>
                <a:gd name="T75" fmla="*/ 205 h 205"/>
                <a:gd name="T76" fmla="*/ 173 w 245"/>
                <a:gd name="T77" fmla="*/ 198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45" h="205">
                  <a:moveTo>
                    <a:pt x="173" y="198"/>
                  </a:moveTo>
                  <a:cubicBezTo>
                    <a:pt x="177" y="195"/>
                    <a:pt x="183" y="193"/>
                    <a:pt x="178" y="188"/>
                  </a:cubicBezTo>
                  <a:cubicBezTo>
                    <a:pt x="173" y="182"/>
                    <a:pt x="166" y="174"/>
                    <a:pt x="173" y="173"/>
                  </a:cubicBezTo>
                  <a:cubicBezTo>
                    <a:pt x="180" y="172"/>
                    <a:pt x="185" y="173"/>
                    <a:pt x="188" y="165"/>
                  </a:cubicBezTo>
                  <a:cubicBezTo>
                    <a:pt x="190" y="157"/>
                    <a:pt x="188" y="153"/>
                    <a:pt x="196" y="153"/>
                  </a:cubicBezTo>
                  <a:cubicBezTo>
                    <a:pt x="203" y="153"/>
                    <a:pt x="206" y="157"/>
                    <a:pt x="207" y="149"/>
                  </a:cubicBezTo>
                  <a:cubicBezTo>
                    <a:pt x="207" y="142"/>
                    <a:pt x="206" y="137"/>
                    <a:pt x="214" y="136"/>
                  </a:cubicBezTo>
                  <a:cubicBezTo>
                    <a:pt x="221" y="135"/>
                    <a:pt x="224" y="130"/>
                    <a:pt x="234" y="133"/>
                  </a:cubicBezTo>
                  <a:cubicBezTo>
                    <a:pt x="236" y="132"/>
                    <a:pt x="237" y="130"/>
                    <a:pt x="239" y="128"/>
                  </a:cubicBezTo>
                  <a:cubicBezTo>
                    <a:pt x="243" y="123"/>
                    <a:pt x="237" y="119"/>
                    <a:pt x="234" y="113"/>
                  </a:cubicBezTo>
                  <a:cubicBezTo>
                    <a:pt x="231" y="106"/>
                    <a:pt x="227" y="111"/>
                    <a:pt x="225" y="104"/>
                  </a:cubicBezTo>
                  <a:cubicBezTo>
                    <a:pt x="223" y="98"/>
                    <a:pt x="240" y="100"/>
                    <a:pt x="242" y="94"/>
                  </a:cubicBezTo>
                  <a:cubicBezTo>
                    <a:pt x="245" y="88"/>
                    <a:pt x="236" y="85"/>
                    <a:pt x="229" y="83"/>
                  </a:cubicBezTo>
                  <a:cubicBezTo>
                    <a:pt x="222" y="81"/>
                    <a:pt x="214" y="76"/>
                    <a:pt x="215" y="69"/>
                  </a:cubicBezTo>
                  <a:cubicBezTo>
                    <a:pt x="215" y="61"/>
                    <a:pt x="228" y="52"/>
                    <a:pt x="231" y="46"/>
                  </a:cubicBezTo>
                  <a:cubicBezTo>
                    <a:pt x="233" y="40"/>
                    <a:pt x="226" y="30"/>
                    <a:pt x="220" y="26"/>
                  </a:cubicBezTo>
                  <a:cubicBezTo>
                    <a:pt x="218" y="25"/>
                    <a:pt x="218" y="24"/>
                    <a:pt x="218" y="23"/>
                  </a:cubicBezTo>
                  <a:cubicBezTo>
                    <a:pt x="216" y="22"/>
                    <a:pt x="214" y="22"/>
                    <a:pt x="209" y="22"/>
                  </a:cubicBezTo>
                  <a:cubicBezTo>
                    <a:pt x="201" y="22"/>
                    <a:pt x="189" y="18"/>
                    <a:pt x="183" y="15"/>
                  </a:cubicBezTo>
                  <a:cubicBezTo>
                    <a:pt x="178" y="12"/>
                    <a:pt x="162" y="12"/>
                    <a:pt x="147" y="15"/>
                  </a:cubicBezTo>
                  <a:cubicBezTo>
                    <a:pt x="131" y="18"/>
                    <a:pt x="130" y="15"/>
                    <a:pt x="116" y="9"/>
                  </a:cubicBezTo>
                  <a:cubicBezTo>
                    <a:pt x="103" y="3"/>
                    <a:pt x="95" y="8"/>
                    <a:pt x="85" y="8"/>
                  </a:cubicBezTo>
                  <a:cubicBezTo>
                    <a:pt x="74" y="8"/>
                    <a:pt x="74" y="7"/>
                    <a:pt x="69" y="4"/>
                  </a:cubicBezTo>
                  <a:cubicBezTo>
                    <a:pt x="63" y="0"/>
                    <a:pt x="60" y="5"/>
                    <a:pt x="54" y="6"/>
                  </a:cubicBezTo>
                  <a:cubicBezTo>
                    <a:pt x="48" y="8"/>
                    <a:pt x="49" y="19"/>
                    <a:pt x="41" y="19"/>
                  </a:cubicBezTo>
                  <a:cubicBezTo>
                    <a:pt x="33" y="18"/>
                    <a:pt x="30" y="15"/>
                    <a:pt x="25" y="10"/>
                  </a:cubicBezTo>
                  <a:cubicBezTo>
                    <a:pt x="21" y="7"/>
                    <a:pt x="13" y="8"/>
                    <a:pt x="6" y="9"/>
                  </a:cubicBezTo>
                  <a:cubicBezTo>
                    <a:pt x="4" y="14"/>
                    <a:pt x="0" y="20"/>
                    <a:pt x="1" y="25"/>
                  </a:cubicBezTo>
                  <a:cubicBezTo>
                    <a:pt x="3" y="32"/>
                    <a:pt x="5" y="40"/>
                    <a:pt x="14" y="45"/>
                  </a:cubicBezTo>
                  <a:cubicBezTo>
                    <a:pt x="22" y="50"/>
                    <a:pt x="24" y="55"/>
                    <a:pt x="26" y="62"/>
                  </a:cubicBezTo>
                  <a:cubicBezTo>
                    <a:pt x="29" y="69"/>
                    <a:pt x="38" y="75"/>
                    <a:pt x="39" y="85"/>
                  </a:cubicBezTo>
                  <a:cubicBezTo>
                    <a:pt x="40" y="94"/>
                    <a:pt x="44" y="100"/>
                    <a:pt x="58" y="105"/>
                  </a:cubicBezTo>
                  <a:cubicBezTo>
                    <a:pt x="72" y="109"/>
                    <a:pt x="77" y="123"/>
                    <a:pt x="81" y="131"/>
                  </a:cubicBezTo>
                  <a:cubicBezTo>
                    <a:pt x="85" y="139"/>
                    <a:pt x="93" y="142"/>
                    <a:pt x="101" y="148"/>
                  </a:cubicBezTo>
                  <a:cubicBezTo>
                    <a:pt x="110" y="154"/>
                    <a:pt x="113" y="159"/>
                    <a:pt x="117" y="166"/>
                  </a:cubicBezTo>
                  <a:cubicBezTo>
                    <a:pt x="121" y="174"/>
                    <a:pt x="136" y="178"/>
                    <a:pt x="150" y="186"/>
                  </a:cubicBezTo>
                  <a:cubicBezTo>
                    <a:pt x="157" y="190"/>
                    <a:pt x="160" y="198"/>
                    <a:pt x="162" y="203"/>
                  </a:cubicBezTo>
                  <a:cubicBezTo>
                    <a:pt x="164" y="204"/>
                    <a:pt x="167" y="205"/>
                    <a:pt x="170" y="205"/>
                  </a:cubicBezTo>
                  <a:cubicBezTo>
                    <a:pt x="170" y="202"/>
                    <a:pt x="171" y="199"/>
                    <a:pt x="173" y="198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119" name="Freeform 25178"/>
            <p:cNvSpPr>
              <a:spLocks/>
            </p:cNvSpPr>
            <p:nvPr/>
          </p:nvSpPr>
          <p:spPr bwMode="auto">
            <a:xfrm>
              <a:off x="4718628" y="2720647"/>
              <a:ext cx="48770" cy="47666"/>
            </a:xfrm>
            <a:custGeom>
              <a:avLst/>
              <a:gdLst>
                <a:gd name="T0" fmla="*/ 108 w 131"/>
                <a:gd name="T1" fmla="*/ 41 h 128"/>
                <a:gd name="T2" fmla="*/ 78 w 131"/>
                <a:gd name="T3" fmla="*/ 27 h 128"/>
                <a:gd name="T4" fmla="*/ 66 w 131"/>
                <a:gd name="T5" fmla="*/ 13 h 128"/>
                <a:gd name="T6" fmla="*/ 68 w 131"/>
                <a:gd name="T7" fmla="*/ 3 h 128"/>
                <a:gd name="T8" fmla="*/ 48 w 131"/>
                <a:gd name="T9" fmla="*/ 6 h 128"/>
                <a:gd name="T10" fmla="*/ 41 w 131"/>
                <a:gd name="T11" fmla="*/ 19 h 128"/>
                <a:gd name="T12" fmla="*/ 30 w 131"/>
                <a:gd name="T13" fmla="*/ 23 h 128"/>
                <a:gd name="T14" fmla="*/ 22 w 131"/>
                <a:gd name="T15" fmla="*/ 35 h 128"/>
                <a:gd name="T16" fmla="*/ 7 w 131"/>
                <a:gd name="T17" fmla="*/ 43 h 128"/>
                <a:gd name="T18" fmla="*/ 12 w 131"/>
                <a:gd name="T19" fmla="*/ 58 h 128"/>
                <a:gd name="T20" fmla="*/ 7 w 131"/>
                <a:gd name="T21" fmla="*/ 68 h 128"/>
                <a:gd name="T22" fmla="*/ 4 w 131"/>
                <a:gd name="T23" fmla="*/ 75 h 128"/>
                <a:gd name="T24" fmla="*/ 7 w 131"/>
                <a:gd name="T25" fmla="*/ 76 h 128"/>
                <a:gd name="T26" fmla="*/ 65 w 131"/>
                <a:gd name="T27" fmla="*/ 128 h 128"/>
                <a:gd name="T28" fmla="*/ 68 w 131"/>
                <a:gd name="T29" fmla="*/ 114 h 128"/>
                <a:gd name="T30" fmla="*/ 73 w 131"/>
                <a:gd name="T31" fmla="*/ 93 h 128"/>
                <a:gd name="T32" fmla="*/ 87 w 131"/>
                <a:gd name="T33" fmla="*/ 78 h 128"/>
                <a:gd name="T34" fmla="*/ 103 w 131"/>
                <a:gd name="T35" fmla="*/ 83 h 128"/>
                <a:gd name="T36" fmla="*/ 114 w 131"/>
                <a:gd name="T37" fmla="*/ 80 h 128"/>
                <a:gd name="T38" fmla="*/ 124 w 131"/>
                <a:gd name="T39" fmla="*/ 61 h 128"/>
                <a:gd name="T40" fmla="*/ 108 w 131"/>
                <a:gd name="T41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31" h="128">
                  <a:moveTo>
                    <a:pt x="108" y="41"/>
                  </a:moveTo>
                  <a:cubicBezTo>
                    <a:pt x="98" y="36"/>
                    <a:pt x="89" y="33"/>
                    <a:pt x="78" y="27"/>
                  </a:cubicBezTo>
                  <a:cubicBezTo>
                    <a:pt x="67" y="20"/>
                    <a:pt x="67" y="17"/>
                    <a:pt x="66" y="13"/>
                  </a:cubicBezTo>
                  <a:cubicBezTo>
                    <a:pt x="65" y="10"/>
                    <a:pt x="66" y="6"/>
                    <a:pt x="68" y="3"/>
                  </a:cubicBezTo>
                  <a:cubicBezTo>
                    <a:pt x="58" y="0"/>
                    <a:pt x="55" y="5"/>
                    <a:pt x="48" y="6"/>
                  </a:cubicBezTo>
                  <a:cubicBezTo>
                    <a:pt x="40" y="7"/>
                    <a:pt x="41" y="12"/>
                    <a:pt x="41" y="19"/>
                  </a:cubicBezTo>
                  <a:cubicBezTo>
                    <a:pt x="40" y="27"/>
                    <a:pt x="37" y="23"/>
                    <a:pt x="30" y="23"/>
                  </a:cubicBezTo>
                  <a:cubicBezTo>
                    <a:pt x="22" y="23"/>
                    <a:pt x="24" y="27"/>
                    <a:pt x="22" y="35"/>
                  </a:cubicBezTo>
                  <a:cubicBezTo>
                    <a:pt x="19" y="43"/>
                    <a:pt x="14" y="42"/>
                    <a:pt x="7" y="43"/>
                  </a:cubicBezTo>
                  <a:cubicBezTo>
                    <a:pt x="0" y="44"/>
                    <a:pt x="7" y="52"/>
                    <a:pt x="12" y="58"/>
                  </a:cubicBezTo>
                  <a:cubicBezTo>
                    <a:pt x="17" y="63"/>
                    <a:pt x="11" y="65"/>
                    <a:pt x="7" y="68"/>
                  </a:cubicBezTo>
                  <a:cubicBezTo>
                    <a:pt x="5" y="69"/>
                    <a:pt x="4" y="72"/>
                    <a:pt x="4" y="75"/>
                  </a:cubicBezTo>
                  <a:cubicBezTo>
                    <a:pt x="5" y="76"/>
                    <a:pt x="6" y="76"/>
                    <a:pt x="7" y="76"/>
                  </a:cubicBezTo>
                  <a:cubicBezTo>
                    <a:pt x="22" y="80"/>
                    <a:pt x="47" y="110"/>
                    <a:pt x="65" y="128"/>
                  </a:cubicBezTo>
                  <a:cubicBezTo>
                    <a:pt x="67" y="123"/>
                    <a:pt x="68" y="118"/>
                    <a:pt x="68" y="114"/>
                  </a:cubicBezTo>
                  <a:cubicBezTo>
                    <a:pt x="67" y="105"/>
                    <a:pt x="67" y="98"/>
                    <a:pt x="73" y="93"/>
                  </a:cubicBezTo>
                  <a:cubicBezTo>
                    <a:pt x="80" y="88"/>
                    <a:pt x="80" y="75"/>
                    <a:pt x="87" y="78"/>
                  </a:cubicBezTo>
                  <a:cubicBezTo>
                    <a:pt x="95" y="81"/>
                    <a:pt x="98" y="84"/>
                    <a:pt x="103" y="83"/>
                  </a:cubicBezTo>
                  <a:cubicBezTo>
                    <a:pt x="106" y="83"/>
                    <a:pt x="110" y="81"/>
                    <a:pt x="114" y="80"/>
                  </a:cubicBezTo>
                  <a:cubicBezTo>
                    <a:pt x="113" y="74"/>
                    <a:pt x="120" y="67"/>
                    <a:pt x="124" y="61"/>
                  </a:cubicBezTo>
                  <a:cubicBezTo>
                    <a:pt x="131" y="51"/>
                    <a:pt x="117" y="47"/>
                    <a:pt x="108" y="41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120" name="Freeform 25179"/>
            <p:cNvSpPr>
              <a:spLocks/>
            </p:cNvSpPr>
            <p:nvPr/>
          </p:nvSpPr>
          <p:spPr bwMode="auto">
            <a:xfrm>
              <a:off x="4604830" y="2633048"/>
              <a:ext cx="135421" cy="114745"/>
            </a:xfrm>
            <a:custGeom>
              <a:avLst/>
              <a:gdLst>
                <a:gd name="T0" fmla="*/ 355 w 363"/>
                <a:gd name="T1" fmla="*/ 100 h 308"/>
                <a:gd name="T2" fmla="*/ 344 w 363"/>
                <a:gd name="T3" fmla="*/ 74 h 308"/>
                <a:gd name="T4" fmla="*/ 330 w 363"/>
                <a:gd name="T5" fmla="*/ 53 h 308"/>
                <a:gd name="T6" fmla="*/ 286 w 363"/>
                <a:gd name="T7" fmla="*/ 67 h 308"/>
                <a:gd name="T8" fmla="*/ 252 w 363"/>
                <a:gd name="T9" fmla="*/ 50 h 308"/>
                <a:gd name="T10" fmla="*/ 221 w 363"/>
                <a:gd name="T11" fmla="*/ 32 h 308"/>
                <a:gd name="T12" fmla="*/ 197 w 363"/>
                <a:gd name="T13" fmla="*/ 9 h 308"/>
                <a:gd name="T14" fmla="*/ 180 w 363"/>
                <a:gd name="T15" fmla="*/ 0 h 308"/>
                <a:gd name="T16" fmla="*/ 151 w 363"/>
                <a:gd name="T17" fmla="*/ 26 h 308"/>
                <a:gd name="T18" fmla="*/ 136 w 363"/>
                <a:gd name="T19" fmla="*/ 45 h 308"/>
                <a:gd name="T20" fmla="*/ 115 w 363"/>
                <a:gd name="T21" fmla="*/ 68 h 308"/>
                <a:gd name="T22" fmla="*/ 91 w 363"/>
                <a:gd name="T23" fmla="*/ 89 h 308"/>
                <a:gd name="T24" fmla="*/ 57 w 363"/>
                <a:gd name="T25" fmla="*/ 82 h 308"/>
                <a:gd name="T26" fmla="*/ 0 w 363"/>
                <a:gd name="T27" fmla="*/ 88 h 308"/>
                <a:gd name="T28" fmla="*/ 24 w 363"/>
                <a:gd name="T29" fmla="*/ 136 h 308"/>
                <a:gd name="T30" fmla="*/ 50 w 363"/>
                <a:gd name="T31" fmla="*/ 146 h 308"/>
                <a:gd name="T32" fmla="*/ 69 w 363"/>
                <a:gd name="T33" fmla="*/ 124 h 308"/>
                <a:gd name="T34" fmla="*/ 107 w 363"/>
                <a:gd name="T35" fmla="*/ 191 h 308"/>
                <a:gd name="T36" fmla="*/ 146 w 363"/>
                <a:gd name="T37" fmla="*/ 225 h 308"/>
                <a:gd name="T38" fmla="*/ 189 w 363"/>
                <a:gd name="T39" fmla="*/ 267 h 308"/>
                <a:gd name="T40" fmla="*/ 205 w 363"/>
                <a:gd name="T41" fmla="*/ 271 h 308"/>
                <a:gd name="T42" fmla="*/ 256 w 363"/>
                <a:gd name="T43" fmla="*/ 291 h 308"/>
                <a:gd name="T44" fmla="*/ 289 w 363"/>
                <a:gd name="T45" fmla="*/ 291 h 308"/>
                <a:gd name="T46" fmla="*/ 240 w 363"/>
                <a:gd name="T47" fmla="*/ 253 h 308"/>
                <a:gd name="T48" fmla="*/ 197 w 363"/>
                <a:gd name="T49" fmla="*/ 210 h 308"/>
                <a:gd name="T50" fmla="*/ 165 w 363"/>
                <a:gd name="T51" fmla="*/ 167 h 308"/>
                <a:gd name="T52" fmla="*/ 140 w 363"/>
                <a:gd name="T53" fmla="*/ 130 h 308"/>
                <a:gd name="T54" fmla="*/ 145 w 363"/>
                <a:gd name="T55" fmla="*/ 114 h 308"/>
                <a:gd name="T56" fmla="*/ 180 w 363"/>
                <a:gd name="T57" fmla="*/ 124 h 308"/>
                <a:gd name="T58" fmla="*/ 208 w 363"/>
                <a:gd name="T59" fmla="*/ 109 h 308"/>
                <a:gd name="T60" fmla="*/ 255 w 363"/>
                <a:gd name="T61" fmla="*/ 114 h 308"/>
                <a:gd name="T62" fmla="*/ 322 w 363"/>
                <a:gd name="T63" fmla="*/ 120 h 308"/>
                <a:gd name="T64" fmla="*/ 357 w 363"/>
                <a:gd name="T65" fmla="*/ 128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63" h="308">
                  <a:moveTo>
                    <a:pt x="361" y="114"/>
                  </a:moveTo>
                  <a:cubicBezTo>
                    <a:pt x="357" y="111"/>
                    <a:pt x="355" y="103"/>
                    <a:pt x="355" y="100"/>
                  </a:cubicBezTo>
                  <a:cubicBezTo>
                    <a:pt x="355" y="97"/>
                    <a:pt x="355" y="92"/>
                    <a:pt x="350" y="90"/>
                  </a:cubicBezTo>
                  <a:cubicBezTo>
                    <a:pt x="345" y="88"/>
                    <a:pt x="344" y="77"/>
                    <a:pt x="344" y="74"/>
                  </a:cubicBezTo>
                  <a:cubicBezTo>
                    <a:pt x="344" y="71"/>
                    <a:pt x="343" y="63"/>
                    <a:pt x="336" y="60"/>
                  </a:cubicBezTo>
                  <a:cubicBezTo>
                    <a:pt x="333" y="59"/>
                    <a:pt x="331" y="56"/>
                    <a:pt x="330" y="53"/>
                  </a:cubicBezTo>
                  <a:cubicBezTo>
                    <a:pt x="325" y="55"/>
                    <a:pt x="322" y="60"/>
                    <a:pt x="318" y="63"/>
                  </a:cubicBezTo>
                  <a:cubicBezTo>
                    <a:pt x="312" y="68"/>
                    <a:pt x="297" y="67"/>
                    <a:pt x="286" y="67"/>
                  </a:cubicBezTo>
                  <a:cubicBezTo>
                    <a:pt x="275" y="67"/>
                    <a:pt x="269" y="65"/>
                    <a:pt x="266" y="63"/>
                  </a:cubicBezTo>
                  <a:cubicBezTo>
                    <a:pt x="262" y="61"/>
                    <a:pt x="258" y="51"/>
                    <a:pt x="252" y="50"/>
                  </a:cubicBezTo>
                  <a:cubicBezTo>
                    <a:pt x="246" y="48"/>
                    <a:pt x="241" y="43"/>
                    <a:pt x="238" y="39"/>
                  </a:cubicBezTo>
                  <a:cubicBezTo>
                    <a:pt x="235" y="34"/>
                    <a:pt x="228" y="33"/>
                    <a:pt x="221" y="32"/>
                  </a:cubicBezTo>
                  <a:cubicBezTo>
                    <a:pt x="214" y="32"/>
                    <a:pt x="214" y="22"/>
                    <a:pt x="213" y="18"/>
                  </a:cubicBezTo>
                  <a:cubicBezTo>
                    <a:pt x="212" y="13"/>
                    <a:pt x="202" y="14"/>
                    <a:pt x="197" y="9"/>
                  </a:cubicBezTo>
                  <a:cubicBezTo>
                    <a:pt x="192" y="3"/>
                    <a:pt x="189" y="5"/>
                    <a:pt x="183" y="3"/>
                  </a:cubicBezTo>
                  <a:cubicBezTo>
                    <a:pt x="182" y="2"/>
                    <a:pt x="181" y="1"/>
                    <a:pt x="180" y="0"/>
                  </a:cubicBezTo>
                  <a:cubicBezTo>
                    <a:pt x="174" y="5"/>
                    <a:pt x="170" y="13"/>
                    <a:pt x="167" y="18"/>
                  </a:cubicBezTo>
                  <a:cubicBezTo>
                    <a:pt x="163" y="25"/>
                    <a:pt x="161" y="25"/>
                    <a:pt x="151" y="26"/>
                  </a:cubicBezTo>
                  <a:cubicBezTo>
                    <a:pt x="140" y="27"/>
                    <a:pt x="138" y="28"/>
                    <a:pt x="134" y="33"/>
                  </a:cubicBezTo>
                  <a:cubicBezTo>
                    <a:pt x="129" y="37"/>
                    <a:pt x="129" y="40"/>
                    <a:pt x="136" y="45"/>
                  </a:cubicBezTo>
                  <a:cubicBezTo>
                    <a:pt x="143" y="49"/>
                    <a:pt x="139" y="50"/>
                    <a:pt x="137" y="55"/>
                  </a:cubicBezTo>
                  <a:cubicBezTo>
                    <a:pt x="135" y="61"/>
                    <a:pt x="124" y="65"/>
                    <a:pt x="115" y="68"/>
                  </a:cubicBezTo>
                  <a:cubicBezTo>
                    <a:pt x="108" y="70"/>
                    <a:pt x="106" y="80"/>
                    <a:pt x="106" y="87"/>
                  </a:cubicBezTo>
                  <a:cubicBezTo>
                    <a:pt x="101" y="89"/>
                    <a:pt x="95" y="91"/>
                    <a:pt x="91" y="89"/>
                  </a:cubicBezTo>
                  <a:cubicBezTo>
                    <a:pt x="83" y="84"/>
                    <a:pt x="77" y="77"/>
                    <a:pt x="70" y="76"/>
                  </a:cubicBezTo>
                  <a:cubicBezTo>
                    <a:pt x="63" y="76"/>
                    <a:pt x="61" y="77"/>
                    <a:pt x="57" y="82"/>
                  </a:cubicBezTo>
                  <a:cubicBezTo>
                    <a:pt x="53" y="87"/>
                    <a:pt x="41" y="90"/>
                    <a:pt x="34" y="88"/>
                  </a:cubicBezTo>
                  <a:cubicBezTo>
                    <a:pt x="27" y="85"/>
                    <a:pt x="14" y="86"/>
                    <a:pt x="0" y="88"/>
                  </a:cubicBezTo>
                  <a:cubicBezTo>
                    <a:pt x="2" y="94"/>
                    <a:pt x="6" y="102"/>
                    <a:pt x="9" y="106"/>
                  </a:cubicBezTo>
                  <a:cubicBezTo>
                    <a:pt x="13" y="113"/>
                    <a:pt x="14" y="132"/>
                    <a:pt x="24" y="136"/>
                  </a:cubicBezTo>
                  <a:cubicBezTo>
                    <a:pt x="34" y="141"/>
                    <a:pt x="31" y="134"/>
                    <a:pt x="37" y="125"/>
                  </a:cubicBezTo>
                  <a:cubicBezTo>
                    <a:pt x="43" y="116"/>
                    <a:pt x="49" y="131"/>
                    <a:pt x="50" y="146"/>
                  </a:cubicBezTo>
                  <a:cubicBezTo>
                    <a:pt x="52" y="162"/>
                    <a:pt x="64" y="168"/>
                    <a:pt x="64" y="159"/>
                  </a:cubicBezTo>
                  <a:cubicBezTo>
                    <a:pt x="64" y="151"/>
                    <a:pt x="63" y="124"/>
                    <a:pt x="69" y="124"/>
                  </a:cubicBezTo>
                  <a:cubicBezTo>
                    <a:pt x="74" y="124"/>
                    <a:pt x="89" y="135"/>
                    <a:pt x="90" y="149"/>
                  </a:cubicBezTo>
                  <a:cubicBezTo>
                    <a:pt x="92" y="164"/>
                    <a:pt x="106" y="168"/>
                    <a:pt x="107" y="191"/>
                  </a:cubicBezTo>
                  <a:cubicBezTo>
                    <a:pt x="109" y="214"/>
                    <a:pt x="112" y="210"/>
                    <a:pt x="120" y="210"/>
                  </a:cubicBezTo>
                  <a:cubicBezTo>
                    <a:pt x="129" y="210"/>
                    <a:pt x="145" y="217"/>
                    <a:pt x="146" y="225"/>
                  </a:cubicBezTo>
                  <a:cubicBezTo>
                    <a:pt x="148" y="234"/>
                    <a:pt x="170" y="238"/>
                    <a:pt x="192" y="238"/>
                  </a:cubicBezTo>
                  <a:cubicBezTo>
                    <a:pt x="213" y="238"/>
                    <a:pt x="172" y="261"/>
                    <a:pt x="189" y="267"/>
                  </a:cubicBezTo>
                  <a:cubicBezTo>
                    <a:pt x="206" y="273"/>
                    <a:pt x="209" y="255"/>
                    <a:pt x="212" y="260"/>
                  </a:cubicBezTo>
                  <a:cubicBezTo>
                    <a:pt x="215" y="264"/>
                    <a:pt x="212" y="265"/>
                    <a:pt x="205" y="271"/>
                  </a:cubicBezTo>
                  <a:cubicBezTo>
                    <a:pt x="198" y="277"/>
                    <a:pt x="211" y="284"/>
                    <a:pt x="222" y="281"/>
                  </a:cubicBezTo>
                  <a:cubicBezTo>
                    <a:pt x="234" y="278"/>
                    <a:pt x="236" y="281"/>
                    <a:pt x="256" y="291"/>
                  </a:cubicBezTo>
                  <a:cubicBezTo>
                    <a:pt x="272" y="299"/>
                    <a:pt x="286" y="304"/>
                    <a:pt x="301" y="308"/>
                  </a:cubicBezTo>
                  <a:cubicBezTo>
                    <a:pt x="299" y="303"/>
                    <a:pt x="296" y="295"/>
                    <a:pt x="289" y="291"/>
                  </a:cubicBezTo>
                  <a:cubicBezTo>
                    <a:pt x="275" y="283"/>
                    <a:pt x="260" y="279"/>
                    <a:pt x="256" y="271"/>
                  </a:cubicBezTo>
                  <a:cubicBezTo>
                    <a:pt x="252" y="264"/>
                    <a:pt x="249" y="259"/>
                    <a:pt x="240" y="253"/>
                  </a:cubicBezTo>
                  <a:cubicBezTo>
                    <a:pt x="232" y="247"/>
                    <a:pt x="224" y="244"/>
                    <a:pt x="220" y="236"/>
                  </a:cubicBezTo>
                  <a:cubicBezTo>
                    <a:pt x="216" y="228"/>
                    <a:pt x="211" y="214"/>
                    <a:pt x="197" y="210"/>
                  </a:cubicBezTo>
                  <a:cubicBezTo>
                    <a:pt x="183" y="205"/>
                    <a:pt x="179" y="199"/>
                    <a:pt x="178" y="190"/>
                  </a:cubicBezTo>
                  <a:cubicBezTo>
                    <a:pt x="177" y="180"/>
                    <a:pt x="168" y="174"/>
                    <a:pt x="165" y="167"/>
                  </a:cubicBezTo>
                  <a:cubicBezTo>
                    <a:pt x="163" y="160"/>
                    <a:pt x="161" y="155"/>
                    <a:pt x="153" y="150"/>
                  </a:cubicBezTo>
                  <a:cubicBezTo>
                    <a:pt x="144" y="145"/>
                    <a:pt x="142" y="137"/>
                    <a:pt x="140" y="130"/>
                  </a:cubicBezTo>
                  <a:cubicBezTo>
                    <a:pt x="139" y="125"/>
                    <a:pt x="143" y="119"/>
                    <a:pt x="145" y="114"/>
                  </a:cubicBezTo>
                  <a:cubicBezTo>
                    <a:pt x="145" y="114"/>
                    <a:pt x="145" y="114"/>
                    <a:pt x="145" y="114"/>
                  </a:cubicBezTo>
                  <a:cubicBezTo>
                    <a:pt x="152" y="113"/>
                    <a:pt x="160" y="112"/>
                    <a:pt x="164" y="115"/>
                  </a:cubicBezTo>
                  <a:cubicBezTo>
                    <a:pt x="169" y="120"/>
                    <a:pt x="172" y="123"/>
                    <a:pt x="180" y="124"/>
                  </a:cubicBezTo>
                  <a:cubicBezTo>
                    <a:pt x="188" y="124"/>
                    <a:pt x="187" y="113"/>
                    <a:pt x="193" y="111"/>
                  </a:cubicBezTo>
                  <a:cubicBezTo>
                    <a:pt x="199" y="110"/>
                    <a:pt x="202" y="105"/>
                    <a:pt x="208" y="109"/>
                  </a:cubicBezTo>
                  <a:cubicBezTo>
                    <a:pt x="213" y="112"/>
                    <a:pt x="213" y="113"/>
                    <a:pt x="224" y="113"/>
                  </a:cubicBezTo>
                  <a:cubicBezTo>
                    <a:pt x="234" y="113"/>
                    <a:pt x="242" y="108"/>
                    <a:pt x="255" y="114"/>
                  </a:cubicBezTo>
                  <a:cubicBezTo>
                    <a:pt x="269" y="120"/>
                    <a:pt x="270" y="123"/>
                    <a:pt x="286" y="120"/>
                  </a:cubicBezTo>
                  <a:cubicBezTo>
                    <a:pt x="301" y="117"/>
                    <a:pt x="317" y="117"/>
                    <a:pt x="322" y="120"/>
                  </a:cubicBezTo>
                  <a:cubicBezTo>
                    <a:pt x="328" y="123"/>
                    <a:pt x="340" y="127"/>
                    <a:pt x="348" y="127"/>
                  </a:cubicBezTo>
                  <a:cubicBezTo>
                    <a:pt x="353" y="127"/>
                    <a:pt x="355" y="127"/>
                    <a:pt x="357" y="128"/>
                  </a:cubicBezTo>
                  <a:cubicBezTo>
                    <a:pt x="357" y="123"/>
                    <a:pt x="363" y="115"/>
                    <a:pt x="361" y="114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121" name="Freeform 25180"/>
            <p:cNvSpPr>
              <a:spLocks/>
            </p:cNvSpPr>
            <p:nvPr/>
          </p:nvSpPr>
          <p:spPr bwMode="auto">
            <a:xfrm>
              <a:off x="4600726" y="2620264"/>
              <a:ext cx="71183" cy="46719"/>
            </a:xfrm>
            <a:custGeom>
              <a:avLst/>
              <a:gdLst>
                <a:gd name="T0" fmla="*/ 1 w 191"/>
                <a:gd name="T1" fmla="*/ 99 h 125"/>
                <a:gd name="T2" fmla="*/ 5 w 191"/>
                <a:gd name="T3" fmla="*/ 99 h 125"/>
                <a:gd name="T4" fmla="*/ 14 w 191"/>
                <a:gd name="T5" fmla="*/ 113 h 125"/>
                <a:gd name="T6" fmla="*/ 11 w 191"/>
                <a:gd name="T7" fmla="*/ 122 h 125"/>
                <a:gd name="T8" fmla="*/ 45 w 191"/>
                <a:gd name="T9" fmla="*/ 122 h 125"/>
                <a:gd name="T10" fmla="*/ 68 w 191"/>
                <a:gd name="T11" fmla="*/ 116 h 125"/>
                <a:gd name="T12" fmla="*/ 81 w 191"/>
                <a:gd name="T13" fmla="*/ 110 h 125"/>
                <a:gd name="T14" fmla="*/ 102 w 191"/>
                <a:gd name="T15" fmla="*/ 123 h 125"/>
                <a:gd name="T16" fmla="*/ 117 w 191"/>
                <a:gd name="T17" fmla="*/ 121 h 125"/>
                <a:gd name="T18" fmla="*/ 126 w 191"/>
                <a:gd name="T19" fmla="*/ 102 h 125"/>
                <a:gd name="T20" fmla="*/ 148 w 191"/>
                <a:gd name="T21" fmla="*/ 89 h 125"/>
                <a:gd name="T22" fmla="*/ 147 w 191"/>
                <a:gd name="T23" fmla="*/ 79 h 125"/>
                <a:gd name="T24" fmla="*/ 145 w 191"/>
                <a:gd name="T25" fmla="*/ 67 h 125"/>
                <a:gd name="T26" fmla="*/ 162 w 191"/>
                <a:gd name="T27" fmla="*/ 60 h 125"/>
                <a:gd name="T28" fmla="*/ 178 w 191"/>
                <a:gd name="T29" fmla="*/ 52 h 125"/>
                <a:gd name="T30" fmla="*/ 191 w 191"/>
                <a:gd name="T31" fmla="*/ 34 h 125"/>
                <a:gd name="T32" fmla="*/ 190 w 191"/>
                <a:gd name="T33" fmla="*/ 15 h 125"/>
                <a:gd name="T34" fmla="*/ 188 w 191"/>
                <a:gd name="T35" fmla="*/ 0 h 125"/>
                <a:gd name="T36" fmla="*/ 186 w 191"/>
                <a:gd name="T37" fmla="*/ 1 h 125"/>
                <a:gd name="T38" fmla="*/ 174 w 191"/>
                <a:gd name="T39" fmla="*/ 19 h 125"/>
                <a:gd name="T40" fmla="*/ 142 w 191"/>
                <a:gd name="T41" fmla="*/ 26 h 125"/>
                <a:gd name="T42" fmla="*/ 110 w 191"/>
                <a:gd name="T43" fmla="*/ 27 h 125"/>
                <a:gd name="T44" fmla="*/ 89 w 191"/>
                <a:gd name="T45" fmla="*/ 41 h 125"/>
                <a:gd name="T46" fmla="*/ 67 w 191"/>
                <a:gd name="T47" fmla="*/ 44 h 125"/>
                <a:gd name="T48" fmla="*/ 42 w 191"/>
                <a:gd name="T49" fmla="*/ 43 h 125"/>
                <a:gd name="T50" fmla="*/ 14 w 191"/>
                <a:gd name="T51" fmla="*/ 39 h 125"/>
                <a:gd name="T52" fmla="*/ 11 w 191"/>
                <a:gd name="T53" fmla="*/ 37 h 125"/>
                <a:gd name="T54" fmla="*/ 10 w 191"/>
                <a:gd name="T55" fmla="*/ 55 h 125"/>
                <a:gd name="T56" fmla="*/ 1 w 191"/>
                <a:gd name="T57" fmla="*/ 99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91" h="125">
                  <a:moveTo>
                    <a:pt x="1" y="99"/>
                  </a:moveTo>
                  <a:cubicBezTo>
                    <a:pt x="2" y="99"/>
                    <a:pt x="4" y="99"/>
                    <a:pt x="5" y="99"/>
                  </a:cubicBezTo>
                  <a:cubicBezTo>
                    <a:pt x="20" y="99"/>
                    <a:pt x="21" y="109"/>
                    <a:pt x="14" y="113"/>
                  </a:cubicBezTo>
                  <a:cubicBezTo>
                    <a:pt x="11" y="115"/>
                    <a:pt x="11" y="118"/>
                    <a:pt x="11" y="122"/>
                  </a:cubicBezTo>
                  <a:cubicBezTo>
                    <a:pt x="25" y="120"/>
                    <a:pt x="38" y="119"/>
                    <a:pt x="45" y="122"/>
                  </a:cubicBezTo>
                  <a:cubicBezTo>
                    <a:pt x="52" y="124"/>
                    <a:pt x="64" y="121"/>
                    <a:pt x="68" y="116"/>
                  </a:cubicBezTo>
                  <a:cubicBezTo>
                    <a:pt x="72" y="111"/>
                    <a:pt x="74" y="110"/>
                    <a:pt x="81" y="110"/>
                  </a:cubicBezTo>
                  <a:cubicBezTo>
                    <a:pt x="88" y="111"/>
                    <a:pt x="94" y="118"/>
                    <a:pt x="102" y="123"/>
                  </a:cubicBezTo>
                  <a:cubicBezTo>
                    <a:pt x="106" y="125"/>
                    <a:pt x="112" y="123"/>
                    <a:pt x="117" y="121"/>
                  </a:cubicBezTo>
                  <a:cubicBezTo>
                    <a:pt x="117" y="114"/>
                    <a:pt x="119" y="104"/>
                    <a:pt x="126" y="102"/>
                  </a:cubicBezTo>
                  <a:cubicBezTo>
                    <a:pt x="135" y="99"/>
                    <a:pt x="146" y="95"/>
                    <a:pt x="148" y="89"/>
                  </a:cubicBezTo>
                  <a:cubicBezTo>
                    <a:pt x="150" y="84"/>
                    <a:pt x="154" y="83"/>
                    <a:pt x="147" y="79"/>
                  </a:cubicBezTo>
                  <a:cubicBezTo>
                    <a:pt x="140" y="74"/>
                    <a:pt x="140" y="71"/>
                    <a:pt x="145" y="67"/>
                  </a:cubicBezTo>
                  <a:cubicBezTo>
                    <a:pt x="149" y="62"/>
                    <a:pt x="151" y="61"/>
                    <a:pt x="162" y="60"/>
                  </a:cubicBezTo>
                  <a:cubicBezTo>
                    <a:pt x="172" y="59"/>
                    <a:pt x="174" y="59"/>
                    <a:pt x="178" y="52"/>
                  </a:cubicBezTo>
                  <a:cubicBezTo>
                    <a:pt x="181" y="47"/>
                    <a:pt x="185" y="39"/>
                    <a:pt x="191" y="34"/>
                  </a:cubicBezTo>
                  <a:cubicBezTo>
                    <a:pt x="189" y="29"/>
                    <a:pt x="190" y="21"/>
                    <a:pt x="190" y="15"/>
                  </a:cubicBezTo>
                  <a:cubicBezTo>
                    <a:pt x="190" y="10"/>
                    <a:pt x="189" y="4"/>
                    <a:pt x="188" y="0"/>
                  </a:cubicBezTo>
                  <a:cubicBezTo>
                    <a:pt x="188" y="0"/>
                    <a:pt x="187" y="0"/>
                    <a:pt x="186" y="1"/>
                  </a:cubicBezTo>
                  <a:cubicBezTo>
                    <a:pt x="179" y="3"/>
                    <a:pt x="178" y="9"/>
                    <a:pt x="174" y="19"/>
                  </a:cubicBezTo>
                  <a:cubicBezTo>
                    <a:pt x="169" y="30"/>
                    <a:pt x="152" y="21"/>
                    <a:pt x="142" y="26"/>
                  </a:cubicBezTo>
                  <a:cubicBezTo>
                    <a:pt x="132" y="31"/>
                    <a:pt x="121" y="27"/>
                    <a:pt x="110" y="27"/>
                  </a:cubicBezTo>
                  <a:cubicBezTo>
                    <a:pt x="100" y="27"/>
                    <a:pt x="94" y="35"/>
                    <a:pt x="89" y="41"/>
                  </a:cubicBezTo>
                  <a:cubicBezTo>
                    <a:pt x="84" y="47"/>
                    <a:pt x="76" y="49"/>
                    <a:pt x="67" y="44"/>
                  </a:cubicBezTo>
                  <a:cubicBezTo>
                    <a:pt x="58" y="39"/>
                    <a:pt x="50" y="43"/>
                    <a:pt x="42" y="43"/>
                  </a:cubicBezTo>
                  <a:cubicBezTo>
                    <a:pt x="34" y="43"/>
                    <a:pt x="26" y="46"/>
                    <a:pt x="14" y="39"/>
                  </a:cubicBezTo>
                  <a:cubicBezTo>
                    <a:pt x="13" y="38"/>
                    <a:pt x="12" y="38"/>
                    <a:pt x="11" y="37"/>
                  </a:cubicBezTo>
                  <a:cubicBezTo>
                    <a:pt x="11" y="44"/>
                    <a:pt x="10" y="51"/>
                    <a:pt x="10" y="55"/>
                  </a:cubicBezTo>
                  <a:cubicBezTo>
                    <a:pt x="10" y="66"/>
                    <a:pt x="0" y="82"/>
                    <a:pt x="1" y="9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122" name="Freeform 25181"/>
            <p:cNvSpPr>
              <a:spLocks/>
            </p:cNvSpPr>
            <p:nvPr/>
          </p:nvSpPr>
          <p:spPr bwMode="auto">
            <a:xfrm>
              <a:off x="5050395" y="2940667"/>
              <a:ext cx="60766" cy="33618"/>
            </a:xfrm>
            <a:custGeom>
              <a:avLst/>
              <a:gdLst>
                <a:gd name="T0" fmla="*/ 39 w 163"/>
                <a:gd name="T1" fmla="*/ 36 h 90"/>
                <a:gd name="T2" fmla="*/ 19 w 163"/>
                <a:gd name="T3" fmla="*/ 39 h 90"/>
                <a:gd name="T4" fmla="*/ 4 w 163"/>
                <a:gd name="T5" fmla="*/ 46 h 90"/>
                <a:gd name="T6" fmla="*/ 5 w 163"/>
                <a:gd name="T7" fmla="*/ 64 h 90"/>
                <a:gd name="T8" fmla="*/ 26 w 163"/>
                <a:gd name="T9" fmla="*/ 79 h 90"/>
                <a:gd name="T10" fmla="*/ 41 w 163"/>
                <a:gd name="T11" fmla="*/ 82 h 90"/>
                <a:gd name="T12" fmla="*/ 54 w 163"/>
                <a:gd name="T13" fmla="*/ 83 h 90"/>
                <a:gd name="T14" fmla="*/ 72 w 163"/>
                <a:gd name="T15" fmla="*/ 78 h 90"/>
                <a:gd name="T16" fmla="*/ 94 w 163"/>
                <a:gd name="T17" fmla="*/ 60 h 90"/>
                <a:gd name="T18" fmla="*/ 114 w 163"/>
                <a:gd name="T19" fmla="*/ 58 h 90"/>
                <a:gd name="T20" fmla="*/ 112 w 163"/>
                <a:gd name="T21" fmla="*/ 40 h 90"/>
                <a:gd name="T22" fmla="*/ 122 w 163"/>
                <a:gd name="T23" fmla="*/ 28 h 90"/>
                <a:gd name="T24" fmla="*/ 139 w 163"/>
                <a:gd name="T25" fmla="*/ 20 h 90"/>
                <a:gd name="T26" fmla="*/ 150 w 163"/>
                <a:gd name="T27" fmla="*/ 13 h 90"/>
                <a:gd name="T28" fmla="*/ 155 w 163"/>
                <a:gd name="T29" fmla="*/ 4 h 90"/>
                <a:gd name="T30" fmla="*/ 138 w 163"/>
                <a:gd name="T31" fmla="*/ 4 h 90"/>
                <a:gd name="T32" fmla="*/ 122 w 163"/>
                <a:gd name="T33" fmla="*/ 12 h 90"/>
                <a:gd name="T34" fmla="*/ 109 w 163"/>
                <a:gd name="T35" fmla="*/ 19 h 90"/>
                <a:gd name="T36" fmla="*/ 72 w 163"/>
                <a:gd name="T37" fmla="*/ 27 h 90"/>
                <a:gd name="T38" fmla="*/ 46 w 163"/>
                <a:gd name="T39" fmla="*/ 29 h 90"/>
                <a:gd name="T40" fmla="*/ 39 w 163"/>
                <a:gd name="T41" fmla="*/ 36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3" h="90">
                  <a:moveTo>
                    <a:pt x="39" y="36"/>
                  </a:moveTo>
                  <a:cubicBezTo>
                    <a:pt x="39" y="36"/>
                    <a:pt x="23" y="35"/>
                    <a:pt x="19" y="39"/>
                  </a:cubicBezTo>
                  <a:cubicBezTo>
                    <a:pt x="16" y="43"/>
                    <a:pt x="7" y="40"/>
                    <a:pt x="4" y="46"/>
                  </a:cubicBezTo>
                  <a:cubicBezTo>
                    <a:pt x="1" y="52"/>
                    <a:pt x="0" y="58"/>
                    <a:pt x="5" y="64"/>
                  </a:cubicBezTo>
                  <a:cubicBezTo>
                    <a:pt x="9" y="70"/>
                    <a:pt x="21" y="80"/>
                    <a:pt x="26" y="79"/>
                  </a:cubicBezTo>
                  <a:cubicBezTo>
                    <a:pt x="32" y="79"/>
                    <a:pt x="35" y="77"/>
                    <a:pt x="41" y="82"/>
                  </a:cubicBezTo>
                  <a:cubicBezTo>
                    <a:pt x="47" y="87"/>
                    <a:pt x="52" y="90"/>
                    <a:pt x="54" y="83"/>
                  </a:cubicBezTo>
                  <a:cubicBezTo>
                    <a:pt x="55" y="76"/>
                    <a:pt x="62" y="78"/>
                    <a:pt x="72" y="78"/>
                  </a:cubicBezTo>
                  <a:cubicBezTo>
                    <a:pt x="82" y="78"/>
                    <a:pt x="80" y="60"/>
                    <a:pt x="94" y="60"/>
                  </a:cubicBezTo>
                  <a:cubicBezTo>
                    <a:pt x="108" y="60"/>
                    <a:pt x="113" y="64"/>
                    <a:pt x="114" y="58"/>
                  </a:cubicBezTo>
                  <a:cubicBezTo>
                    <a:pt x="116" y="52"/>
                    <a:pt x="110" y="44"/>
                    <a:pt x="112" y="40"/>
                  </a:cubicBezTo>
                  <a:cubicBezTo>
                    <a:pt x="114" y="36"/>
                    <a:pt x="116" y="30"/>
                    <a:pt x="122" y="28"/>
                  </a:cubicBezTo>
                  <a:cubicBezTo>
                    <a:pt x="128" y="27"/>
                    <a:pt x="133" y="21"/>
                    <a:pt x="139" y="20"/>
                  </a:cubicBezTo>
                  <a:cubicBezTo>
                    <a:pt x="145" y="18"/>
                    <a:pt x="145" y="17"/>
                    <a:pt x="150" y="13"/>
                  </a:cubicBezTo>
                  <a:cubicBezTo>
                    <a:pt x="154" y="8"/>
                    <a:pt x="163" y="7"/>
                    <a:pt x="155" y="4"/>
                  </a:cubicBezTo>
                  <a:cubicBezTo>
                    <a:pt x="147" y="1"/>
                    <a:pt x="144" y="0"/>
                    <a:pt x="138" y="4"/>
                  </a:cubicBezTo>
                  <a:cubicBezTo>
                    <a:pt x="133" y="8"/>
                    <a:pt x="128" y="10"/>
                    <a:pt x="122" y="12"/>
                  </a:cubicBezTo>
                  <a:cubicBezTo>
                    <a:pt x="116" y="13"/>
                    <a:pt x="121" y="18"/>
                    <a:pt x="109" y="19"/>
                  </a:cubicBezTo>
                  <a:cubicBezTo>
                    <a:pt x="97" y="20"/>
                    <a:pt x="84" y="30"/>
                    <a:pt x="72" y="27"/>
                  </a:cubicBezTo>
                  <a:cubicBezTo>
                    <a:pt x="59" y="25"/>
                    <a:pt x="48" y="24"/>
                    <a:pt x="46" y="29"/>
                  </a:cubicBezTo>
                  <a:cubicBezTo>
                    <a:pt x="44" y="34"/>
                    <a:pt x="46" y="36"/>
                    <a:pt x="39" y="36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123" name="Freeform 25182"/>
            <p:cNvSpPr>
              <a:spLocks/>
            </p:cNvSpPr>
            <p:nvPr/>
          </p:nvSpPr>
          <p:spPr bwMode="auto">
            <a:xfrm>
              <a:off x="4895717" y="2763577"/>
              <a:ext cx="451563" cy="175985"/>
            </a:xfrm>
            <a:custGeom>
              <a:avLst/>
              <a:gdLst>
                <a:gd name="T0" fmla="*/ 1159 w 1211"/>
                <a:gd name="T1" fmla="*/ 160 h 472"/>
                <a:gd name="T2" fmla="*/ 1136 w 1211"/>
                <a:gd name="T3" fmla="*/ 90 h 472"/>
                <a:gd name="T4" fmla="*/ 1099 w 1211"/>
                <a:gd name="T5" fmla="*/ 51 h 472"/>
                <a:gd name="T6" fmla="*/ 1019 w 1211"/>
                <a:gd name="T7" fmla="*/ 54 h 472"/>
                <a:gd name="T8" fmla="*/ 977 w 1211"/>
                <a:gd name="T9" fmla="*/ 64 h 472"/>
                <a:gd name="T10" fmla="*/ 875 w 1211"/>
                <a:gd name="T11" fmla="*/ 76 h 472"/>
                <a:gd name="T12" fmla="*/ 814 w 1211"/>
                <a:gd name="T13" fmla="*/ 87 h 472"/>
                <a:gd name="T14" fmla="*/ 742 w 1211"/>
                <a:gd name="T15" fmla="*/ 79 h 472"/>
                <a:gd name="T16" fmla="*/ 685 w 1211"/>
                <a:gd name="T17" fmla="*/ 62 h 472"/>
                <a:gd name="T18" fmla="*/ 625 w 1211"/>
                <a:gd name="T19" fmla="*/ 29 h 472"/>
                <a:gd name="T20" fmla="*/ 503 w 1211"/>
                <a:gd name="T21" fmla="*/ 6 h 472"/>
                <a:gd name="T22" fmla="*/ 402 w 1211"/>
                <a:gd name="T23" fmla="*/ 40 h 472"/>
                <a:gd name="T24" fmla="*/ 304 w 1211"/>
                <a:gd name="T25" fmla="*/ 66 h 472"/>
                <a:gd name="T26" fmla="*/ 229 w 1211"/>
                <a:gd name="T27" fmla="*/ 72 h 472"/>
                <a:gd name="T28" fmla="*/ 186 w 1211"/>
                <a:gd name="T29" fmla="*/ 135 h 472"/>
                <a:gd name="T30" fmla="*/ 111 w 1211"/>
                <a:gd name="T31" fmla="*/ 132 h 472"/>
                <a:gd name="T32" fmla="*/ 35 w 1211"/>
                <a:gd name="T33" fmla="*/ 148 h 472"/>
                <a:gd name="T34" fmla="*/ 13 w 1211"/>
                <a:gd name="T35" fmla="*/ 219 h 472"/>
                <a:gd name="T36" fmla="*/ 54 w 1211"/>
                <a:gd name="T37" fmla="*/ 231 h 472"/>
                <a:gd name="T38" fmla="*/ 67 w 1211"/>
                <a:gd name="T39" fmla="*/ 196 h 472"/>
                <a:gd name="T40" fmla="*/ 73 w 1211"/>
                <a:gd name="T41" fmla="*/ 238 h 472"/>
                <a:gd name="T42" fmla="*/ 71 w 1211"/>
                <a:gd name="T43" fmla="*/ 261 h 472"/>
                <a:gd name="T44" fmla="*/ 56 w 1211"/>
                <a:gd name="T45" fmla="*/ 269 h 472"/>
                <a:gd name="T46" fmla="*/ 41 w 1211"/>
                <a:gd name="T47" fmla="*/ 274 h 472"/>
                <a:gd name="T48" fmla="*/ 8 w 1211"/>
                <a:gd name="T49" fmla="*/ 265 h 472"/>
                <a:gd name="T50" fmla="*/ 34 w 1211"/>
                <a:gd name="T51" fmla="*/ 294 h 472"/>
                <a:gd name="T52" fmla="*/ 76 w 1211"/>
                <a:gd name="T53" fmla="*/ 304 h 472"/>
                <a:gd name="T54" fmla="*/ 74 w 1211"/>
                <a:gd name="T55" fmla="*/ 322 h 472"/>
                <a:gd name="T56" fmla="*/ 77 w 1211"/>
                <a:gd name="T57" fmla="*/ 337 h 472"/>
                <a:gd name="T58" fmla="*/ 111 w 1211"/>
                <a:gd name="T59" fmla="*/ 363 h 472"/>
                <a:gd name="T60" fmla="*/ 91 w 1211"/>
                <a:gd name="T61" fmla="*/ 393 h 472"/>
                <a:gd name="T62" fmla="*/ 152 w 1211"/>
                <a:gd name="T63" fmla="*/ 391 h 472"/>
                <a:gd name="T64" fmla="*/ 97 w 1211"/>
                <a:gd name="T65" fmla="*/ 410 h 472"/>
                <a:gd name="T66" fmla="*/ 144 w 1211"/>
                <a:gd name="T67" fmla="*/ 407 h 472"/>
                <a:gd name="T68" fmla="*/ 196 w 1211"/>
                <a:gd name="T69" fmla="*/ 404 h 472"/>
                <a:gd name="T70" fmla="*/ 240 w 1211"/>
                <a:gd name="T71" fmla="*/ 441 h 472"/>
                <a:gd name="T72" fmla="*/ 312 w 1211"/>
                <a:gd name="T73" fmla="*/ 403 h 472"/>
                <a:gd name="T74" fmla="*/ 388 w 1211"/>
                <a:gd name="T75" fmla="*/ 411 h 472"/>
                <a:gd name="T76" fmla="*/ 508 w 1211"/>
                <a:gd name="T77" fmla="*/ 439 h 472"/>
                <a:gd name="T78" fmla="*/ 603 w 1211"/>
                <a:gd name="T79" fmla="*/ 414 h 472"/>
                <a:gd name="T80" fmla="*/ 659 w 1211"/>
                <a:gd name="T81" fmla="*/ 398 h 472"/>
                <a:gd name="T82" fmla="*/ 645 w 1211"/>
                <a:gd name="T83" fmla="*/ 457 h 472"/>
                <a:gd name="T84" fmla="*/ 647 w 1211"/>
                <a:gd name="T85" fmla="*/ 467 h 472"/>
                <a:gd name="T86" fmla="*/ 681 w 1211"/>
                <a:gd name="T87" fmla="*/ 442 h 472"/>
                <a:gd name="T88" fmla="*/ 688 w 1211"/>
                <a:gd name="T89" fmla="*/ 411 h 472"/>
                <a:gd name="T90" fmla="*/ 733 w 1211"/>
                <a:gd name="T91" fmla="*/ 416 h 472"/>
                <a:gd name="T92" fmla="*/ 781 w 1211"/>
                <a:gd name="T93" fmla="*/ 398 h 472"/>
                <a:gd name="T94" fmla="*/ 854 w 1211"/>
                <a:gd name="T95" fmla="*/ 411 h 472"/>
                <a:gd name="T96" fmla="*/ 935 w 1211"/>
                <a:gd name="T97" fmla="*/ 388 h 472"/>
                <a:gd name="T98" fmla="*/ 996 w 1211"/>
                <a:gd name="T99" fmla="*/ 384 h 472"/>
                <a:gd name="T100" fmla="*/ 1043 w 1211"/>
                <a:gd name="T101" fmla="*/ 368 h 472"/>
                <a:gd name="T102" fmla="*/ 1077 w 1211"/>
                <a:gd name="T103" fmla="*/ 371 h 472"/>
                <a:gd name="T104" fmla="*/ 1124 w 1211"/>
                <a:gd name="T105" fmla="*/ 362 h 472"/>
                <a:gd name="T106" fmla="*/ 1169 w 1211"/>
                <a:gd name="T107" fmla="*/ 368 h 472"/>
                <a:gd name="T108" fmla="*/ 1206 w 1211"/>
                <a:gd name="T109" fmla="*/ 375 h 472"/>
                <a:gd name="T110" fmla="*/ 1208 w 1211"/>
                <a:gd name="T111" fmla="*/ 361 h 472"/>
                <a:gd name="T112" fmla="*/ 1178 w 1211"/>
                <a:gd name="T113" fmla="*/ 319 h 472"/>
                <a:gd name="T114" fmla="*/ 1181 w 1211"/>
                <a:gd name="T115" fmla="*/ 265 h 472"/>
                <a:gd name="T116" fmla="*/ 1173 w 1211"/>
                <a:gd name="T117" fmla="*/ 209 h 472"/>
                <a:gd name="T118" fmla="*/ 1199 w 1211"/>
                <a:gd name="T119" fmla="*/ 184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211" h="472">
                  <a:moveTo>
                    <a:pt x="1186" y="179"/>
                  </a:moveTo>
                  <a:cubicBezTo>
                    <a:pt x="1178" y="176"/>
                    <a:pt x="1165" y="165"/>
                    <a:pt x="1159" y="160"/>
                  </a:cubicBezTo>
                  <a:cubicBezTo>
                    <a:pt x="1152" y="155"/>
                    <a:pt x="1151" y="127"/>
                    <a:pt x="1152" y="115"/>
                  </a:cubicBezTo>
                  <a:cubicBezTo>
                    <a:pt x="1153" y="103"/>
                    <a:pt x="1142" y="102"/>
                    <a:pt x="1136" y="90"/>
                  </a:cubicBezTo>
                  <a:cubicBezTo>
                    <a:pt x="1131" y="77"/>
                    <a:pt x="1126" y="72"/>
                    <a:pt x="1116" y="70"/>
                  </a:cubicBezTo>
                  <a:cubicBezTo>
                    <a:pt x="1106" y="68"/>
                    <a:pt x="1103" y="59"/>
                    <a:pt x="1099" y="51"/>
                  </a:cubicBezTo>
                  <a:cubicBezTo>
                    <a:pt x="1096" y="43"/>
                    <a:pt x="1073" y="46"/>
                    <a:pt x="1067" y="52"/>
                  </a:cubicBezTo>
                  <a:cubicBezTo>
                    <a:pt x="1061" y="57"/>
                    <a:pt x="1032" y="54"/>
                    <a:pt x="1019" y="54"/>
                  </a:cubicBezTo>
                  <a:cubicBezTo>
                    <a:pt x="1012" y="54"/>
                    <a:pt x="1007" y="50"/>
                    <a:pt x="1003" y="46"/>
                  </a:cubicBezTo>
                  <a:cubicBezTo>
                    <a:pt x="995" y="52"/>
                    <a:pt x="985" y="59"/>
                    <a:pt x="977" y="64"/>
                  </a:cubicBezTo>
                  <a:cubicBezTo>
                    <a:pt x="961" y="76"/>
                    <a:pt x="941" y="73"/>
                    <a:pt x="921" y="82"/>
                  </a:cubicBezTo>
                  <a:cubicBezTo>
                    <a:pt x="901" y="90"/>
                    <a:pt x="887" y="83"/>
                    <a:pt x="875" y="76"/>
                  </a:cubicBezTo>
                  <a:cubicBezTo>
                    <a:pt x="864" y="69"/>
                    <a:pt x="857" y="75"/>
                    <a:pt x="851" y="82"/>
                  </a:cubicBezTo>
                  <a:cubicBezTo>
                    <a:pt x="845" y="89"/>
                    <a:pt x="834" y="85"/>
                    <a:pt x="814" y="87"/>
                  </a:cubicBezTo>
                  <a:cubicBezTo>
                    <a:pt x="794" y="90"/>
                    <a:pt x="781" y="85"/>
                    <a:pt x="775" y="76"/>
                  </a:cubicBezTo>
                  <a:cubicBezTo>
                    <a:pt x="769" y="67"/>
                    <a:pt x="756" y="77"/>
                    <a:pt x="742" y="79"/>
                  </a:cubicBezTo>
                  <a:cubicBezTo>
                    <a:pt x="728" y="80"/>
                    <a:pt x="725" y="79"/>
                    <a:pt x="718" y="66"/>
                  </a:cubicBezTo>
                  <a:cubicBezTo>
                    <a:pt x="711" y="53"/>
                    <a:pt x="695" y="59"/>
                    <a:pt x="685" y="62"/>
                  </a:cubicBezTo>
                  <a:cubicBezTo>
                    <a:pt x="675" y="64"/>
                    <a:pt x="668" y="57"/>
                    <a:pt x="666" y="44"/>
                  </a:cubicBezTo>
                  <a:cubicBezTo>
                    <a:pt x="665" y="32"/>
                    <a:pt x="643" y="29"/>
                    <a:pt x="625" y="29"/>
                  </a:cubicBezTo>
                  <a:cubicBezTo>
                    <a:pt x="606" y="29"/>
                    <a:pt x="605" y="26"/>
                    <a:pt x="597" y="13"/>
                  </a:cubicBezTo>
                  <a:cubicBezTo>
                    <a:pt x="590" y="0"/>
                    <a:pt x="531" y="6"/>
                    <a:pt x="503" y="6"/>
                  </a:cubicBezTo>
                  <a:cubicBezTo>
                    <a:pt x="474" y="6"/>
                    <a:pt x="483" y="14"/>
                    <a:pt x="458" y="14"/>
                  </a:cubicBezTo>
                  <a:cubicBezTo>
                    <a:pt x="434" y="14"/>
                    <a:pt x="433" y="26"/>
                    <a:pt x="402" y="40"/>
                  </a:cubicBezTo>
                  <a:cubicBezTo>
                    <a:pt x="372" y="54"/>
                    <a:pt x="372" y="59"/>
                    <a:pt x="358" y="70"/>
                  </a:cubicBezTo>
                  <a:cubicBezTo>
                    <a:pt x="344" y="82"/>
                    <a:pt x="315" y="73"/>
                    <a:pt x="304" y="66"/>
                  </a:cubicBezTo>
                  <a:cubicBezTo>
                    <a:pt x="292" y="59"/>
                    <a:pt x="281" y="77"/>
                    <a:pt x="265" y="69"/>
                  </a:cubicBezTo>
                  <a:cubicBezTo>
                    <a:pt x="249" y="60"/>
                    <a:pt x="246" y="69"/>
                    <a:pt x="229" y="72"/>
                  </a:cubicBezTo>
                  <a:cubicBezTo>
                    <a:pt x="212" y="75"/>
                    <a:pt x="213" y="97"/>
                    <a:pt x="216" y="116"/>
                  </a:cubicBezTo>
                  <a:cubicBezTo>
                    <a:pt x="219" y="135"/>
                    <a:pt x="197" y="128"/>
                    <a:pt x="186" y="135"/>
                  </a:cubicBezTo>
                  <a:cubicBezTo>
                    <a:pt x="175" y="142"/>
                    <a:pt x="144" y="132"/>
                    <a:pt x="133" y="128"/>
                  </a:cubicBezTo>
                  <a:cubicBezTo>
                    <a:pt x="121" y="123"/>
                    <a:pt x="123" y="129"/>
                    <a:pt x="111" y="132"/>
                  </a:cubicBezTo>
                  <a:cubicBezTo>
                    <a:pt x="100" y="135"/>
                    <a:pt x="90" y="130"/>
                    <a:pt x="73" y="129"/>
                  </a:cubicBezTo>
                  <a:cubicBezTo>
                    <a:pt x="56" y="128"/>
                    <a:pt x="43" y="133"/>
                    <a:pt x="35" y="148"/>
                  </a:cubicBezTo>
                  <a:cubicBezTo>
                    <a:pt x="28" y="162"/>
                    <a:pt x="18" y="178"/>
                    <a:pt x="23" y="193"/>
                  </a:cubicBezTo>
                  <a:cubicBezTo>
                    <a:pt x="27" y="209"/>
                    <a:pt x="20" y="208"/>
                    <a:pt x="13" y="219"/>
                  </a:cubicBezTo>
                  <a:cubicBezTo>
                    <a:pt x="5" y="231"/>
                    <a:pt x="11" y="226"/>
                    <a:pt x="31" y="235"/>
                  </a:cubicBezTo>
                  <a:cubicBezTo>
                    <a:pt x="51" y="244"/>
                    <a:pt x="50" y="236"/>
                    <a:pt x="54" y="231"/>
                  </a:cubicBezTo>
                  <a:cubicBezTo>
                    <a:pt x="58" y="225"/>
                    <a:pt x="43" y="214"/>
                    <a:pt x="43" y="205"/>
                  </a:cubicBezTo>
                  <a:cubicBezTo>
                    <a:pt x="43" y="196"/>
                    <a:pt x="58" y="192"/>
                    <a:pt x="67" y="196"/>
                  </a:cubicBezTo>
                  <a:cubicBezTo>
                    <a:pt x="76" y="201"/>
                    <a:pt x="64" y="208"/>
                    <a:pt x="63" y="218"/>
                  </a:cubicBezTo>
                  <a:cubicBezTo>
                    <a:pt x="61" y="228"/>
                    <a:pt x="66" y="234"/>
                    <a:pt x="73" y="238"/>
                  </a:cubicBezTo>
                  <a:cubicBezTo>
                    <a:pt x="80" y="242"/>
                    <a:pt x="71" y="245"/>
                    <a:pt x="63" y="248"/>
                  </a:cubicBezTo>
                  <a:cubicBezTo>
                    <a:pt x="54" y="251"/>
                    <a:pt x="63" y="257"/>
                    <a:pt x="71" y="261"/>
                  </a:cubicBezTo>
                  <a:cubicBezTo>
                    <a:pt x="80" y="265"/>
                    <a:pt x="74" y="278"/>
                    <a:pt x="67" y="278"/>
                  </a:cubicBezTo>
                  <a:cubicBezTo>
                    <a:pt x="60" y="278"/>
                    <a:pt x="56" y="275"/>
                    <a:pt x="56" y="269"/>
                  </a:cubicBezTo>
                  <a:cubicBezTo>
                    <a:pt x="56" y="264"/>
                    <a:pt x="51" y="258"/>
                    <a:pt x="44" y="255"/>
                  </a:cubicBezTo>
                  <a:cubicBezTo>
                    <a:pt x="37" y="252"/>
                    <a:pt x="38" y="264"/>
                    <a:pt x="41" y="274"/>
                  </a:cubicBezTo>
                  <a:cubicBezTo>
                    <a:pt x="44" y="284"/>
                    <a:pt x="28" y="282"/>
                    <a:pt x="25" y="274"/>
                  </a:cubicBezTo>
                  <a:cubicBezTo>
                    <a:pt x="23" y="265"/>
                    <a:pt x="17" y="261"/>
                    <a:pt x="8" y="265"/>
                  </a:cubicBezTo>
                  <a:cubicBezTo>
                    <a:pt x="0" y="269"/>
                    <a:pt x="13" y="277"/>
                    <a:pt x="14" y="287"/>
                  </a:cubicBezTo>
                  <a:cubicBezTo>
                    <a:pt x="15" y="297"/>
                    <a:pt x="25" y="298"/>
                    <a:pt x="34" y="294"/>
                  </a:cubicBezTo>
                  <a:cubicBezTo>
                    <a:pt x="43" y="290"/>
                    <a:pt x="51" y="304"/>
                    <a:pt x="56" y="301"/>
                  </a:cubicBezTo>
                  <a:cubicBezTo>
                    <a:pt x="60" y="298"/>
                    <a:pt x="61" y="300"/>
                    <a:pt x="76" y="304"/>
                  </a:cubicBezTo>
                  <a:cubicBezTo>
                    <a:pt x="90" y="308"/>
                    <a:pt x="94" y="314"/>
                    <a:pt x="94" y="318"/>
                  </a:cubicBezTo>
                  <a:cubicBezTo>
                    <a:pt x="94" y="322"/>
                    <a:pt x="81" y="327"/>
                    <a:pt x="74" y="322"/>
                  </a:cubicBezTo>
                  <a:cubicBezTo>
                    <a:pt x="67" y="318"/>
                    <a:pt x="63" y="322"/>
                    <a:pt x="60" y="330"/>
                  </a:cubicBezTo>
                  <a:cubicBezTo>
                    <a:pt x="57" y="337"/>
                    <a:pt x="68" y="337"/>
                    <a:pt x="77" y="337"/>
                  </a:cubicBezTo>
                  <a:cubicBezTo>
                    <a:pt x="86" y="337"/>
                    <a:pt x="87" y="343"/>
                    <a:pt x="86" y="354"/>
                  </a:cubicBezTo>
                  <a:cubicBezTo>
                    <a:pt x="84" y="365"/>
                    <a:pt x="107" y="354"/>
                    <a:pt x="111" y="363"/>
                  </a:cubicBezTo>
                  <a:cubicBezTo>
                    <a:pt x="116" y="371"/>
                    <a:pt x="104" y="368"/>
                    <a:pt x="97" y="371"/>
                  </a:cubicBezTo>
                  <a:cubicBezTo>
                    <a:pt x="90" y="374"/>
                    <a:pt x="84" y="397"/>
                    <a:pt x="91" y="393"/>
                  </a:cubicBezTo>
                  <a:cubicBezTo>
                    <a:pt x="99" y="388"/>
                    <a:pt x="111" y="383"/>
                    <a:pt x="120" y="381"/>
                  </a:cubicBezTo>
                  <a:cubicBezTo>
                    <a:pt x="129" y="380"/>
                    <a:pt x="149" y="384"/>
                    <a:pt x="152" y="391"/>
                  </a:cubicBezTo>
                  <a:cubicBezTo>
                    <a:pt x="154" y="398"/>
                    <a:pt x="123" y="396"/>
                    <a:pt x="114" y="396"/>
                  </a:cubicBezTo>
                  <a:cubicBezTo>
                    <a:pt x="106" y="396"/>
                    <a:pt x="103" y="401"/>
                    <a:pt x="97" y="410"/>
                  </a:cubicBezTo>
                  <a:cubicBezTo>
                    <a:pt x="91" y="419"/>
                    <a:pt x="119" y="414"/>
                    <a:pt x="126" y="406"/>
                  </a:cubicBezTo>
                  <a:cubicBezTo>
                    <a:pt x="133" y="397"/>
                    <a:pt x="143" y="401"/>
                    <a:pt x="144" y="407"/>
                  </a:cubicBezTo>
                  <a:cubicBezTo>
                    <a:pt x="146" y="413"/>
                    <a:pt x="162" y="410"/>
                    <a:pt x="164" y="403"/>
                  </a:cubicBezTo>
                  <a:cubicBezTo>
                    <a:pt x="167" y="396"/>
                    <a:pt x="183" y="401"/>
                    <a:pt x="196" y="404"/>
                  </a:cubicBezTo>
                  <a:cubicBezTo>
                    <a:pt x="209" y="407"/>
                    <a:pt x="210" y="419"/>
                    <a:pt x="213" y="429"/>
                  </a:cubicBezTo>
                  <a:cubicBezTo>
                    <a:pt x="216" y="439"/>
                    <a:pt x="223" y="436"/>
                    <a:pt x="240" y="441"/>
                  </a:cubicBezTo>
                  <a:cubicBezTo>
                    <a:pt x="258" y="447"/>
                    <a:pt x="288" y="446"/>
                    <a:pt x="298" y="436"/>
                  </a:cubicBezTo>
                  <a:cubicBezTo>
                    <a:pt x="308" y="426"/>
                    <a:pt x="312" y="413"/>
                    <a:pt x="312" y="403"/>
                  </a:cubicBezTo>
                  <a:cubicBezTo>
                    <a:pt x="312" y="393"/>
                    <a:pt x="325" y="394"/>
                    <a:pt x="344" y="394"/>
                  </a:cubicBezTo>
                  <a:cubicBezTo>
                    <a:pt x="362" y="394"/>
                    <a:pt x="371" y="406"/>
                    <a:pt x="388" y="411"/>
                  </a:cubicBezTo>
                  <a:cubicBezTo>
                    <a:pt x="405" y="417"/>
                    <a:pt x="431" y="447"/>
                    <a:pt x="437" y="453"/>
                  </a:cubicBezTo>
                  <a:cubicBezTo>
                    <a:pt x="443" y="459"/>
                    <a:pt x="477" y="447"/>
                    <a:pt x="508" y="439"/>
                  </a:cubicBezTo>
                  <a:cubicBezTo>
                    <a:pt x="540" y="430"/>
                    <a:pt x="541" y="417"/>
                    <a:pt x="550" y="406"/>
                  </a:cubicBezTo>
                  <a:cubicBezTo>
                    <a:pt x="559" y="394"/>
                    <a:pt x="587" y="406"/>
                    <a:pt x="603" y="414"/>
                  </a:cubicBezTo>
                  <a:cubicBezTo>
                    <a:pt x="619" y="423"/>
                    <a:pt x="629" y="416"/>
                    <a:pt x="639" y="403"/>
                  </a:cubicBezTo>
                  <a:cubicBezTo>
                    <a:pt x="649" y="390"/>
                    <a:pt x="659" y="388"/>
                    <a:pt x="659" y="398"/>
                  </a:cubicBezTo>
                  <a:cubicBezTo>
                    <a:pt x="659" y="409"/>
                    <a:pt x="659" y="413"/>
                    <a:pt x="649" y="421"/>
                  </a:cubicBezTo>
                  <a:cubicBezTo>
                    <a:pt x="639" y="430"/>
                    <a:pt x="648" y="446"/>
                    <a:pt x="645" y="457"/>
                  </a:cubicBezTo>
                  <a:cubicBezTo>
                    <a:pt x="644" y="460"/>
                    <a:pt x="643" y="462"/>
                    <a:pt x="642" y="464"/>
                  </a:cubicBezTo>
                  <a:cubicBezTo>
                    <a:pt x="644" y="465"/>
                    <a:pt x="646" y="466"/>
                    <a:pt x="647" y="467"/>
                  </a:cubicBezTo>
                  <a:cubicBezTo>
                    <a:pt x="651" y="470"/>
                    <a:pt x="669" y="472"/>
                    <a:pt x="670" y="461"/>
                  </a:cubicBezTo>
                  <a:cubicBezTo>
                    <a:pt x="671" y="451"/>
                    <a:pt x="671" y="444"/>
                    <a:pt x="681" y="442"/>
                  </a:cubicBezTo>
                  <a:cubicBezTo>
                    <a:pt x="691" y="440"/>
                    <a:pt x="697" y="439"/>
                    <a:pt x="693" y="433"/>
                  </a:cubicBezTo>
                  <a:cubicBezTo>
                    <a:pt x="688" y="426"/>
                    <a:pt x="685" y="419"/>
                    <a:pt x="688" y="411"/>
                  </a:cubicBezTo>
                  <a:cubicBezTo>
                    <a:pt x="691" y="403"/>
                    <a:pt x="701" y="395"/>
                    <a:pt x="711" y="403"/>
                  </a:cubicBezTo>
                  <a:cubicBezTo>
                    <a:pt x="721" y="411"/>
                    <a:pt x="719" y="417"/>
                    <a:pt x="733" y="416"/>
                  </a:cubicBezTo>
                  <a:cubicBezTo>
                    <a:pt x="747" y="415"/>
                    <a:pt x="746" y="406"/>
                    <a:pt x="754" y="406"/>
                  </a:cubicBezTo>
                  <a:cubicBezTo>
                    <a:pt x="762" y="406"/>
                    <a:pt x="771" y="399"/>
                    <a:pt x="781" y="398"/>
                  </a:cubicBezTo>
                  <a:cubicBezTo>
                    <a:pt x="791" y="397"/>
                    <a:pt x="809" y="392"/>
                    <a:pt x="817" y="403"/>
                  </a:cubicBezTo>
                  <a:cubicBezTo>
                    <a:pt x="825" y="413"/>
                    <a:pt x="841" y="412"/>
                    <a:pt x="854" y="411"/>
                  </a:cubicBezTo>
                  <a:cubicBezTo>
                    <a:pt x="867" y="409"/>
                    <a:pt x="897" y="409"/>
                    <a:pt x="905" y="405"/>
                  </a:cubicBezTo>
                  <a:cubicBezTo>
                    <a:pt x="912" y="400"/>
                    <a:pt x="925" y="394"/>
                    <a:pt x="935" y="388"/>
                  </a:cubicBezTo>
                  <a:cubicBezTo>
                    <a:pt x="946" y="382"/>
                    <a:pt x="959" y="369"/>
                    <a:pt x="970" y="376"/>
                  </a:cubicBezTo>
                  <a:cubicBezTo>
                    <a:pt x="981" y="383"/>
                    <a:pt x="988" y="384"/>
                    <a:pt x="996" y="384"/>
                  </a:cubicBezTo>
                  <a:cubicBezTo>
                    <a:pt x="1004" y="384"/>
                    <a:pt x="1014" y="379"/>
                    <a:pt x="1023" y="375"/>
                  </a:cubicBezTo>
                  <a:cubicBezTo>
                    <a:pt x="1031" y="371"/>
                    <a:pt x="1039" y="372"/>
                    <a:pt x="1043" y="368"/>
                  </a:cubicBezTo>
                  <a:cubicBezTo>
                    <a:pt x="1046" y="364"/>
                    <a:pt x="1051" y="365"/>
                    <a:pt x="1064" y="381"/>
                  </a:cubicBezTo>
                  <a:cubicBezTo>
                    <a:pt x="1070" y="377"/>
                    <a:pt x="1075" y="374"/>
                    <a:pt x="1077" y="371"/>
                  </a:cubicBezTo>
                  <a:cubicBezTo>
                    <a:pt x="1082" y="364"/>
                    <a:pt x="1082" y="357"/>
                    <a:pt x="1096" y="356"/>
                  </a:cubicBezTo>
                  <a:cubicBezTo>
                    <a:pt x="1109" y="356"/>
                    <a:pt x="1121" y="358"/>
                    <a:pt x="1124" y="362"/>
                  </a:cubicBezTo>
                  <a:cubicBezTo>
                    <a:pt x="1127" y="366"/>
                    <a:pt x="1137" y="368"/>
                    <a:pt x="1145" y="368"/>
                  </a:cubicBezTo>
                  <a:cubicBezTo>
                    <a:pt x="1153" y="367"/>
                    <a:pt x="1165" y="362"/>
                    <a:pt x="1169" y="368"/>
                  </a:cubicBezTo>
                  <a:cubicBezTo>
                    <a:pt x="1174" y="375"/>
                    <a:pt x="1182" y="390"/>
                    <a:pt x="1188" y="385"/>
                  </a:cubicBezTo>
                  <a:cubicBezTo>
                    <a:pt x="1194" y="379"/>
                    <a:pt x="1204" y="378"/>
                    <a:pt x="1206" y="375"/>
                  </a:cubicBezTo>
                  <a:cubicBezTo>
                    <a:pt x="1206" y="373"/>
                    <a:pt x="1209" y="368"/>
                    <a:pt x="1211" y="364"/>
                  </a:cubicBezTo>
                  <a:cubicBezTo>
                    <a:pt x="1210" y="363"/>
                    <a:pt x="1209" y="362"/>
                    <a:pt x="1208" y="361"/>
                  </a:cubicBezTo>
                  <a:cubicBezTo>
                    <a:pt x="1201" y="355"/>
                    <a:pt x="1199" y="355"/>
                    <a:pt x="1198" y="345"/>
                  </a:cubicBezTo>
                  <a:cubicBezTo>
                    <a:pt x="1197" y="335"/>
                    <a:pt x="1176" y="330"/>
                    <a:pt x="1178" y="319"/>
                  </a:cubicBezTo>
                  <a:cubicBezTo>
                    <a:pt x="1180" y="307"/>
                    <a:pt x="1197" y="303"/>
                    <a:pt x="1190" y="291"/>
                  </a:cubicBezTo>
                  <a:cubicBezTo>
                    <a:pt x="1183" y="278"/>
                    <a:pt x="1181" y="275"/>
                    <a:pt x="1181" y="265"/>
                  </a:cubicBezTo>
                  <a:cubicBezTo>
                    <a:pt x="1181" y="254"/>
                    <a:pt x="1181" y="256"/>
                    <a:pt x="1175" y="243"/>
                  </a:cubicBezTo>
                  <a:cubicBezTo>
                    <a:pt x="1168" y="229"/>
                    <a:pt x="1157" y="211"/>
                    <a:pt x="1173" y="209"/>
                  </a:cubicBezTo>
                  <a:cubicBezTo>
                    <a:pt x="1189" y="207"/>
                    <a:pt x="1189" y="202"/>
                    <a:pt x="1191" y="193"/>
                  </a:cubicBezTo>
                  <a:cubicBezTo>
                    <a:pt x="1193" y="189"/>
                    <a:pt x="1195" y="185"/>
                    <a:pt x="1199" y="184"/>
                  </a:cubicBezTo>
                  <a:cubicBezTo>
                    <a:pt x="1196" y="181"/>
                    <a:pt x="1192" y="180"/>
                    <a:pt x="1186" y="17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124" name="Freeform 25183"/>
            <p:cNvSpPr>
              <a:spLocks/>
            </p:cNvSpPr>
            <p:nvPr/>
          </p:nvSpPr>
          <p:spPr bwMode="auto">
            <a:xfrm>
              <a:off x="4904714" y="2763104"/>
              <a:ext cx="73709" cy="45930"/>
            </a:xfrm>
            <a:custGeom>
              <a:avLst/>
              <a:gdLst>
                <a:gd name="T0" fmla="*/ 145 w 198"/>
                <a:gd name="T1" fmla="*/ 44 h 123"/>
                <a:gd name="T2" fmla="*/ 120 w 198"/>
                <a:gd name="T3" fmla="*/ 13 h 123"/>
                <a:gd name="T4" fmla="*/ 106 w 198"/>
                <a:gd name="T5" fmla="*/ 15 h 123"/>
                <a:gd name="T6" fmla="*/ 80 w 198"/>
                <a:gd name="T7" fmla="*/ 8 h 123"/>
                <a:gd name="T8" fmla="*/ 56 w 198"/>
                <a:gd name="T9" fmla="*/ 8 h 123"/>
                <a:gd name="T10" fmla="*/ 38 w 198"/>
                <a:gd name="T11" fmla="*/ 10 h 123"/>
                <a:gd name="T12" fmla="*/ 20 w 198"/>
                <a:gd name="T13" fmla="*/ 24 h 123"/>
                <a:gd name="T14" fmla="*/ 18 w 198"/>
                <a:gd name="T15" fmla="*/ 26 h 123"/>
                <a:gd name="T16" fmla="*/ 24 w 198"/>
                <a:gd name="T17" fmla="*/ 35 h 123"/>
                <a:gd name="T18" fmla="*/ 32 w 198"/>
                <a:gd name="T19" fmla="*/ 45 h 123"/>
                <a:gd name="T20" fmla="*/ 22 w 198"/>
                <a:gd name="T21" fmla="*/ 62 h 123"/>
                <a:gd name="T22" fmla="*/ 13 w 198"/>
                <a:gd name="T23" fmla="*/ 72 h 123"/>
                <a:gd name="T24" fmla="*/ 13 w 198"/>
                <a:gd name="T25" fmla="*/ 91 h 123"/>
                <a:gd name="T26" fmla="*/ 0 w 198"/>
                <a:gd name="T27" fmla="*/ 103 h 123"/>
                <a:gd name="T28" fmla="*/ 24 w 198"/>
                <a:gd name="T29" fmla="*/ 114 h 123"/>
                <a:gd name="T30" fmla="*/ 63 w 198"/>
                <a:gd name="T31" fmla="*/ 110 h 123"/>
                <a:gd name="T32" fmla="*/ 112 w 198"/>
                <a:gd name="T33" fmla="*/ 86 h 123"/>
                <a:gd name="T34" fmla="*/ 163 w 198"/>
                <a:gd name="T35" fmla="*/ 88 h 123"/>
                <a:gd name="T36" fmla="*/ 191 w 198"/>
                <a:gd name="T37" fmla="*/ 73 h 123"/>
                <a:gd name="T38" fmla="*/ 145 w 198"/>
                <a:gd name="T39" fmla="*/ 44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8" h="123">
                  <a:moveTo>
                    <a:pt x="145" y="44"/>
                  </a:moveTo>
                  <a:cubicBezTo>
                    <a:pt x="134" y="40"/>
                    <a:pt x="126" y="27"/>
                    <a:pt x="120" y="13"/>
                  </a:cubicBezTo>
                  <a:cubicBezTo>
                    <a:pt x="115" y="14"/>
                    <a:pt x="111" y="15"/>
                    <a:pt x="106" y="15"/>
                  </a:cubicBezTo>
                  <a:cubicBezTo>
                    <a:pt x="99" y="15"/>
                    <a:pt x="92" y="16"/>
                    <a:pt x="80" y="8"/>
                  </a:cubicBezTo>
                  <a:cubicBezTo>
                    <a:pt x="68" y="0"/>
                    <a:pt x="61" y="1"/>
                    <a:pt x="56" y="8"/>
                  </a:cubicBezTo>
                  <a:cubicBezTo>
                    <a:pt x="50" y="15"/>
                    <a:pt x="47" y="10"/>
                    <a:pt x="38" y="10"/>
                  </a:cubicBezTo>
                  <a:cubicBezTo>
                    <a:pt x="28" y="10"/>
                    <a:pt x="25" y="15"/>
                    <a:pt x="20" y="24"/>
                  </a:cubicBezTo>
                  <a:cubicBezTo>
                    <a:pt x="19" y="25"/>
                    <a:pt x="19" y="25"/>
                    <a:pt x="18" y="26"/>
                  </a:cubicBezTo>
                  <a:cubicBezTo>
                    <a:pt x="20" y="30"/>
                    <a:pt x="22" y="33"/>
                    <a:pt x="24" y="35"/>
                  </a:cubicBezTo>
                  <a:cubicBezTo>
                    <a:pt x="27" y="37"/>
                    <a:pt x="31" y="41"/>
                    <a:pt x="32" y="45"/>
                  </a:cubicBezTo>
                  <a:cubicBezTo>
                    <a:pt x="33" y="50"/>
                    <a:pt x="31" y="61"/>
                    <a:pt x="22" y="62"/>
                  </a:cubicBezTo>
                  <a:cubicBezTo>
                    <a:pt x="14" y="63"/>
                    <a:pt x="13" y="69"/>
                    <a:pt x="13" y="72"/>
                  </a:cubicBezTo>
                  <a:cubicBezTo>
                    <a:pt x="13" y="76"/>
                    <a:pt x="18" y="87"/>
                    <a:pt x="13" y="91"/>
                  </a:cubicBezTo>
                  <a:cubicBezTo>
                    <a:pt x="8" y="94"/>
                    <a:pt x="2" y="97"/>
                    <a:pt x="0" y="103"/>
                  </a:cubicBezTo>
                  <a:cubicBezTo>
                    <a:pt x="9" y="107"/>
                    <a:pt x="16" y="112"/>
                    <a:pt x="24" y="114"/>
                  </a:cubicBezTo>
                  <a:cubicBezTo>
                    <a:pt x="40" y="119"/>
                    <a:pt x="56" y="123"/>
                    <a:pt x="63" y="110"/>
                  </a:cubicBezTo>
                  <a:cubicBezTo>
                    <a:pt x="70" y="97"/>
                    <a:pt x="93" y="98"/>
                    <a:pt x="112" y="86"/>
                  </a:cubicBezTo>
                  <a:cubicBezTo>
                    <a:pt x="130" y="73"/>
                    <a:pt x="143" y="86"/>
                    <a:pt x="163" y="88"/>
                  </a:cubicBezTo>
                  <a:cubicBezTo>
                    <a:pt x="184" y="91"/>
                    <a:pt x="183" y="86"/>
                    <a:pt x="191" y="73"/>
                  </a:cubicBezTo>
                  <a:cubicBezTo>
                    <a:pt x="198" y="60"/>
                    <a:pt x="163" y="51"/>
                    <a:pt x="145" y="44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125" name="Freeform 25184"/>
            <p:cNvSpPr>
              <a:spLocks/>
            </p:cNvSpPr>
            <p:nvPr/>
          </p:nvSpPr>
          <p:spPr bwMode="auto">
            <a:xfrm>
              <a:off x="4940858" y="2917939"/>
              <a:ext cx="14047" cy="18309"/>
            </a:xfrm>
            <a:custGeom>
              <a:avLst/>
              <a:gdLst>
                <a:gd name="T0" fmla="*/ 26 w 38"/>
                <a:gd name="T1" fmla="*/ 10 h 49"/>
                <a:gd name="T2" fmla="*/ 21 w 38"/>
                <a:gd name="T3" fmla="*/ 19 h 49"/>
                <a:gd name="T4" fmla="*/ 8 w 38"/>
                <a:gd name="T5" fmla="*/ 30 h 49"/>
                <a:gd name="T6" fmla="*/ 4 w 38"/>
                <a:gd name="T7" fmla="*/ 42 h 49"/>
                <a:gd name="T8" fmla="*/ 7 w 38"/>
                <a:gd name="T9" fmla="*/ 48 h 49"/>
                <a:gd name="T10" fmla="*/ 23 w 38"/>
                <a:gd name="T11" fmla="*/ 38 h 49"/>
                <a:gd name="T12" fmla="*/ 32 w 38"/>
                <a:gd name="T13" fmla="*/ 28 h 49"/>
                <a:gd name="T14" fmla="*/ 38 w 38"/>
                <a:gd name="T15" fmla="*/ 16 h 49"/>
                <a:gd name="T16" fmla="*/ 26 w 38"/>
                <a:gd name="T17" fmla="*/ 1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8" h="49">
                  <a:moveTo>
                    <a:pt x="26" y="10"/>
                  </a:moveTo>
                  <a:cubicBezTo>
                    <a:pt x="26" y="10"/>
                    <a:pt x="27" y="16"/>
                    <a:pt x="21" y="19"/>
                  </a:cubicBezTo>
                  <a:cubicBezTo>
                    <a:pt x="15" y="22"/>
                    <a:pt x="7" y="24"/>
                    <a:pt x="8" y="30"/>
                  </a:cubicBezTo>
                  <a:cubicBezTo>
                    <a:pt x="8" y="35"/>
                    <a:pt x="7" y="38"/>
                    <a:pt x="4" y="42"/>
                  </a:cubicBezTo>
                  <a:cubicBezTo>
                    <a:pt x="1" y="47"/>
                    <a:pt x="0" y="49"/>
                    <a:pt x="7" y="48"/>
                  </a:cubicBezTo>
                  <a:cubicBezTo>
                    <a:pt x="15" y="48"/>
                    <a:pt x="16" y="38"/>
                    <a:pt x="23" y="38"/>
                  </a:cubicBezTo>
                  <a:cubicBezTo>
                    <a:pt x="30" y="38"/>
                    <a:pt x="30" y="34"/>
                    <a:pt x="32" y="28"/>
                  </a:cubicBezTo>
                  <a:cubicBezTo>
                    <a:pt x="33" y="23"/>
                    <a:pt x="38" y="23"/>
                    <a:pt x="38" y="16"/>
                  </a:cubicBezTo>
                  <a:cubicBezTo>
                    <a:pt x="38" y="10"/>
                    <a:pt x="27" y="0"/>
                    <a:pt x="26" y="1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126" name="Freeform 25185"/>
            <p:cNvSpPr>
              <a:spLocks/>
            </p:cNvSpPr>
            <p:nvPr/>
          </p:nvSpPr>
          <p:spPr bwMode="auto">
            <a:xfrm>
              <a:off x="4894612" y="2814242"/>
              <a:ext cx="6629" cy="7418"/>
            </a:xfrm>
            <a:custGeom>
              <a:avLst/>
              <a:gdLst>
                <a:gd name="T0" fmla="*/ 10 w 18"/>
                <a:gd name="T1" fmla="*/ 4 h 20"/>
                <a:gd name="T2" fmla="*/ 1 w 18"/>
                <a:gd name="T3" fmla="*/ 7 h 20"/>
                <a:gd name="T4" fmla="*/ 5 w 18"/>
                <a:gd name="T5" fmla="*/ 20 h 20"/>
                <a:gd name="T6" fmla="*/ 11 w 18"/>
                <a:gd name="T7" fmla="*/ 14 h 20"/>
                <a:gd name="T8" fmla="*/ 18 w 18"/>
                <a:gd name="T9" fmla="*/ 8 h 20"/>
                <a:gd name="T10" fmla="*/ 10 w 18"/>
                <a:gd name="T11" fmla="*/ 4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20">
                  <a:moveTo>
                    <a:pt x="10" y="4"/>
                  </a:moveTo>
                  <a:cubicBezTo>
                    <a:pt x="10" y="4"/>
                    <a:pt x="1" y="0"/>
                    <a:pt x="1" y="7"/>
                  </a:cubicBezTo>
                  <a:cubicBezTo>
                    <a:pt x="1" y="14"/>
                    <a:pt x="0" y="20"/>
                    <a:pt x="5" y="20"/>
                  </a:cubicBezTo>
                  <a:cubicBezTo>
                    <a:pt x="10" y="19"/>
                    <a:pt x="11" y="18"/>
                    <a:pt x="11" y="14"/>
                  </a:cubicBezTo>
                  <a:cubicBezTo>
                    <a:pt x="11" y="10"/>
                    <a:pt x="18" y="14"/>
                    <a:pt x="18" y="8"/>
                  </a:cubicBezTo>
                  <a:cubicBezTo>
                    <a:pt x="18" y="3"/>
                    <a:pt x="14" y="4"/>
                    <a:pt x="10" y="4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127" name="Freeform 25186"/>
            <p:cNvSpPr>
              <a:spLocks/>
            </p:cNvSpPr>
            <p:nvPr/>
          </p:nvSpPr>
          <p:spPr bwMode="auto">
            <a:xfrm>
              <a:off x="4752088" y="2768312"/>
              <a:ext cx="164937" cy="156729"/>
            </a:xfrm>
            <a:custGeom>
              <a:avLst/>
              <a:gdLst>
                <a:gd name="T0" fmla="*/ 433 w 442"/>
                <a:gd name="T1" fmla="*/ 21 h 420"/>
                <a:gd name="T2" fmla="*/ 414 w 442"/>
                <a:gd name="T3" fmla="*/ 16 h 420"/>
                <a:gd name="T4" fmla="*/ 380 w 442"/>
                <a:gd name="T5" fmla="*/ 54 h 420"/>
                <a:gd name="T6" fmla="*/ 301 w 442"/>
                <a:gd name="T7" fmla="*/ 31 h 420"/>
                <a:gd name="T8" fmla="*/ 221 w 442"/>
                <a:gd name="T9" fmla="*/ 15 h 420"/>
                <a:gd name="T10" fmla="*/ 196 w 442"/>
                <a:gd name="T11" fmla="*/ 17 h 420"/>
                <a:gd name="T12" fmla="*/ 193 w 442"/>
                <a:gd name="T13" fmla="*/ 63 h 420"/>
                <a:gd name="T14" fmla="*/ 134 w 442"/>
                <a:gd name="T15" fmla="*/ 78 h 420"/>
                <a:gd name="T16" fmla="*/ 78 w 442"/>
                <a:gd name="T17" fmla="*/ 85 h 420"/>
                <a:gd name="T18" fmla="*/ 78 w 442"/>
                <a:gd name="T19" fmla="*/ 109 h 420"/>
                <a:gd name="T20" fmla="*/ 47 w 442"/>
                <a:gd name="T21" fmla="*/ 157 h 420"/>
                <a:gd name="T22" fmla="*/ 0 w 442"/>
                <a:gd name="T23" fmla="*/ 174 h 420"/>
                <a:gd name="T24" fmla="*/ 44 w 442"/>
                <a:gd name="T25" fmla="*/ 202 h 420"/>
                <a:gd name="T26" fmla="*/ 105 w 442"/>
                <a:gd name="T27" fmla="*/ 272 h 420"/>
                <a:gd name="T28" fmla="*/ 115 w 442"/>
                <a:gd name="T29" fmla="*/ 327 h 420"/>
                <a:gd name="T30" fmla="*/ 147 w 442"/>
                <a:gd name="T31" fmla="*/ 380 h 420"/>
                <a:gd name="T32" fmla="*/ 194 w 442"/>
                <a:gd name="T33" fmla="*/ 390 h 420"/>
                <a:gd name="T34" fmla="*/ 217 w 442"/>
                <a:gd name="T35" fmla="*/ 385 h 420"/>
                <a:gd name="T36" fmla="*/ 201 w 442"/>
                <a:gd name="T37" fmla="*/ 335 h 420"/>
                <a:gd name="T38" fmla="*/ 228 w 442"/>
                <a:gd name="T39" fmla="*/ 317 h 420"/>
                <a:gd name="T40" fmla="*/ 266 w 442"/>
                <a:gd name="T41" fmla="*/ 318 h 420"/>
                <a:gd name="T42" fmla="*/ 279 w 442"/>
                <a:gd name="T43" fmla="*/ 287 h 420"/>
                <a:gd name="T44" fmla="*/ 300 w 442"/>
                <a:gd name="T45" fmla="*/ 269 h 420"/>
                <a:gd name="T46" fmla="*/ 247 w 442"/>
                <a:gd name="T47" fmla="*/ 229 h 420"/>
                <a:gd name="T48" fmla="*/ 191 w 442"/>
                <a:gd name="T49" fmla="*/ 150 h 420"/>
                <a:gd name="T50" fmla="*/ 200 w 442"/>
                <a:gd name="T51" fmla="*/ 110 h 420"/>
                <a:gd name="T52" fmla="*/ 244 w 442"/>
                <a:gd name="T53" fmla="*/ 149 h 420"/>
                <a:gd name="T54" fmla="*/ 267 w 442"/>
                <a:gd name="T55" fmla="*/ 148 h 420"/>
                <a:gd name="T56" fmla="*/ 284 w 442"/>
                <a:gd name="T57" fmla="*/ 132 h 420"/>
                <a:gd name="T58" fmla="*/ 266 w 442"/>
                <a:gd name="T59" fmla="*/ 107 h 420"/>
                <a:gd name="T60" fmla="*/ 302 w 442"/>
                <a:gd name="T61" fmla="*/ 77 h 420"/>
                <a:gd name="T62" fmla="*/ 329 w 442"/>
                <a:gd name="T63" fmla="*/ 77 h 420"/>
                <a:gd name="T64" fmla="*/ 409 w 442"/>
                <a:gd name="T65" fmla="*/ 89 h 420"/>
                <a:gd name="T66" fmla="*/ 422 w 442"/>
                <a:gd name="T67" fmla="*/ 58 h 420"/>
                <a:gd name="T68" fmla="*/ 441 w 442"/>
                <a:gd name="T69" fmla="*/ 31 h 4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42" h="420">
                  <a:moveTo>
                    <a:pt x="441" y="31"/>
                  </a:moveTo>
                  <a:cubicBezTo>
                    <a:pt x="440" y="27"/>
                    <a:pt x="436" y="23"/>
                    <a:pt x="433" y="21"/>
                  </a:cubicBezTo>
                  <a:cubicBezTo>
                    <a:pt x="431" y="19"/>
                    <a:pt x="429" y="16"/>
                    <a:pt x="427" y="12"/>
                  </a:cubicBezTo>
                  <a:cubicBezTo>
                    <a:pt x="423" y="19"/>
                    <a:pt x="420" y="15"/>
                    <a:pt x="414" y="16"/>
                  </a:cubicBezTo>
                  <a:cubicBezTo>
                    <a:pt x="407" y="18"/>
                    <a:pt x="404" y="29"/>
                    <a:pt x="403" y="40"/>
                  </a:cubicBezTo>
                  <a:cubicBezTo>
                    <a:pt x="403" y="50"/>
                    <a:pt x="390" y="51"/>
                    <a:pt x="380" y="54"/>
                  </a:cubicBezTo>
                  <a:cubicBezTo>
                    <a:pt x="369" y="57"/>
                    <a:pt x="344" y="52"/>
                    <a:pt x="338" y="47"/>
                  </a:cubicBezTo>
                  <a:cubicBezTo>
                    <a:pt x="332" y="42"/>
                    <a:pt x="311" y="33"/>
                    <a:pt x="301" y="31"/>
                  </a:cubicBezTo>
                  <a:cubicBezTo>
                    <a:pt x="292" y="29"/>
                    <a:pt x="275" y="33"/>
                    <a:pt x="262" y="34"/>
                  </a:cubicBezTo>
                  <a:cubicBezTo>
                    <a:pt x="249" y="35"/>
                    <a:pt x="227" y="22"/>
                    <a:pt x="221" y="15"/>
                  </a:cubicBezTo>
                  <a:cubicBezTo>
                    <a:pt x="216" y="10"/>
                    <a:pt x="207" y="4"/>
                    <a:pt x="201" y="0"/>
                  </a:cubicBezTo>
                  <a:cubicBezTo>
                    <a:pt x="199" y="5"/>
                    <a:pt x="198" y="11"/>
                    <a:pt x="196" y="17"/>
                  </a:cubicBezTo>
                  <a:cubicBezTo>
                    <a:pt x="194" y="24"/>
                    <a:pt x="197" y="35"/>
                    <a:pt x="200" y="46"/>
                  </a:cubicBezTo>
                  <a:cubicBezTo>
                    <a:pt x="202" y="56"/>
                    <a:pt x="197" y="58"/>
                    <a:pt x="193" y="63"/>
                  </a:cubicBezTo>
                  <a:cubicBezTo>
                    <a:pt x="188" y="69"/>
                    <a:pt x="158" y="66"/>
                    <a:pt x="149" y="66"/>
                  </a:cubicBezTo>
                  <a:cubicBezTo>
                    <a:pt x="139" y="66"/>
                    <a:pt x="136" y="73"/>
                    <a:pt x="134" y="78"/>
                  </a:cubicBezTo>
                  <a:cubicBezTo>
                    <a:pt x="132" y="84"/>
                    <a:pt x="115" y="84"/>
                    <a:pt x="98" y="82"/>
                  </a:cubicBezTo>
                  <a:cubicBezTo>
                    <a:pt x="89" y="80"/>
                    <a:pt x="83" y="83"/>
                    <a:pt x="78" y="85"/>
                  </a:cubicBezTo>
                  <a:cubicBezTo>
                    <a:pt x="79" y="86"/>
                    <a:pt x="80" y="86"/>
                    <a:pt x="80" y="87"/>
                  </a:cubicBezTo>
                  <a:cubicBezTo>
                    <a:pt x="86" y="95"/>
                    <a:pt x="82" y="105"/>
                    <a:pt x="78" y="109"/>
                  </a:cubicBezTo>
                  <a:cubicBezTo>
                    <a:pt x="75" y="112"/>
                    <a:pt x="73" y="120"/>
                    <a:pt x="64" y="127"/>
                  </a:cubicBezTo>
                  <a:cubicBezTo>
                    <a:pt x="55" y="135"/>
                    <a:pt x="50" y="147"/>
                    <a:pt x="47" y="157"/>
                  </a:cubicBezTo>
                  <a:cubicBezTo>
                    <a:pt x="43" y="167"/>
                    <a:pt x="34" y="170"/>
                    <a:pt x="19" y="171"/>
                  </a:cubicBezTo>
                  <a:cubicBezTo>
                    <a:pt x="11" y="171"/>
                    <a:pt x="4" y="173"/>
                    <a:pt x="0" y="174"/>
                  </a:cubicBezTo>
                  <a:cubicBezTo>
                    <a:pt x="1" y="180"/>
                    <a:pt x="3" y="185"/>
                    <a:pt x="9" y="191"/>
                  </a:cubicBezTo>
                  <a:cubicBezTo>
                    <a:pt x="22" y="202"/>
                    <a:pt x="31" y="182"/>
                    <a:pt x="44" y="202"/>
                  </a:cubicBezTo>
                  <a:cubicBezTo>
                    <a:pt x="56" y="222"/>
                    <a:pt x="62" y="218"/>
                    <a:pt x="74" y="249"/>
                  </a:cubicBezTo>
                  <a:cubicBezTo>
                    <a:pt x="85" y="281"/>
                    <a:pt x="92" y="272"/>
                    <a:pt x="105" y="272"/>
                  </a:cubicBezTo>
                  <a:cubicBezTo>
                    <a:pt x="118" y="272"/>
                    <a:pt x="108" y="284"/>
                    <a:pt x="98" y="289"/>
                  </a:cubicBezTo>
                  <a:cubicBezTo>
                    <a:pt x="88" y="295"/>
                    <a:pt x="101" y="321"/>
                    <a:pt x="115" y="327"/>
                  </a:cubicBezTo>
                  <a:cubicBezTo>
                    <a:pt x="130" y="332"/>
                    <a:pt x="119" y="355"/>
                    <a:pt x="119" y="368"/>
                  </a:cubicBezTo>
                  <a:cubicBezTo>
                    <a:pt x="119" y="381"/>
                    <a:pt x="135" y="385"/>
                    <a:pt x="147" y="380"/>
                  </a:cubicBezTo>
                  <a:cubicBezTo>
                    <a:pt x="158" y="374"/>
                    <a:pt x="161" y="380"/>
                    <a:pt x="167" y="390"/>
                  </a:cubicBezTo>
                  <a:cubicBezTo>
                    <a:pt x="173" y="400"/>
                    <a:pt x="184" y="391"/>
                    <a:pt x="194" y="390"/>
                  </a:cubicBezTo>
                  <a:cubicBezTo>
                    <a:pt x="204" y="388"/>
                    <a:pt x="205" y="406"/>
                    <a:pt x="210" y="413"/>
                  </a:cubicBezTo>
                  <a:cubicBezTo>
                    <a:pt x="214" y="420"/>
                    <a:pt x="217" y="398"/>
                    <a:pt x="217" y="385"/>
                  </a:cubicBezTo>
                  <a:cubicBezTo>
                    <a:pt x="217" y="373"/>
                    <a:pt x="217" y="368"/>
                    <a:pt x="211" y="361"/>
                  </a:cubicBezTo>
                  <a:cubicBezTo>
                    <a:pt x="206" y="354"/>
                    <a:pt x="201" y="350"/>
                    <a:pt x="201" y="335"/>
                  </a:cubicBezTo>
                  <a:cubicBezTo>
                    <a:pt x="201" y="321"/>
                    <a:pt x="216" y="341"/>
                    <a:pt x="231" y="337"/>
                  </a:cubicBezTo>
                  <a:cubicBezTo>
                    <a:pt x="247" y="332"/>
                    <a:pt x="233" y="321"/>
                    <a:pt x="228" y="317"/>
                  </a:cubicBezTo>
                  <a:cubicBezTo>
                    <a:pt x="224" y="312"/>
                    <a:pt x="217" y="302"/>
                    <a:pt x="237" y="294"/>
                  </a:cubicBezTo>
                  <a:cubicBezTo>
                    <a:pt x="257" y="285"/>
                    <a:pt x="243" y="305"/>
                    <a:pt x="266" y="318"/>
                  </a:cubicBezTo>
                  <a:cubicBezTo>
                    <a:pt x="289" y="331"/>
                    <a:pt x="281" y="308"/>
                    <a:pt x="277" y="297"/>
                  </a:cubicBezTo>
                  <a:cubicBezTo>
                    <a:pt x="273" y="285"/>
                    <a:pt x="259" y="285"/>
                    <a:pt x="279" y="287"/>
                  </a:cubicBezTo>
                  <a:cubicBezTo>
                    <a:pt x="299" y="288"/>
                    <a:pt x="296" y="301"/>
                    <a:pt x="313" y="297"/>
                  </a:cubicBezTo>
                  <a:cubicBezTo>
                    <a:pt x="330" y="292"/>
                    <a:pt x="300" y="278"/>
                    <a:pt x="300" y="269"/>
                  </a:cubicBezTo>
                  <a:cubicBezTo>
                    <a:pt x="300" y="261"/>
                    <a:pt x="287" y="246"/>
                    <a:pt x="281" y="244"/>
                  </a:cubicBezTo>
                  <a:cubicBezTo>
                    <a:pt x="276" y="241"/>
                    <a:pt x="261" y="235"/>
                    <a:pt x="247" y="229"/>
                  </a:cubicBezTo>
                  <a:cubicBezTo>
                    <a:pt x="233" y="223"/>
                    <a:pt x="234" y="203"/>
                    <a:pt x="224" y="193"/>
                  </a:cubicBezTo>
                  <a:cubicBezTo>
                    <a:pt x="214" y="183"/>
                    <a:pt x="200" y="155"/>
                    <a:pt x="191" y="150"/>
                  </a:cubicBezTo>
                  <a:cubicBezTo>
                    <a:pt x="183" y="146"/>
                    <a:pt x="181" y="132"/>
                    <a:pt x="188" y="130"/>
                  </a:cubicBezTo>
                  <a:cubicBezTo>
                    <a:pt x="195" y="129"/>
                    <a:pt x="193" y="119"/>
                    <a:pt x="200" y="110"/>
                  </a:cubicBezTo>
                  <a:cubicBezTo>
                    <a:pt x="207" y="102"/>
                    <a:pt x="214" y="123"/>
                    <a:pt x="218" y="125"/>
                  </a:cubicBezTo>
                  <a:cubicBezTo>
                    <a:pt x="223" y="126"/>
                    <a:pt x="230" y="146"/>
                    <a:pt x="244" y="149"/>
                  </a:cubicBezTo>
                  <a:cubicBezTo>
                    <a:pt x="259" y="152"/>
                    <a:pt x="244" y="143"/>
                    <a:pt x="244" y="130"/>
                  </a:cubicBezTo>
                  <a:cubicBezTo>
                    <a:pt x="244" y="117"/>
                    <a:pt x="260" y="136"/>
                    <a:pt x="267" y="148"/>
                  </a:cubicBezTo>
                  <a:cubicBezTo>
                    <a:pt x="274" y="159"/>
                    <a:pt x="281" y="148"/>
                    <a:pt x="273" y="136"/>
                  </a:cubicBezTo>
                  <a:cubicBezTo>
                    <a:pt x="264" y="125"/>
                    <a:pt x="269" y="120"/>
                    <a:pt x="284" y="132"/>
                  </a:cubicBezTo>
                  <a:cubicBezTo>
                    <a:pt x="300" y="143"/>
                    <a:pt x="297" y="130"/>
                    <a:pt x="296" y="125"/>
                  </a:cubicBezTo>
                  <a:cubicBezTo>
                    <a:pt x="294" y="119"/>
                    <a:pt x="277" y="113"/>
                    <a:pt x="266" y="107"/>
                  </a:cubicBezTo>
                  <a:cubicBezTo>
                    <a:pt x="254" y="102"/>
                    <a:pt x="269" y="94"/>
                    <a:pt x="281" y="94"/>
                  </a:cubicBezTo>
                  <a:cubicBezTo>
                    <a:pt x="294" y="94"/>
                    <a:pt x="291" y="83"/>
                    <a:pt x="302" y="77"/>
                  </a:cubicBezTo>
                  <a:cubicBezTo>
                    <a:pt x="312" y="72"/>
                    <a:pt x="312" y="92"/>
                    <a:pt x="319" y="100"/>
                  </a:cubicBezTo>
                  <a:cubicBezTo>
                    <a:pt x="326" y="109"/>
                    <a:pt x="327" y="86"/>
                    <a:pt x="329" y="77"/>
                  </a:cubicBezTo>
                  <a:cubicBezTo>
                    <a:pt x="330" y="69"/>
                    <a:pt x="362" y="82"/>
                    <a:pt x="383" y="82"/>
                  </a:cubicBezTo>
                  <a:cubicBezTo>
                    <a:pt x="394" y="82"/>
                    <a:pt x="402" y="85"/>
                    <a:pt x="409" y="89"/>
                  </a:cubicBezTo>
                  <a:cubicBezTo>
                    <a:pt x="411" y="83"/>
                    <a:pt x="417" y="80"/>
                    <a:pt x="422" y="77"/>
                  </a:cubicBezTo>
                  <a:cubicBezTo>
                    <a:pt x="427" y="73"/>
                    <a:pt x="422" y="62"/>
                    <a:pt x="422" y="58"/>
                  </a:cubicBezTo>
                  <a:cubicBezTo>
                    <a:pt x="422" y="55"/>
                    <a:pt x="423" y="49"/>
                    <a:pt x="431" y="48"/>
                  </a:cubicBezTo>
                  <a:cubicBezTo>
                    <a:pt x="440" y="47"/>
                    <a:pt x="442" y="36"/>
                    <a:pt x="441" y="31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128" name="Freeform 25187"/>
            <p:cNvSpPr>
              <a:spLocks/>
            </p:cNvSpPr>
            <p:nvPr/>
          </p:nvSpPr>
          <p:spPr bwMode="auto">
            <a:xfrm>
              <a:off x="4925075" y="2936564"/>
              <a:ext cx="5998" cy="11996"/>
            </a:xfrm>
            <a:custGeom>
              <a:avLst/>
              <a:gdLst>
                <a:gd name="T0" fmla="*/ 9 w 16"/>
                <a:gd name="T1" fmla="*/ 10 h 32"/>
                <a:gd name="T2" fmla="*/ 7 w 16"/>
                <a:gd name="T3" fmla="*/ 19 h 32"/>
                <a:gd name="T4" fmla="*/ 3 w 16"/>
                <a:gd name="T5" fmla="*/ 29 h 32"/>
                <a:gd name="T6" fmla="*/ 16 w 16"/>
                <a:gd name="T7" fmla="*/ 25 h 32"/>
                <a:gd name="T8" fmla="*/ 9 w 16"/>
                <a:gd name="T9" fmla="*/ 1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32">
                  <a:moveTo>
                    <a:pt x="9" y="10"/>
                  </a:moveTo>
                  <a:cubicBezTo>
                    <a:pt x="9" y="10"/>
                    <a:pt x="11" y="16"/>
                    <a:pt x="7" y="19"/>
                  </a:cubicBezTo>
                  <a:cubicBezTo>
                    <a:pt x="3" y="22"/>
                    <a:pt x="0" y="28"/>
                    <a:pt x="3" y="29"/>
                  </a:cubicBezTo>
                  <a:cubicBezTo>
                    <a:pt x="7" y="31"/>
                    <a:pt x="16" y="32"/>
                    <a:pt x="16" y="25"/>
                  </a:cubicBezTo>
                  <a:cubicBezTo>
                    <a:pt x="16" y="18"/>
                    <a:pt x="15" y="0"/>
                    <a:pt x="9" y="1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129" name="Freeform 25188"/>
            <p:cNvSpPr>
              <a:spLocks/>
            </p:cNvSpPr>
            <p:nvPr/>
          </p:nvSpPr>
          <p:spPr bwMode="auto">
            <a:xfrm>
              <a:off x="4841264" y="2942088"/>
              <a:ext cx="69763" cy="23517"/>
            </a:xfrm>
            <a:custGeom>
              <a:avLst/>
              <a:gdLst>
                <a:gd name="T0" fmla="*/ 5 w 187"/>
                <a:gd name="T1" fmla="*/ 5 h 63"/>
                <a:gd name="T2" fmla="*/ 6 w 187"/>
                <a:gd name="T3" fmla="*/ 30 h 63"/>
                <a:gd name="T4" fmla="*/ 26 w 187"/>
                <a:gd name="T5" fmla="*/ 30 h 63"/>
                <a:gd name="T6" fmla="*/ 43 w 187"/>
                <a:gd name="T7" fmla="*/ 35 h 63"/>
                <a:gd name="T8" fmla="*/ 56 w 187"/>
                <a:gd name="T9" fmla="*/ 40 h 63"/>
                <a:gd name="T10" fmla="*/ 80 w 187"/>
                <a:gd name="T11" fmla="*/ 46 h 63"/>
                <a:gd name="T12" fmla="*/ 98 w 187"/>
                <a:gd name="T13" fmla="*/ 57 h 63"/>
                <a:gd name="T14" fmla="*/ 122 w 187"/>
                <a:gd name="T15" fmla="*/ 56 h 63"/>
                <a:gd name="T16" fmla="*/ 134 w 187"/>
                <a:gd name="T17" fmla="*/ 49 h 63"/>
                <a:gd name="T18" fmla="*/ 148 w 187"/>
                <a:gd name="T19" fmla="*/ 53 h 63"/>
                <a:gd name="T20" fmla="*/ 164 w 187"/>
                <a:gd name="T21" fmla="*/ 48 h 63"/>
                <a:gd name="T22" fmla="*/ 179 w 187"/>
                <a:gd name="T23" fmla="*/ 45 h 63"/>
                <a:gd name="T24" fmla="*/ 186 w 187"/>
                <a:gd name="T25" fmla="*/ 36 h 63"/>
                <a:gd name="T26" fmla="*/ 175 w 187"/>
                <a:gd name="T27" fmla="*/ 30 h 63"/>
                <a:gd name="T28" fmla="*/ 156 w 187"/>
                <a:gd name="T29" fmla="*/ 32 h 63"/>
                <a:gd name="T30" fmla="*/ 137 w 187"/>
                <a:gd name="T31" fmla="*/ 22 h 63"/>
                <a:gd name="T32" fmla="*/ 108 w 187"/>
                <a:gd name="T33" fmla="*/ 21 h 63"/>
                <a:gd name="T34" fmla="*/ 96 w 187"/>
                <a:gd name="T35" fmla="*/ 15 h 63"/>
                <a:gd name="T36" fmla="*/ 72 w 187"/>
                <a:gd name="T37" fmla="*/ 15 h 63"/>
                <a:gd name="T38" fmla="*/ 55 w 187"/>
                <a:gd name="T39" fmla="*/ 20 h 63"/>
                <a:gd name="T40" fmla="*/ 42 w 187"/>
                <a:gd name="T41" fmla="*/ 5 h 63"/>
                <a:gd name="T42" fmla="*/ 18 w 187"/>
                <a:gd name="T43" fmla="*/ 3 h 63"/>
                <a:gd name="T44" fmla="*/ 5 w 187"/>
                <a:gd name="T45" fmla="*/ 5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87" h="63">
                  <a:moveTo>
                    <a:pt x="5" y="5"/>
                  </a:moveTo>
                  <a:cubicBezTo>
                    <a:pt x="5" y="5"/>
                    <a:pt x="0" y="29"/>
                    <a:pt x="6" y="30"/>
                  </a:cubicBezTo>
                  <a:cubicBezTo>
                    <a:pt x="13" y="30"/>
                    <a:pt x="20" y="28"/>
                    <a:pt x="26" y="30"/>
                  </a:cubicBezTo>
                  <a:cubicBezTo>
                    <a:pt x="32" y="31"/>
                    <a:pt x="40" y="30"/>
                    <a:pt x="43" y="35"/>
                  </a:cubicBezTo>
                  <a:cubicBezTo>
                    <a:pt x="46" y="40"/>
                    <a:pt x="48" y="40"/>
                    <a:pt x="56" y="40"/>
                  </a:cubicBezTo>
                  <a:cubicBezTo>
                    <a:pt x="64" y="40"/>
                    <a:pt x="75" y="40"/>
                    <a:pt x="80" y="46"/>
                  </a:cubicBezTo>
                  <a:cubicBezTo>
                    <a:pt x="86" y="53"/>
                    <a:pt x="88" y="57"/>
                    <a:pt x="98" y="57"/>
                  </a:cubicBezTo>
                  <a:cubicBezTo>
                    <a:pt x="109" y="58"/>
                    <a:pt x="119" y="63"/>
                    <a:pt x="122" y="56"/>
                  </a:cubicBezTo>
                  <a:cubicBezTo>
                    <a:pt x="125" y="50"/>
                    <a:pt x="126" y="48"/>
                    <a:pt x="134" y="49"/>
                  </a:cubicBezTo>
                  <a:cubicBezTo>
                    <a:pt x="142" y="49"/>
                    <a:pt x="143" y="51"/>
                    <a:pt x="148" y="53"/>
                  </a:cubicBezTo>
                  <a:cubicBezTo>
                    <a:pt x="152" y="55"/>
                    <a:pt x="151" y="46"/>
                    <a:pt x="164" y="48"/>
                  </a:cubicBezTo>
                  <a:cubicBezTo>
                    <a:pt x="178" y="50"/>
                    <a:pt x="178" y="49"/>
                    <a:pt x="179" y="45"/>
                  </a:cubicBezTo>
                  <a:cubicBezTo>
                    <a:pt x="180" y="42"/>
                    <a:pt x="187" y="41"/>
                    <a:pt x="186" y="36"/>
                  </a:cubicBezTo>
                  <a:cubicBezTo>
                    <a:pt x="186" y="30"/>
                    <a:pt x="182" y="27"/>
                    <a:pt x="175" y="30"/>
                  </a:cubicBezTo>
                  <a:cubicBezTo>
                    <a:pt x="168" y="32"/>
                    <a:pt x="162" y="34"/>
                    <a:pt x="156" y="32"/>
                  </a:cubicBezTo>
                  <a:cubicBezTo>
                    <a:pt x="151" y="29"/>
                    <a:pt x="145" y="22"/>
                    <a:pt x="137" y="22"/>
                  </a:cubicBezTo>
                  <a:cubicBezTo>
                    <a:pt x="129" y="23"/>
                    <a:pt x="112" y="27"/>
                    <a:pt x="108" y="21"/>
                  </a:cubicBezTo>
                  <a:cubicBezTo>
                    <a:pt x="105" y="16"/>
                    <a:pt x="105" y="16"/>
                    <a:pt x="96" y="15"/>
                  </a:cubicBezTo>
                  <a:cubicBezTo>
                    <a:pt x="87" y="14"/>
                    <a:pt x="75" y="11"/>
                    <a:pt x="72" y="15"/>
                  </a:cubicBezTo>
                  <a:cubicBezTo>
                    <a:pt x="69" y="20"/>
                    <a:pt x="59" y="24"/>
                    <a:pt x="55" y="20"/>
                  </a:cubicBezTo>
                  <a:cubicBezTo>
                    <a:pt x="51" y="15"/>
                    <a:pt x="54" y="6"/>
                    <a:pt x="42" y="5"/>
                  </a:cubicBezTo>
                  <a:cubicBezTo>
                    <a:pt x="31" y="4"/>
                    <a:pt x="25" y="6"/>
                    <a:pt x="18" y="3"/>
                  </a:cubicBezTo>
                  <a:cubicBezTo>
                    <a:pt x="12" y="0"/>
                    <a:pt x="6" y="1"/>
                    <a:pt x="5" y="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130" name="Freeform 25189"/>
            <p:cNvSpPr>
              <a:spLocks/>
            </p:cNvSpPr>
            <p:nvPr/>
          </p:nvSpPr>
          <p:spPr bwMode="auto">
            <a:xfrm>
              <a:off x="4871885" y="2880690"/>
              <a:ext cx="12311" cy="9628"/>
            </a:xfrm>
            <a:custGeom>
              <a:avLst/>
              <a:gdLst>
                <a:gd name="T0" fmla="*/ 28 w 33"/>
                <a:gd name="T1" fmla="*/ 16 h 26"/>
                <a:gd name="T2" fmla="*/ 17 w 33"/>
                <a:gd name="T3" fmla="*/ 8 h 26"/>
                <a:gd name="T4" fmla="*/ 8 w 33"/>
                <a:gd name="T5" fmla="*/ 0 h 26"/>
                <a:gd name="T6" fmla="*/ 6 w 33"/>
                <a:gd name="T7" fmla="*/ 13 h 26"/>
                <a:gd name="T8" fmla="*/ 14 w 33"/>
                <a:gd name="T9" fmla="*/ 20 h 26"/>
                <a:gd name="T10" fmla="*/ 24 w 33"/>
                <a:gd name="T11" fmla="*/ 26 h 26"/>
                <a:gd name="T12" fmla="*/ 28 w 33"/>
                <a:gd name="T13" fmla="*/ 1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" h="26">
                  <a:moveTo>
                    <a:pt x="28" y="16"/>
                  </a:moveTo>
                  <a:cubicBezTo>
                    <a:pt x="28" y="16"/>
                    <a:pt x="20" y="13"/>
                    <a:pt x="17" y="8"/>
                  </a:cubicBezTo>
                  <a:cubicBezTo>
                    <a:pt x="14" y="3"/>
                    <a:pt x="13" y="1"/>
                    <a:pt x="8" y="0"/>
                  </a:cubicBezTo>
                  <a:cubicBezTo>
                    <a:pt x="4" y="0"/>
                    <a:pt x="0" y="10"/>
                    <a:pt x="6" y="13"/>
                  </a:cubicBezTo>
                  <a:cubicBezTo>
                    <a:pt x="12" y="16"/>
                    <a:pt x="11" y="15"/>
                    <a:pt x="14" y="20"/>
                  </a:cubicBezTo>
                  <a:cubicBezTo>
                    <a:pt x="17" y="24"/>
                    <a:pt x="20" y="26"/>
                    <a:pt x="24" y="26"/>
                  </a:cubicBezTo>
                  <a:cubicBezTo>
                    <a:pt x="28" y="26"/>
                    <a:pt x="33" y="21"/>
                    <a:pt x="28" y="16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131" name="Freeform 25190"/>
            <p:cNvSpPr>
              <a:spLocks/>
            </p:cNvSpPr>
            <p:nvPr/>
          </p:nvSpPr>
          <p:spPr bwMode="auto">
            <a:xfrm>
              <a:off x="4862888" y="2909732"/>
              <a:ext cx="4419" cy="6629"/>
            </a:xfrm>
            <a:custGeom>
              <a:avLst/>
              <a:gdLst>
                <a:gd name="T0" fmla="*/ 7 w 12"/>
                <a:gd name="T1" fmla="*/ 6 h 18"/>
                <a:gd name="T2" fmla="*/ 4 w 12"/>
                <a:gd name="T3" fmla="*/ 12 h 18"/>
                <a:gd name="T4" fmla="*/ 4 w 12"/>
                <a:gd name="T5" fmla="*/ 18 h 18"/>
                <a:gd name="T6" fmla="*/ 12 w 12"/>
                <a:gd name="T7" fmla="*/ 13 h 18"/>
                <a:gd name="T8" fmla="*/ 7 w 12"/>
                <a:gd name="T9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8">
                  <a:moveTo>
                    <a:pt x="7" y="6"/>
                  </a:moveTo>
                  <a:cubicBezTo>
                    <a:pt x="7" y="6"/>
                    <a:pt x="9" y="12"/>
                    <a:pt x="4" y="12"/>
                  </a:cubicBezTo>
                  <a:cubicBezTo>
                    <a:pt x="0" y="12"/>
                    <a:pt x="1" y="18"/>
                    <a:pt x="4" y="18"/>
                  </a:cubicBezTo>
                  <a:cubicBezTo>
                    <a:pt x="8" y="18"/>
                    <a:pt x="12" y="18"/>
                    <a:pt x="12" y="13"/>
                  </a:cubicBezTo>
                  <a:cubicBezTo>
                    <a:pt x="12" y="9"/>
                    <a:pt x="9" y="0"/>
                    <a:pt x="7" y="6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132" name="Freeform 25191"/>
            <p:cNvSpPr>
              <a:spLocks/>
            </p:cNvSpPr>
            <p:nvPr/>
          </p:nvSpPr>
          <p:spPr bwMode="auto">
            <a:xfrm>
              <a:off x="4882302" y="2899314"/>
              <a:ext cx="10417" cy="10417"/>
            </a:xfrm>
            <a:custGeom>
              <a:avLst/>
              <a:gdLst>
                <a:gd name="T0" fmla="*/ 15 w 28"/>
                <a:gd name="T1" fmla="*/ 7 h 28"/>
                <a:gd name="T2" fmla="*/ 1 w 28"/>
                <a:gd name="T3" fmla="*/ 12 h 28"/>
                <a:gd name="T4" fmla="*/ 6 w 28"/>
                <a:gd name="T5" fmla="*/ 21 h 28"/>
                <a:gd name="T6" fmla="*/ 17 w 28"/>
                <a:gd name="T7" fmla="*/ 25 h 28"/>
                <a:gd name="T8" fmla="*/ 26 w 28"/>
                <a:gd name="T9" fmla="*/ 22 h 28"/>
                <a:gd name="T10" fmla="*/ 26 w 28"/>
                <a:gd name="T11" fmla="*/ 7 h 28"/>
                <a:gd name="T12" fmla="*/ 20 w 28"/>
                <a:gd name="T13" fmla="*/ 0 h 28"/>
                <a:gd name="T14" fmla="*/ 15 w 28"/>
                <a:gd name="T15" fmla="*/ 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8" h="28">
                  <a:moveTo>
                    <a:pt x="15" y="7"/>
                  </a:moveTo>
                  <a:cubicBezTo>
                    <a:pt x="15" y="7"/>
                    <a:pt x="1" y="5"/>
                    <a:pt x="1" y="12"/>
                  </a:cubicBezTo>
                  <a:cubicBezTo>
                    <a:pt x="1" y="18"/>
                    <a:pt x="0" y="21"/>
                    <a:pt x="6" y="21"/>
                  </a:cubicBezTo>
                  <a:cubicBezTo>
                    <a:pt x="12" y="21"/>
                    <a:pt x="16" y="22"/>
                    <a:pt x="17" y="25"/>
                  </a:cubicBezTo>
                  <a:cubicBezTo>
                    <a:pt x="19" y="28"/>
                    <a:pt x="25" y="26"/>
                    <a:pt x="26" y="22"/>
                  </a:cubicBezTo>
                  <a:cubicBezTo>
                    <a:pt x="27" y="18"/>
                    <a:pt x="28" y="9"/>
                    <a:pt x="26" y="7"/>
                  </a:cubicBezTo>
                  <a:cubicBezTo>
                    <a:pt x="23" y="4"/>
                    <a:pt x="24" y="0"/>
                    <a:pt x="20" y="0"/>
                  </a:cubicBezTo>
                  <a:cubicBezTo>
                    <a:pt x="16" y="0"/>
                    <a:pt x="21" y="8"/>
                    <a:pt x="15" y="7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133" name="Freeform 25192"/>
            <p:cNvSpPr>
              <a:spLocks/>
            </p:cNvSpPr>
            <p:nvPr/>
          </p:nvSpPr>
          <p:spPr bwMode="auto">
            <a:xfrm>
              <a:off x="4899821" y="2888740"/>
              <a:ext cx="5209" cy="4893"/>
            </a:xfrm>
            <a:custGeom>
              <a:avLst/>
              <a:gdLst>
                <a:gd name="T0" fmla="*/ 6 w 14"/>
                <a:gd name="T1" fmla="*/ 2 h 13"/>
                <a:gd name="T2" fmla="*/ 6 w 14"/>
                <a:gd name="T3" fmla="*/ 8 h 13"/>
                <a:gd name="T4" fmla="*/ 14 w 14"/>
                <a:gd name="T5" fmla="*/ 9 h 13"/>
                <a:gd name="T6" fmla="*/ 6 w 14"/>
                <a:gd name="T7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13">
                  <a:moveTo>
                    <a:pt x="6" y="2"/>
                  </a:moveTo>
                  <a:cubicBezTo>
                    <a:pt x="6" y="2"/>
                    <a:pt x="0" y="5"/>
                    <a:pt x="6" y="8"/>
                  </a:cubicBezTo>
                  <a:cubicBezTo>
                    <a:pt x="12" y="11"/>
                    <a:pt x="13" y="13"/>
                    <a:pt x="14" y="9"/>
                  </a:cubicBezTo>
                  <a:cubicBezTo>
                    <a:pt x="14" y="5"/>
                    <a:pt x="11" y="0"/>
                    <a:pt x="6" y="2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134" name="Freeform 25193"/>
            <p:cNvSpPr>
              <a:spLocks/>
            </p:cNvSpPr>
            <p:nvPr/>
          </p:nvSpPr>
          <p:spPr bwMode="auto">
            <a:xfrm>
              <a:off x="4895402" y="2905628"/>
              <a:ext cx="6629" cy="8523"/>
            </a:xfrm>
            <a:custGeom>
              <a:avLst/>
              <a:gdLst>
                <a:gd name="T0" fmla="*/ 10 w 18"/>
                <a:gd name="T1" fmla="*/ 6 h 23"/>
                <a:gd name="T2" fmla="*/ 8 w 18"/>
                <a:gd name="T3" fmla="*/ 13 h 23"/>
                <a:gd name="T4" fmla="*/ 4 w 18"/>
                <a:gd name="T5" fmla="*/ 22 h 23"/>
                <a:gd name="T6" fmla="*/ 12 w 18"/>
                <a:gd name="T7" fmla="*/ 19 h 23"/>
                <a:gd name="T8" fmla="*/ 17 w 18"/>
                <a:gd name="T9" fmla="*/ 10 h 23"/>
                <a:gd name="T10" fmla="*/ 10 w 18"/>
                <a:gd name="T11" fmla="*/ 6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23">
                  <a:moveTo>
                    <a:pt x="10" y="6"/>
                  </a:moveTo>
                  <a:cubicBezTo>
                    <a:pt x="10" y="6"/>
                    <a:pt x="12" y="10"/>
                    <a:pt x="8" y="13"/>
                  </a:cubicBezTo>
                  <a:cubicBezTo>
                    <a:pt x="3" y="15"/>
                    <a:pt x="0" y="21"/>
                    <a:pt x="4" y="22"/>
                  </a:cubicBezTo>
                  <a:cubicBezTo>
                    <a:pt x="7" y="22"/>
                    <a:pt x="11" y="23"/>
                    <a:pt x="12" y="19"/>
                  </a:cubicBezTo>
                  <a:cubicBezTo>
                    <a:pt x="13" y="15"/>
                    <a:pt x="18" y="16"/>
                    <a:pt x="17" y="10"/>
                  </a:cubicBezTo>
                  <a:cubicBezTo>
                    <a:pt x="16" y="3"/>
                    <a:pt x="10" y="0"/>
                    <a:pt x="10" y="6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135" name="Freeform 25194"/>
            <p:cNvSpPr>
              <a:spLocks/>
            </p:cNvSpPr>
            <p:nvPr/>
          </p:nvSpPr>
          <p:spPr bwMode="auto">
            <a:xfrm>
              <a:off x="4910238" y="2916360"/>
              <a:ext cx="2999" cy="3788"/>
            </a:xfrm>
            <a:custGeom>
              <a:avLst/>
              <a:gdLst>
                <a:gd name="T0" fmla="*/ 4 w 8"/>
                <a:gd name="T1" fmla="*/ 1 h 10"/>
                <a:gd name="T2" fmla="*/ 1 w 8"/>
                <a:gd name="T3" fmla="*/ 5 h 10"/>
                <a:gd name="T4" fmla="*/ 6 w 8"/>
                <a:gd name="T5" fmla="*/ 10 h 10"/>
                <a:gd name="T6" fmla="*/ 8 w 8"/>
                <a:gd name="T7" fmla="*/ 5 h 10"/>
                <a:gd name="T8" fmla="*/ 4 w 8"/>
                <a:gd name="T9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0">
                  <a:moveTo>
                    <a:pt x="4" y="1"/>
                  </a:moveTo>
                  <a:cubicBezTo>
                    <a:pt x="4" y="1"/>
                    <a:pt x="0" y="0"/>
                    <a:pt x="1" y="5"/>
                  </a:cubicBezTo>
                  <a:cubicBezTo>
                    <a:pt x="2" y="9"/>
                    <a:pt x="4" y="10"/>
                    <a:pt x="6" y="10"/>
                  </a:cubicBezTo>
                  <a:cubicBezTo>
                    <a:pt x="7" y="9"/>
                    <a:pt x="8" y="8"/>
                    <a:pt x="8" y="5"/>
                  </a:cubicBezTo>
                  <a:cubicBezTo>
                    <a:pt x="8" y="3"/>
                    <a:pt x="8" y="1"/>
                    <a:pt x="4" y="1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136" name="Freeform 25195"/>
            <p:cNvSpPr>
              <a:spLocks/>
            </p:cNvSpPr>
            <p:nvPr/>
          </p:nvSpPr>
          <p:spPr bwMode="auto">
            <a:xfrm>
              <a:off x="4878514" y="2820871"/>
              <a:ext cx="10102" cy="8681"/>
            </a:xfrm>
            <a:custGeom>
              <a:avLst/>
              <a:gdLst>
                <a:gd name="T0" fmla="*/ 10 w 27"/>
                <a:gd name="T1" fmla="*/ 2 h 23"/>
                <a:gd name="T2" fmla="*/ 3 w 27"/>
                <a:gd name="T3" fmla="*/ 7 h 23"/>
                <a:gd name="T4" fmla="*/ 8 w 27"/>
                <a:gd name="T5" fmla="*/ 20 h 23"/>
                <a:gd name="T6" fmla="*/ 27 w 27"/>
                <a:gd name="T7" fmla="*/ 16 h 23"/>
                <a:gd name="T8" fmla="*/ 22 w 27"/>
                <a:gd name="T9" fmla="*/ 3 h 23"/>
                <a:gd name="T10" fmla="*/ 10 w 27"/>
                <a:gd name="T11" fmla="*/ 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7" h="23">
                  <a:moveTo>
                    <a:pt x="10" y="2"/>
                  </a:moveTo>
                  <a:cubicBezTo>
                    <a:pt x="10" y="2"/>
                    <a:pt x="3" y="2"/>
                    <a:pt x="3" y="7"/>
                  </a:cubicBezTo>
                  <a:cubicBezTo>
                    <a:pt x="3" y="13"/>
                    <a:pt x="0" y="19"/>
                    <a:pt x="8" y="20"/>
                  </a:cubicBezTo>
                  <a:cubicBezTo>
                    <a:pt x="16" y="21"/>
                    <a:pt x="27" y="23"/>
                    <a:pt x="27" y="16"/>
                  </a:cubicBezTo>
                  <a:cubicBezTo>
                    <a:pt x="27" y="9"/>
                    <a:pt x="27" y="4"/>
                    <a:pt x="22" y="3"/>
                  </a:cubicBezTo>
                  <a:cubicBezTo>
                    <a:pt x="16" y="2"/>
                    <a:pt x="16" y="0"/>
                    <a:pt x="10" y="2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137" name="Freeform 25196"/>
            <p:cNvSpPr>
              <a:spLocks/>
            </p:cNvSpPr>
            <p:nvPr/>
          </p:nvSpPr>
          <p:spPr bwMode="auto">
            <a:xfrm>
              <a:off x="4888615" y="2805719"/>
              <a:ext cx="5998" cy="3630"/>
            </a:xfrm>
            <a:custGeom>
              <a:avLst/>
              <a:gdLst>
                <a:gd name="T0" fmla="*/ 5 w 16"/>
                <a:gd name="T1" fmla="*/ 3 h 10"/>
                <a:gd name="T2" fmla="*/ 3 w 16"/>
                <a:gd name="T3" fmla="*/ 8 h 10"/>
                <a:gd name="T4" fmla="*/ 14 w 16"/>
                <a:gd name="T5" fmla="*/ 9 h 10"/>
                <a:gd name="T6" fmla="*/ 5 w 16"/>
                <a:gd name="T7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10">
                  <a:moveTo>
                    <a:pt x="5" y="3"/>
                  </a:moveTo>
                  <a:cubicBezTo>
                    <a:pt x="5" y="3"/>
                    <a:pt x="0" y="6"/>
                    <a:pt x="3" y="8"/>
                  </a:cubicBezTo>
                  <a:cubicBezTo>
                    <a:pt x="7" y="9"/>
                    <a:pt x="12" y="10"/>
                    <a:pt x="14" y="9"/>
                  </a:cubicBezTo>
                  <a:cubicBezTo>
                    <a:pt x="16" y="7"/>
                    <a:pt x="10" y="0"/>
                    <a:pt x="5" y="3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138" name="Freeform 25197"/>
            <p:cNvSpPr>
              <a:spLocks/>
            </p:cNvSpPr>
            <p:nvPr/>
          </p:nvSpPr>
          <p:spPr bwMode="auto">
            <a:xfrm>
              <a:off x="4876620" y="2833656"/>
              <a:ext cx="2999" cy="2525"/>
            </a:xfrm>
            <a:custGeom>
              <a:avLst/>
              <a:gdLst>
                <a:gd name="T0" fmla="*/ 1 w 8"/>
                <a:gd name="T1" fmla="*/ 2 h 7"/>
                <a:gd name="T2" fmla="*/ 3 w 8"/>
                <a:gd name="T3" fmla="*/ 7 h 7"/>
                <a:gd name="T4" fmla="*/ 8 w 8"/>
                <a:gd name="T5" fmla="*/ 4 h 7"/>
                <a:gd name="T6" fmla="*/ 1 w 8"/>
                <a:gd name="T7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7">
                  <a:moveTo>
                    <a:pt x="1" y="2"/>
                  </a:moveTo>
                  <a:cubicBezTo>
                    <a:pt x="1" y="2"/>
                    <a:pt x="0" y="7"/>
                    <a:pt x="3" y="7"/>
                  </a:cubicBezTo>
                  <a:cubicBezTo>
                    <a:pt x="6" y="7"/>
                    <a:pt x="8" y="7"/>
                    <a:pt x="8" y="4"/>
                  </a:cubicBezTo>
                  <a:cubicBezTo>
                    <a:pt x="8" y="1"/>
                    <a:pt x="2" y="0"/>
                    <a:pt x="1" y="2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139" name="Freeform 25198"/>
            <p:cNvSpPr>
              <a:spLocks/>
            </p:cNvSpPr>
            <p:nvPr/>
          </p:nvSpPr>
          <p:spPr bwMode="auto">
            <a:xfrm>
              <a:off x="4774817" y="2882900"/>
              <a:ext cx="7103" cy="6629"/>
            </a:xfrm>
            <a:custGeom>
              <a:avLst/>
              <a:gdLst>
                <a:gd name="T0" fmla="*/ 17 w 19"/>
                <a:gd name="T1" fmla="*/ 7 h 18"/>
                <a:gd name="T2" fmla="*/ 16 w 19"/>
                <a:gd name="T3" fmla="*/ 1 h 18"/>
                <a:gd name="T4" fmla="*/ 7 w 19"/>
                <a:gd name="T5" fmla="*/ 1 h 18"/>
                <a:gd name="T6" fmla="*/ 0 w 19"/>
                <a:gd name="T7" fmla="*/ 3 h 18"/>
                <a:gd name="T8" fmla="*/ 4 w 19"/>
                <a:gd name="T9" fmla="*/ 9 h 18"/>
                <a:gd name="T10" fmla="*/ 8 w 19"/>
                <a:gd name="T11" fmla="*/ 12 h 18"/>
                <a:gd name="T12" fmla="*/ 11 w 19"/>
                <a:gd name="T13" fmla="*/ 17 h 18"/>
                <a:gd name="T14" fmla="*/ 17 w 19"/>
                <a:gd name="T15" fmla="*/ 16 h 18"/>
                <a:gd name="T16" fmla="*/ 17 w 19"/>
                <a:gd name="T17" fmla="*/ 7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7" y="7"/>
                  </a:moveTo>
                  <a:cubicBezTo>
                    <a:pt x="17" y="7"/>
                    <a:pt x="19" y="1"/>
                    <a:pt x="16" y="1"/>
                  </a:cubicBezTo>
                  <a:cubicBezTo>
                    <a:pt x="13" y="1"/>
                    <a:pt x="9" y="1"/>
                    <a:pt x="7" y="1"/>
                  </a:cubicBezTo>
                  <a:cubicBezTo>
                    <a:pt x="4" y="1"/>
                    <a:pt x="0" y="0"/>
                    <a:pt x="0" y="3"/>
                  </a:cubicBezTo>
                  <a:cubicBezTo>
                    <a:pt x="0" y="6"/>
                    <a:pt x="1" y="8"/>
                    <a:pt x="4" y="9"/>
                  </a:cubicBezTo>
                  <a:cubicBezTo>
                    <a:pt x="6" y="9"/>
                    <a:pt x="8" y="8"/>
                    <a:pt x="8" y="12"/>
                  </a:cubicBezTo>
                  <a:cubicBezTo>
                    <a:pt x="8" y="16"/>
                    <a:pt x="9" y="17"/>
                    <a:pt x="11" y="17"/>
                  </a:cubicBezTo>
                  <a:cubicBezTo>
                    <a:pt x="14" y="18"/>
                    <a:pt x="17" y="18"/>
                    <a:pt x="17" y="16"/>
                  </a:cubicBezTo>
                  <a:cubicBezTo>
                    <a:pt x="17" y="13"/>
                    <a:pt x="16" y="10"/>
                    <a:pt x="17" y="7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140" name="Freeform 25199"/>
            <p:cNvSpPr>
              <a:spLocks/>
            </p:cNvSpPr>
            <p:nvPr/>
          </p:nvSpPr>
          <p:spPr bwMode="auto">
            <a:xfrm>
              <a:off x="4167472" y="2491314"/>
              <a:ext cx="310933" cy="265477"/>
            </a:xfrm>
            <a:custGeom>
              <a:avLst/>
              <a:gdLst>
                <a:gd name="T0" fmla="*/ 778 w 834"/>
                <a:gd name="T1" fmla="*/ 569 h 712"/>
                <a:gd name="T2" fmla="*/ 751 w 834"/>
                <a:gd name="T3" fmla="*/ 550 h 712"/>
                <a:gd name="T4" fmla="*/ 753 w 834"/>
                <a:gd name="T5" fmla="*/ 520 h 712"/>
                <a:gd name="T6" fmla="*/ 755 w 834"/>
                <a:gd name="T7" fmla="*/ 485 h 712"/>
                <a:gd name="T8" fmla="*/ 749 w 834"/>
                <a:gd name="T9" fmla="*/ 451 h 712"/>
                <a:gd name="T10" fmla="*/ 748 w 834"/>
                <a:gd name="T11" fmla="*/ 413 h 712"/>
                <a:gd name="T12" fmla="*/ 730 w 834"/>
                <a:gd name="T13" fmla="*/ 391 h 712"/>
                <a:gd name="T14" fmla="*/ 694 w 834"/>
                <a:gd name="T15" fmla="*/ 416 h 712"/>
                <a:gd name="T16" fmla="*/ 706 w 834"/>
                <a:gd name="T17" fmla="*/ 378 h 712"/>
                <a:gd name="T18" fmla="*/ 751 w 834"/>
                <a:gd name="T19" fmla="*/ 329 h 712"/>
                <a:gd name="T20" fmla="*/ 771 w 834"/>
                <a:gd name="T21" fmla="*/ 307 h 712"/>
                <a:gd name="T22" fmla="*/ 792 w 834"/>
                <a:gd name="T23" fmla="*/ 280 h 712"/>
                <a:gd name="T24" fmla="*/ 803 w 834"/>
                <a:gd name="T25" fmla="*/ 240 h 712"/>
                <a:gd name="T26" fmla="*/ 822 w 834"/>
                <a:gd name="T27" fmla="*/ 204 h 712"/>
                <a:gd name="T28" fmla="*/ 808 w 834"/>
                <a:gd name="T29" fmla="*/ 181 h 712"/>
                <a:gd name="T30" fmla="*/ 770 w 834"/>
                <a:gd name="T31" fmla="*/ 172 h 712"/>
                <a:gd name="T32" fmla="*/ 734 w 834"/>
                <a:gd name="T33" fmla="*/ 150 h 712"/>
                <a:gd name="T34" fmla="*/ 668 w 834"/>
                <a:gd name="T35" fmla="*/ 139 h 712"/>
                <a:gd name="T36" fmla="*/ 637 w 834"/>
                <a:gd name="T37" fmla="*/ 121 h 712"/>
                <a:gd name="T38" fmla="*/ 602 w 834"/>
                <a:gd name="T39" fmla="*/ 99 h 712"/>
                <a:gd name="T40" fmla="*/ 574 w 834"/>
                <a:gd name="T41" fmla="*/ 79 h 712"/>
                <a:gd name="T42" fmla="*/ 528 w 834"/>
                <a:gd name="T43" fmla="*/ 55 h 712"/>
                <a:gd name="T44" fmla="*/ 494 w 834"/>
                <a:gd name="T45" fmla="*/ 32 h 712"/>
                <a:gd name="T46" fmla="*/ 467 w 834"/>
                <a:gd name="T47" fmla="*/ 0 h 712"/>
                <a:gd name="T48" fmla="*/ 415 w 834"/>
                <a:gd name="T49" fmla="*/ 69 h 712"/>
                <a:gd name="T50" fmla="*/ 316 w 834"/>
                <a:gd name="T51" fmla="*/ 145 h 712"/>
                <a:gd name="T52" fmla="*/ 231 w 834"/>
                <a:gd name="T53" fmla="*/ 132 h 712"/>
                <a:gd name="T54" fmla="*/ 203 w 834"/>
                <a:gd name="T55" fmla="*/ 145 h 712"/>
                <a:gd name="T56" fmla="*/ 203 w 834"/>
                <a:gd name="T57" fmla="*/ 213 h 712"/>
                <a:gd name="T58" fmla="*/ 147 w 834"/>
                <a:gd name="T59" fmla="*/ 207 h 712"/>
                <a:gd name="T60" fmla="*/ 85 w 834"/>
                <a:gd name="T61" fmla="*/ 194 h 712"/>
                <a:gd name="T62" fmla="*/ 12 w 834"/>
                <a:gd name="T63" fmla="*/ 214 h 712"/>
                <a:gd name="T64" fmla="*/ 18 w 834"/>
                <a:gd name="T65" fmla="*/ 247 h 712"/>
                <a:gd name="T66" fmla="*/ 35 w 834"/>
                <a:gd name="T67" fmla="*/ 268 h 712"/>
                <a:gd name="T68" fmla="*/ 108 w 834"/>
                <a:gd name="T69" fmla="*/ 297 h 712"/>
                <a:gd name="T70" fmla="*/ 168 w 834"/>
                <a:gd name="T71" fmla="*/ 320 h 712"/>
                <a:gd name="T72" fmla="*/ 218 w 834"/>
                <a:gd name="T73" fmla="*/ 392 h 712"/>
                <a:gd name="T74" fmla="*/ 234 w 834"/>
                <a:gd name="T75" fmla="*/ 428 h 712"/>
                <a:gd name="T76" fmla="*/ 244 w 834"/>
                <a:gd name="T77" fmla="*/ 469 h 712"/>
                <a:gd name="T78" fmla="*/ 226 w 834"/>
                <a:gd name="T79" fmla="*/ 584 h 712"/>
                <a:gd name="T80" fmla="*/ 194 w 834"/>
                <a:gd name="T81" fmla="*/ 630 h 712"/>
                <a:gd name="T82" fmla="*/ 237 w 834"/>
                <a:gd name="T83" fmla="*/ 655 h 712"/>
                <a:gd name="T84" fmla="*/ 304 w 834"/>
                <a:gd name="T85" fmla="*/ 676 h 712"/>
                <a:gd name="T86" fmla="*/ 359 w 834"/>
                <a:gd name="T87" fmla="*/ 678 h 712"/>
                <a:gd name="T88" fmla="*/ 403 w 834"/>
                <a:gd name="T89" fmla="*/ 684 h 712"/>
                <a:gd name="T90" fmla="*/ 458 w 834"/>
                <a:gd name="T91" fmla="*/ 703 h 712"/>
                <a:gd name="T92" fmla="*/ 505 w 834"/>
                <a:gd name="T93" fmla="*/ 701 h 712"/>
                <a:gd name="T94" fmla="*/ 506 w 834"/>
                <a:gd name="T95" fmla="*/ 660 h 712"/>
                <a:gd name="T96" fmla="*/ 610 w 834"/>
                <a:gd name="T97" fmla="*/ 624 h 712"/>
                <a:gd name="T98" fmla="*/ 750 w 834"/>
                <a:gd name="T99" fmla="*/ 621 h 712"/>
                <a:gd name="T100" fmla="*/ 791 w 834"/>
                <a:gd name="T101" fmla="*/ 585 h 7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34" h="712">
                  <a:moveTo>
                    <a:pt x="798" y="571"/>
                  </a:moveTo>
                  <a:cubicBezTo>
                    <a:pt x="798" y="565"/>
                    <a:pt x="790" y="569"/>
                    <a:pt x="778" y="569"/>
                  </a:cubicBezTo>
                  <a:cubicBezTo>
                    <a:pt x="766" y="569"/>
                    <a:pt x="772" y="565"/>
                    <a:pt x="764" y="563"/>
                  </a:cubicBezTo>
                  <a:cubicBezTo>
                    <a:pt x="756" y="561"/>
                    <a:pt x="751" y="556"/>
                    <a:pt x="751" y="550"/>
                  </a:cubicBezTo>
                  <a:cubicBezTo>
                    <a:pt x="751" y="544"/>
                    <a:pt x="743" y="542"/>
                    <a:pt x="755" y="534"/>
                  </a:cubicBezTo>
                  <a:cubicBezTo>
                    <a:pt x="767" y="526"/>
                    <a:pt x="760" y="523"/>
                    <a:pt x="753" y="520"/>
                  </a:cubicBezTo>
                  <a:cubicBezTo>
                    <a:pt x="746" y="517"/>
                    <a:pt x="748" y="513"/>
                    <a:pt x="737" y="503"/>
                  </a:cubicBezTo>
                  <a:cubicBezTo>
                    <a:pt x="726" y="493"/>
                    <a:pt x="747" y="489"/>
                    <a:pt x="755" y="485"/>
                  </a:cubicBezTo>
                  <a:cubicBezTo>
                    <a:pt x="763" y="480"/>
                    <a:pt x="769" y="473"/>
                    <a:pt x="769" y="468"/>
                  </a:cubicBezTo>
                  <a:cubicBezTo>
                    <a:pt x="769" y="463"/>
                    <a:pt x="760" y="459"/>
                    <a:pt x="749" y="451"/>
                  </a:cubicBezTo>
                  <a:cubicBezTo>
                    <a:pt x="738" y="443"/>
                    <a:pt x="750" y="439"/>
                    <a:pt x="758" y="432"/>
                  </a:cubicBezTo>
                  <a:cubicBezTo>
                    <a:pt x="765" y="425"/>
                    <a:pt x="754" y="416"/>
                    <a:pt x="748" y="413"/>
                  </a:cubicBezTo>
                  <a:cubicBezTo>
                    <a:pt x="742" y="411"/>
                    <a:pt x="743" y="403"/>
                    <a:pt x="743" y="399"/>
                  </a:cubicBezTo>
                  <a:cubicBezTo>
                    <a:pt x="743" y="394"/>
                    <a:pt x="738" y="389"/>
                    <a:pt x="730" y="391"/>
                  </a:cubicBezTo>
                  <a:cubicBezTo>
                    <a:pt x="722" y="392"/>
                    <a:pt x="717" y="393"/>
                    <a:pt x="713" y="401"/>
                  </a:cubicBezTo>
                  <a:cubicBezTo>
                    <a:pt x="709" y="409"/>
                    <a:pt x="704" y="415"/>
                    <a:pt x="694" y="416"/>
                  </a:cubicBezTo>
                  <a:cubicBezTo>
                    <a:pt x="684" y="417"/>
                    <a:pt x="695" y="406"/>
                    <a:pt x="696" y="397"/>
                  </a:cubicBezTo>
                  <a:cubicBezTo>
                    <a:pt x="698" y="387"/>
                    <a:pt x="701" y="383"/>
                    <a:pt x="706" y="378"/>
                  </a:cubicBezTo>
                  <a:cubicBezTo>
                    <a:pt x="710" y="373"/>
                    <a:pt x="720" y="362"/>
                    <a:pt x="724" y="353"/>
                  </a:cubicBezTo>
                  <a:cubicBezTo>
                    <a:pt x="728" y="343"/>
                    <a:pt x="744" y="332"/>
                    <a:pt x="751" y="329"/>
                  </a:cubicBezTo>
                  <a:cubicBezTo>
                    <a:pt x="758" y="327"/>
                    <a:pt x="759" y="318"/>
                    <a:pt x="759" y="313"/>
                  </a:cubicBezTo>
                  <a:cubicBezTo>
                    <a:pt x="759" y="309"/>
                    <a:pt x="761" y="306"/>
                    <a:pt x="771" y="307"/>
                  </a:cubicBezTo>
                  <a:cubicBezTo>
                    <a:pt x="781" y="309"/>
                    <a:pt x="783" y="310"/>
                    <a:pt x="790" y="305"/>
                  </a:cubicBezTo>
                  <a:cubicBezTo>
                    <a:pt x="796" y="299"/>
                    <a:pt x="794" y="286"/>
                    <a:pt x="792" y="280"/>
                  </a:cubicBezTo>
                  <a:cubicBezTo>
                    <a:pt x="791" y="274"/>
                    <a:pt x="794" y="266"/>
                    <a:pt x="794" y="259"/>
                  </a:cubicBezTo>
                  <a:cubicBezTo>
                    <a:pt x="793" y="251"/>
                    <a:pt x="798" y="245"/>
                    <a:pt x="803" y="240"/>
                  </a:cubicBezTo>
                  <a:cubicBezTo>
                    <a:pt x="808" y="235"/>
                    <a:pt x="806" y="227"/>
                    <a:pt x="806" y="221"/>
                  </a:cubicBezTo>
                  <a:cubicBezTo>
                    <a:pt x="806" y="215"/>
                    <a:pt x="814" y="207"/>
                    <a:pt x="822" y="204"/>
                  </a:cubicBezTo>
                  <a:cubicBezTo>
                    <a:pt x="830" y="201"/>
                    <a:pt x="831" y="196"/>
                    <a:pt x="832" y="187"/>
                  </a:cubicBezTo>
                  <a:cubicBezTo>
                    <a:pt x="834" y="179"/>
                    <a:pt x="819" y="181"/>
                    <a:pt x="808" y="181"/>
                  </a:cubicBezTo>
                  <a:cubicBezTo>
                    <a:pt x="798" y="181"/>
                    <a:pt x="796" y="177"/>
                    <a:pt x="792" y="173"/>
                  </a:cubicBezTo>
                  <a:cubicBezTo>
                    <a:pt x="788" y="169"/>
                    <a:pt x="776" y="169"/>
                    <a:pt x="770" y="172"/>
                  </a:cubicBezTo>
                  <a:cubicBezTo>
                    <a:pt x="764" y="175"/>
                    <a:pt x="758" y="170"/>
                    <a:pt x="749" y="167"/>
                  </a:cubicBezTo>
                  <a:cubicBezTo>
                    <a:pt x="740" y="165"/>
                    <a:pt x="740" y="163"/>
                    <a:pt x="734" y="150"/>
                  </a:cubicBezTo>
                  <a:cubicBezTo>
                    <a:pt x="728" y="137"/>
                    <a:pt x="706" y="141"/>
                    <a:pt x="696" y="140"/>
                  </a:cubicBezTo>
                  <a:cubicBezTo>
                    <a:pt x="686" y="139"/>
                    <a:pt x="678" y="139"/>
                    <a:pt x="668" y="139"/>
                  </a:cubicBezTo>
                  <a:cubicBezTo>
                    <a:pt x="659" y="138"/>
                    <a:pt x="658" y="137"/>
                    <a:pt x="656" y="131"/>
                  </a:cubicBezTo>
                  <a:cubicBezTo>
                    <a:pt x="653" y="125"/>
                    <a:pt x="646" y="124"/>
                    <a:pt x="637" y="121"/>
                  </a:cubicBezTo>
                  <a:cubicBezTo>
                    <a:pt x="628" y="117"/>
                    <a:pt x="629" y="114"/>
                    <a:pt x="622" y="99"/>
                  </a:cubicBezTo>
                  <a:cubicBezTo>
                    <a:pt x="616" y="83"/>
                    <a:pt x="612" y="99"/>
                    <a:pt x="602" y="99"/>
                  </a:cubicBezTo>
                  <a:cubicBezTo>
                    <a:pt x="591" y="99"/>
                    <a:pt x="592" y="105"/>
                    <a:pt x="584" y="103"/>
                  </a:cubicBezTo>
                  <a:cubicBezTo>
                    <a:pt x="576" y="102"/>
                    <a:pt x="574" y="85"/>
                    <a:pt x="574" y="79"/>
                  </a:cubicBezTo>
                  <a:cubicBezTo>
                    <a:pt x="574" y="73"/>
                    <a:pt x="560" y="69"/>
                    <a:pt x="552" y="66"/>
                  </a:cubicBezTo>
                  <a:cubicBezTo>
                    <a:pt x="544" y="63"/>
                    <a:pt x="538" y="57"/>
                    <a:pt x="528" y="55"/>
                  </a:cubicBezTo>
                  <a:cubicBezTo>
                    <a:pt x="517" y="53"/>
                    <a:pt x="520" y="48"/>
                    <a:pt x="518" y="40"/>
                  </a:cubicBezTo>
                  <a:cubicBezTo>
                    <a:pt x="515" y="32"/>
                    <a:pt x="505" y="33"/>
                    <a:pt x="494" y="32"/>
                  </a:cubicBezTo>
                  <a:cubicBezTo>
                    <a:pt x="482" y="31"/>
                    <a:pt x="478" y="24"/>
                    <a:pt x="476" y="16"/>
                  </a:cubicBezTo>
                  <a:cubicBezTo>
                    <a:pt x="475" y="12"/>
                    <a:pt x="470" y="5"/>
                    <a:pt x="467" y="0"/>
                  </a:cubicBezTo>
                  <a:cubicBezTo>
                    <a:pt x="460" y="1"/>
                    <a:pt x="454" y="2"/>
                    <a:pt x="448" y="3"/>
                  </a:cubicBezTo>
                  <a:cubicBezTo>
                    <a:pt x="416" y="8"/>
                    <a:pt x="418" y="45"/>
                    <a:pt x="415" y="69"/>
                  </a:cubicBezTo>
                  <a:cubicBezTo>
                    <a:pt x="412" y="94"/>
                    <a:pt x="375" y="105"/>
                    <a:pt x="357" y="106"/>
                  </a:cubicBezTo>
                  <a:cubicBezTo>
                    <a:pt x="340" y="108"/>
                    <a:pt x="316" y="134"/>
                    <a:pt x="316" y="145"/>
                  </a:cubicBezTo>
                  <a:cubicBezTo>
                    <a:pt x="316" y="157"/>
                    <a:pt x="283" y="151"/>
                    <a:pt x="266" y="149"/>
                  </a:cubicBezTo>
                  <a:cubicBezTo>
                    <a:pt x="248" y="148"/>
                    <a:pt x="233" y="142"/>
                    <a:pt x="231" y="132"/>
                  </a:cubicBezTo>
                  <a:cubicBezTo>
                    <a:pt x="230" y="122"/>
                    <a:pt x="211" y="119"/>
                    <a:pt x="203" y="119"/>
                  </a:cubicBezTo>
                  <a:cubicBezTo>
                    <a:pt x="194" y="119"/>
                    <a:pt x="181" y="135"/>
                    <a:pt x="203" y="145"/>
                  </a:cubicBezTo>
                  <a:cubicBezTo>
                    <a:pt x="224" y="155"/>
                    <a:pt x="207" y="167"/>
                    <a:pt x="218" y="187"/>
                  </a:cubicBezTo>
                  <a:cubicBezTo>
                    <a:pt x="230" y="207"/>
                    <a:pt x="214" y="211"/>
                    <a:pt x="203" y="213"/>
                  </a:cubicBezTo>
                  <a:cubicBezTo>
                    <a:pt x="191" y="214"/>
                    <a:pt x="177" y="211"/>
                    <a:pt x="171" y="207"/>
                  </a:cubicBezTo>
                  <a:cubicBezTo>
                    <a:pt x="165" y="203"/>
                    <a:pt x="155" y="200"/>
                    <a:pt x="147" y="207"/>
                  </a:cubicBezTo>
                  <a:cubicBezTo>
                    <a:pt x="138" y="214"/>
                    <a:pt x="127" y="207"/>
                    <a:pt x="122" y="192"/>
                  </a:cubicBezTo>
                  <a:cubicBezTo>
                    <a:pt x="118" y="178"/>
                    <a:pt x="85" y="178"/>
                    <a:pt x="85" y="194"/>
                  </a:cubicBezTo>
                  <a:cubicBezTo>
                    <a:pt x="85" y="210"/>
                    <a:pt x="58" y="201"/>
                    <a:pt x="45" y="200"/>
                  </a:cubicBezTo>
                  <a:cubicBezTo>
                    <a:pt x="32" y="198"/>
                    <a:pt x="23" y="208"/>
                    <a:pt x="12" y="214"/>
                  </a:cubicBezTo>
                  <a:cubicBezTo>
                    <a:pt x="0" y="220"/>
                    <a:pt x="5" y="234"/>
                    <a:pt x="19" y="234"/>
                  </a:cubicBezTo>
                  <a:cubicBezTo>
                    <a:pt x="33" y="234"/>
                    <a:pt x="28" y="247"/>
                    <a:pt x="18" y="247"/>
                  </a:cubicBezTo>
                  <a:cubicBezTo>
                    <a:pt x="8" y="247"/>
                    <a:pt x="8" y="257"/>
                    <a:pt x="13" y="260"/>
                  </a:cubicBezTo>
                  <a:cubicBezTo>
                    <a:pt x="19" y="263"/>
                    <a:pt x="35" y="268"/>
                    <a:pt x="35" y="268"/>
                  </a:cubicBezTo>
                  <a:cubicBezTo>
                    <a:pt x="35" y="268"/>
                    <a:pt x="71" y="277"/>
                    <a:pt x="86" y="277"/>
                  </a:cubicBezTo>
                  <a:cubicBezTo>
                    <a:pt x="102" y="277"/>
                    <a:pt x="107" y="291"/>
                    <a:pt x="108" y="297"/>
                  </a:cubicBezTo>
                  <a:cubicBezTo>
                    <a:pt x="109" y="303"/>
                    <a:pt x="131" y="300"/>
                    <a:pt x="150" y="299"/>
                  </a:cubicBezTo>
                  <a:cubicBezTo>
                    <a:pt x="168" y="297"/>
                    <a:pt x="158" y="316"/>
                    <a:pt x="168" y="320"/>
                  </a:cubicBezTo>
                  <a:cubicBezTo>
                    <a:pt x="178" y="324"/>
                    <a:pt x="181" y="340"/>
                    <a:pt x="184" y="354"/>
                  </a:cubicBezTo>
                  <a:cubicBezTo>
                    <a:pt x="187" y="369"/>
                    <a:pt x="198" y="386"/>
                    <a:pt x="218" y="392"/>
                  </a:cubicBezTo>
                  <a:cubicBezTo>
                    <a:pt x="238" y="397"/>
                    <a:pt x="240" y="402"/>
                    <a:pt x="246" y="415"/>
                  </a:cubicBezTo>
                  <a:cubicBezTo>
                    <a:pt x="251" y="428"/>
                    <a:pt x="241" y="425"/>
                    <a:pt x="234" y="428"/>
                  </a:cubicBezTo>
                  <a:cubicBezTo>
                    <a:pt x="227" y="430"/>
                    <a:pt x="231" y="448"/>
                    <a:pt x="246" y="452"/>
                  </a:cubicBezTo>
                  <a:cubicBezTo>
                    <a:pt x="260" y="456"/>
                    <a:pt x="253" y="463"/>
                    <a:pt x="244" y="469"/>
                  </a:cubicBezTo>
                  <a:cubicBezTo>
                    <a:pt x="236" y="475"/>
                    <a:pt x="233" y="493"/>
                    <a:pt x="233" y="516"/>
                  </a:cubicBezTo>
                  <a:cubicBezTo>
                    <a:pt x="233" y="539"/>
                    <a:pt x="226" y="558"/>
                    <a:pt x="226" y="584"/>
                  </a:cubicBezTo>
                  <a:cubicBezTo>
                    <a:pt x="226" y="610"/>
                    <a:pt x="211" y="611"/>
                    <a:pt x="200" y="625"/>
                  </a:cubicBezTo>
                  <a:cubicBezTo>
                    <a:pt x="198" y="628"/>
                    <a:pt x="196" y="629"/>
                    <a:pt x="194" y="630"/>
                  </a:cubicBezTo>
                  <a:cubicBezTo>
                    <a:pt x="199" y="632"/>
                    <a:pt x="205" y="634"/>
                    <a:pt x="210" y="637"/>
                  </a:cubicBezTo>
                  <a:cubicBezTo>
                    <a:pt x="219" y="642"/>
                    <a:pt x="229" y="653"/>
                    <a:pt x="237" y="655"/>
                  </a:cubicBezTo>
                  <a:cubicBezTo>
                    <a:pt x="244" y="657"/>
                    <a:pt x="264" y="665"/>
                    <a:pt x="272" y="670"/>
                  </a:cubicBezTo>
                  <a:cubicBezTo>
                    <a:pt x="279" y="674"/>
                    <a:pt x="293" y="670"/>
                    <a:pt x="304" y="676"/>
                  </a:cubicBezTo>
                  <a:cubicBezTo>
                    <a:pt x="315" y="683"/>
                    <a:pt x="334" y="684"/>
                    <a:pt x="340" y="684"/>
                  </a:cubicBezTo>
                  <a:cubicBezTo>
                    <a:pt x="346" y="683"/>
                    <a:pt x="355" y="684"/>
                    <a:pt x="359" y="678"/>
                  </a:cubicBezTo>
                  <a:cubicBezTo>
                    <a:pt x="363" y="673"/>
                    <a:pt x="373" y="670"/>
                    <a:pt x="379" y="673"/>
                  </a:cubicBezTo>
                  <a:cubicBezTo>
                    <a:pt x="385" y="677"/>
                    <a:pt x="401" y="677"/>
                    <a:pt x="403" y="684"/>
                  </a:cubicBezTo>
                  <a:cubicBezTo>
                    <a:pt x="405" y="692"/>
                    <a:pt x="409" y="700"/>
                    <a:pt x="419" y="702"/>
                  </a:cubicBezTo>
                  <a:cubicBezTo>
                    <a:pt x="430" y="704"/>
                    <a:pt x="449" y="695"/>
                    <a:pt x="458" y="703"/>
                  </a:cubicBezTo>
                  <a:cubicBezTo>
                    <a:pt x="467" y="712"/>
                    <a:pt x="480" y="712"/>
                    <a:pt x="486" y="709"/>
                  </a:cubicBezTo>
                  <a:cubicBezTo>
                    <a:pt x="492" y="707"/>
                    <a:pt x="496" y="701"/>
                    <a:pt x="505" y="701"/>
                  </a:cubicBezTo>
                  <a:cubicBezTo>
                    <a:pt x="511" y="701"/>
                    <a:pt x="512" y="697"/>
                    <a:pt x="521" y="697"/>
                  </a:cubicBezTo>
                  <a:cubicBezTo>
                    <a:pt x="516" y="684"/>
                    <a:pt x="506" y="676"/>
                    <a:pt x="506" y="660"/>
                  </a:cubicBezTo>
                  <a:cubicBezTo>
                    <a:pt x="506" y="640"/>
                    <a:pt x="544" y="635"/>
                    <a:pt x="552" y="625"/>
                  </a:cubicBezTo>
                  <a:cubicBezTo>
                    <a:pt x="561" y="615"/>
                    <a:pt x="587" y="624"/>
                    <a:pt x="610" y="624"/>
                  </a:cubicBezTo>
                  <a:cubicBezTo>
                    <a:pt x="633" y="624"/>
                    <a:pt x="674" y="651"/>
                    <a:pt x="700" y="654"/>
                  </a:cubicBezTo>
                  <a:cubicBezTo>
                    <a:pt x="726" y="657"/>
                    <a:pt x="734" y="644"/>
                    <a:pt x="750" y="621"/>
                  </a:cubicBezTo>
                  <a:cubicBezTo>
                    <a:pt x="760" y="607"/>
                    <a:pt x="771" y="600"/>
                    <a:pt x="785" y="597"/>
                  </a:cubicBezTo>
                  <a:cubicBezTo>
                    <a:pt x="786" y="593"/>
                    <a:pt x="788" y="589"/>
                    <a:pt x="791" y="585"/>
                  </a:cubicBezTo>
                  <a:cubicBezTo>
                    <a:pt x="796" y="580"/>
                    <a:pt x="798" y="576"/>
                    <a:pt x="798" y="571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141" name="Freeform 25200"/>
            <p:cNvSpPr>
              <a:spLocks/>
            </p:cNvSpPr>
            <p:nvPr/>
          </p:nvSpPr>
          <p:spPr bwMode="auto">
            <a:xfrm>
              <a:off x="4488190" y="2730275"/>
              <a:ext cx="27621" cy="54453"/>
            </a:xfrm>
            <a:custGeom>
              <a:avLst/>
              <a:gdLst>
                <a:gd name="T0" fmla="*/ 48 w 74"/>
                <a:gd name="T1" fmla="*/ 17 h 146"/>
                <a:gd name="T2" fmla="*/ 35 w 74"/>
                <a:gd name="T3" fmla="*/ 41 h 146"/>
                <a:gd name="T4" fmla="*/ 14 w 74"/>
                <a:gd name="T5" fmla="*/ 49 h 146"/>
                <a:gd name="T6" fmla="*/ 2 w 74"/>
                <a:gd name="T7" fmla="*/ 68 h 146"/>
                <a:gd name="T8" fmla="*/ 7 w 74"/>
                <a:gd name="T9" fmla="*/ 101 h 146"/>
                <a:gd name="T10" fmla="*/ 22 w 74"/>
                <a:gd name="T11" fmla="*/ 130 h 146"/>
                <a:gd name="T12" fmla="*/ 35 w 74"/>
                <a:gd name="T13" fmla="*/ 141 h 146"/>
                <a:gd name="T14" fmla="*/ 43 w 74"/>
                <a:gd name="T15" fmla="*/ 141 h 146"/>
                <a:gd name="T16" fmla="*/ 48 w 74"/>
                <a:gd name="T17" fmla="*/ 130 h 146"/>
                <a:gd name="T18" fmla="*/ 53 w 74"/>
                <a:gd name="T19" fmla="*/ 117 h 146"/>
                <a:gd name="T20" fmla="*/ 58 w 74"/>
                <a:gd name="T21" fmla="*/ 96 h 146"/>
                <a:gd name="T22" fmla="*/ 62 w 74"/>
                <a:gd name="T23" fmla="*/ 82 h 146"/>
                <a:gd name="T24" fmla="*/ 69 w 74"/>
                <a:gd name="T25" fmla="*/ 75 h 146"/>
                <a:gd name="T26" fmla="*/ 66 w 74"/>
                <a:gd name="T27" fmla="*/ 56 h 146"/>
                <a:gd name="T28" fmla="*/ 60 w 74"/>
                <a:gd name="T29" fmla="*/ 40 h 146"/>
                <a:gd name="T30" fmla="*/ 48 w 74"/>
                <a:gd name="T31" fmla="*/ 17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4" h="146">
                  <a:moveTo>
                    <a:pt x="48" y="17"/>
                  </a:moveTo>
                  <a:cubicBezTo>
                    <a:pt x="48" y="17"/>
                    <a:pt x="48" y="41"/>
                    <a:pt x="35" y="41"/>
                  </a:cubicBezTo>
                  <a:cubicBezTo>
                    <a:pt x="23" y="41"/>
                    <a:pt x="21" y="47"/>
                    <a:pt x="14" y="49"/>
                  </a:cubicBezTo>
                  <a:cubicBezTo>
                    <a:pt x="8" y="52"/>
                    <a:pt x="4" y="58"/>
                    <a:pt x="2" y="68"/>
                  </a:cubicBezTo>
                  <a:cubicBezTo>
                    <a:pt x="0" y="78"/>
                    <a:pt x="3" y="94"/>
                    <a:pt x="7" y="101"/>
                  </a:cubicBezTo>
                  <a:cubicBezTo>
                    <a:pt x="12" y="107"/>
                    <a:pt x="12" y="127"/>
                    <a:pt x="22" y="130"/>
                  </a:cubicBezTo>
                  <a:cubicBezTo>
                    <a:pt x="32" y="132"/>
                    <a:pt x="35" y="136"/>
                    <a:pt x="35" y="141"/>
                  </a:cubicBezTo>
                  <a:cubicBezTo>
                    <a:pt x="34" y="146"/>
                    <a:pt x="40" y="146"/>
                    <a:pt x="43" y="141"/>
                  </a:cubicBezTo>
                  <a:cubicBezTo>
                    <a:pt x="46" y="136"/>
                    <a:pt x="45" y="133"/>
                    <a:pt x="48" y="130"/>
                  </a:cubicBezTo>
                  <a:cubicBezTo>
                    <a:pt x="51" y="128"/>
                    <a:pt x="54" y="123"/>
                    <a:pt x="53" y="117"/>
                  </a:cubicBezTo>
                  <a:cubicBezTo>
                    <a:pt x="52" y="111"/>
                    <a:pt x="53" y="100"/>
                    <a:pt x="58" y="96"/>
                  </a:cubicBezTo>
                  <a:cubicBezTo>
                    <a:pt x="62" y="93"/>
                    <a:pt x="56" y="83"/>
                    <a:pt x="62" y="82"/>
                  </a:cubicBezTo>
                  <a:cubicBezTo>
                    <a:pt x="68" y="81"/>
                    <a:pt x="69" y="81"/>
                    <a:pt x="69" y="75"/>
                  </a:cubicBezTo>
                  <a:cubicBezTo>
                    <a:pt x="69" y="68"/>
                    <a:pt x="74" y="57"/>
                    <a:pt x="66" y="56"/>
                  </a:cubicBezTo>
                  <a:cubicBezTo>
                    <a:pt x="58" y="54"/>
                    <a:pt x="60" y="46"/>
                    <a:pt x="60" y="40"/>
                  </a:cubicBezTo>
                  <a:cubicBezTo>
                    <a:pt x="60" y="35"/>
                    <a:pt x="56" y="0"/>
                    <a:pt x="48" y="17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142" name="Freeform 25201"/>
            <p:cNvSpPr>
              <a:spLocks/>
            </p:cNvSpPr>
            <p:nvPr/>
          </p:nvSpPr>
          <p:spPr bwMode="auto">
            <a:xfrm>
              <a:off x="4438157" y="2618055"/>
              <a:ext cx="291204" cy="263741"/>
            </a:xfrm>
            <a:custGeom>
              <a:avLst/>
              <a:gdLst>
                <a:gd name="T0" fmla="*/ 715 w 781"/>
                <a:gd name="T1" fmla="*/ 487 h 707"/>
                <a:gd name="T2" fmla="*/ 615 w 781"/>
                <a:gd name="T3" fmla="*/ 439 h 707"/>
                <a:gd name="T4" fmla="*/ 569 w 781"/>
                <a:gd name="T5" fmla="*/ 397 h 707"/>
                <a:gd name="T6" fmla="*/ 487 w 781"/>
                <a:gd name="T7" fmla="*/ 311 h 707"/>
                <a:gd name="T8" fmla="*/ 375 w 781"/>
                <a:gd name="T9" fmla="*/ 201 h 707"/>
                <a:gd name="T10" fmla="*/ 377 w 781"/>
                <a:gd name="T11" fmla="*/ 133 h 707"/>
                <a:gd name="T12" fmla="*/ 437 w 781"/>
                <a:gd name="T13" fmla="*/ 105 h 707"/>
                <a:gd name="T14" fmla="*/ 447 w 781"/>
                <a:gd name="T15" fmla="*/ 43 h 707"/>
                <a:gd name="T16" fmla="*/ 374 w 781"/>
                <a:gd name="T17" fmla="*/ 29 h 707"/>
                <a:gd name="T18" fmla="*/ 353 w 781"/>
                <a:gd name="T19" fmla="*/ 2 h 707"/>
                <a:gd name="T20" fmla="*/ 290 w 781"/>
                <a:gd name="T21" fmla="*/ 16 h 707"/>
                <a:gd name="T22" fmla="*/ 250 w 781"/>
                <a:gd name="T23" fmla="*/ 35 h 707"/>
                <a:gd name="T24" fmla="*/ 210 w 781"/>
                <a:gd name="T25" fmla="*/ 61 h 707"/>
                <a:gd name="T26" fmla="*/ 179 w 781"/>
                <a:gd name="T27" fmla="*/ 48 h 707"/>
                <a:gd name="T28" fmla="*/ 165 w 781"/>
                <a:gd name="T29" fmla="*/ 73 h 707"/>
                <a:gd name="T30" fmla="*/ 148 w 781"/>
                <a:gd name="T31" fmla="*/ 86 h 707"/>
                <a:gd name="T32" fmla="*/ 120 w 781"/>
                <a:gd name="T33" fmla="*/ 58 h 707"/>
                <a:gd name="T34" fmla="*/ 92 w 781"/>
                <a:gd name="T35" fmla="*/ 83 h 707"/>
                <a:gd name="T36" fmla="*/ 45 w 781"/>
                <a:gd name="T37" fmla="*/ 89 h 707"/>
                <a:gd name="T38" fmla="*/ 32 w 781"/>
                <a:gd name="T39" fmla="*/ 92 h 707"/>
                <a:gd name="T40" fmla="*/ 43 w 781"/>
                <a:gd name="T41" fmla="*/ 128 h 707"/>
                <a:gd name="T42" fmla="*/ 11 w 781"/>
                <a:gd name="T43" fmla="*/ 163 h 707"/>
                <a:gd name="T44" fmla="*/ 29 w 781"/>
                <a:gd name="T45" fmla="*/ 194 h 707"/>
                <a:gd name="T46" fmla="*/ 38 w 781"/>
                <a:gd name="T47" fmla="*/ 223 h 707"/>
                <a:gd name="T48" fmla="*/ 72 w 781"/>
                <a:gd name="T49" fmla="*/ 231 h 707"/>
                <a:gd name="T50" fmla="*/ 59 w 781"/>
                <a:gd name="T51" fmla="*/ 257 h 707"/>
                <a:gd name="T52" fmla="*/ 133 w 781"/>
                <a:gd name="T53" fmla="*/ 212 h 707"/>
                <a:gd name="T54" fmla="*/ 223 w 781"/>
                <a:gd name="T55" fmla="*/ 238 h 707"/>
                <a:gd name="T56" fmla="*/ 255 w 781"/>
                <a:gd name="T57" fmla="*/ 308 h 707"/>
                <a:gd name="T58" fmla="*/ 358 w 781"/>
                <a:gd name="T59" fmla="*/ 404 h 707"/>
                <a:gd name="T60" fmla="*/ 486 w 781"/>
                <a:gd name="T61" fmla="*/ 483 h 707"/>
                <a:gd name="T62" fmla="*/ 544 w 781"/>
                <a:gd name="T63" fmla="*/ 530 h 707"/>
                <a:gd name="T64" fmla="*/ 595 w 781"/>
                <a:gd name="T65" fmla="*/ 569 h 707"/>
                <a:gd name="T66" fmla="*/ 612 w 781"/>
                <a:gd name="T67" fmla="*/ 645 h 707"/>
                <a:gd name="T68" fmla="*/ 583 w 781"/>
                <a:gd name="T69" fmla="*/ 691 h 707"/>
                <a:gd name="T70" fmla="*/ 632 w 781"/>
                <a:gd name="T71" fmla="*/ 677 h 707"/>
                <a:gd name="T72" fmla="*/ 671 w 781"/>
                <a:gd name="T73" fmla="*/ 626 h 707"/>
                <a:gd name="T74" fmla="*/ 662 w 781"/>
                <a:gd name="T75" fmla="*/ 583 h 707"/>
                <a:gd name="T76" fmla="*/ 673 w 781"/>
                <a:gd name="T77" fmla="*/ 510 h 707"/>
                <a:gd name="T78" fmla="*/ 738 w 781"/>
                <a:gd name="T79" fmla="*/ 552 h 707"/>
                <a:gd name="T80" fmla="*/ 765 w 781"/>
                <a:gd name="T81" fmla="*/ 532 h 7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781" h="707">
                  <a:moveTo>
                    <a:pt x="765" y="532"/>
                  </a:moveTo>
                  <a:cubicBezTo>
                    <a:pt x="764" y="523"/>
                    <a:pt x="735" y="499"/>
                    <a:pt x="715" y="487"/>
                  </a:cubicBezTo>
                  <a:cubicBezTo>
                    <a:pt x="695" y="476"/>
                    <a:pt x="686" y="466"/>
                    <a:pt x="665" y="462"/>
                  </a:cubicBezTo>
                  <a:cubicBezTo>
                    <a:pt x="643" y="457"/>
                    <a:pt x="632" y="443"/>
                    <a:pt x="615" y="439"/>
                  </a:cubicBezTo>
                  <a:cubicBezTo>
                    <a:pt x="597" y="434"/>
                    <a:pt x="607" y="424"/>
                    <a:pt x="616" y="414"/>
                  </a:cubicBezTo>
                  <a:cubicBezTo>
                    <a:pt x="625" y="404"/>
                    <a:pt x="589" y="397"/>
                    <a:pt x="569" y="397"/>
                  </a:cubicBezTo>
                  <a:cubicBezTo>
                    <a:pt x="549" y="397"/>
                    <a:pt x="529" y="390"/>
                    <a:pt x="513" y="377"/>
                  </a:cubicBezTo>
                  <a:cubicBezTo>
                    <a:pt x="497" y="364"/>
                    <a:pt x="488" y="333"/>
                    <a:pt x="487" y="311"/>
                  </a:cubicBezTo>
                  <a:cubicBezTo>
                    <a:pt x="486" y="290"/>
                    <a:pt x="430" y="257"/>
                    <a:pt x="411" y="245"/>
                  </a:cubicBezTo>
                  <a:cubicBezTo>
                    <a:pt x="392" y="234"/>
                    <a:pt x="382" y="221"/>
                    <a:pt x="375" y="201"/>
                  </a:cubicBezTo>
                  <a:cubicBezTo>
                    <a:pt x="368" y="181"/>
                    <a:pt x="388" y="178"/>
                    <a:pt x="387" y="164"/>
                  </a:cubicBezTo>
                  <a:cubicBezTo>
                    <a:pt x="385" y="149"/>
                    <a:pt x="378" y="153"/>
                    <a:pt x="377" y="133"/>
                  </a:cubicBezTo>
                  <a:cubicBezTo>
                    <a:pt x="375" y="113"/>
                    <a:pt x="395" y="131"/>
                    <a:pt x="408" y="119"/>
                  </a:cubicBezTo>
                  <a:cubicBezTo>
                    <a:pt x="420" y="109"/>
                    <a:pt x="426" y="105"/>
                    <a:pt x="437" y="105"/>
                  </a:cubicBezTo>
                  <a:cubicBezTo>
                    <a:pt x="436" y="88"/>
                    <a:pt x="446" y="72"/>
                    <a:pt x="446" y="61"/>
                  </a:cubicBezTo>
                  <a:cubicBezTo>
                    <a:pt x="446" y="57"/>
                    <a:pt x="447" y="50"/>
                    <a:pt x="447" y="43"/>
                  </a:cubicBezTo>
                  <a:cubicBezTo>
                    <a:pt x="434" y="38"/>
                    <a:pt x="414" y="43"/>
                    <a:pt x="405" y="37"/>
                  </a:cubicBezTo>
                  <a:cubicBezTo>
                    <a:pt x="396" y="31"/>
                    <a:pt x="380" y="34"/>
                    <a:pt x="374" y="29"/>
                  </a:cubicBezTo>
                  <a:cubicBezTo>
                    <a:pt x="368" y="23"/>
                    <a:pt x="365" y="16"/>
                    <a:pt x="365" y="9"/>
                  </a:cubicBezTo>
                  <a:cubicBezTo>
                    <a:pt x="365" y="1"/>
                    <a:pt x="358" y="0"/>
                    <a:pt x="353" y="2"/>
                  </a:cubicBezTo>
                  <a:cubicBezTo>
                    <a:pt x="348" y="4"/>
                    <a:pt x="338" y="5"/>
                    <a:pt x="313" y="6"/>
                  </a:cubicBezTo>
                  <a:cubicBezTo>
                    <a:pt x="288" y="7"/>
                    <a:pt x="302" y="8"/>
                    <a:pt x="290" y="16"/>
                  </a:cubicBezTo>
                  <a:cubicBezTo>
                    <a:pt x="277" y="24"/>
                    <a:pt x="280" y="16"/>
                    <a:pt x="266" y="14"/>
                  </a:cubicBezTo>
                  <a:cubicBezTo>
                    <a:pt x="252" y="12"/>
                    <a:pt x="251" y="27"/>
                    <a:pt x="250" y="35"/>
                  </a:cubicBezTo>
                  <a:cubicBezTo>
                    <a:pt x="250" y="43"/>
                    <a:pt x="236" y="37"/>
                    <a:pt x="233" y="45"/>
                  </a:cubicBezTo>
                  <a:cubicBezTo>
                    <a:pt x="230" y="53"/>
                    <a:pt x="226" y="56"/>
                    <a:pt x="210" y="61"/>
                  </a:cubicBezTo>
                  <a:cubicBezTo>
                    <a:pt x="193" y="65"/>
                    <a:pt x="197" y="56"/>
                    <a:pt x="192" y="55"/>
                  </a:cubicBezTo>
                  <a:cubicBezTo>
                    <a:pt x="186" y="55"/>
                    <a:pt x="190" y="49"/>
                    <a:pt x="179" y="48"/>
                  </a:cubicBezTo>
                  <a:cubicBezTo>
                    <a:pt x="168" y="47"/>
                    <a:pt x="173" y="57"/>
                    <a:pt x="172" y="63"/>
                  </a:cubicBezTo>
                  <a:cubicBezTo>
                    <a:pt x="172" y="70"/>
                    <a:pt x="170" y="71"/>
                    <a:pt x="165" y="73"/>
                  </a:cubicBezTo>
                  <a:cubicBezTo>
                    <a:pt x="160" y="75"/>
                    <a:pt x="161" y="81"/>
                    <a:pt x="160" y="92"/>
                  </a:cubicBezTo>
                  <a:cubicBezTo>
                    <a:pt x="158" y="103"/>
                    <a:pt x="150" y="91"/>
                    <a:pt x="148" y="86"/>
                  </a:cubicBezTo>
                  <a:cubicBezTo>
                    <a:pt x="146" y="81"/>
                    <a:pt x="141" y="77"/>
                    <a:pt x="136" y="74"/>
                  </a:cubicBezTo>
                  <a:cubicBezTo>
                    <a:pt x="132" y="71"/>
                    <a:pt x="127" y="69"/>
                    <a:pt x="120" y="58"/>
                  </a:cubicBezTo>
                  <a:cubicBezTo>
                    <a:pt x="114" y="47"/>
                    <a:pt x="108" y="59"/>
                    <a:pt x="104" y="65"/>
                  </a:cubicBezTo>
                  <a:cubicBezTo>
                    <a:pt x="99" y="72"/>
                    <a:pt x="98" y="73"/>
                    <a:pt x="92" y="83"/>
                  </a:cubicBezTo>
                  <a:cubicBezTo>
                    <a:pt x="87" y="92"/>
                    <a:pt x="80" y="93"/>
                    <a:pt x="72" y="89"/>
                  </a:cubicBezTo>
                  <a:cubicBezTo>
                    <a:pt x="65" y="86"/>
                    <a:pt x="54" y="91"/>
                    <a:pt x="45" y="89"/>
                  </a:cubicBezTo>
                  <a:cubicBezTo>
                    <a:pt x="42" y="88"/>
                    <a:pt x="38" y="87"/>
                    <a:pt x="34" y="87"/>
                  </a:cubicBezTo>
                  <a:cubicBezTo>
                    <a:pt x="34" y="89"/>
                    <a:pt x="33" y="90"/>
                    <a:pt x="32" y="92"/>
                  </a:cubicBezTo>
                  <a:cubicBezTo>
                    <a:pt x="24" y="99"/>
                    <a:pt x="12" y="103"/>
                    <a:pt x="23" y="111"/>
                  </a:cubicBezTo>
                  <a:cubicBezTo>
                    <a:pt x="34" y="119"/>
                    <a:pt x="43" y="123"/>
                    <a:pt x="43" y="128"/>
                  </a:cubicBezTo>
                  <a:cubicBezTo>
                    <a:pt x="43" y="133"/>
                    <a:pt x="37" y="140"/>
                    <a:pt x="29" y="145"/>
                  </a:cubicBezTo>
                  <a:cubicBezTo>
                    <a:pt x="21" y="149"/>
                    <a:pt x="0" y="153"/>
                    <a:pt x="11" y="163"/>
                  </a:cubicBezTo>
                  <a:cubicBezTo>
                    <a:pt x="22" y="173"/>
                    <a:pt x="20" y="177"/>
                    <a:pt x="27" y="180"/>
                  </a:cubicBezTo>
                  <a:cubicBezTo>
                    <a:pt x="34" y="183"/>
                    <a:pt x="41" y="186"/>
                    <a:pt x="29" y="194"/>
                  </a:cubicBezTo>
                  <a:cubicBezTo>
                    <a:pt x="17" y="202"/>
                    <a:pt x="25" y="204"/>
                    <a:pt x="25" y="210"/>
                  </a:cubicBezTo>
                  <a:cubicBezTo>
                    <a:pt x="25" y="216"/>
                    <a:pt x="30" y="221"/>
                    <a:pt x="38" y="223"/>
                  </a:cubicBezTo>
                  <a:cubicBezTo>
                    <a:pt x="46" y="225"/>
                    <a:pt x="40" y="229"/>
                    <a:pt x="52" y="229"/>
                  </a:cubicBezTo>
                  <a:cubicBezTo>
                    <a:pt x="64" y="229"/>
                    <a:pt x="72" y="225"/>
                    <a:pt x="72" y="231"/>
                  </a:cubicBezTo>
                  <a:cubicBezTo>
                    <a:pt x="72" y="236"/>
                    <a:pt x="70" y="240"/>
                    <a:pt x="65" y="245"/>
                  </a:cubicBezTo>
                  <a:cubicBezTo>
                    <a:pt x="62" y="249"/>
                    <a:pt x="60" y="253"/>
                    <a:pt x="59" y="257"/>
                  </a:cubicBezTo>
                  <a:cubicBezTo>
                    <a:pt x="68" y="256"/>
                    <a:pt x="78" y="256"/>
                    <a:pt x="89" y="257"/>
                  </a:cubicBezTo>
                  <a:cubicBezTo>
                    <a:pt x="117" y="260"/>
                    <a:pt x="122" y="224"/>
                    <a:pt x="133" y="212"/>
                  </a:cubicBezTo>
                  <a:cubicBezTo>
                    <a:pt x="144" y="201"/>
                    <a:pt x="162" y="211"/>
                    <a:pt x="179" y="214"/>
                  </a:cubicBezTo>
                  <a:cubicBezTo>
                    <a:pt x="196" y="217"/>
                    <a:pt x="206" y="235"/>
                    <a:pt x="223" y="238"/>
                  </a:cubicBezTo>
                  <a:cubicBezTo>
                    <a:pt x="241" y="241"/>
                    <a:pt x="242" y="258"/>
                    <a:pt x="246" y="270"/>
                  </a:cubicBezTo>
                  <a:cubicBezTo>
                    <a:pt x="251" y="281"/>
                    <a:pt x="252" y="295"/>
                    <a:pt x="255" y="308"/>
                  </a:cubicBezTo>
                  <a:cubicBezTo>
                    <a:pt x="258" y="321"/>
                    <a:pt x="279" y="346"/>
                    <a:pt x="305" y="364"/>
                  </a:cubicBezTo>
                  <a:cubicBezTo>
                    <a:pt x="331" y="383"/>
                    <a:pt x="338" y="391"/>
                    <a:pt x="358" y="404"/>
                  </a:cubicBezTo>
                  <a:cubicBezTo>
                    <a:pt x="378" y="417"/>
                    <a:pt x="428" y="456"/>
                    <a:pt x="443" y="453"/>
                  </a:cubicBezTo>
                  <a:cubicBezTo>
                    <a:pt x="457" y="450"/>
                    <a:pt x="476" y="470"/>
                    <a:pt x="486" y="483"/>
                  </a:cubicBezTo>
                  <a:cubicBezTo>
                    <a:pt x="496" y="496"/>
                    <a:pt x="513" y="503"/>
                    <a:pt x="526" y="503"/>
                  </a:cubicBezTo>
                  <a:cubicBezTo>
                    <a:pt x="539" y="503"/>
                    <a:pt x="542" y="515"/>
                    <a:pt x="544" y="530"/>
                  </a:cubicBezTo>
                  <a:cubicBezTo>
                    <a:pt x="547" y="546"/>
                    <a:pt x="567" y="549"/>
                    <a:pt x="579" y="546"/>
                  </a:cubicBezTo>
                  <a:cubicBezTo>
                    <a:pt x="590" y="543"/>
                    <a:pt x="592" y="556"/>
                    <a:pt x="595" y="569"/>
                  </a:cubicBezTo>
                  <a:cubicBezTo>
                    <a:pt x="597" y="582"/>
                    <a:pt x="605" y="596"/>
                    <a:pt x="610" y="614"/>
                  </a:cubicBezTo>
                  <a:cubicBezTo>
                    <a:pt x="616" y="631"/>
                    <a:pt x="617" y="641"/>
                    <a:pt x="612" y="645"/>
                  </a:cubicBezTo>
                  <a:cubicBezTo>
                    <a:pt x="606" y="649"/>
                    <a:pt x="596" y="647"/>
                    <a:pt x="596" y="667"/>
                  </a:cubicBezTo>
                  <a:cubicBezTo>
                    <a:pt x="596" y="687"/>
                    <a:pt x="579" y="675"/>
                    <a:pt x="583" y="691"/>
                  </a:cubicBezTo>
                  <a:cubicBezTo>
                    <a:pt x="587" y="707"/>
                    <a:pt x="597" y="702"/>
                    <a:pt x="605" y="698"/>
                  </a:cubicBezTo>
                  <a:cubicBezTo>
                    <a:pt x="612" y="694"/>
                    <a:pt x="622" y="687"/>
                    <a:pt x="632" y="677"/>
                  </a:cubicBezTo>
                  <a:cubicBezTo>
                    <a:pt x="642" y="667"/>
                    <a:pt x="640" y="662"/>
                    <a:pt x="642" y="645"/>
                  </a:cubicBezTo>
                  <a:cubicBezTo>
                    <a:pt x="643" y="628"/>
                    <a:pt x="658" y="629"/>
                    <a:pt x="671" y="626"/>
                  </a:cubicBezTo>
                  <a:cubicBezTo>
                    <a:pt x="683" y="624"/>
                    <a:pt x="682" y="615"/>
                    <a:pt x="682" y="609"/>
                  </a:cubicBezTo>
                  <a:cubicBezTo>
                    <a:pt x="682" y="604"/>
                    <a:pt x="678" y="588"/>
                    <a:pt x="662" y="583"/>
                  </a:cubicBezTo>
                  <a:cubicBezTo>
                    <a:pt x="646" y="579"/>
                    <a:pt x="648" y="571"/>
                    <a:pt x="649" y="558"/>
                  </a:cubicBezTo>
                  <a:cubicBezTo>
                    <a:pt x="650" y="545"/>
                    <a:pt x="660" y="519"/>
                    <a:pt x="673" y="510"/>
                  </a:cubicBezTo>
                  <a:cubicBezTo>
                    <a:pt x="686" y="502"/>
                    <a:pt x="701" y="530"/>
                    <a:pt x="714" y="529"/>
                  </a:cubicBezTo>
                  <a:cubicBezTo>
                    <a:pt x="726" y="528"/>
                    <a:pt x="731" y="542"/>
                    <a:pt x="738" y="552"/>
                  </a:cubicBezTo>
                  <a:cubicBezTo>
                    <a:pt x="745" y="562"/>
                    <a:pt x="761" y="568"/>
                    <a:pt x="771" y="552"/>
                  </a:cubicBezTo>
                  <a:cubicBezTo>
                    <a:pt x="781" y="536"/>
                    <a:pt x="767" y="540"/>
                    <a:pt x="765" y="532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143" name="Freeform 25202"/>
            <p:cNvSpPr>
              <a:spLocks/>
            </p:cNvSpPr>
            <p:nvPr/>
          </p:nvSpPr>
          <p:spPr bwMode="auto">
            <a:xfrm>
              <a:off x="4577682" y="2869800"/>
              <a:ext cx="77497" cy="45456"/>
            </a:xfrm>
            <a:custGeom>
              <a:avLst/>
              <a:gdLst>
                <a:gd name="T0" fmla="*/ 44 w 208"/>
                <a:gd name="T1" fmla="*/ 13 h 122"/>
                <a:gd name="T2" fmla="*/ 31 w 208"/>
                <a:gd name="T3" fmla="*/ 17 h 122"/>
                <a:gd name="T4" fmla="*/ 12 w 208"/>
                <a:gd name="T5" fmla="*/ 18 h 122"/>
                <a:gd name="T6" fmla="*/ 8 w 208"/>
                <a:gd name="T7" fmla="*/ 41 h 122"/>
                <a:gd name="T8" fmla="*/ 28 w 208"/>
                <a:gd name="T9" fmla="*/ 51 h 122"/>
                <a:gd name="T10" fmla="*/ 43 w 208"/>
                <a:gd name="T11" fmla="*/ 57 h 122"/>
                <a:gd name="T12" fmla="*/ 55 w 208"/>
                <a:gd name="T13" fmla="*/ 62 h 122"/>
                <a:gd name="T14" fmla="*/ 70 w 208"/>
                <a:gd name="T15" fmla="*/ 74 h 122"/>
                <a:gd name="T16" fmla="*/ 87 w 208"/>
                <a:gd name="T17" fmla="*/ 84 h 122"/>
                <a:gd name="T18" fmla="*/ 104 w 208"/>
                <a:gd name="T19" fmla="*/ 92 h 122"/>
                <a:gd name="T20" fmla="*/ 128 w 208"/>
                <a:gd name="T21" fmla="*/ 97 h 122"/>
                <a:gd name="T22" fmla="*/ 142 w 208"/>
                <a:gd name="T23" fmla="*/ 114 h 122"/>
                <a:gd name="T24" fmla="*/ 155 w 208"/>
                <a:gd name="T25" fmla="*/ 119 h 122"/>
                <a:gd name="T26" fmla="*/ 183 w 208"/>
                <a:gd name="T27" fmla="*/ 115 h 122"/>
                <a:gd name="T28" fmla="*/ 185 w 208"/>
                <a:gd name="T29" fmla="*/ 102 h 122"/>
                <a:gd name="T30" fmla="*/ 191 w 208"/>
                <a:gd name="T31" fmla="*/ 91 h 122"/>
                <a:gd name="T32" fmla="*/ 174 w 208"/>
                <a:gd name="T33" fmla="*/ 73 h 122"/>
                <a:gd name="T34" fmla="*/ 182 w 208"/>
                <a:gd name="T35" fmla="*/ 49 h 122"/>
                <a:gd name="T36" fmla="*/ 197 w 208"/>
                <a:gd name="T37" fmla="*/ 32 h 122"/>
                <a:gd name="T38" fmla="*/ 201 w 208"/>
                <a:gd name="T39" fmla="*/ 20 h 122"/>
                <a:gd name="T40" fmla="*/ 205 w 208"/>
                <a:gd name="T41" fmla="*/ 6 h 122"/>
                <a:gd name="T42" fmla="*/ 188 w 208"/>
                <a:gd name="T43" fmla="*/ 5 h 122"/>
                <a:gd name="T44" fmla="*/ 172 w 208"/>
                <a:gd name="T45" fmla="*/ 12 h 122"/>
                <a:gd name="T46" fmla="*/ 138 w 208"/>
                <a:gd name="T47" fmla="*/ 13 h 122"/>
                <a:gd name="T48" fmla="*/ 120 w 208"/>
                <a:gd name="T49" fmla="*/ 19 h 122"/>
                <a:gd name="T50" fmla="*/ 81 w 208"/>
                <a:gd name="T51" fmla="*/ 18 h 122"/>
                <a:gd name="T52" fmla="*/ 65 w 208"/>
                <a:gd name="T53" fmla="*/ 8 h 122"/>
                <a:gd name="T54" fmla="*/ 52 w 208"/>
                <a:gd name="T55" fmla="*/ 4 h 122"/>
                <a:gd name="T56" fmla="*/ 44 w 208"/>
                <a:gd name="T57" fmla="*/ 13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08" h="122">
                  <a:moveTo>
                    <a:pt x="44" y="13"/>
                  </a:moveTo>
                  <a:cubicBezTo>
                    <a:pt x="44" y="13"/>
                    <a:pt x="39" y="19"/>
                    <a:pt x="31" y="17"/>
                  </a:cubicBezTo>
                  <a:cubicBezTo>
                    <a:pt x="22" y="15"/>
                    <a:pt x="17" y="14"/>
                    <a:pt x="12" y="18"/>
                  </a:cubicBezTo>
                  <a:cubicBezTo>
                    <a:pt x="8" y="22"/>
                    <a:pt x="0" y="34"/>
                    <a:pt x="8" y="41"/>
                  </a:cubicBezTo>
                  <a:cubicBezTo>
                    <a:pt x="16" y="48"/>
                    <a:pt x="18" y="50"/>
                    <a:pt x="28" y="51"/>
                  </a:cubicBezTo>
                  <a:cubicBezTo>
                    <a:pt x="38" y="52"/>
                    <a:pt x="40" y="53"/>
                    <a:pt x="43" y="57"/>
                  </a:cubicBezTo>
                  <a:cubicBezTo>
                    <a:pt x="46" y="61"/>
                    <a:pt x="49" y="62"/>
                    <a:pt x="55" y="62"/>
                  </a:cubicBezTo>
                  <a:cubicBezTo>
                    <a:pt x="61" y="62"/>
                    <a:pt x="60" y="73"/>
                    <a:pt x="70" y="74"/>
                  </a:cubicBezTo>
                  <a:cubicBezTo>
                    <a:pt x="80" y="75"/>
                    <a:pt x="82" y="78"/>
                    <a:pt x="87" y="84"/>
                  </a:cubicBezTo>
                  <a:cubicBezTo>
                    <a:pt x="93" y="90"/>
                    <a:pt x="93" y="92"/>
                    <a:pt x="104" y="92"/>
                  </a:cubicBezTo>
                  <a:cubicBezTo>
                    <a:pt x="115" y="92"/>
                    <a:pt x="124" y="92"/>
                    <a:pt x="128" y="97"/>
                  </a:cubicBezTo>
                  <a:cubicBezTo>
                    <a:pt x="131" y="102"/>
                    <a:pt x="140" y="109"/>
                    <a:pt x="142" y="114"/>
                  </a:cubicBezTo>
                  <a:cubicBezTo>
                    <a:pt x="144" y="119"/>
                    <a:pt x="148" y="119"/>
                    <a:pt x="155" y="119"/>
                  </a:cubicBezTo>
                  <a:cubicBezTo>
                    <a:pt x="162" y="119"/>
                    <a:pt x="182" y="122"/>
                    <a:pt x="183" y="115"/>
                  </a:cubicBezTo>
                  <a:cubicBezTo>
                    <a:pt x="183" y="108"/>
                    <a:pt x="181" y="104"/>
                    <a:pt x="185" y="102"/>
                  </a:cubicBezTo>
                  <a:cubicBezTo>
                    <a:pt x="190" y="100"/>
                    <a:pt x="198" y="99"/>
                    <a:pt x="191" y="91"/>
                  </a:cubicBezTo>
                  <a:cubicBezTo>
                    <a:pt x="185" y="83"/>
                    <a:pt x="175" y="81"/>
                    <a:pt x="174" y="73"/>
                  </a:cubicBezTo>
                  <a:cubicBezTo>
                    <a:pt x="174" y="66"/>
                    <a:pt x="171" y="53"/>
                    <a:pt x="182" y="49"/>
                  </a:cubicBezTo>
                  <a:cubicBezTo>
                    <a:pt x="193" y="45"/>
                    <a:pt x="195" y="38"/>
                    <a:pt x="197" y="32"/>
                  </a:cubicBezTo>
                  <a:cubicBezTo>
                    <a:pt x="199" y="26"/>
                    <a:pt x="198" y="22"/>
                    <a:pt x="201" y="20"/>
                  </a:cubicBezTo>
                  <a:cubicBezTo>
                    <a:pt x="204" y="18"/>
                    <a:pt x="208" y="12"/>
                    <a:pt x="205" y="6"/>
                  </a:cubicBezTo>
                  <a:cubicBezTo>
                    <a:pt x="201" y="0"/>
                    <a:pt x="193" y="0"/>
                    <a:pt x="188" y="5"/>
                  </a:cubicBezTo>
                  <a:cubicBezTo>
                    <a:pt x="182" y="11"/>
                    <a:pt x="183" y="14"/>
                    <a:pt x="172" y="12"/>
                  </a:cubicBezTo>
                  <a:cubicBezTo>
                    <a:pt x="161" y="10"/>
                    <a:pt x="144" y="8"/>
                    <a:pt x="138" y="13"/>
                  </a:cubicBezTo>
                  <a:cubicBezTo>
                    <a:pt x="132" y="19"/>
                    <a:pt x="130" y="20"/>
                    <a:pt x="120" y="19"/>
                  </a:cubicBezTo>
                  <a:cubicBezTo>
                    <a:pt x="109" y="19"/>
                    <a:pt x="86" y="24"/>
                    <a:pt x="81" y="18"/>
                  </a:cubicBezTo>
                  <a:cubicBezTo>
                    <a:pt x="76" y="11"/>
                    <a:pt x="68" y="15"/>
                    <a:pt x="65" y="8"/>
                  </a:cubicBezTo>
                  <a:cubicBezTo>
                    <a:pt x="61" y="0"/>
                    <a:pt x="56" y="2"/>
                    <a:pt x="52" y="4"/>
                  </a:cubicBezTo>
                  <a:cubicBezTo>
                    <a:pt x="49" y="5"/>
                    <a:pt x="48" y="7"/>
                    <a:pt x="44" y="13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144" name="Freeform 25203"/>
            <p:cNvSpPr>
              <a:spLocks/>
            </p:cNvSpPr>
            <p:nvPr/>
          </p:nvSpPr>
          <p:spPr bwMode="auto">
            <a:xfrm>
              <a:off x="4473985" y="2784412"/>
              <a:ext cx="45772" cy="70868"/>
            </a:xfrm>
            <a:custGeom>
              <a:avLst/>
              <a:gdLst>
                <a:gd name="T0" fmla="*/ 60 w 123"/>
                <a:gd name="T1" fmla="*/ 21 h 190"/>
                <a:gd name="T2" fmla="*/ 40 w 123"/>
                <a:gd name="T3" fmla="*/ 33 h 190"/>
                <a:gd name="T4" fmla="*/ 13 w 123"/>
                <a:gd name="T5" fmla="*/ 30 h 190"/>
                <a:gd name="T6" fmla="*/ 17 w 123"/>
                <a:gd name="T7" fmla="*/ 56 h 190"/>
                <a:gd name="T8" fmla="*/ 29 w 123"/>
                <a:gd name="T9" fmla="*/ 83 h 190"/>
                <a:gd name="T10" fmla="*/ 28 w 123"/>
                <a:gd name="T11" fmla="*/ 104 h 190"/>
                <a:gd name="T12" fmla="*/ 31 w 123"/>
                <a:gd name="T13" fmla="*/ 115 h 190"/>
                <a:gd name="T14" fmla="*/ 28 w 123"/>
                <a:gd name="T15" fmla="*/ 123 h 190"/>
                <a:gd name="T16" fmla="*/ 22 w 123"/>
                <a:gd name="T17" fmla="*/ 143 h 190"/>
                <a:gd name="T18" fmla="*/ 28 w 123"/>
                <a:gd name="T19" fmla="*/ 174 h 190"/>
                <a:gd name="T20" fmla="*/ 38 w 123"/>
                <a:gd name="T21" fmla="*/ 180 h 190"/>
                <a:gd name="T22" fmla="*/ 48 w 123"/>
                <a:gd name="T23" fmla="*/ 188 h 190"/>
                <a:gd name="T24" fmla="*/ 58 w 123"/>
                <a:gd name="T25" fmla="*/ 184 h 190"/>
                <a:gd name="T26" fmla="*/ 73 w 123"/>
                <a:gd name="T27" fmla="*/ 167 h 190"/>
                <a:gd name="T28" fmla="*/ 83 w 123"/>
                <a:gd name="T29" fmla="*/ 161 h 190"/>
                <a:gd name="T30" fmla="*/ 100 w 123"/>
                <a:gd name="T31" fmla="*/ 164 h 190"/>
                <a:gd name="T32" fmla="*/ 106 w 123"/>
                <a:gd name="T33" fmla="*/ 149 h 190"/>
                <a:gd name="T34" fmla="*/ 111 w 123"/>
                <a:gd name="T35" fmla="*/ 135 h 190"/>
                <a:gd name="T36" fmla="*/ 116 w 123"/>
                <a:gd name="T37" fmla="*/ 110 h 190"/>
                <a:gd name="T38" fmla="*/ 112 w 123"/>
                <a:gd name="T39" fmla="*/ 100 h 190"/>
                <a:gd name="T40" fmla="*/ 107 w 123"/>
                <a:gd name="T41" fmla="*/ 86 h 190"/>
                <a:gd name="T42" fmla="*/ 114 w 123"/>
                <a:gd name="T43" fmla="*/ 80 h 190"/>
                <a:gd name="T44" fmla="*/ 123 w 123"/>
                <a:gd name="T45" fmla="*/ 70 h 190"/>
                <a:gd name="T46" fmla="*/ 120 w 123"/>
                <a:gd name="T47" fmla="*/ 51 h 190"/>
                <a:gd name="T48" fmla="*/ 112 w 123"/>
                <a:gd name="T49" fmla="*/ 34 h 190"/>
                <a:gd name="T50" fmla="*/ 98 w 123"/>
                <a:gd name="T51" fmla="*/ 16 h 190"/>
                <a:gd name="T52" fmla="*/ 60 w 123"/>
                <a:gd name="T53" fmla="*/ 21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23" h="190">
                  <a:moveTo>
                    <a:pt x="60" y="21"/>
                  </a:moveTo>
                  <a:cubicBezTo>
                    <a:pt x="60" y="21"/>
                    <a:pt x="55" y="34"/>
                    <a:pt x="40" y="33"/>
                  </a:cubicBezTo>
                  <a:cubicBezTo>
                    <a:pt x="24" y="32"/>
                    <a:pt x="17" y="24"/>
                    <a:pt x="13" y="30"/>
                  </a:cubicBezTo>
                  <a:cubicBezTo>
                    <a:pt x="9" y="36"/>
                    <a:pt x="0" y="44"/>
                    <a:pt x="17" y="56"/>
                  </a:cubicBezTo>
                  <a:cubicBezTo>
                    <a:pt x="33" y="69"/>
                    <a:pt x="31" y="73"/>
                    <a:pt x="29" y="83"/>
                  </a:cubicBezTo>
                  <a:cubicBezTo>
                    <a:pt x="27" y="93"/>
                    <a:pt x="26" y="103"/>
                    <a:pt x="28" y="104"/>
                  </a:cubicBezTo>
                  <a:cubicBezTo>
                    <a:pt x="30" y="106"/>
                    <a:pt x="31" y="110"/>
                    <a:pt x="31" y="115"/>
                  </a:cubicBezTo>
                  <a:cubicBezTo>
                    <a:pt x="31" y="119"/>
                    <a:pt x="33" y="120"/>
                    <a:pt x="28" y="123"/>
                  </a:cubicBezTo>
                  <a:cubicBezTo>
                    <a:pt x="22" y="127"/>
                    <a:pt x="22" y="139"/>
                    <a:pt x="22" y="143"/>
                  </a:cubicBezTo>
                  <a:cubicBezTo>
                    <a:pt x="22" y="148"/>
                    <a:pt x="21" y="174"/>
                    <a:pt x="28" y="174"/>
                  </a:cubicBezTo>
                  <a:cubicBezTo>
                    <a:pt x="35" y="174"/>
                    <a:pt x="37" y="175"/>
                    <a:pt x="38" y="180"/>
                  </a:cubicBezTo>
                  <a:cubicBezTo>
                    <a:pt x="38" y="185"/>
                    <a:pt x="43" y="188"/>
                    <a:pt x="48" y="188"/>
                  </a:cubicBezTo>
                  <a:cubicBezTo>
                    <a:pt x="54" y="188"/>
                    <a:pt x="55" y="190"/>
                    <a:pt x="58" y="184"/>
                  </a:cubicBezTo>
                  <a:cubicBezTo>
                    <a:pt x="62" y="178"/>
                    <a:pt x="73" y="176"/>
                    <a:pt x="73" y="167"/>
                  </a:cubicBezTo>
                  <a:cubicBezTo>
                    <a:pt x="74" y="158"/>
                    <a:pt x="78" y="156"/>
                    <a:pt x="83" y="161"/>
                  </a:cubicBezTo>
                  <a:cubicBezTo>
                    <a:pt x="87" y="166"/>
                    <a:pt x="97" y="165"/>
                    <a:pt x="100" y="164"/>
                  </a:cubicBezTo>
                  <a:cubicBezTo>
                    <a:pt x="102" y="163"/>
                    <a:pt x="94" y="151"/>
                    <a:pt x="106" y="149"/>
                  </a:cubicBezTo>
                  <a:cubicBezTo>
                    <a:pt x="117" y="147"/>
                    <a:pt x="104" y="140"/>
                    <a:pt x="111" y="135"/>
                  </a:cubicBezTo>
                  <a:cubicBezTo>
                    <a:pt x="117" y="129"/>
                    <a:pt x="116" y="119"/>
                    <a:pt x="116" y="110"/>
                  </a:cubicBezTo>
                  <a:cubicBezTo>
                    <a:pt x="116" y="102"/>
                    <a:pt x="117" y="102"/>
                    <a:pt x="112" y="100"/>
                  </a:cubicBezTo>
                  <a:cubicBezTo>
                    <a:pt x="107" y="97"/>
                    <a:pt x="105" y="92"/>
                    <a:pt x="107" y="86"/>
                  </a:cubicBezTo>
                  <a:cubicBezTo>
                    <a:pt x="108" y="80"/>
                    <a:pt x="114" y="83"/>
                    <a:pt x="114" y="80"/>
                  </a:cubicBezTo>
                  <a:cubicBezTo>
                    <a:pt x="115" y="77"/>
                    <a:pt x="123" y="77"/>
                    <a:pt x="123" y="70"/>
                  </a:cubicBezTo>
                  <a:cubicBezTo>
                    <a:pt x="123" y="64"/>
                    <a:pt x="123" y="56"/>
                    <a:pt x="120" y="51"/>
                  </a:cubicBezTo>
                  <a:cubicBezTo>
                    <a:pt x="116" y="47"/>
                    <a:pt x="114" y="38"/>
                    <a:pt x="112" y="34"/>
                  </a:cubicBezTo>
                  <a:cubicBezTo>
                    <a:pt x="110" y="30"/>
                    <a:pt x="103" y="20"/>
                    <a:pt x="98" y="16"/>
                  </a:cubicBezTo>
                  <a:cubicBezTo>
                    <a:pt x="93" y="12"/>
                    <a:pt x="70" y="0"/>
                    <a:pt x="60" y="21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145" name="Freeform 25204"/>
            <p:cNvSpPr>
              <a:spLocks/>
            </p:cNvSpPr>
            <p:nvPr/>
          </p:nvSpPr>
          <p:spPr bwMode="auto">
            <a:xfrm>
              <a:off x="4526228" y="2738166"/>
              <a:ext cx="5840" cy="7418"/>
            </a:xfrm>
            <a:custGeom>
              <a:avLst/>
              <a:gdLst>
                <a:gd name="T0" fmla="*/ 10 w 16"/>
                <a:gd name="T1" fmla="*/ 4 h 20"/>
                <a:gd name="T2" fmla="*/ 7 w 16"/>
                <a:gd name="T3" fmla="*/ 10 h 20"/>
                <a:gd name="T4" fmla="*/ 3 w 16"/>
                <a:gd name="T5" fmla="*/ 15 h 20"/>
                <a:gd name="T6" fmla="*/ 12 w 16"/>
                <a:gd name="T7" fmla="*/ 19 h 20"/>
                <a:gd name="T8" fmla="*/ 15 w 16"/>
                <a:gd name="T9" fmla="*/ 13 h 20"/>
                <a:gd name="T10" fmla="*/ 10 w 16"/>
                <a:gd name="T11" fmla="*/ 4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20">
                  <a:moveTo>
                    <a:pt x="10" y="4"/>
                  </a:moveTo>
                  <a:cubicBezTo>
                    <a:pt x="10" y="4"/>
                    <a:pt x="11" y="9"/>
                    <a:pt x="7" y="10"/>
                  </a:cubicBezTo>
                  <a:cubicBezTo>
                    <a:pt x="2" y="11"/>
                    <a:pt x="0" y="14"/>
                    <a:pt x="3" y="15"/>
                  </a:cubicBezTo>
                  <a:cubicBezTo>
                    <a:pt x="6" y="17"/>
                    <a:pt x="8" y="20"/>
                    <a:pt x="12" y="19"/>
                  </a:cubicBezTo>
                  <a:cubicBezTo>
                    <a:pt x="16" y="17"/>
                    <a:pt x="16" y="17"/>
                    <a:pt x="15" y="13"/>
                  </a:cubicBezTo>
                  <a:cubicBezTo>
                    <a:pt x="14" y="9"/>
                    <a:pt x="15" y="0"/>
                    <a:pt x="10" y="4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146" name="Freeform 25205"/>
            <p:cNvSpPr>
              <a:spLocks/>
            </p:cNvSpPr>
            <p:nvPr/>
          </p:nvSpPr>
          <p:spPr bwMode="auto">
            <a:xfrm>
              <a:off x="4060145" y="2761210"/>
              <a:ext cx="76707" cy="145523"/>
            </a:xfrm>
            <a:custGeom>
              <a:avLst/>
              <a:gdLst>
                <a:gd name="T0" fmla="*/ 126 w 206"/>
                <a:gd name="T1" fmla="*/ 331 h 390"/>
                <a:gd name="T2" fmla="*/ 144 w 206"/>
                <a:gd name="T3" fmla="*/ 313 h 390"/>
                <a:gd name="T4" fmla="*/ 148 w 206"/>
                <a:gd name="T5" fmla="*/ 296 h 390"/>
                <a:gd name="T6" fmla="*/ 134 w 206"/>
                <a:gd name="T7" fmla="*/ 284 h 390"/>
                <a:gd name="T8" fmla="*/ 135 w 206"/>
                <a:gd name="T9" fmla="*/ 269 h 390"/>
                <a:gd name="T10" fmla="*/ 143 w 206"/>
                <a:gd name="T11" fmla="*/ 255 h 390"/>
                <a:gd name="T12" fmla="*/ 154 w 206"/>
                <a:gd name="T13" fmla="*/ 238 h 390"/>
                <a:gd name="T14" fmla="*/ 145 w 206"/>
                <a:gd name="T15" fmla="*/ 225 h 390"/>
                <a:gd name="T16" fmla="*/ 138 w 206"/>
                <a:gd name="T17" fmla="*/ 215 h 390"/>
                <a:gd name="T18" fmla="*/ 126 w 206"/>
                <a:gd name="T19" fmla="*/ 199 h 390"/>
                <a:gd name="T20" fmla="*/ 119 w 206"/>
                <a:gd name="T21" fmla="*/ 186 h 390"/>
                <a:gd name="T22" fmla="*/ 151 w 206"/>
                <a:gd name="T23" fmla="*/ 186 h 390"/>
                <a:gd name="T24" fmla="*/ 158 w 206"/>
                <a:gd name="T25" fmla="*/ 171 h 390"/>
                <a:gd name="T26" fmla="*/ 158 w 206"/>
                <a:gd name="T27" fmla="*/ 151 h 390"/>
                <a:gd name="T28" fmla="*/ 163 w 206"/>
                <a:gd name="T29" fmla="*/ 137 h 390"/>
                <a:gd name="T30" fmla="*/ 165 w 206"/>
                <a:gd name="T31" fmla="*/ 115 h 390"/>
                <a:gd name="T32" fmla="*/ 160 w 206"/>
                <a:gd name="T33" fmla="*/ 89 h 390"/>
                <a:gd name="T34" fmla="*/ 165 w 206"/>
                <a:gd name="T35" fmla="*/ 80 h 390"/>
                <a:gd name="T36" fmla="*/ 174 w 206"/>
                <a:gd name="T37" fmla="*/ 69 h 390"/>
                <a:gd name="T38" fmla="*/ 189 w 206"/>
                <a:gd name="T39" fmla="*/ 63 h 390"/>
                <a:gd name="T40" fmla="*/ 203 w 206"/>
                <a:gd name="T41" fmla="*/ 51 h 390"/>
                <a:gd name="T42" fmla="*/ 195 w 206"/>
                <a:gd name="T43" fmla="*/ 35 h 390"/>
                <a:gd name="T44" fmla="*/ 186 w 206"/>
                <a:gd name="T45" fmla="*/ 24 h 390"/>
                <a:gd name="T46" fmla="*/ 169 w 206"/>
                <a:gd name="T47" fmla="*/ 15 h 390"/>
                <a:gd name="T48" fmla="*/ 150 w 206"/>
                <a:gd name="T49" fmla="*/ 17 h 390"/>
                <a:gd name="T50" fmla="*/ 136 w 206"/>
                <a:gd name="T51" fmla="*/ 26 h 390"/>
                <a:gd name="T52" fmla="*/ 109 w 206"/>
                <a:gd name="T53" fmla="*/ 21 h 390"/>
                <a:gd name="T54" fmla="*/ 82 w 206"/>
                <a:gd name="T55" fmla="*/ 28 h 390"/>
                <a:gd name="T56" fmla="*/ 81 w 206"/>
                <a:gd name="T57" fmla="*/ 10 h 390"/>
                <a:gd name="T58" fmla="*/ 59 w 206"/>
                <a:gd name="T59" fmla="*/ 1 h 390"/>
                <a:gd name="T60" fmla="*/ 48 w 206"/>
                <a:gd name="T61" fmla="*/ 12 h 390"/>
                <a:gd name="T62" fmla="*/ 34 w 206"/>
                <a:gd name="T63" fmla="*/ 15 h 390"/>
                <a:gd name="T64" fmla="*/ 45 w 206"/>
                <a:gd name="T65" fmla="*/ 46 h 390"/>
                <a:gd name="T66" fmla="*/ 51 w 206"/>
                <a:gd name="T67" fmla="*/ 98 h 390"/>
                <a:gd name="T68" fmla="*/ 38 w 206"/>
                <a:gd name="T69" fmla="*/ 138 h 390"/>
                <a:gd name="T70" fmla="*/ 16 w 206"/>
                <a:gd name="T71" fmla="*/ 199 h 390"/>
                <a:gd name="T72" fmla="*/ 5 w 206"/>
                <a:gd name="T73" fmla="*/ 251 h 390"/>
                <a:gd name="T74" fmla="*/ 32 w 206"/>
                <a:gd name="T75" fmla="*/ 274 h 390"/>
                <a:gd name="T76" fmla="*/ 39 w 206"/>
                <a:gd name="T77" fmla="*/ 317 h 390"/>
                <a:gd name="T78" fmla="*/ 35 w 206"/>
                <a:gd name="T79" fmla="*/ 360 h 390"/>
                <a:gd name="T80" fmla="*/ 49 w 206"/>
                <a:gd name="T81" fmla="*/ 379 h 390"/>
                <a:gd name="T82" fmla="*/ 85 w 206"/>
                <a:gd name="T83" fmla="*/ 383 h 390"/>
                <a:gd name="T84" fmla="*/ 118 w 206"/>
                <a:gd name="T85" fmla="*/ 379 h 390"/>
                <a:gd name="T86" fmla="*/ 131 w 206"/>
                <a:gd name="T87" fmla="*/ 370 h 390"/>
                <a:gd name="T88" fmla="*/ 122 w 206"/>
                <a:gd name="T89" fmla="*/ 352 h 390"/>
                <a:gd name="T90" fmla="*/ 126 w 206"/>
                <a:gd name="T91" fmla="*/ 331 h 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06" h="390">
                  <a:moveTo>
                    <a:pt x="126" y="331"/>
                  </a:moveTo>
                  <a:cubicBezTo>
                    <a:pt x="128" y="322"/>
                    <a:pt x="136" y="318"/>
                    <a:pt x="144" y="313"/>
                  </a:cubicBezTo>
                  <a:cubicBezTo>
                    <a:pt x="151" y="308"/>
                    <a:pt x="150" y="301"/>
                    <a:pt x="148" y="296"/>
                  </a:cubicBezTo>
                  <a:cubicBezTo>
                    <a:pt x="146" y="290"/>
                    <a:pt x="139" y="288"/>
                    <a:pt x="134" y="284"/>
                  </a:cubicBezTo>
                  <a:cubicBezTo>
                    <a:pt x="129" y="279"/>
                    <a:pt x="133" y="274"/>
                    <a:pt x="135" y="269"/>
                  </a:cubicBezTo>
                  <a:cubicBezTo>
                    <a:pt x="136" y="264"/>
                    <a:pt x="137" y="259"/>
                    <a:pt x="143" y="255"/>
                  </a:cubicBezTo>
                  <a:cubicBezTo>
                    <a:pt x="150" y="251"/>
                    <a:pt x="155" y="243"/>
                    <a:pt x="154" y="238"/>
                  </a:cubicBezTo>
                  <a:cubicBezTo>
                    <a:pt x="154" y="233"/>
                    <a:pt x="149" y="227"/>
                    <a:pt x="145" y="225"/>
                  </a:cubicBezTo>
                  <a:cubicBezTo>
                    <a:pt x="141" y="223"/>
                    <a:pt x="139" y="219"/>
                    <a:pt x="138" y="215"/>
                  </a:cubicBezTo>
                  <a:cubicBezTo>
                    <a:pt x="137" y="211"/>
                    <a:pt x="136" y="204"/>
                    <a:pt x="126" y="199"/>
                  </a:cubicBezTo>
                  <a:cubicBezTo>
                    <a:pt x="116" y="194"/>
                    <a:pt x="114" y="185"/>
                    <a:pt x="119" y="186"/>
                  </a:cubicBezTo>
                  <a:cubicBezTo>
                    <a:pt x="124" y="187"/>
                    <a:pt x="142" y="189"/>
                    <a:pt x="151" y="186"/>
                  </a:cubicBezTo>
                  <a:cubicBezTo>
                    <a:pt x="160" y="183"/>
                    <a:pt x="157" y="176"/>
                    <a:pt x="158" y="171"/>
                  </a:cubicBezTo>
                  <a:cubicBezTo>
                    <a:pt x="159" y="166"/>
                    <a:pt x="159" y="159"/>
                    <a:pt x="158" y="151"/>
                  </a:cubicBezTo>
                  <a:cubicBezTo>
                    <a:pt x="158" y="143"/>
                    <a:pt x="160" y="141"/>
                    <a:pt x="163" y="137"/>
                  </a:cubicBezTo>
                  <a:cubicBezTo>
                    <a:pt x="167" y="133"/>
                    <a:pt x="165" y="123"/>
                    <a:pt x="165" y="115"/>
                  </a:cubicBezTo>
                  <a:cubicBezTo>
                    <a:pt x="166" y="108"/>
                    <a:pt x="164" y="95"/>
                    <a:pt x="160" y="89"/>
                  </a:cubicBezTo>
                  <a:cubicBezTo>
                    <a:pt x="156" y="84"/>
                    <a:pt x="162" y="81"/>
                    <a:pt x="165" y="80"/>
                  </a:cubicBezTo>
                  <a:cubicBezTo>
                    <a:pt x="168" y="79"/>
                    <a:pt x="172" y="72"/>
                    <a:pt x="174" y="69"/>
                  </a:cubicBezTo>
                  <a:cubicBezTo>
                    <a:pt x="176" y="65"/>
                    <a:pt x="181" y="64"/>
                    <a:pt x="189" y="63"/>
                  </a:cubicBezTo>
                  <a:cubicBezTo>
                    <a:pt x="197" y="62"/>
                    <a:pt x="201" y="55"/>
                    <a:pt x="203" y="51"/>
                  </a:cubicBezTo>
                  <a:cubicBezTo>
                    <a:pt x="206" y="47"/>
                    <a:pt x="201" y="38"/>
                    <a:pt x="195" y="35"/>
                  </a:cubicBezTo>
                  <a:cubicBezTo>
                    <a:pt x="189" y="33"/>
                    <a:pt x="189" y="31"/>
                    <a:pt x="186" y="24"/>
                  </a:cubicBezTo>
                  <a:cubicBezTo>
                    <a:pt x="183" y="18"/>
                    <a:pt x="180" y="19"/>
                    <a:pt x="169" y="15"/>
                  </a:cubicBezTo>
                  <a:cubicBezTo>
                    <a:pt x="158" y="11"/>
                    <a:pt x="158" y="16"/>
                    <a:pt x="150" y="17"/>
                  </a:cubicBezTo>
                  <a:cubicBezTo>
                    <a:pt x="142" y="17"/>
                    <a:pt x="140" y="21"/>
                    <a:pt x="136" y="26"/>
                  </a:cubicBezTo>
                  <a:cubicBezTo>
                    <a:pt x="131" y="30"/>
                    <a:pt x="121" y="23"/>
                    <a:pt x="109" y="21"/>
                  </a:cubicBezTo>
                  <a:cubicBezTo>
                    <a:pt x="97" y="19"/>
                    <a:pt x="92" y="30"/>
                    <a:pt x="82" y="28"/>
                  </a:cubicBezTo>
                  <a:cubicBezTo>
                    <a:pt x="72" y="27"/>
                    <a:pt x="80" y="19"/>
                    <a:pt x="81" y="10"/>
                  </a:cubicBezTo>
                  <a:cubicBezTo>
                    <a:pt x="82" y="0"/>
                    <a:pt x="67" y="1"/>
                    <a:pt x="59" y="1"/>
                  </a:cubicBezTo>
                  <a:cubicBezTo>
                    <a:pt x="51" y="1"/>
                    <a:pt x="50" y="7"/>
                    <a:pt x="48" y="12"/>
                  </a:cubicBezTo>
                  <a:cubicBezTo>
                    <a:pt x="47" y="16"/>
                    <a:pt x="39" y="16"/>
                    <a:pt x="34" y="15"/>
                  </a:cubicBezTo>
                  <a:cubicBezTo>
                    <a:pt x="32" y="31"/>
                    <a:pt x="32" y="34"/>
                    <a:pt x="45" y="46"/>
                  </a:cubicBezTo>
                  <a:cubicBezTo>
                    <a:pt x="59" y="59"/>
                    <a:pt x="51" y="82"/>
                    <a:pt x="51" y="98"/>
                  </a:cubicBezTo>
                  <a:cubicBezTo>
                    <a:pt x="51" y="113"/>
                    <a:pt x="52" y="128"/>
                    <a:pt x="38" y="138"/>
                  </a:cubicBezTo>
                  <a:cubicBezTo>
                    <a:pt x="23" y="148"/>
                    <a:pt x="32" y="184"/>
                    <a:pt x="16" y="199"/>
                  </a:cubicBezTo>
                  <a:cubicBezTo>
                    <a:pt x="0" y="215"/>
                    <a:pt x="5" y="231"/>
                    <a:pt x="5" y="251"/>
                  </a:cubicBezTo>
                  <a:cubicBezTo>
                    <a:pt x="5" y="271"/>
                    <a:pt x="19" y="271"/>
                    <a:pt x="32" y="274"/>
                  </a:cubicBezTo>
                  <a:cubicBezTo>
                    <a:pt x="45" y="277"/>
                    <a:pt x="39" y="303"/>
                    <a:pt x="39" y="317"/>
                  </a:cubicBezTo>
                  <a:cubicBezTo>
                    <a:pt x="39" y="331"/>
                    <a:pt x="35" y="344"/>
                    <a:pt x="35" y="360"/>
                  </a:cubicBezTo>
                  <a:cubicBezTo>
                    <a:pt x="35" y="376"/>
                    <a:pt x="39" y="382"/>
                    <a:pt x="49" y="379"/>
                  </a:cubicBezTo>
                  <a:cubicBezTo>
                    <a:pt x="59" y="376"/>
                    <a:pt x="76" y="376"/>
                    <a:pt x="85" y="383"/>
                  </a:cubicBezTo>
                  <a:cubicBezTo>
                    <a:pt x="94" y="390"/>
                    <a:pt x="112" y="386"/>
                    <a:pt x="118" y="379"/>
                  </a:cubicBezTo>
                  <a:cubicBezTo>
                    <a:pt x="121" y="375"/>
                    <a:pt x="125" y="372"/>
                    <a:pt x="131" y="370"/>
                  </a:cubicBezTo>
                  <a:cubicBezTo>
                    <a:pt x="128" y="363"/>
                    <a:pt x="124" y="358"/>
                    <a:pt x="122" y="352"/>
                  </a:cubicBezTo>
                  <a:cubicBezTo>
                    <a:pt x="119" y="345"/>
                    <a:pt x="124" y="340"/>
                    <a:pt x="126" y="331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147" name="Freeform 25212"/>
            <p:cNvSpPr>
              <a:spLocks/>
            </p:cNvSpPr>
            <p:nvPr/>
          </p:nvSpPr>
          <p:spPr bwMode="auto">
            <a:xfrm>
              <a:off x="4833058" y="2208160"/>
              <a:ext cx="122322" cy="76865"/>
            </a:xfrm>
            <a:custGeom>
              <a:avLst/>
              <a:gdLst>
                <a:gd name="T0" fmla="*/ 114 w 328"/>
                <a:gd name="T1" fmla="*/ 154 h 206"/>
                <a:gd name="T2" fmla="*/ 146 w 328"/>
                <a:gd name="T3" fmla="*/ 156 h 206"/>
                <a:gd name="T4" fmla="*/ 162 w 328"/>
                <a:gd name="T5" fmla="*/ 164 h 206"/>
                <a:gd name="T6" fmla="*/ 183 w 328"/>
                <a:gd name="T7" fmla="*/ 176 h 206"/>
                <a:gd name="T8" fmla="*/ 203 w 328"/>
                <a:gd name="T9" fmla="*/ 191 h 206"/>
                <a:gd name="T10" fmla="*/ 228 w 328"/>
                <a:gd name="T11" fmla="*/ 200 h 206"/>
                <a:gd name="T12" fmla="*/ 249 w 328"/>
                <a:gd name="T13" fmla="*/ 195 h 206"/>
                <a:gd name="T14" fmla="*/ 276 w 328"/>
                <a:gd name="T15" fmla="*/ 193 h 206"/>
                <a:gd name="T16" fmla="*/ 283 w 328"/>
                <a:gd name="T17" fmla="*/ 176 h 206"/>
                <a:gd name="T18" fmla="*/ 301 w 328"/>
                <a:gd name="T19" fmla="*/ 166 h 206"/>
                <a:gd name="T20" fmla="*/ 279 w 328"/>
                <a:gd name="T21" fmla="*/ 126 h 206"/>
                <a:gd name="T22" fmla="*/ 281 w 328"/>
                <a:gd name="T23" fmla="*/ 96 h 206"/>
                <a:gd name="T24" fmla="*/ 297 w 328"/>
                <a:gd name="T25" fmla="*/ 62 h 206"/>
                <a:gd name="T26" fmla="*/ 318 w 328"/>
                <a:gd name="T27" fmla="*/ 38 h 206"/>
                <a:gd name="T28" fmla="*/ 324 w 328"/>
                <a:gd name="T29" fmla="*/ 24 h 206"/>
                <a:gd name="T30" fmla="*/ 316 w 328"/>
                <a:gd name="T31" fmla="*/ 5 h 206"/>
                <a:gd name="T32" fmla="*/ 312 w 328"/>
                <a:gd name="T33" fmla="*/ 14 h 206"/>
                <a:gd name="T34" fmla="*/ 257 w 328"/>
                <a:gd name="T35" fmla="*/ 20 h 206"/>
                <a:gd name="T36" fmla="*/ 201 w 328"/>
                <a:gd name="T37" fmla="*/ 5 h 206"/>
                <a:gd name="T38" fmla="*/ 130 w 328"/>
                <a:gd name="T39" fmla="*/ 10 h 206"/>
                <a:gd name="T40" fmla="*/ 74 w 328"/>
                <a:gd name="T41" fmla="*/ 23 h 206"/>
                <a:gd name="T42" fmla="*/ 19 w 328"/>
                <a:gd name="T43" fmla="*/ 48 h 206"/>
                <a:gd name="T44" fmla="*/ 27 w 328"/>
                <a:gd name="T45" fmla="*/ 71 h 206"/>
                <a:gd name="T46" fmla="*/ 42 w 328"/>
                <a:gd name="T47" fmla="*/ 110 h 206"/>
                <a:gd name="T48" fmla="*/ 89 w 328"/>
                <a:gd name="T49" fmla="*/ 123 h 206"/>
                <a:gd name="T50" fmla="*/ 85 w 328"/>
                <a:gd name="T51" fmla="*/ 152 h 206"/>
                <a:gd name="T52" fmla="*/ 75 w 328"/>
                <a:gd name="T53" fmla="*/ 169 h 206"/>
                <a:gd name="T54" fmla="*/ 89 w 328"/>
                <a:gd name="T55" fmla="*/ 166 h 206"/>
                <a:gd name="T56" fmla="*/ 114 w 328"/>
                <a:gd name="T57" fmla="*/ 154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28" h="206">
                  <a:moveTo>
                    <a:pt x="114" y="154"/>
                  </a:moveTo>
                  <a:cubicBezTo>
                    <a:pt x="125" y="153"/>
                    <a:pt x="139" y="151"/>
                    <a:pt x="146" y="156"/>
                  </a:cubicBezTo>
                  <a:cubicBezTo>
                    <a:pt x="152" y="161"/>
                    <a:pt x="152" y="163"/>
                    <a:pt x="162" y="164"/>
                  </a:cubicBezTo>
                  <a:cubicBezTo>
                    <a:pt x="171" y="165"/>
                    <a:pt x="175" y="172"/>
                    <a:pt x="183" y="176"/>
                  </a:cubicBezTo>
                  <a:cubicBezTo>
                    <a:pt x="190" y="180"/>
                    <a:pt x="199" y="186"/>
                    <a:pt x="203" y="191"/>
                  </a:cubicBezTo>
                  <a:cubicBezTo>
                    <a:pt x="208" y="195"/>
                    <a:pt x="219" y="206"/>
                    <a:pt x="228" y="200"/>
                  </a:cubicBezTo>
                  <a:cubicBezTo>
                    <a:pt x="237" y="194"/>
                    <a:pt x="240" y="194"/>
                    <a:pt x="249" y="195"/>
                  </a:cubicBezTo>
                  <a:cubicBezTo>
                    <a:pt x="256" y="195"/>
                    <a:pt x="267" y="194"/>
                    <a:pt x="276" y="193"/>
                  </a:cubicBezTo>
                  <a:cubicBezTo>
                    <a:pt x="276" y="184"/>
                    <a:pt x="273" y="180"/>
                    <a:pt x="283" y="176"/>
                  </a:cubicBezTo>
                  <a:cubicBezTo>
                    <a:pt x="293" y="172"/>
                    <a:pt x="307" y="178"/>
                    <a:pt x="301" y="166"/>
                  </a:cubicBezTo>
                  <a:cubicBezTo>
                    <a:pt x="296" y="154"/>
                    <a:pt x="278" y="137"/>
                    <a:pt x="279" y="126"/>
                  </a:cubicBezTo>
                  <a:cubicBezTo>
                    <a:pt x="281" y="115"/>
                    <a:pt x="284" y="109"/>
                    <a:pt x="281" y="96"/>
                  </a:cubicBezTo>
                  <a:cubicBezTo>
                    <a:pt x="278" y="83"/>
                    <a:pt x="284" y="70"/>
                    <a:pt x="297" y="62"/>
                  </a:cubicBezTo>
                  <a:cubicBezTo>
                    <a:pt x="310" y="54"/>
                    <a:pt x="309" y="40"/>
                    <a:pt x="318" y="38"/>
                  </a:cubicBezTo>
                  <a:cubicBezTo>
                    <a:pt x="328" y="35"/>
                    <a:pt x="328" y="29"/>
                    <a:pt x="324" y="24"/>
                  </a:cubicBezTo>
                  <a:cubicBezTo>
                    <a:pt x="320" y="19"/>
                    <a:pt x="325" y="10"/>
                    <a:pt x="316" y="5"/>
                  </a:cubicBezTo>
                  <a:cubicBezTo>
                    <a:pt x="315" y="8"/>
                    <a:pt x="314" y="11"/>
                    <a:pt x="312" y="14"/>
                  </a:cubicBezTo>
                  <a:cubicBezTo>
                    <a:pt x="307" y="27"/>
                    <a:pt x="277" y="21"/>
                    <a:pt x="257" y="20"/>
                  </a:cubicBezTo>
                  <a:cubicBezTo>
                    <a:pt x="236" y="18"/>
                    <a:pt x="222" y="11"/>
                    <a:pt x="201" y="5"/>
                  </a:cubicBezTo>
                  <a:cubicBezTo>
                    <a:pt x="179" y="0"/>
                    <a:pt x="146" y="8"/>
                    <a:pt x="130" y="10"/>
                  </a:cubicBezTo>
                  <a:cubicBezTo>
                    <a:pt x="115" y="11"/>
                    <a:pt x="86" y="5"/>
                    <a:pt x="74" y="23"/>
                  </a:cubicBezTo>
                  <a:cubicBezTo>
                    <a:pt x="63" y="40"/>
                    <a:pt x="37" y="46"/>
                    <a:pt x="19" y="48"/>
                  </a:cubicBezTo>
                  <a:cubicBezTo>
                    <a:pt x="0" y="51"/>
                    <a:pt x="17" y="61"/>
                    <a:pt x="27" y="71"/>
                  </a:cubicBezTo>
                  <a:cubicBezTo>
                    <a:pt x="37" y="81"/>
                    <a:pt x="33" y="94"/>
                    <a:pt x="42" y="110"/>
                  </a:cubicBezTo>
                  <a:cubicBezTo>
                    <a:pt x="50" y="126"/>
                    <a:pt x="67" y="123"/>
                    <a:pt x="89" y="123"/>
                  </a:cubicBezTo>
                  <a:cubicBezTo>
                    <a:pt x="110" y="123"/>
                    <a:pt x="97" y="134"/>
                    <a:pt x="85" y="152"/>
                  </a:cubicBezTo>
                  <a:cubicBezTo>
                    <a:pt x="77" y="161"/>
                    <a:pt x="75" y="165"/>
                    <a:pt x="75" y="169"/>
                  </a:cubicBezTo>
                  <a:cubicBezTo>
                    <a:pt x="80" y="169"/>
                    <a:pt x="85" y="168"/>
                    <a:pt x="89" y="166"/>
                  </a:cubicBezTo>
                  <a:cubicBezTo>
                    <a:pt x="97" y="162"/>
                    <a:pt x="103" y="156"/>
                    <a:pt x="114" y="154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148" name="Freeform 25213"/>
            <p:cNvSpPr>
              <a:spLocks/>
            </p:cNvSpPr>
            <p:nvPr/>
          </p:nvSpPr>
          <p:spPr bwMode="auto">
            <a:xfrm>
              <a:off x="4806226" y="2226784"/>
              <a:ext cx="27621" cy="14995"/>
            </a:xfrm>
            <a:custGeom>
              <a:avLst/>
              <a:gdLst>
                <a:gd name="T0" fmla="*/ 40 w 74"/>
                <a:gd name="T1" fmla="*/ 5 h 40"/>
                <a:gd name="T2" fmla="*/ 32 w 74"/>
                <a:gd name="T3" fmla="*/ 9 h 40"/>
                <a:gd name="T4" fmla="*/ 3 w 74"/>
                <a:gd name="T5" fmla="*/ 9 h 40"/>
                <a:gd name="T6" fmla="*/ 9 w 74"/>
                <a:gd name="T7" fmla="*/ 23 h 40"/>
                <a:gd name="T8" fmla="*/ 29 w 74"/>
                <a:gd name="T9" fmla="*/ 28 h 40"/>
                <a:gd name="T10" fmla="*/ 40 w 74"/>
                <a:gd name="T11" fmla="*/ 38 h 40"/>
                <a:gd name="T12" fmla="*/ 51 w 74"/>
                <a:gd name="T13" fmla="*/ 37 h 40"/>
                <a:gd name="T14" fmla="*/ 59 w 74"/>
                <a:gd name="T15" fmla="*/ 33 h 40"/>
                <a:gd name="T16" fmla="*/ 67 w 74"/>
                <a:gd name="T17" fmla="*/ 31 h 40"/>
                <a:gd name="T18" fmla="*/ 69 w 74"/>
                <a:gd name="T19" fmla="*/ 27 h 40"/>
                <a:gd name="T20" fmla="*/ 74 w 74"/>
                <a:gd name="T21" fmla="*/ 24 h 40"/>
                <a:gd name="T22" fmla="*/ 69 w 74"/>
                <a:gd name="T23" fmla="*/ 17 h 40"/>
                <a:gd name="T24" fmla="*/ 62 w 74"/>
                <a:gd name="T25" fmla="*/ 10 h 40"/>
                <a:gd name="T26" fmla="*/ 50 w 74"/>
                <a:gd name="T27" fmla="*/ 1 h 40"/>
                <a:gd name="T28" fmla="*/ 40 w 74"/>
                <a:gd name="T29" fmla="*/ 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4" h="40">
                  <a:moveTo>
                    <a:pt x="40" y="5"/>
                  </a:moveTo>
                  <a:cubicBezTo>
                    <a:pt x="40" y="5"/>
                    <a:pt x="41" y="10"/>
                    <a:pt x="32" y="9"/>
                  </a:cubicBezTo>
                  <a:cubicBezTo>
                    <a:pt x="24" y="8"/>
                    <a:pt x="6" y="9"/>
                    <a:pt x="3" y="9"/>
                  </a:cubicBezTo>
                  <a:cubicBezTo>
                    <a:pt x="0" y="10"/>
                    <a:pt x="0" y="21"/>
                    <a:pt x="9" y="23"/>
                  </a:cubicBezTo>
                  <a:cubicBezTo>
                    <a:pt x="19" y="25"/>
                    <a:pt x="23" y="25"/>
                    <a:pt x="29" y="28"/>
                  </a:cubicBezTo>
                  <a:cubicBezTo>
                    <a:pt x="34" y="32"/>
                    <a:pt x="35" y="36"/>
                    <a:pt x="40" y="38"/>
                  </a:cubicBezTo>
                  <a:cubicBezTo>
                    <a:pt x="45" y="40"/>
                    <a:pt x="48" y="40"/>
                    <a:pt x="51" y="37"/>
                  </a:cubicBezTo>
                  <a:cubicBezTo>
                    <a:pt x="53" y="34"/>
                    <a:pt x="55" y="34"/>
                    <a:pt x="59" y="33"/>
                  </a:cubicBezTo>
                  <a:cubicBezTo>
                    <a:pt x="64" y="33"/>
                    <a:pt x="66" y="35"/>
                    <a:pt x="67" y="31"/>
                  </a:cubicBezTo>
                  <a:cubicBezTo>
                    <a:pt x="68" y="28"/>
                    <a:pt x="66" y="28"/>
                    <a:pt x="69" y="27"/>
                  </a:cubicBezTo>
                  <a:cubicBezTo>
                    <a:pt x="72" y="26"/>
                    <a:pt x="74" y="27"/>
                    <a:pt x="74" y="24"/>
                  </a:cubicBezTo>
                  <a:cubicBezTo>
                    <a:pt x="74" y="21"/>
                    <a:pt x="72" y="17"/>
                    <a:pt x="69" y="17"/>
                  </a:cubicBezTo>
                  <a:cubicBezTo>
                    <a:pt x="65" y="17"/>
                    <a:pt x="68" y="12"/>
                    <a:pt x="62" y="10"/>
                  </a:cubicBezTo>
                  <a:cubicBezTo>
                    <a:pt x="55" y="8"/>
                    <a:pt x="56" y="2"/>
                    <a:pt x="50" y="1"/>
                  </a:cubicBezTo>
                  <a:cubicBezTo>
                    <a:pt x="44" y="0"/>
                    <a:pt x="39" y="1"/>
                    <a:pt x="40" y="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149" name="Freeform 25214"/>
            <p:cNvSpPr>
              <a:spLocks/>
            </p:cNvSpPr>
            <p:nvPr/>
          </p:nvSpPr>
          <p:spPr bwMode="auto">
            <a:xfrm>
              <a:off x="4803542" y="2239095"/>
              <a:ext cx="37407" cy="29199"/>
            </a:xfrm>
            <a:custGeom>
              <a:avLst/>
              <a:gdLst>
                <a:gd name="T0" fmla="*/ 78 w 100"/>
                <a:gd name="T1" fmla="*/ 15 h 78"/>
                <a:gd name="T2" fmla="*/ 71 w 100"/>
                <a:gd name="T3" fmla="*/ 16 h 78"/>
                <a:gd name="T4" fmla="*/ 56 w 100"/>
                <a:gd name="T5" fmla="*/ 11 h 78"/>
                <a:gd name="T6" fmla="*/ 40 w 100"/>
                <a:gd name="T7" fmla="*/ 12 h 78"/>
                <a:gd name="T8" fmla="*/ 23 w 100"/>
                <a:gd name="T9" fmla="*/ 17 h 78"/>
                <a:gd name="T10" fmla="*/ 2 w 100"/>
                <a:gd name="T11" fmla="*/ 22 h 78"/>
                <a:gd name="T12" fmla="*/ 7 w 100"/>
                <a:gd name="T13" fmla="*/ 30 h 78"/>
                <a:gd name="T14" fmla="*/ 3 w 100"/>
                <a:gd name="T15" fmla="*/ 43 h 78"/>
                <a:gd name="T16" fmla="*/ 4 w 100"/>
                <a:gd name="T17" fmla="*/ 49 h 78"/>
                <a:gd name="T18" fmla="*/ 9 w 100"/>
                <a:gd name="T19" fmla="*/ 58 h 78"/>
                <a:gd name="T20" fmla="*/ 7 w 100"/>
                <a:gd name="T21" fmla="*/ 75 h 78"/>
                <a:gd name="T22" fmla="*/ 21 w 100"/>
                <a:gd name="T23" fmla="*/ 74 h 78"/>
                <a:gd name="T24" fmla="*/ 32 w 100"/>
                <a:gd name="T25" fmla="*/ 65 h 78"/>
                <a:gd name="T26" fmla="*/ 45 w 100"/>
                <a:gd name="T27" fmla="*/ 53 h 78"/>
                <a:gd name="T28" fmla="*/ 75 w 100"/>
                <a:gd name="T29" fmla="*/ 45 h 78"/>
                <a:gd name="T30" fmla="*/ 90 w 100"/>
                <a:gd name="T31" fmla="*/ 34 h 78"/>
                <a:gd name="T32" fmla="*/ 99 w 100"/>
                <a:gd name="T33" fmla="*/ 27 h 78"/>
                <a:gd name="T34" fmla="*/ 98 w 100"/>
                <a:gd name="T35" fmla="*/ 10 h 78"/>
                <a:gd name="T36" fmla="*/ 91 w 100"/>
                <a:gd name="T37" fmla="*/ 4 h 78"/>
                <a:gd name="T38" fmla="*/ 78 w 100"/>
                <a:gd name="T39" fmla="*/ 15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00" h="78">
                  <a:moveTo>
                    <a:pt x="78" y="15"/>
                  </a:moveTo>
                  <a:cubicBezTo>
                    <a:pt x="78" y="15"/>
                    <a:pt x="77" y="21"/>
                    <a:pt x="71" y="16"/>
                  </a:cubicBezTo>
                  <a:cubicBezTo>
                    <a:pt x="64" y="12"/>
                    <a:pt x="63" y="11"/>
                    <a:pt x="56" y="11"/>
                  </a:cubicBezTo>
                  <a:cubicBezTo>
                    <a:pt x="49" y="10"/>
                    <a:pt x="47" y="7"/>
                    <a:pt x="40" y="12"/>
                  </a:cubicBezTo>
                  <a:cubicBezTo>
                    <a:pt x="33" y="16"/>
                    <a:pt x="32" y="16"/>
                    <a:pt x="23" y="17"/>
                  </a:cubicBezTo>
                  <a:cubicBezTo>
                    <a:pt x="15" y="18"/>
                    <a:pt x="2" y="18"/>
                    <a:pt x="2" y="22"/>
                  </a:cubicBezTo>
                  <a:cubicBezTo>
                    <a:pt x="2" y="26"/>
                    <a:pt x="7" y="24"/>
                    <a:pt x="7" y="30"/>
                  </a:cubicBezTo>
                  <a:cubicBezTo>
                    <a:pt x="7" y="37"/>
                    <a:pt x="6" y="41"/>
                    <a:pt x="3" y="43"/>
                  </a:cubicBezTo>
                  <a:cubicBezTo>
                    <a:pt x="0" y="45"/>
                    <a:pt x="0" y="48"/>
                    <a:pt x="4" y="49"/>
                  </a:cubicBezTo>
                  <a:cubicBezTo>
                    <a:pt x="8" y="50"/>
                    <a:pt x="9" y="51"/>
                    <a:pt x="9" y="58"/>
                  </a:cubicBezTo>
                  <a:cubicBezTo>
                    <a:pt x="8" y="66"/>
                    <a:pt x="4" y="74"/>
                    <a:pt x="7" y="75"/>
                  </a:cubicBezTo>
                  <a:cubicBezTo>
                    <a:pt x="10" y="77"/>
                    <a:pt x="20" y="78"/>
                    <a:pt x="21" y="74"/>
                  </a:cubicBezTo>
                  <a:cubicBezTo>
                    <a:pt x="23" y="70"/>
                    <a:pt x="30" y="71"/>
                    <a:pt x="32" y="65"/>
                  </a:cubicBezTo>
                  <a:cubicBezTo>
                    <a:pt x="34" y="59"/>
                    <a:pt x="36" y="53"/>
                    <a:pt x="45" y="53"/>
                  </a:cubicBezTo>
                  <a:cubicBezTo>
                    <a:pt x="54" y="52"/>
                    <a:pt x="70" y="51"/>
                    <a:pt x="75" y="45"/>
                  </a:cubicBezTo>
                  <a:cubicBezTo>
                    <a:pt x="81" y="39"/>
                    <a:pt x="84" y="37"/>
                    <a:pt x="90" y="34"/>
                  </a:cubicBezTo>
                  <a:cubicBezTo>
                    <a:pt x="96" y="31"/>
                    <a:pt x="98" y="34"/>
                    <a:pt x="99" y="27"/>
                  </a:cubicBezTo>
                  <a:cubicBezTo>
                    <a:pt x="100" y="20"/>
                    <a:pt x="97" y="15"/>
                    <a:pt x="98" y="10"/>
                  </a:cubicBezTo>
                  <a:cubicBezTo>
                    <a:pt x="98" y="5"/>
                    <a:pt x="92" y="0"/>
                    <a:pt x="91" y="4"/>
                  </a:cubicBezTo>
                  <a:cubicBezTo>
                    <a:pt x="89" y="8"/>
                    <a:pt x="80" y="10"/>
                    <a:pt x="78" y="1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150" name="Freeform 25215"/>
            <p:cNvSpPr>
              <a:spLocks/>
            </p:cNvSpPr>
            <p:nvPr/>
          </p:nvSpPr>
          <p:spPr bwMode="auto">
            <a:xfrm>
              <a:off x="4548483" y="1846404"/>
              <a:ext cx="311406" cy="512171"/>
            </a:xfrm>
            <a:custGeom>
              <a:avLst/>
              <a:gdLst>
                <a:gd name="T0" fmla="*/ 808 w 835"/>
                <a:gd name="T1" fmla="*/ 283 h 1373"/>
                <a:gd name="T2" fmla="*/ 804 w 835"/>
                <a:gd name="T3" fmla="*/ 226 h 1373"/>
                <a:gd name="T4" fmla="*/ 796 w 835"/>
                <a:gd name="T5" fmla="*/ 174 h 1373"/>
                <a:gd name="T6" fmla="*/ 794 w 835"/>
                <a:gd name="T7" fmla="*/ 129 h 1373"/>
                <a:gd name="T8" fmla="*/ 737 w 835"/>
                <a:gd name="T9" fmla="*/ 76 h 1373"/>
                <a:gd name="T10" fmla="*/ 674 w 835"/>
                <a:gd name="T11" fmla="*/ 52 h 1373"/>
                <a:gd name="T12" fmla="*/ 619 w 835"/>
                <a:gd name="T13" fmla="*/ 5 h 1373"/>
                <a:gd name="T14" fmla="*/ 584 w 835"/>
                <a:gd name="T15" fmla="*/ 17 h 1373"/>
                <a:gd name="T16" fmla="*/ 578 w 835"/>
                <a:gd name="T17" fmla="*/ 49 h 1373"/>
                <a:gd name="T18" fmla="*/ 570 w 835"/>
                <a:gd name="T19" fmla="*/ 83 h 1373"/>
                <a:gd name="T20" fmla="*/ 497 w 835"/>
                <a:gd name="T21" fmla="*/ 67 h 1373"/>
                <a:gd name="T22" fmla="*/ 447 w 835"/>
                <a:gd name="T23" fmla="*/ 83 h 1373"/>
                <a:gd name="T24" fmla="*/ 430 w 835"/>
                <a:gd name="T25" fmla="*/ 122 h 1373"/>
                <a:gd name="T26" fmla="*/ 391 w 835"/>
                <a:gd name="T27" fmla="*/ 107 h 1373"/>
                <a:gd name="T28" fmla="*/ 347 w 835"/>
                <a:gd name="T29" fmla="*/ 163 h 1373"/>
                <a:gd name="T30" fmla="*/ 332 w 835"/>
                <a:gd name="T31" fmla="*/ 195 h 1373"/>
                <a:gd name="T32" fmla="*/ 321 w 835"/>
                <a:gd name="T33" fmla="*/ 239 h 1373"/>
                <a:gd name="T34" fmla="*/ 286 w 835"/>
                <a:gd name="T35" fmla="*/ 293 h 1373"/>
                <a:gd name="T36" fmla="*/ 225 w 835"/>
                <a:gd name="T37" fmla="*/ 357 h 1373"/>
                <a:gd name="T38" fmla="*/ 211 w 835"/>
                <a:gd name="T39" fmla="*/ 414 h 1373"/>
                <a:gd name="T40" fmla="*/ 185 w 835"/>
                <a:gd name="T41" fmla="*/ 494 h 1373"/>
                <a:gd name="T42" fmla="*/ 191 w 835"/>
                <a:gd name="T43" fmla="*/ 523 h 1373"/>
                <a:gd name="T44" fmla="*/ 132 w 835"/>
                <a:gd name="T45" fmla="*/ 536 h 1373"/>
                <a:gd name="T46" fmla="*/ 74 w 835"/>
                <a:gd name="T47" fmla="*/ 585 h 1373"/>
                <a:gd name="T48" fmla="*/ 73 w 835"/>
                <a:gd name="T49" fmla="*/ 639 h 1373"/>
                <a:gd name="T50" fmla="*/ 69 w 835"/>
                <a:gd name="T51" fmla="*/ 701 h 1373"/>
                <a:gd name="T52" fmla="*/ 67 w 835"/>
                <a:gd name="T53" fmla="*/ 750 h 1373"/>
                <a:gd name="T54" fmla="*/ 104 w 835"/>
                <a:gd name="T55" fmla="*/ 795 h 1373"/>
                <a:gd name="T56" fmla="*/ 89 w 835"/>
                <a:gd name="T57" fmla="*/ 835 h 1373"/>
                <a:gd name="T58" fmla="*/ 90 w 835"/>
                <a:gd name="T59" fmla="*/ 879 h 1373"/>
                <a:gd name="T60" fmla="*/ 88 w 835"/>
                <a:gd name="T61" fmla="*/ 928 h 1373"/>
                <a:gd name="T62" fmla="*/ 49 w 835"/>
                <a:gd name="T63" fmla="*/ 957 h 1373"/>
                <a:gd name="T64" fmla="*/ 46 w 835"/>
                <a:gd name="T65" fmla="*/ 1011 h 1373"/>
                <a:gd name="T66" fmla="*/ 12 w 835"/>
                <a:gd name="T67" fmla="*/ 1024 h 1373"/>
                <a:gd name="T68" fmla="*/ 10 w 835"/>
                <a:gd name="T69" fmla="*/ 1066 h 1373"/>
                <a:gd name="T70" fmla="*/ 53 w 835"/>
                <a:gd name="T71" fmla="*/ 1156 h 1373"/>
                <a:gd name="T72" fmla="*/ 102 w 835"/>
                <a:gd name="T73" fmla="*/ 1242 h 1373"/>
                <a:gd name="T74" fmla="*/ 109 w 835"/>
                <a:gd name="T75" fmla="*/ 1317 h 1373"/>
                <a:gd name="T76" fmla="*/ 195 w 835"/>
                <a:gd name="T77" fmla="*/ 1358 h 1373"/>
                <a:gd name="T78" fmla="*/ 221 w 835"/>
                <a:gd name="T79" fmla="*/ 1305 h 1373"/>
                <a:gd name="T80" fmla="*/ 303 w 835"/>
                <a:gd name="T81" fmla="*/ 1295 h 1373"/>
                <a:gd name="T82" fmla="*/ 342 w 835"/>
                <a:gd name="T83" fmla="*/ 1225 h 1373"/>
                <a:gd name="T84" fmla="*/ 357 w 835"/>
                <a:gd name="T85" fmla="*/ 1142 h 1373"/>
                <a:gd name="T86" fmla="*/ 382 w 835"/>
                <a:gd name="T87" fmla="*/ 1060 h 1373"/>
                <a:gd name="T88" fmla="*/ 430 w 835"/>
                <a:gd name="T89" fmla="*/ 1046 h 1373"/>
                <a:gd name="T90" fmla="*/ 479 w 835"/>
                <a:gd name="T91" fmla="*/ 981 h 1373"/>
                <a:gd name="T92" fmla="*/ 488 w 835"/>
                <a:gd name="T93" fmla="*/ 937 h 1373"/>
                <a:gd name="T94" fmla="*/ 459 w 835"/>
                <a:gd name="T95" fmla="*/ 901 h 1373"/>
                <a:gd name="T96" fmla="*/ 395 w 835"/>
                <a:gd name="T97" fmla="*/ 872 h 1373"/>
                <a:gd name="T98" fmla="*/ 405 w 835"/>
                <a:gd name="T99" fmla="*/ 759 h 1373"/>
                <a:gd name="T100" fmla="*/ 412 w 835"/>
                <a:gd name="T101" fmla="*/ 692 h 1373"/>
                <a:gd name="T102" fmla="*/ 473 w 835"/>
                <a:gd name="T103" fmla="*/ 634 h 1373"/>
                <a:gd name="T104" fmla="*/ 569 w 835"/>
                <a:gd name="T105" fmla="*/ 583 h 1373"/>
                <a:gd name="T106" fmla="*/ 653 w 835"/>
                <a:gd name="T107" fmla="*/ 514 h 1373"/>
                <a:gd name="T108" fmla="*/ 648 w 835"/>
                <a:gd name="T109" fmla="*/ 455 h 1373"/>
                <a:gd name="T110" fmla="*/ 693 w 835"/>
                <a:gd name="T111" fmla="*/ 385 h 1373"/>
                <a:gd name="T112" fmla="*/ 767 w 835"/>
                <a:gd name="T113" fmla="*/ 363 h 1373"/>
                <a:gd name="T114" fmla="*/ 835 w 835"/>
                <a:gd name="T115" fmla="*/ 362 h 1373"/>
                <a:gd name="T116" fmla="*/ 806 w 835"/>
                <a:gd name="T117" fmla="*/ 314 h 13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835" h="1373">
                  <a:moveTo>
                    <a:pt x="806" y="314"/>
                  </a:moveTo>
                  <a:cubicBezTo>
                    <a:pt x="797" y="308"/>
                    <a:pt x="801" y="288"/>
                    <a:pt x="808" y="283"/>
                  </a:cubicBezTo>
                  <a:cubicBezTo>
                    <a:pt x="814" y="278"/>
                    <a:pt x="814" y="274"/>
                    <a:pt x="819" y="260"/>
                  </a:cubicBezTo>
                  <a:cubicBezTo>
                    <a:pt x="824" y="246"/>
                    <a:pt x="814" y="235"/>
                    <a:pt x="804" y="226"/>
                  </a:cubicBezTo>
                  <a:cubicBezTo>
                    <a:pt x="794" y="218"/>
                    <a:pt x="794" y="208"/>
                    <a:pt x="804" y="200"/>
                  </a:cubicBezTo>
                  <a:cubicBezTo>
                    <a:pt x="814" y="191"/>
                    <a:pt x="801" y="178"/>
                    <a:pt x="796" y="174"/>
                  </a:cubicBezTo>
                  <a:cubicBezTo>
                    <a:pt x="790" y="169"/>
                    <a:pt x="792" y="162"/>
                    <a:pt x="789" y="154"/>
                  </a:cubicBezTo>
                  <a:cubicBezTo>
                    <a:pt x="786" y="147"/>
                    <a:pt x="788" y="140"/>
                    <a:pt x="794" y="129"/>
                  </a:cubicBezTo>
                  <a:cubicBezTo>
                    <a:pt x="799" y="118"/>
                    <a:pt x="778" y="101"/>
                    <a:pt x="766" y="92"/>
                  </a:cubicBezTo>
                  <a:cubicBezTo>
                    <a:pt x="754" y="84"/>
                    <a:pt x="747" y="82"/>
                    <a:pt x="737" y="76"/>
                  </a:cubicBezTo>
                  <a:cubicBezTo>
                    <a:pt x="727" y="70"/>
                    <a:pt x="711" y="69"/>
                    <a:pt x="702" y="69"/>
                  </a:cubicBezTo>
                  <a:cubicBezTo>
                    <a:pt x="692" y="69"/>
                    <a:pt x="680" y="59"/>
                    <a:pt x="674" y="52"/>
                  </a:cubicBezTo>
                  <a:cubicBezTo>
                    <a:pt x="668" y="46"/>
                    <a:pt x="643" y="29"/>
                    <a:pt x="629" y="24"/>
                  </a:cubicBezTo>
                  <a:cubicBezTo>
                    <a:pt x="621" y="22"/>
                    <a:pt x="619" y="12"/>
                    <a:pt x="619" y="5"/>
                  </a:cubicBezTo>
                  <a:cubicBezTo>
                    <a:pt x="610" y="6"/>
                    <a:pt x="598" y="0"/>
                    <a:pt x="581" y="2"/>
                  </a:cubicBezTo>
                  <a:cubicBezTo>
                    <a:pt x="555" y="5"/>
                    <a:pt x="577" y="13"/>
                    <a:pt x="584" y="17"/>
                  </a:cubicBezTo>
                  <a:cubicBezTo>
                    <a:pt x="591" y="21"/>
                    <a:pt x="590" y="27"/>
                    <a:pt x="590" y="37"/>
                  </a:cubicBezTo>
                  <a:cubicBezTo>
                    <a:pt x="590" y="48"/>
                    <a:pt x="585" y="45"/>
                    <a:pt x="578" y="49"/>
                  </a:cubicBezTo>
                  <a:cubicBezTo>
                    <a:pt x="572" y="53"/>
                    <a:pt x="569" y="60"/>
                    <a:pt x="573" y="63"/>
                  </a:cubicBezTo>
                  <a:cubicBezTo>
                    <a:pt x="578" y="66"/>
                    <a:pt x="573" y="74"/>
                    <a:pt x="570" y="83"/>
                  </a:cubicBezTo>
                  <a:cubicBezTo>
                    <a:pt x="566" y="92"/>
                    <a:pt x="545" y="81"/>
                    <a:pt x="538" y="74"/>
                  </a:cubicBezTo>
                  <a:cubicBezTo>
                    <a:pt x="531" y="66"/>
                    <a:pt x="512" y="69"/>
                    <a:pt x="497" y="67"/>
                  </a:cubicBezTo>
                  <a:cubicBezTo>
                    <a:pt x="483" y="66"/>
                    <a:pt x="480" y="57"/>
                    <a:pt x="457" y="57"/>
                  </a:cubicBezTo>
                  <a:cubicBezTo>
                    <a:pt x="434" y="57"/>
                    <a:pt x="447" y="74"/>
                    <a:pt x="447" y="83"/>
                  </a:cubicBezTo>
                  <a:cubicBezTo>
                    <a:pt x="447" y="91"/>
                    <a:pt x="452" y="98"/>
                    <a:pt x="449" y="107"/>
                  </a:cubicBezTo>
                  <a:cubicBezTo>
                    <a:pt x="445" y="116"/>
                    <a:pt x="435" y="121"/>
                    <a:pt x="430" y="122"/>
                  </a:cubicBezTo>
                  <a:cubicBezTo>
                    <a:pt x="424" y="123"/>
                    <a:pt x="412" y="120"/>
                    <a:pt x="410" y="113"/>
                  </a:cubicBezTo>
                  <a:cubicBezTo>
                    <a:pt x="407" y="106"/>
                    <a:pt x="404" y="106"/>
                    <a:pt x="391" y="107"/>
                  </a:cubicBezTo>
                  <a:cubicBezTo>
                    <a:pt x="378" y="107"/>
                    <a:pt x="378" y="122"/>
                    <a:pt x="367" y="128"/>
                  </a:cubicBezTo>
                  <a:cubicBezTo>
                    <a:pt x="357" y="134"/>
                    <a:pt x="350" y="149"/>
                    <a:pt x="347" y="163"/>
                  </a:cubicBezTo>
                  <a:cubicBezTo>
                    <a:pt x="344" y="176"/>
                    <a:pt x="340" y="173"/>
                    <a:pt x="327" y="176"/>
                  </a:cubicBezTo>
                  <a:cubicBezTo>
                    <a:pt x="315" y="179"/>
                    <a:pt x="323" y="190"/>
                    <a:pt x="332" y="195"/>
                  </a:cubicBezTo>
                  <a:cubicBezTo>
                    <a:pt x="341" y="201"/>
                    <a:pt x="337" y="209"/>
                    <a:pt x="337" y="219"/>
                  </a:cubicBezTo>
                  <a:cubicBezTo>
                    <a:pt x="336" y="228"/>
                    <a:pt x="334" y="231"/>
                    <a:pt x="321" y="239"/>
                  </a:cubicBezTo>
                  <a:cubicBezTo>
                    <a:pt x="308" y="247"/>
                    <a:pt x="308" y="264"/>
                    <a:pt x="291" y="272"/>
                  </a:cubicBezTo>
                  <a:cubicBezTo>
                    <a:pt x="274" y="280"/>
                    <a:pt x="285" y="280"/>
                    <a:pt x="286" y="293"/>
                  </a:cubicBezTo>
                  <a:cubicBezTo>
                    <a:pt x="287" y="307"/>
                    <a:pt x="244" y="321"/>
                    <a:pt x="226" y="321"/>
                  </a:cubicBezTo>
                  <a:cubicBezTo>
                    <a:pt x="207" y="322"/>
                    <a:pt x="225" y="345"/>
                    <a:pt x="225" y="357"/>
                  </a:cubicBezTo>
                  <a:cubicBezTo>
                    <a:pt x="225" y="369"/>
                    <a:pt x="222" y="372"/>
                    <a:pt x="217" y="385"/>
                  </a:cubicBezTo>
                  <a:cubicBezTo>
                    <a:pt x="213" y="397"/>
                    <a:pt x="210" y="400"/>
                    <a:pt x="211" y="414"/>
                  </a:cubicBezTo>
                  <a:cubicBezTo>
                    <a:pt x="213" y="429"/>
                    <a:pt x="190" y="458"/>
                    <a:pt x="171" y="471"/>
                  </a:cubicBezTo>
                  <a:cubicBezTo>
                    <a:pt x="152" y="484"/>
                    <a:pt x="172" y="490"/>
                    <a:pt x="185" y="494"/>
                  </a:cubicBezTo>
                  <a:cubicBezTo>
                    <a:pt x="197" y="497"/>
                    <a:pt x="195" y="503"/>
                    <a:pt x="198" y="510"/>
                  </a:cubicBezTo>
                  <a:cubicBezTo>
                    <a:pt x="201" y="517"/>
                    <a:pt x="197" y="523"/>
                    <a:pt x="191" y="523"/>
                  </a:cubicBezTo>
                  <a:cubicBezTo>
                    <a:pt x="185" y="523"/>
                    <a:pt x="185" y="538"/>
                    <a:pt x="178" y="538"/>
                  </a:cubicBezTo>
                  <a:cubicBezTo>
                    <a:pt x="170" y="538"/>
                    <a:pt x="151" y="540"/>
                    <a:pt x="132" y="536"/>
                  </a:cubicBezTo>
                  <a:cubicBezTo>
                    <a:pt x="113" y="532"/>
                    <a:pt x="108" y="544"/>
                    <a:pt x="101" y="549"/>
                  </a:cubicBezTo>
                  <a:cubicBezTo>
                    <a:pt x="94" y="553"/>
                    <a:pt x="80" y="577"/>
                    <a:pt x="74" y="585"/>
                  </a:cubicBezTo>
                  <a:cubicBezTo>
                    <a:pt x="67" y="594"/>
                    <a:pt x="62" y="603"/>
                    <a:pt x="60" y="615"/>
                  </a:cubicBezTo>
                  <a:cubicBezTo>
                    <a:pt x="59" y="627"/>
                    <a:pt x="68" y="631"/>
                    <a:pt x="73" y="639"/>
                  </a:cubicBezTo>
                  <a:cubicBezTo>
                    <a:pt x="77" y="648"/>
                    <a:pt x="65" y="658"/>
                    <a:pt x="65" y="671"/>
                  </a:cubicBezTo>
                  <a:cubicBezTo>
                    <a:pt x="65" y="685"/>
                    <a:pt x="63" y="695"/>
                    <a:pt x="69" y="701"/>
                  </a:cubicBezTo>
                  <a:cubicBezTo>
                    <a:pt x="74" y="707"/>
                    <a:pt x="74" y="711"/>
                    <a:pt x="74" y="724"/>
                  </a:cubicBezTo>
                  <a:cubicBezTo>
                    <a:pt x="74" y="737"/>
                    <a:pt x="69" y="737"/>
                    <a:pt x="67" y="750"/>
                  </a:cubicBezTo>
                  <a:cubicBezTo>
                    <a:pt x="64" y="763"/>
                    <a:pt x="73" y="762"/>
                    <a:pt x="75" y="774"/>
                  </a:cubicBezTo>
                  <a:cubicBezTo>
                    <a:pt x="76" y="787"/>
                    <a:pt x="92" y="791"/>
                    <a:pt x="104" y="795"/>
                  </a:cubicBezTo>
                  <a:cubicBezTo>
                    <a:pt x="116" y="798"/>
                    <a:pt x="116" y="809"/>
                    <a:pt x="113" y="818"/>
                  </a:cubicBezTo>
                  <a:cubicBezTo>
                    <a:pt x="109" y="828"/>
                    <a:pt x="99" y="834"/>
                    <a:pt x="89" y="835"/>
                  </a:cubicBezTo>
                  <a:cubicBezTo>
                    <a:pt x="78" y="837"/>
                    <a:pt x="81" y="841"/>
                    <a:pt x="76" y="852"/>
                  </a:cubicBezTo>
                  <a:cubicBezTo>
                    <a:pt x="72" y="862"/>
                    <a:pt x="81" y="871"/>
                    <a:pt x="90" y="879"/>
                  </a:cubicBezTo>
                  <a:cubicBezTo>
                    <a:pt x="99" y="888"/>
                    <a:pt x="94" y="890"/>
                    <a:pt x="92" y="897"/>
                  </a:cubicBezTo>
                  <a:cubicBezTo>
                    <a:pt x="91" y="905"/>
                    <a:pt x="90" y="920"/>
                    <a:pt x="88" y="928"/>
                  </a:cubicBezTo>
                  <a:cubicBezTo>
                    <a:pt x="85" y="937"/>
                    <a:pt x="78" y="943"/>
                    <a:pt x="66" y="943"/>
                  </a:cubicBezTo>
                  <a:cubicBezTo>
                    <a:pt x="54" y="943"/>
                    <a:pt x="51" y="947"/>
                    <a:pt x="49" y="957"/>
                  </a:cubicBezTo>
                  <a:cubicBezTo>
                    <a:pt x="47" y="966"/>
                    <a:pt x="44" y="975"/>
                    <a:pt x="37" y="987"/>
                  </a:cubicBezTo>
                  <a:cubicBezTo>
                    <a:pt x="29" y="998"/>
                    <a:pt x="44" y="999"/>
                    <a:pt x="46" y="1011"/>
                  </a:cubicBezTo>
                  <a:cubicBezTo>
                    <a:pt x="49" y="1022"/>
                    <a:pt x="42" y="1030"/>
                    <a:pt x="33" y="1036"/>
                  </a:cubicBezTo>
                  <a:cubicBezTo>
                    <a:pt x="25" y="1042"/>
                    <a:pt x="22" y="1036"/>
                    <a:pt x="12" y="1024"/>
                  </a:cubicBezTo>
                  <a:cubicBezTo>
                    <a:pt x="7" y="1017"/>
                    <a:pt x="3" y="1019"/>
                    <a:pt x="0" y="1023"/>
                  </a:cubicBezTo>
                  <a:cubicBezTo>
                    <a:pt x="5" y="1032"/>
                    <a:pt x="8" y="1046"/>
                    <a:pt x="10" y="1066"/>
                  </a:cubicBezTo>
                  <a:cubicBezTo>
                    <a:pt x="15" y="1096"/>
                    <a:pt x="22" y="1092"/>
                    <a:pt x="35" y="1106"/>
                  </a:cubicBezTo>
                  <a:cubicBezTo>
                    <a:pt x="48" y="1120"/>
                    <a:pt x="52" y="1132"/>
                    <a:pt x="53" y="1156"/>
                  </a:cubicBezTo>
                  <a:cubicBezTo>
                    <a:pt x="55" y="1180"/>
                    <a:pt x="69" y="1178"/>
                    <a:pt x="72" y="1201"/>
                  </a:cubicBezTo>
                  <a:cubicBezTo>
                    <a:pt x="75" y="1223"/>
                    <a:pt x="79" y="1221"/>
                    <a:pt x="102" y="1242"/>
                  </a:cubicBezTo>
                  <a:cubicBezTo>
                    <a:pt x="125" y="1264"/>
                    <a:pt x="114" y="1261"/>
                    <a:pt x="101" y="1282"/>
                  </a:cubicBezTo>
                  <a:cubicBezTo>
                    <a:pt x="88" y="1304"/>
                    <a:pt x="94" y="1302"/>
                    <a:pt x="109" y="1317"/>
                  </a:cubicBezTo>
                  <a:cubicBezTo>
                    <a:pt x="125" y="1331"/>
                    <a:pt x="117" y="1341"/>
                    <a:pt x="127" y="1357"/>
                  </a:cubicBezTo>
                  <a:cubicBezTo>
                    <a:pt x="137" y="1373"/>
                    <a:pt x="174" y="1361"/>
                    <a:pt x="195" y="1358"/>
                  </a:cubicBezTo>
                  <a:cubicBezTo>
                    <a:pt x="217" y="1355"/>
                    <a:pt x="204" y="1342"/>
                    <a:pt x="203" y="1330"/>
                  </a:cubicBezTo>
                  <a:cubicBezTo>
                    <a:pt x="201" y="1317"/>
                    <a:pt x="207" y="1324"/>
                    <a:pt x="221" y="1305"/>
                  </a:cubicBezTo>
                  <a:cubicBezTo>
                    <a:pt x="235" y="1287"/>
                    <a:pt x="247" y="1299"/>
                    <a:pt x="260" y="1291"/>
                  </a:cubicBezTo>
                  <a:cubicBezTo>
                    <a:pt x="273" y="1282"/>
                    <a:pt x="287" y="1291"/>
                    <a:pt x="303" y="1295"/>
                  </a:cubicBezTo>
                  <a:cubicBezTo>
                    <a:pt x="319" y="1299"/>
                    <a:pt x="317" y="1285"/>
                    <a:pt x="321" y="1262"/>
                  </a:cubicBezTo>
                  <a:cubicBezTo>
                    <a:pt x="326" y="1239"/>
                    <a:pt x="342" y="1246"/>
                    <a:pt x="342" y="1225"/>
                  </a:cubicBezTo>
                  <a:cubicBezTo>
                    <a:pt x="342" y="1203"/>
                    <a:pt x="346" y="1202"/>
                    <a:pt x="353" y="1180"/>
                  </a:cubicBezTo>
                  <a:cubicBezTo>
                    <a:pt x="360" y="1159"/>
                    <a:pt x="344" y="1153"/>
                    <a:pt x="357" y="1142"/>
                  </a:cubicBezTo>
                  <a:cubicBezTo>
                    <a:pt x="370" y="1130"/>
                    <a:pt x="354" y="1107"/>
                    <a:pt x="354" y="1090"/>
                  </a:cubicBezTo>
                  <a:cubicBezTo>
                    <a:pt x="354" y="1073"/>
                    <a:pt x="372" y="1064"/>
                    <a:pt x="382" y="1060"/>
                  </a:cubicBezTo>
                  <a:cubicBezTo>
                    <a:pt x="392" y="1056"/>
                    <a:pt x="403" y="1057"/>
                    <a:pt x="413" y="1043"/>
                  </a:cubicBezTo>
                  <a:cubicBezTo>
                    <a:pt x="423" y="1029"/>
                    <a:pt x="432" y="1036"/>
                    <a:pt x="430" y="1046"/>
                  </a:cubicBezTo>
                  <a:cubicBezTo>
                    <a:pt x="429" y="1056"/>
                    <a:pt x="458" y="1020"/>
                    <a:pt x="468" y="1016"/>
                  </a:cubicBezTo>
                  <a:cubicBezTo>
                    <a:pt x="478" y="1011"/>
                    <a:pt x="479" y="996"/>
                    <a:pt x="479" y="981"/>
                  </a:cubicBezTo>
                  <a:cubicBezTo>
                    <a:pt x="479" y="967"/>
                    <a:pt x="489" y="971"/>
                    <a:pt x="501" y="964"/>
                  </a:cubicBezTo>
                  <a:cubicBezTo>
                    <a:pt x="512" y="957"/>
                    <a:pt x="496" y="944"/>
                    <a:pt x="488" y="937"/>
                  </a:cubicBezTo>
                  <a:cubicBezTo>
                    <a:pt x="479" y="930"/>
                    <a:pt x="478" y="925"/>
                    <a:pt x="478" y="914"/>
                  </a:cubicBezTo>
                  <a:cubicBezTo>
                    <a:pt x="478" y="902"/>
                    <a:pt x="466" y="901"/>
                    <a:pt x="459" y="901"/>
                  </a:cubicBezTo>
                  <a:cubicBezTo>
                    <a:pt x="452" y="901"/>
                    <a:pt x="449" y="894"/>
                    <a:pt x="435" y="884"/>
                  </a:cubicBezTo>
                  <a:cubicBezTo>
                    <a:pt x="420" y="874"/>
                    <a:pt x="409" y="881"/>
                    <a:pt x="395" y="872"/>
                  </a:cubicBezTo>
                  <a:cubicBezTo>
                    <a:pt x="380" y="864"/>
                    <a:pt x="386" y="826"/>
                    <a:pt x="386" y="811"/>
                  </a:cubicBezTo>
                  <a:cubicBezTo>
                    <a:pt x="386" y="795"/>
                    <a:pt x="397" y="773"/>
                    <a:pt x="405" y="759"/>
                  </a:cubicBezTo>
                  <a:cubicBezTo>
                    <a:pt x="412" y="745"/>
                    <a:pt x="407" y="735"/>
                    <a:pt x="406" y="717"/>
                  </a:cubicBezTo>
                  <a:cubicBezTo>
                    <a:pt x="405" y="700"/>
                    <a:pt x="403" y="709"/>
                    <a:pt x="412" y="692"/>
                  </a:cubicBezTo>
                  <a:cubicBezTo>
                    <a:pt x="420" y="674"/>
                    <a:pt x="439" y="687"/>
                    <a:pt x="446" y="667"/>
                  </a:cubicBezTo>
                  <a:cubicBezTo>
                    <a:pt x="453" y="647"/>
                    <a:pt x="461" y="654"/>
                    <a:pt x="473" y="634"/>
                  </a:cubicBezTo>
                  <a:cubicBezTo>
                    <a:pt x="486" y="614"/>
                    <a:pt x="496" y="613"/>
                    <a:pt x="529" y="600"/>
                  </a:cubicBezTo>
                  <a:cubicBezTo>
                    <a:pt x="562" y="587"/>
                    <a:pt x="557" y="596"/>
                    <a:pt x="569" y="583"/>
                  </a:cubicBezTo>
                  <a:cubicBezTo>
                    <a:pt x="582" y="570"/>
                    <a:pt x="595" y="570"/>
                    <a:pt x="617" y="558"/>
                  </a:cubicBezTo>
                  <a:cubicBezTo>
                    <a:pt x="638" y="547"/>
                    <a:pt x="622" y="537"/>
                    <a:pt x="653" y="514"/>
                  </a:cubicBezTo>
                  <a:cubicBezTo>
                    <a:pt x="683" y="491"/>
                    <a:pt x="665" y="485"/>
                    <a:pt x="658" y="481"/>
                  </a:cubicBezTo>
                  <a:cubicBezTo>
                    <a:pt x="651" y="477"/>
                    <a:pt x="650" y="471"/>
                    <a:pt x="648" y="455"/>
                  </a:cubicBezTo>
                  <a:cubicBezTo>
                    <a:pt x="647" y="439"/>
                    <a:pt x="668" y="438"/>
                    <a:pt x="671" y="415"/>
                  </a:cubicBezTo>
                  <a:cubicBezTo>
                    <a:pt x="674" y="392"/>
                    <a:pt x="687" y="401"/>
                    <a:pt x="693" y="385"/>
                  </a:cubicBezTo>
                  <a:cubicBezTo>
                    <a:pt x="698" y="369"/>
                    <a:pt x="713" y="379"/>
                    <a:pt x="720" y="365"/>
                  </a:cubicBezTo>
                  <a:cubicBezTo>
                    <a:pt x="727" y="351"/>
                    <a:pt x="744" y="353"/>
                    <a:pt x="767" y="363"/>
                  </a:cubicBezTo>
                  <a:cubicBezTo>
                    <a:pt x="790" y="374"/>
                    <a:pt x="794" y="358"/>
                    <a:pt x="816" y="362"/>
                  </a:cubicBezTo>
                  <a:cubicBezTo>
                    <a:pt x="823" y="363"/>
                    <a:pt x="829" y="363"/>
                    <a:pt x="835" y="362"/>
                  </a:cubicBezTo>
                  <a:cubicBezTo>
                    <a:pt x="834" y="354"/>
                    <a:pt x="832" y="346"/>
                    <a:pt x="830" y="340"/>
                  </a:cubicBezTo>
                  <a:cubicBezTo>
                    <a:pt x="827" y="332"/>
                    <a:pt x="814" y="321"/>
                    <a:pt x="806" y="314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151" name="Freeform 25216"/>
            <p:cNvSpPr>
              <a:spLocks/>
            </p:cNvSpPr>
            <p:nvPr/>
          </p:nvSpPr>
          <p:spPr bwMode="auto">
            <a:xfrm>
              <a:off x="4712315" y="2264822"/>
              <a:ext cx="29357" cy="42142"/>
            </a:xfrm>
            <a:custGeom>
              <a:avLst/>
              <a:gdLst>
                <a:gd name="T0" fmla="*/ 38 w 79"/>
                <a:gd name="T1" fmla="*/ 16 h 113"/>
                <a:gd name="T2" fmla="*/ 21 w 79"/>
                <a:gd name="T3" fmla="*/ 31 h 113"/>
                <a:gd name="T4" fmla="*/ 8 w 79"/>
                <a:gd name="T5" fmla="*/ 49 h 113"/>
                <a:gd name="T6" fmla="*/ 7 w 79"/>
                <a:gd name="T7" fmla="*/ 64 h 113"/>
                <a:gd name="T8" fmla="*/ 10 w 79"/>
                <a:gd name="T9" fmla="*/ 80 h 113"/>
                <a:gd name="T10" fmla="*/ 11 w 79"/>
                <a:gd name="T11" fmla="*/ 92 h 113"/>
                <a:gd name="T12" fmla="*/ 3 w 79"/>
                <a:gd name="T13" fmla="*/ 110 h 113"/>
                <a:gd name="T14" fmla="*/ 23 w 79"/>
                <a:gd name="T15" fmla="*/ 100 h 113"/>
                <a:gd name="T16" fmla="*/ 42 w 79"/>
                <a:gd name="T17" fmla="*/ 73 h 113"/>
                <a:gd name="T18" fmla="*/ 62 w 79"/>
                <a:gd name="T19" fmla="*/ 54 h 113"/>
                <a:gd name="T20" fmla="*/ 69 w 79"/>
                <a:gd name="T21" fmla="*/ 22 h 113"/>
                <a:gd name="T22" fmla="*/ 79 w 79"/>
                <a:gd name="T23" fmla="*/ 9 h 113"/>
                <a:gd name="T24" fmla="*/ 63 w 79"/>
                <a:gd name="T25" fmla="*/ 5 h 113"/>
                <a:gd name="T26" fmla="*/ 38 w 79"/>
                <a:gd name="T27" fmla="*/ 16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9" h="113">
                  <a:moveTo>
                    <a:pt x="38" y="16"/>
                  </a:moveTo>
                  <a:cubicBezTo>
                    <a:pt x="38" y="16"/>
                    <a:pt x="27" y="26"/>
                    <a:pt x="21" y="31"/>
                  </a:cubicBezTo>
                  <a:cubicBezTo>
                    <a:pt x="15" y="35"/>
                    <a:pt x="8" y="42"/>
                    <a:pt x="8" y="49"/>
                  </a:cubicBezTo>
                  <a:cubicBezTo>
                    <a:pt x="8" y="56"/>
                    <a:pt x="4" y="58"/>
                    <a:pt x="7" y="64"/>
                  </a:cubicBezTo>
                  <a:cubicBezTo>
                    <a:pt x="10" y="70"/>
                    <a:pt x="7" y="77"/>
                    <a:pt x="10" y="80"/>
                  </a:cubicBezTo>
                  <a:cubicBezTo>
                    <a:pt x="14" y="84"/>
                    <a:pt x="16" y="86"/>
                    <a:pt x="11" y="92"/>
                  </a:cubicBezTo>
                  <a:cubicBezTo>
                    <a:pt x="6" y="99"/>
                    <a:pt x="0" y="106"/>
                    <a:pt x="3" y="110"/>
                  </a:cubicBezTo>
                  <a:cubicBezTo>
                    <a:pt x="6" y="113"/>
                    <a:pt x="13" y="112"/>
                    <a:pt x="23" y="100"/>
                  </a:cubicBezTo>
                  <a:cubicBezTo>
                    <a:pt x="33" y="87"/>
                    <a:pt x="36" y="79"/>
                    <a:pt x="42" y="73"/>
                  </a:cubicBezTo>
                  <a:cubicBezTo>
                    <a:pt x="48" y="68"/>
                    <a:pt x="58" y="68"/>
                    <a:pt x="62" y="54"/>
                  </a:cubicBezTo>
                  <a:cubicBezTo>
                    <a:pt x="66" y="40"/>
                    <a:pt x="60" y="29"/>
                    <a:pt x="69" y="22"/>
                  </a:cubicBezTo>
                  <a:cubicBezTo>
                    <a:pt x="77" y="16"/>
                    <a:pt x="79" y="16"/>
                    <a:pt x="79" y="9"/>
                  </a:cubicBezTo>
                  <a:cubicBezTo>
                    <a:pt x="79" y="3"/>
                    <a:pt x="69" y="0"/>
                    <a:pt x="63" y="5"/>
                  </a:cubicBezTo>
                  <a:cubicBezTo>
                    <a:pt x="57" y="9"/>
                    <a:pt x="52" y="11"/>
                    <a:pt x="38" y="16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152" name="Freeform 25217"/>
            <p:cNvSpPr>
              <a:spLocks/>
            </p:cNvSpPr>
            <p:nvPr/>
          </p:nvSpPr>
          <p:spPr bwMode="auto">
            <a:xfrm>
              <a:off x="4673487" y="2284709"/>
              <a:ext cx="21150" cy="43878"/>
            </a:xfrm>
            <a:custGeom>
              <a:avLst/>
              <a:gdLst>
                <a:gd name="T0" fmla="*/ 44 w 57"/>
                <a:gd name="T1" fmla="*/ 13 h 118"/>
                <a:gd name="T2" fmla="*/ 29 w 57"/>
                <a:gd name="T3" fmla="*/ 34 h 118"/>
                <a:gd name="T4" fmla="*/ 16 w 57"/>
                <a:gd name="T5" fmla="*/ 53 h 118"/>
                <a:gd name="T6" fmla="*/ 10 w 57"/>
                <a:gd name="T7" fmla="*/ 70 h 118"/>
                <a:gd name="T8" fmla="*/ 1 w 57"/>
                <a:gd name="T9" fmla="*/ 90 h 118"/>
                <a:gd name="T10" fmla="*/ 8 w 57"/>
                <a:gd name="T11" fmla="*/ 111 h 118"/>
                <a:gd name="T12" fmla="*/ 25 w 57"/>
                <a:gd name="T13" fmla="*/ 81 h 118"/>
                <a:gd name="T14" fmla="*/ 42 w 57"/>
                <a:gd name="T15" fmla="*/ 48 h 118"/>
                <a:gd name="T16" fmla="*/ 51 w 57"/>
                <a:gd name="T17" fmla="*/ 23 h 118"/>
                <a:gd name="T18" fmla="*/ 52 w 57"/>
                <a:gd name="T19" fmla="*/ 3 h 118"/>
                <a:gd name="T20" fmla="*/ 44 w 57"/>
                <a:gd name="T21" fmla="*/ 13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7" h="118">
                  <a:moveTo>
                    <a:pt x="44" y="13"/>
                  </a:moveTo>
                  <a:cubicBezTo>
                    <a:pt x="44" y="13"/>
                    <a:pt x="35" y="26"/>
                    <a:pt x="29" y="34"/>
                  </a:cubicBezTo>
                  <a:cubicBezTo>
                    <a:pt x="22" y="42"/>
                    <a:pt x="18" y="48"/>
                    <a:pt x="16" y="53"/>
                  </a:cubicBezTo>
                  <a:cubicBezTo>
                    <a:pt x="14" y="58"/>
                    <a:pt x="15" y="65"/>
                    <a:pt x="10" y="70"/>
                  </a:cubicBezTo>
                  <a:cubicBezTo>
                    <a:pt x="5" y="75"/>
                    <a:pt x="3" y="80"/>
                    <a:pt x="1" y="90"/>
                  </a:cubicBezTo>
                  <a:cubicBezTo>
                    <a:pt x="0" y="101"/>
                    <a:pt x="3" y="118"/>
                    <a:pt x="8" y="111"/>
                  </a:cubicBezTo>
                  <a:cubicBezTo>
                    <a:pt x="13" y="103"/>
                    <a:pt x="19" y="96"/>
                    <a:pt x="25" y="81"/>
                  </a:cubicBezTo>
                  <a:cubicBezTo>
                    <a:pt x="31" y="67"/>
                    <a:pt x="38" y="62"/>
                    <a:pt x="42" y="48"/>
                  </a:cubicBezTo>
                  <a:cubicBezTo>
                    <a:pt x="47" y="33"/>
                    <a:pt x="45" y="33"/>
                    <a:pt x="51" y="23"/>
                  </a:cubicBezTo>
                  <a:cubicBezTo>
                    <a:pt x="57" y="14"/>
                    <a:pt x="57" y="0"/>
                    <a:pt x="52" y="3"/>
                  </a:cubicBezTo>
                  <a:cubicBezTo>
                    <a:pt x="47" y="7"/>
                    <a:pt x="50" y="9"/>
                    <a:pt x="44" y="13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153" name="Freeform 25218"/>
            <p:cNvSpPr>
              <a:spLocks/>
            </p:cNvSpPr>
            <p:nvPr/>
          </p:nvSpPr>
          <p:spPr bwMode="auto">
            <a:xfrm>
              <a:off x="4748774" y="2177224"/>
              <a:ext cx="20202" cy="19729"/>
            </a:xfrm>
            <a:custGeom>
              <a:avLst/>
              <a:gdLst>
                <a:gd name="T0" fmla="*/ 21 w 54"/>
                <a:gd name="T1" fmla="*/ 8 h 53"/>
                <a:gd name="T2" fmla="*/ 10 w 54"/>
                <a:gd name="T3" fmla="*/ 14 h 53"/>
                <a:gd name="T4" fmla="*/ 4 w 54"/>
                <a:gd name="T5" fmla="*/ 27 h 53"/>
                <a:gd name="T6" fmla="*/ 14 w 54"/>
                <a:gd name="T7" fmla="*/ 34 h 53"/>
                <a:gd name="T8" fmla="*/ 23 w 54"/>
                <a:gd name="T9" fmla="*/ 44 h 53"/>
                <a:gd name="T10" fmla="*/ 34 w 54"/>
                <a:gd name="T11" fmla="*/ 50 h 53"/>
                <a:gd name="T12" fmla="*/ 50 w 54"/>
                <a:gd name="T13" fmla="*/ 47 h 53"/>
                <a:gd name="T14" fmla="*/ 46 w 54"/>
                <a:gd name="T15" fmla="*/ 35 h 53"/>
                <a:gd name="T16" fmla="*/ 52 w 54"/>
                <a:gd name="T17" fmla="*/ 26 h 53"/>
                <a:gd name="T18" fmla="*/ 42 w 54"/>
                <a:gd name="T19" fmla="*/ 14 h 53"/>
                <a:gd name="T20" fmla="*/ 21 w 54"/>
                <a:gd name="T21" fmla="*/ 8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4" h="53">
                  <a:moveTo>
                    <a:pt x="21" y="8"/>
                  </a:moveTo>
                  <a:cubicBezTo>
                    <a:pt x="21" y="8"/>
                    <a:pt x="17" y="12"/>
                    <a:pt x="10" y="14"/>
                  </a:cubicBezTo>
                  <a:cubicBezTo>
                    <a:pt x="4" y="16"/>
                    <a:pt x="0" y="24"/>
                    <a:pt x="4" y="27"/>
                  </a:cubicBezTo>
                  <a:cubicBezTo>
                    <a:pt x="8" y="30"/>
                    <a:pt x="12" y="30"/>
                    <a:pt x="14" y="34"/>
                  </a:cubicBezTo>
                  <a:cubicBezTo>
                    <a:pt x="15" y="39"/>
                    <a:pt x="20" y="43"/>
                    <a:pt x="23" y="44"/>
                  </a:cubicBezTo>
                  <a:cubicBezTo>
                    <a:pt x="26" y="45"/>
                    <a:pt x="28" y="46"/>
                    <a:pt x="34" y="50"/>
                  </a:cubicBezTo>
                  <a:cubicBezTo>
                    <a:pt x="40" y="53"/>
                    <a:pt x="51" y="53"/>
                    <a:pt x="50" y="47"/>
                  </a:cubicBezTo>
                  <a:cubicBezTo>
                    <a:pt x="50" y="41"/>
                    <a:pt x="42" y="38"/>
                    <a:pt x="46" y="35"/>
                  </a:cubicBezTo>
                  <a:cubicBezTo>
                    <a:pt x="51" y="32"/>
                    <a:pt x="54" y="32"/>
                    <a:pt x="52" y="26"/>
                  </a:cubicBezTo>
                  <a:cubicBezTo>
                    <a:pt x="49" y="20"/>
                    <a:pt x="47" y="19"/>
                    <a:pt x="42" y="14"/>
                  </a:cubicBezTo>
                  <a:cubicBezTo>
                    <a:pt x="37" y="10"/>
                    <a:pt x="27" y="0"/>
                    <a:pt x="21" y="8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154" name="Freeform 25219"/>
            <p:cNvSpPr>
              <a:spLocks/>
            </p:cNvSpPr>
            <p:nvPr/>
          </p:nvSpPr>
          <p:spPr bwMode="auto">
            <a:xfrm>
              <a:off x="4629451" y="2355577"/>
              <a:ext cx="19414" cy="13732"/>
            </a:xfrm>
            <a:custGeom>
              <a:avLst/>
              <a:gdLst>
                <a:gd name="T0" fmla="*/ 21 w 52"/>
                <a:gd name="T1" fmla="*/ 6 h 37"/>
                <a:gd name="T2" fmla="*/ 12 w 52"/>
                <a:gd name="T3" fmla="*/ 20 h 37"/>
                <a:gd name="T4" fmla="*/ 39 w 52"/>
                <a:gd name="T5" fmla="*/ 34 h 37"/>
                <a:gd name="T6" fmla="*/ 43 w 52"/>
                <a:gd name="T7" fmla="*/ 21 h 37"/>
                <a:gd name="T8" fmla="*/ 21 w 52"/>
                <a:gd name="T9" fmla="*/ 6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37">
                  <a:moveTo>
                    <a:pt x="21" y="6"/>
                  </a:moveTo>
                  <a:cubicBezTo>
                    <a:pt x="21" y="6"/>
                    <a:pt x="0" y="11"/>
                    <a:pt x="12" y="20"/>
                  </a:cubicBezTo>
                  <a:cubicBezTo>
                    <a:pt x="23" y="28"/>
                    <a:pt x="35" y="37"/>
                    <a:pt x="39" y="34"/>
                  </a:cubicBezTo>
                  <a:cubicBezTo>
                    <a:pt x="43" y="31"/>
                    <a:pt x="52" y="24"/>
                    <a:pt x="43" y="21"/>
                  </a:cubicBezTo>
                  <a:cubicBezTo>
                    <a:pt x="33" y="19"/>
                    <a:pt x="36" y="0"/>
                    <a:pt x="21" y="6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155" name="Freeform 25220"/>
            <p:cNvSpPr>
              <a:spLocks/>
            </p:cNvSpPr>
            <p:nvPr/>
          </p:nvSpPr>
          <p:spPr bwMode="auto">
            <a:xfrm>
              <a:off x="4106705" y="2109040"/>
              <a:ext cx="26043" cy="14836"/>
            </a:xfrm>
            <a:custGeom>
              <a:avLst/>
              <a:gdLst>
                <a:gd name="T0" fmla="*/ 26 w 70"/>
                <a:gd name="T1" fmla="*/ 0 h 40"/>
                <a:gd name="T2" fmla="*/ 19 w 70"/>
                <a:gd name="T3" fmla="*/ 9 h 40"/>
                <a:gd name="T4" fmla="*/ 12 w 70"/>
                <a:gd name="T5" fmla="*/ 19 h 40"/>
                <a:gd name="T6" fmla="*/ 9 w 70"/>
                <a:gd name="T7" fmla="*/ 26 h 40"/>
                <a:gd name="T8" fmla="*/ 30 w 70"/>
                <a:gd name="T9" fmla="*/ 28 h 40"/>
                <a:gd name="T10" fmla="*/ 39 w 70"/>
                <a:gd name="T11" fmla="*/ 35 h 40"/>
                <a:gd name="T12" fmla="*/ 51 w 70"/>
                <a:gd name="T13" fmla="*/ 35 h 40"/>
                <a:gd name="T14" fmla="*/ 58 w 70"/>
                <a:gd name="T15" fmla="*/ 28 h 40"/>
                <a:gd name="T16" fmla="*/ 64 w 70"/>
                <a:gd name="T17" fmla="*/ 20 h 40"/>
                <a:gd name="T18" fmla="*/ 67 w 70"/>
                <a:gd name="T19" fmla="*/ 10 h 40"/>
                <a:gd name="T20" fmla="*/ 59 w 70"/>
                <a:gd name="T21" fmla="*/ 7 h 40"/>
                <a:gd name="T22" fmla="*/ 52 w 70"/>
                <a:gd name="T23" fmla="*/ 10 h 40"/>
                <a:gd name="T24" fmla="*/ 44 w 70"/>
                <a:gd name="T25" fmla="*/ 2 h 40"/>
                <a:gd name="T26" fmla="*/ 26 w 70"/>
                <a:gd name="T27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40">
                  <a:moveTo>
                    <a:pt x="26" y="0"/>
                  </a:moveTo>
                  <a:cubicBezTo>
                    <a:pt x="26" y="0"/>
                    <a:pt x="19" y="1"/>
                    <a:pt x="19" y="9"/>
                  </a:cubicBezTo>
                  <a:cubicBezTo>
                    <a:pt x="19" y="17"/>
                    <a:pt x="16" y="18"/>
                    <a:pt x="12" y="19"/>
                  </a:cubicBezTo>
                  <a:cubicBezTo>
                    <a:pt x="9" y="19"/>
                    <a:pt x="0" y="23"/>
                    <a:pt x="9" y="26"/>
                  </a:cubicBezTo>
                  <a:cubicBezTo>
                    <a:pt x="17" y="29"/>
                    <a:pt x="27" y="25"/>
                    <a:pt x="30" y="28"/>
                  </a:cubicBezTo>
                  <a:cubicBezTo>
                    <a:pt x="33" y="31"/>
                    <a:pt x="34" y="35"/>
                    <a:pt x="39" y="35"/>
                  </a:cubicBezTo>
                  <a:cubicBezTo>
                    <a:pt x="43" y="35"/>
                    <a:pt x="50" y="40"/>
                    <a:pt x="51" y="35"/>
                  </a:cubicBezTo>
                  <a:cubicBezTo>
                    <a:pt x="52" y="30"/>
                    <a:pt x="54" y="29"/>
                    <a:pt x="58" y="28"/>
                  </a:cubicBezTo>
                  <a:cubicBezTo>
                    <a:pt x="61" y="27"/>
                    <a:pt x="58" y="21"/>
                    <a:pt x="64" y="20"/>
                  </a:cubicBezTo>
                  <a:cubicBezTo>
                    <a:pt x="70" y="19"/>
                    <a:pt x="68" y="15"/>
                    <a:pt x="67" y="10"/>
                  </a:cubicBezTo>
                  <a:cubicBezTo>
                    <a:pt x="67" y="6"/>
                    <a:pt x="59" y="3"/>
                    <a:pt x="59" y="7"/>
                  </a:cubicBezTo>
                  <a:cubicBezTo>
                    <a:pt x="59" y="12"/>
                    <a:pt x="54" y="14"/>
                    <a:pt x="52" y="10"/>
                  </a:cubicBezTo>
                  <a:cubicBezTo>
                    <a:pt x="50" y="6"/>
                    <a:pt x="48" y="2"/>
                    <a:pt x="44" y="2"/>
                  </a:cubicBezTo>
                  <a:cubicBezTo>
                    <a:pt x="41" y="2"/>
                    <a:pt x="40" y="1"/>
                    <a:pt x="26" y="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156" name="Freeform 25221"/>
            <p:cNvSpPr>
              <a:spLocks/>
            </p:cNvSpPr>
            <p:nvPr/>
          </p:nvSpPr>
          <p:spPr bwMode="auto">
            <a:xfrm>
              <a:off x="4118543" y="2125455"/>
              <a:ext cx="9786" cy="8523"/>
            </a:xfrm>
            <a:custGeom>
              <a:avLst/>
              <a:gdLst>
                <a:gd name="T0" fmla="*/ 6 w 26"/>
                <a:gd name="T1" fmla="*/ 1 h 23"/>
                <a:gd name="T2" fmla="*/ 6 w 26"/>
                <a:gd name="T3" fmla="*/ 8 h 23"/>
                <a:gd name="T4" fmla="*/ 14 w 26"/>
                <a:gd name="T5" fmla="*/ 17 h 23"/>
                <a:gd name="T6" fmla="*/ 25 w 26"/>
                <a:gd name="T7" fmla="*/ 15 h 23"/>
                <a:gd name="T8" fmla="*/ 19 w 26"/>
                <a:gd name="T9" fmla="*/ 1 h 23"/>
                <a:gd name="T10" fmla="*/ 6 w 26"/>
                <a:gd name="T11" fmla="*/ 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" h="23">
                  <a:moveTo>
                    <a:pt x="6" y="1"/>
                  </a:moveTo>
                  <a:cubicBezTo>
                    <a:pt x="6" y="1"/>
                    <a:pt x="0" y="5"/>
                    <a:pt x="6" y="8"/>
                  </a:cubicBezTo>
                  <a:cubicBezTo>
                    <a:pt x="12" y="10"/>
                    <a:pt x="9" y="14"/>
                    <a:pt x="14" y="17"/>
                  </a:cubicBezTo>
                  <a:cubicBezTo>
                    <a:pt x="19" y="19"/>
                    <a:pt x="24" y="23"/>
                    <a:pt x="25" y="15"/>
                  </a:cubicBezTo>
                  <a:cubicBezTo>
                    <a:pt x="26" y="8"/>
                    <a:pt x="25" y="1"/>
                    <a:pt x="19" y="1"/>
                  </a:cubicBezTo>
                  <a:cubicBezTo>
                    <a:pt x="12" y="1"/>
                    <a:pt x="12" y="0"/>
                    <a:pt x="6" y="1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157" name="Freeform 25222"/>
            <p:cNvSpPr>
              <a:spLocks/>
            </p:cNvSpPr>
            <p:nvPr/>
          </p:nvSpPr>
          <p:spPr bwMode="auto">
            <a:xfrm>
              <a:off x="4118543" y="2131452"/>
              <a:ext cx="8997" cy="12942"/>
            </a:xfrm>
            <a:custGeom>
              <a:avLst/>
              <a:gdLst>
                <a:gd name="T0" fmla="*/ 4 w 24"/>
                <a:gd name="T1" fmla="*/ 9 h 35"/>
                <a:gd name="T2" fmla="*/ 4 w 24"/>
                <a:gd name="T3" fmla="*/ 20 h 35"/>
                <a:gd name="T4" fmla="*/ 10 w 24"/>
                <a:gd name="T5" fmla="*/ 29 h 35"/>
                <a:gd name="T6" fmla="*/ 19 w 24"/>
                <a:gd name="T7" fmla="*/ 34 h 35"/>
                <a:gd name="T8" fmla="*/ 23 w 24"/>
                <a:gd name="T9" fmla="*/ 26 h 35"/>
                <a:gd name="T10" fmla="*/ 13 w 24"/>
                <a:gd name="T11" fmla="*/ 16 h 35"/>
                <a:gd name="T12" fmla="*/ 4 w 24"/>
                <a:gd name="T13" fmla="*/ 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35">
                  <a:moveTo>
                    <a:pt x="4" y="9"/>
                  </a:moveTo>
                  <a:cubicBezTo>
                    <a:pt x="4" y="9"/>
                    <a:pt x="0" y="16"/>
                    <a:pt x="4" y="20"/>
                  </a:cubicBezTo>
                  <a:cubicBezTo>
                    <a:pt x="7" y="24"/>
                    <a:pt x="9" y="23"/>
                    <a:pt x="10" y="29"/>
                  </a:cubicBezTo>
                  <a:cubicBezTo>
                    <a:pt x="11" y="35"/>
                    <a:pt x="15" y="34"/>
                    <a:pt x="19" y="34"/>
                  </a:cubicBezTo>
                  <a:cubicBezTo>
                    <a:pt x="22" y="34"/>
                    <a:pt x="24" y="32"/>
                    <a:pt x="23" y="26"/>
                  </a:cubicBezTo>
                  <a:cubicBezTo>
                    <a:pt x="22" y="20"/>
                    <a:pt x="18" y="22"/>
                    <a:pt x="13" y="16"/>
                  </a:cubicBezTo>
                  <a:cubicBezTo>
                    <a:pt x="8" y="11"/>
                    <a:pt x="8" y="0"/>
                    <a:pt x="4" y="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158" name="Freeform 25223"/>
            <p:cNvSpPr>
              <a:spLocks/>
            </p:cNvSpPr>
            <p:nvPr/>
          </p:nvSpPr>
          <p:spPr bwMode="auto">
            <a:xfrm>
              <a:off x="4122331" y="2239569"/>
              <a:ext cx="208025" cy="287890"/>
            </a:xfrm>
            <a:custGeom>
              <a:avLst/>
              <a:gdLst>
                <a:gd name="T0" fmla="*/ 84 w 558"/>
                <a:gd name="T1" fmla="*/ 759 h 772"/>
                <a:gd name="T2" fmla="*/ 181 w 558"/>
                <a:gd name="T3" fmla="*/ 743 h 772"/>
                <a:gd name="T4" fmla="*/ 224 w 558"/>
                <a:gd name="T5" fmla="*/ 717 h 772"/>
                <a:gd name="T6" fmla="*/ 301 w 558"/>
                <a:gd name="T7" fmla="*/ 714 h 772"/>
                <a:gd name="T8" fmla="*/ 367 w 558"/>
                <a:gd name="T9" fmla="*/ 725 h 772"/>
                <a:gd name="T10" fmla="*/ 444 w 558"/>
                <a:gd name="T11" fmla="*/ 709 h 772"/>
                <a:gd name="T12" fmla="*/ 501 w 558"/>
                <a:gd name="T13" fmla="*/ 691 h 772"/>
                <a:gd name="T14" fmla="*/ 489 w 558"/>
                <a:gd name="T15" fmla="*/ 653 h 772"/>
                <a:gd name="T16" fmla="*/ 520 w 558"/>
                <a:gd name="T17" fmla="*/ 613 h 772"/>
                <a:gd name="T18" fmla="*/ 555 w 558"/>
                <a:gd name="T19" fmla="*/ 546 h 772"/>
                <a:gd name="T20" fmla="*/ 463 w 558"/>
                <a:gd name="T21" fmla="*/ 520 h 772"/>
                <a:gd name="T22" fmla="*/ 452 w 558"/>
                <a:gd name="T23" fmla="*/ 514 h 772"/>
                <a:gd name="T24" fmla="*/ 433 w 558"/>
                <a:gd name="T25" fmla="*/ 436 h 772"/>
                <a:gd name="T26" fmla="*/ 344 w 558"/>
                <a:gd name="T27" fmla="*/ 339 h 772"/>
                <a:gd name="T28" fmla="*/ 278 w 558"/>
                <a:gd name="T29" fmla="*/ 250 h 772"/>
                <a:gd name="T30" fmla="*/ 246 w 558"/>
                <a:gd name="T31" fmla="*/ 240 h 772"/>
                <a:gd name="T32" fmla="*/ 288 w 558"/>
                <a:gd name="T33" fmla="*/ 184 h 772"/>
                <a:gd name="T34" fmla="*/ 320 w 558"/>
                <a:gd name="T35" fmla="*/ 97 h 772"/>
                <a:gd name="T36" fmla="*/ 187 w 558"/>
                <a:gd name="T37" fmla="*/ 102 h 772"/>
                <a:gd name="T38" fmla="*/ 200 w 558"/>
                <a:gd name="T39" fmla="*/ 65 h 772"/>
                <a:gd name="T40" fmla="*/ 232 w 558"/>
                <a:gd name="T41" fmla="*/ 5 h 772"/>
                <a:gd name="T42" fmla="*/ 147 w 558"/>
                <a:gd name="T43" fmla="*/ 15 h 772"/>
                <a:gd name="T44" fmla="*/ 112 w 558"/>
                <a:gd name="T45" fmla="*/ 27 h 772"/>
                <a:gd name="T46" fmla="*/ 93 w 558"/>
                <a:gd name="T47" fmla="*/ 77 h 772"/>
                <a:gd name="T48" fmla="*/ 74 w 558"/>
                <a:gd name="T49" fmla="*/ 130 h 772"/>
                <a:gd name="T50" fmla="*/ 26 w 558"/>
                <a:gd name="T51" fmla="*/ 101 h 772"/>
                <a:gd name="T52" fmla="*/ 62 w 558"/>
                <a:gd name="T53" fmla="*/ 174 h 772"/>
                <a:gd name="T54" fmla="*/ 43 w 558"/>
                <a:gd name="T55" fmla="*/ 221 h 772"/>
                <a:gd name="T56" fmla="*/ 91 w 558"/>
                <a:gd name="T57" fmla="*/ 202 h 772"/>
                <a:gd name="T58" fmla="*/ 55 w 558"/>
                <a:gd name="T59" fmla="*/ 248 h 772"/>
                <a:gd name="T60" fmla="*/ 41 w 558"/>
                <a:gd name="T61" fmla="*/ 289 h 772"/>
                <a:gd name="T62" fmla="*/ 79 w 558"/>
                <a:gd name="T63" fmla="*/ 259 h 772"/>
                <a:gd name="T64" fmla="*/ 86 w 558"/>
                <a:gd name="T65" fmla="*/ 305 h 772"/>
                <a:gd name="T66" fmla="*/ 112 w 558"/>
                <a:gd name="T67" fmla="*/ 282 h 772"/>
                <a:gd name="T68" fmla="*/ 119 w 558"/>
                <a:gd name="T69" fmla="*/ 269 h 772"/>
                <a:gd name="T70" fmla="*/ 107 w 558"/>
                <a:gd name="T71" fmla="*/ 339 h 772"/>
                <a:gd name="T72" fmla="*/ 137 w 558"/>
                <a:gd name="T73" fmla="*/ 358 h 772"/>
                <a:gd name="T74" fmla="*/ 173 w 558"/>
                <a:gd name="T75" fmla="*/ 360 h 772"/>
                <a:gd name="T76" fmla="*/ 220 w 558"/>
                <a:gd name="T77" fmla="*/ 339 h 772"/>
                <a:gd name="T78" fmla="*/ 221 w 558"/>
                <a:gd name="T79" fmla="*/ 399 h 772"/>
                <a:gd name="T80" fmla="*/ 243 w 558"/>
                <a:gd name="T81" fmla="*/ 444 h 772"/>
                <a:gd name="T82" fmla="*/ 235 w 558"/>
                <a:gd name="T83" fmla="*/ 488 h 772"/>
                <a:gd name="T84" fmla="*/ 179 w 558"/>
                <a:gd name="T85" fmla="*/ 486 h 772"/>
                <a:gd name="T86" fmla="*/ 145 w 558"/>
                <a:gd name="T87" fmla="*/ 497 h 772"/>
                <a:gd name="T88" fmla="*/ 168 w 558"/>
                <a:gd name="T89" fmla="*/ 529 h 772"/>
                <a:gd name="T90" fmla="*/ 138 w 558"/>
                <a:gd name="T91" fmla="*/ 576 h 772"/>
                <a:gd name="T92" fmla="*/ 98 w 558"/>
                <a:gd name="T93" fmla="*/ 614 h 772"/>
                <a:gd name="T94" fmla="*/ 138 w 558"/>
                <a:gd name="T95" fmla="*/ 630 h 772"/>
                <a:gd name="T96" fmla="*/ 187 w 558"/>
                <a:gd name="T97" fmla="*/ 636 h 772"/>
                <a:gd name="T98" fmla="*/ 245 w 558"/>
                <a:gd name="T99" fmla="*/ 644 h 772"/>
                <a:gd name="T100" fmla="*/ 205 w 558"/>
                <a:gd name="T101" fmla="*/ 659 h 772"/>
                <a:gd name="T102" fmla="*/ 146 w 558"/>
                <a:gd name="T103" fmla="*/ 687 h 7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58" h="772">
                  <a:moveTo>
                    <a:pt x="128" y="717"/>
                  </a:moveTo>
                  <a:cubicBezTo>
                    <a:pt x="128" y="717"/>
                    <a:pt x="125" y="730"/>
                    <a:pt x="116" y="734"/>
                  </a:cubicBezTo>
                  <a:cubicBezTo>
                    <a:pt x="106" y="738"/>
                    <a:pt x="99" y="745"/>
                    <a:pt x="92" y="747"/>
                  </a:cubicBezTo>
                  <a:cubicBezTo>
                    <a:pt x="84" y="749"/>
                    <a:pt x="72" y="758"/>
                    <a:pt x="84" y="759"/>
                  </a:cubicBezTo>
                  <a:cubicBezTo>
                    <a:pt x="96" y="760"/>
                    <a:pt x="94" y="762"/>
                    <a:pt x="102" y="767"/>
                  </a:cubicBezTo>
                  <a:cubicBezTo>
                    <a:pt x="110" y="772"/>
                    <a:pt x="115" y="772"/>
                    <a:pt x="121" y="763"/>
                  </a:cubicBezTo>
                  <a:cubicBezTo>
                    <a:pt x="128" y="753"/>
                    <a:pt x="127" y="744"/>
                    <a:pt x="144" y="742"/>
                  </a:cubicBezTo>
                  <a:cubicBezTo>
                    <a:pt x="161" y="741"/>
                    <a:pt x="177" y="735"/>
                    <a:pt x="181" y="743"/>
                  </a:cubicBezTo>
                  <a:cubicBezTo>
                    <a:pt x="186" y="750"/>
                    <a:pt x="189" y="750"/>
                    <a:pt x="194" y="750"/>
                  </a:cubicBezTo>
                  <a:cubicBezTo>
                    <a:pt x="199" y="750"/>
                    <a:pt x="202" y="757"/>
                    <a:pt x="205" y="750"/>
                  </a:cubicBezTo>
                  <a:cubicBezTo>
                    <a:pt x="208" y="743"/>
                    <a:pt x="214" y="748"/>
                    <a:pt x="215" y="736"/>
                  </a:cubicBezTo>
                  <a:cubicBezTo>
                    <a:pt x="215" y="725"/>
                    <a:pt x="216" y="717"/>
                    <a:pt x="224" y="717"/>
                  </a:cubicBezTo>
                  <a:cubicBezTo>
                    <a:pt x="233" y="716"/>
                    <a:pt x="232" y="710"/>
                    <a:pt x="244" y="709"/>
                  </a:cubicBezTo>
                  <a:cubicBezTo>
                    <a:pt x="257" y="708"/>
                    <a:pt x="257" y="700"/>
                    <a:pt x="265" y="710"/>
                  </a:cubicBezTo>
                  <a:cubicBezTo>
                    <a:pt x="273" y="720"/>
                    <a:pt x="273" y="721"/>
                    <a:pt x="280" y="721"/>
                  </a:cubicBezTo>
                  <a:cubicBezTo>
                    <a:pt x="286" y="721"/>
                    <a:pt x="299" y="724"/>
                    <a:pt x="301" y="714"/>
                  </a:cubicBezTo>
                  <a:cubicBezTo>
                    <a:pt x="303" y="704"/>
                    <a:pt x="302" y="710"/>
                    <a:pt x="310" y="697"/>
                  </a:cubicBezTo>
                  <a:cubicBezTo>
                    <a:pt x="319" y="684"/>
                    <a:pt x="316" y="670"/>
                    <a:pt x="330" y="678"/>
                  </a:cubicBezTo>
                  <a:cubicBezTo>
                    <a:pt x="344" y="685"/>
                    <a:pt x="325" y="692"/>
                    <a:pt x="338" y="702"/>
                  </a:cubicBezTo>
                  <a:cubicBezTo>
                    <a:pt x="351" y="712"/>
                    <a:pt x="356" y="730"/>
                    <a:pt x="367" y="725"/>
                  </a:cubicBezTo>
                  <a:cubicBezTo>
                    <a:pt x="378" y="721"/>
                    <a:pt x="367" y="705"/>
                    <a:pt x="379" y="705"/>
                  </a:cubicBezTo>
                  <a:cubicBezTo>
                    <a:pt x="391" y="705"/>
                    <a:pt x="395" y="713"/>
                    <a:pt x="403" y="709"/>
                  </a:cubicBezTo>
                  <a:cubicBezTo>
                    <a:pt x="411" y="705"/>
                    <a:pt x="420" y="702"/>
                    <a:pt x="429" y="703"/>
                  </a:cubicBezTo>
                  <a:cubicBezTo>
                    <a:pt x="438" y="704"/>
                    <a:pt x="434" y="709"/>
                    <a:pt x="444" y="709"/>
                  </a:cubicBezTo>
                  <a:cubicBezTo>
                    <a:pt x="455" y="709"/>
                    <a:pt x="462" y="716"/>
                    <a:pt x="464" y="708"/>
                  </a:cubicBezTo>
                  <a:cubicBezTo>
                    <a:pt x="465" y="701"/>
                    <a:pt x="469" y="700"/>
                    <a:pt x="476" y="701"/>
                  </a:cubicBezTo>
                  <a:cubicBezTo>
                    <a:pt x="482" y="701"/>
                    <a:pt x="484" y="703"/>
                    <a:pt x="488" y="697"/>
                  </a:cubicBezTo>
                  <a:cubicBezTo>
                    <a:pt x="491" y="691"/>
                    <a:pt x="498" y="698"/>
                    <a:pt x="501" y="691"/>
                  </a:cubicBezTo>
                  <a:cubicBezTo>
                    <a:pt x="504" y="683"/>
                    <a:pt x="514" y="690"/>
                    <a:pt x="515" y="683"/>
                  </a:cubicBezTo>
                  <a:cubicBezTo>
                    <a:pt x="516" y="677"/>
                    <a:pt x="528" y="679"/>
                    <a:pt x="528" y="671"/>
                  </a:cubicBezTo>
                  <a:cubicBezTo>
                    <a:pt x="529" y="662"/>
                    <a:pt x="532" y="653"/>
                    <a:pt x="521" y="653"/>
                  </a:cubicBezTo>
                  <a:cubicBezTo>
                    <a:pt x="511" y="653"/>
                    <a:pt x="494" y="653"/>
                    <a:pt x="489" y="653"/>
                  </a:cubicBezTo>
                  <a:cubicBezTo>
                    <a:pt x="485" y="653"/>
                    <a:pt x="475" y="653"/>
                    <a:pt x="479" y="644"/>
                  </a:cubicBezTo>
                  <a:cubicBezTo>
                    <a:pt x="483" y="636"/>
                    <a:pt x="495" y="639"/>
                    <a:pt x="495" y="630"/>
                  </a:cubicBezTo>
                  <a:cubicBezTo>
                    <a:pt x="495" y="621"/>
                    <a:pt x="499" y="619"/>
                    <a:pt x="506" y="619"/>
                  </a:cubicBezTo>
                  <a:cubicBezTo>
                    <a:pt x="513" y="619"/>
                    <a:pt x="519" y="621"/>
                    <a:pt x="520" y="613"/>
                  </a:cubicBezTo>
                  <a:cubicBezTo>
                    <a:pt x="521" y="605"/>
                    <a:pt x="519" y="603"/>
                    <a:pt x="527" y="602"/>
                  </a:cubicBezTo>
                  <a:cubicBezTo>
                    <a:pt x="536" y="602"/>
                    <a:pt x="541" y="592"/>
                    <a:pt x="547" y="581"/>
                  </a:cubicBezTo>
                  <a:cubicBezTo>
                    <a:pt x="552" y="570"/>
                    <a:pt x="546" y="572"/>
                    <a:pt x="552" y="564"/>
                  </a:cubicBezTo>
                  <a:cubicBezTo>
                    <a:pt x="558" y="557"/>
                    <a:pt x="557" y="557"/>
                    <a:pt x="555" y="546"/>
                  </a:cubicBezTo>
                  <a:cubicBezTo>
                    <a:pt x="553" y="535"/>
                    <a:pt x="552" y="539"/>
                    <a:pt x="539" y="530"/>
                  </a:cubicBezTo>
                  <a:cubicBezTo>
                    <a:pt x="527" y="521"/>
                    <a:pt x="520" y="524"/>
                    <a:pt x="514" y="518"/>
                  </a:cubicBezTo>
                  <a:cubicBezTo>
                    <a:pt x="508" y="513"/>
                    <a:pt x="503" y="517"/>
                    <a:pt x="488" y="517"/>
                  </a:cubicBezTo>
                  <a:cubicBezTo>
                    <a:pt x="474" y="518"/>
                    <a:pt x="465" y="513"/>
                    <a:pt x="463" y="520"/>
                  </a:cubicBezTo>
                  <a:cubicBezTo>
                    <a:pt x="460" y="527"/>
                    <a:pt x="452" y="540"/>
                    <a:pt x="449" y="547"/>
                  </a:cubicBezTo>
                  <a:cubicBezTo>
                    <a:pt x="446" y="554"/>
                    <a:pt x="438" y="555"/>
                    <a:pt x="437" y="547"/>
                  </a:cubicBezTo>
                  <a:cubicBezTo>
                    <a:pt x="436" y="540"/>
                    <a:pt x="426" y="531"/>
                    <a:pt x="437" y="526"/>
                  </a:cubicBezTo>
                  <a:cubicBezTo>
                    <a:pt x="448" y="520"/>
                    <a:pt x="443" y="519"/>
                    <a:pt x="452" y="514"/>
                  </a:cubicBezTo>
                  <a:cubicBezTo>
                    <a:pt x="460" y="508"/>
                    <a:pt x="463" y="512"/>
                    <a:pt x="463" y="501"/>
                  </a:cubicBezTo>
                  <a:cubicBezTo>
                    <a:pt x="463" y="491"/>
                    <a:pt x="467" y="489"/>
                    <a:pt x="457" y="484"/>
                  </a:cubicBezTo>
                  <a:cubicBezTo>
                    <a:pt x="448" y="479"/>
                    <a:pt x="445" y="478"/>
                    <a:pt x="442" y="464"/>
                  </a:cubicBezTo>
                  <a:cubicBezTo>
                    <a:pt x="438" y="449"/>
                    <a:pt x="437" y="455"/>
                    <a:pt x="433" y="436"/>
                  </a:cubicBezTo>
                  <a:cubicBezTo>
                    <a:pt x="429" y="418"/>
                    <a:pt x="434" y="417"/>
                    <a:pt x="424" y="409"/>
                  </a:cubicBezTo>
                  <a:cubicBezTo>
                    <a:pt x="415" y="401"/>
                    <a:pt x="401" y="378"/>
                    <a:pt x="390" y="377"/>
                  </a:cubicBezTo>
                  <a:cubicBezTo>
                    <a:pt x="378" y="376"/>
                    <a:pt x="366" y="376"/>
                    <a:pt x="363" y="367"/>
                  </a:cubicBezTo>
                  <a:cubicBezTo>
                    <a:pt x="360" y="358"/>
                    <a:pt x="346" y="354"/>
                    <a:pt x="344" y="339"/>
                  </a:cubicBezTo>
                  <a:cubicBezTo>
                    <a:pt x="343" y="324"/>
                    <a:pt x="349" y="321"/>
                    <a:pt x="342" y="310"/>
                  </a:cubicBezTo>
                  <a:cubicBezTo>
                    <a:pt x="335" y="298"/>
                    <a:pt x="333" y="291"/>
                    <a:pt x="330" y="279"/>
                  </a:cubicBezTo>
                  <a:cubicBezTo>
                    <a:pt x="328" y="266"/>
                    <a:pt x="324" y="260"/>
                    <a:pt x="311" y="254"/>
                  </a:cubicBezTo>
                  <a:cubicBezTo>
                    <a:pt x="298" y="248"/>
                    <a:pt x="291" y="251"/>
                    <a:pt x="278" y="250"/>
                  </a:cubicBezTo>
                  <a:cubicBezTo>
                    <a:pt x="265" y="250"/>
                    <a:pt x="281" y="243"/>
                    <a:pt x="265" y="242"/>
                  </a:cubicBezTo>
                  <a:cubicBezTo>
                    <a:pt x="249" y="240"/>
                    <a:pt x="260" y="241"/>
                    <a:pt x="256" y="246"/>
                  </a:cubicBezTo>
                  <a:cubicBezTo>
                    <a:pt x="253" y="251"/>
                    <a:pt x="241" y="252"/>
                    <a:pt x="240" y="248"/>
                  </a:cubicBezTo>
                  <a:cubicBezTo>
                    <a:pt x="239" y="245"/>
                    <a:pt x="237" y="241"/>
                    <a:pt x="246" y="240"/>
                  </a:cubicBezTo>
                  <a:cubicBezTo>
                    <a:pt x="255" y="239"/>
                    <a:pt x="247" y="230"/>
                    <a:pt x="258" y="230"/>
                  </a:cubicBezTo>
                  <a:cubicBezTo>
                    <a:pt x="270" y="231"/>
                    <a:pt x="265" y="231"/>
                    <a:pt x="266" y="222"/>
                  </a:cubicBezTo>
                  <a:cubicBezTo>
                    <a:pt x="267" y="213"/>
                    <a:pt x="260" y="208"/>
                    <a:pt x="269" y="206"/>
                  </a:cubicBezTo>
                  <a:cubicBezTo>
                    <a:pt x="277" y="205"/>
                    <a:pt x="284" y="194"/>
                    <a:pt x="288" y="184"/>
                  </a:cubicBezTo>
                  <a:cubicBezTo>
                    <a:pt x="292" y="175"/>
                    <a:pt x="301" y="167"/>
                    <a:pt x="305" y="156"/>
                  </a:cubicBezTo>
                  <a:cubicBezTo>
                    <a:pt x="309" y="145"/>
                    <a:pt x="318" y="133"/>
                    <a:pt x="324" y="127"/>
                  </a:cubicBezTo>
                  <a:cubicBezTo>
                    <a:pt x="331" y="122"/>
                    <a:pt x="330" y="117"/>
                    <a:pt x="330" y="110"/>
                  </a:cubicBezTo>
                  <a:cubicBezTo>
                    <a:pt x="329" y="103"/>
                    <a:pt x="321" y="103"/>
                    <a:pt x="320" y="97"/>
                  </a:cubicBezTo>
                  <a:cubicBezTo>
                    <a:pt x="320" y="91"/>
                    <a:pt x="290" y="90"/>
                    <a:pt x="276" y="90"/>
                  </a:cubicBezTo>
                  <a:cubicBezTo>
                    <a:pt x="262" y="90"/>
                    <a:pt x="241" y="92"/>
                    <a:pt x="228" y="90"/>
                  </a:cubicBezTo>
                  <a:cubicBezTo>
                    <a:pt x="215" y="87"/>
                    <a:pt x="210" y="92"/>
                    <a:pt x="206" y="96"/>
                  </a:cubicBezTo>
                  <a:cubicBezTo>
                    <a:pt x="202" y="100"/>
                    <a:pt x="196" y="101"/>
                    <a:pt x="187" y="102"/>
                  </a:cubicBezTo>
                  <a:cubicBezTo>
                    <a:pt x="179" y="103"/>
                    <a:pt x="166" y="96"/>
                    <a:pt x="175" y="94"/>
                  </a:cubicBezTo>
                  <a:cubicBezTo>
                    <a:pt x="183" y="92"/>
                    <a:pt x="191" y="92"/>
                    <a:pt x="188" y="87"/>
                  </a:cubicBezTo>
                  <a:cubicBezTo>
                    <a:pt x="185" y="81"/>
                    <a:pt x="168" y="84"/>
                    <a:pt x="179" y="77"/>
                  </a:cubicBezTo>
                  <a:cubicBezTo>
                    <a:pt x="190" y="70"/>
                    <a:pt x="197" y="73"/>
                    <a:pt x="200" y="65"/>
                  </a:cubicBezTo>
                  <a:cubicBezTo>
                    <a:pt x="204" y="56"/>
                    <a:pt x="207" y="53"/>
                    <a:pt x="219" y="51"/>
                  </a:cubicBezTo>
                  <a:cubicBezTo>
                    <a:pt x="232" y="49"/>
                    <a:pt x="236" y="39"/>
                    <a:pt x="241" y="35"/>
                  </a:cubicBezTo>
                  <a:cubicBezTo>
                    <a:pt x="245" y="31"/>
                    <a:pt x="252" y="27"/>
                    <a:pt x="244" y="22"/>
                  </a:cubicBezTo>
                  <a:cubicBezTo>
                    <a:pt x="235" y="16"/>
                    <a:pt x="243" y="10"/>
                    <a:pt x="232" y="5"/>
                  </a:cubicBezTo>
                  <a:cubicBezTo>
                    <a:pt x="222" y="0"/>
                    <a:pt x="209" y="1"/>
                    <a:pt x="203" y="6"/>
                  </a:cubicBezTo>
                  <a:cubicBezTo>
                    <a:pt x="198" y="11"/>
                    <a:pt x="188" y="10"/>
                    <a:pt x="176" y="9"/>
                  </a:cubicBezTo>
                  <a:cubicBezTo>
                    <a:pt x="165" y="8"/>
                    <a:pt x="169" y="19"/>
                    <a:pt x="160" y="18"/>
                  </a:cubicBezTo>
                  <a:cubicBezTo>
                    <a:pt x="150" y="17"/>
                    <a:pt x="148" y="20"/>
                    <a:pt x="147" y="15"/>
                  </a:cubicBezTo>
                  <a:cubicBezTo>
                    <a:pt x="147" y="9"/>
                    <a:pt x="145" y="12"/>
                    <a:pt x="136" y="10"/>
                  </a:cubicBezTo>
                  <a:cubicBezTo>
                    <a:pt x="126" y="9"/>
                    <a:pt x="126" y="10"/>
                    <a:pt x="124" y="6"/>
                  </a:cubicBezTo>
                  <a:cubicBezTo>
                    <a:pt x="123" y="2"/>
                    <a:pt x="116" y="4"/>
                    <a:pt x="116" y="10"/>
                  </a:cubicBezTo>
                  <a:cubicBezTo>
                    <a:pt x="116" y="16"/>
                    <a:pt x="116" y="26"/>
                    <a:pt x="112" y="27"/>
                  </a:cubicBezTo>
                  <a:cubicBezTo>
                    <a:pt x="107" y="28"/>
                    <a:pt x="113" y="34"/>
                    <a:pt x="103" y="35"/>
                  </a:cubicBezTo>
                  <a:cubicBezTo>
                    <a:pt x="93" y="35"/>
                    <a:pt x="91" y="42"/>
                    <a:pt x="96" y="46"/>
                  </a:cubicBezTo>
                  <a:cubicBezTo>
                    <a:pt x="101" y="50"/>
                    <a:pt x="100" y="52"/>
                    <a:pt x="100" y="58"/>
                  </a:cubicBezTo>
                  <a:cubicBezTo>
                    <a:pt x="99" y="64"/>
                    <a:pt x="102" y="78"/>
                    <a:pt x="93" y="77"/>
                  </a:cubicBezTo>
                  <a:cubicBezTo>
                    <a:pt x="84" y="76"/>
                    <a:pt x="79" y="72"/>
                    <a:pt x="74" y="75"/>
                  </a:cubicBezTo>
                  <a:cubicBezTo>
                    <a:pt x="69" y="78"/>
                    <a:pt x="64" y="83"/>
                    <a:pt x="66" y="95"/>
                  </a:cubicBezTo>
                  <a:cubicBezTo>
                    <a:pt x="69" y="106"/>
                    <a:pt x="61" y="108"/>
                    <a:pt x="69" y="114"/>
                  </a:cubicBezTo>
                  <a:cubicBezTo>
                    <a:pt x="76" y="119"/>
                    <a:pt x="81" y="124"/>
                    <a:pt x="74" y="130"/>
                  </a:cubicBezTo>
                  <a:cubicBezTo>
                    <a:pt x="67" y="135"/>
                    <a:pt x="60" y="136"/>
                    <a:pt x="58" y="128"/>
                  </a:cubicBezTo>
                  <a:cubicBezTo>
                    <a:pt x="55" y="121"/>
                    <a:pt x="58" y="120"/>
                    <a:pt x="52" y="114"/>
                  </a:cubicBezTo>
                  <a:cubicBezTo>
                    <a:pt x="46" y="107"/>
                    <a:pt x="52" y="105"/>
                    <a:pt x="43" y="98"/>
                  </a:cubicBezTo>
                  <a:cubicBezTo>
                    <a:pt x="35" y="92"/>
                    <a:pt x="28" y="94"/>
                    <a:pt x="26" y="101"/>
                  </a:cubicBezTo>
                  <a:cubicBezTo>
                    <a:pt x="25" y="109"/>
                    <a:pt x="0" y="107"/>
                    <a:pt x="11" y="119"/>
                  </a:cubicBezTo>
                  <a:cubicBezTo>
                    <a:pt x="21" y="131"/>
                    <a:pt x="32" y="148"/>
                    <a:pt x="46" y="152"/>
                  </a:cubicBezTo>
                  <a:cubicBezTo>
                    <a:pt x="61" y="155"/>
                    <a:pt x="66" y="151"/>
                    <a:pt x="67" y="158"/>
                  </a:cubicBezTo>
                  <a:cubicBezTo>
                    <a:pt x="68" y="165"/>
                    <a:pt x="68" y="172"/>
                    <a:pt x="62" y="174"/>
                  </a:cubicBezTo>
                  <a:cubicBezTo>
                    <a:pt x="56" y="176"/>
                    <a:pt x="39" y="183"/>
                    <a:pt x="41" y="191"/>
                  </a:cubicBezTo>
                  <a:cubicBezTo>
                    <a:pt x="42" y="200"/>
                    <a:pt x="40" y="200"/>
                    <a:pt x="45" y="202"/>
                  </a:cubicBezTo>
                  <a:cubicBezTo>
                    <a:pt x="50" y="205"/>
                    <a:pt x="56" y="209"/>
                    <a:pt x="49" y="212"/>
                  </a:cubicBezTo>
                  <a:cubicBezTo>
                    <a:pt x="42" y="214"/>
                    <a:pt x="36" y="217"/>
                    <a:pt x="43" y="221"/>
                  </a:cubicBezTo>
                  <a:cubicBezTo>
                    <a:pt x="50" y="226"/>
                    <a:pt x="55" y="224"/>
                    <a:pt x="61" y="224"/>
                  </a:cubicBezTo>
                  <a:cubicBezTo>
                    <a:pt x="68" y="224"/>
                    <a:pt x="72" y="228"/>
                    <a:pt x="74" y="220"/>
                  </a:cubicBezTo>
                  <a:cubicBezTo>
                    <a:pt x="75" y="211"/>
                    <a:pt x="76" y="211"/>
                    <a:pt x="82" y="207"/>
                  </a:cubicBezTo>
                  <a:cubicBezTo>
                    <a:pt x="87" y="203"/>
                    <a:pt x="85" y="193"/>
                    <a:pt x="91" y="202"/>
                  </a:cubicBezTo>
                  <a:cubicBezTo>
                    <a:pt x="98" y="211"/>
                    <a:pt x="92" y="211"/>
                    <a:pt x="87" y="213"/>
                  </a:cubicBezTo>
                  <a:cubicBezTo>
                    <a:pt x="81" y="214"/>
                    <a:pt x="82" y="217"/>
                    <a:pt x="81" y="222"/>
                  </a:cubicBezTo>
                  <a:cubicBezTo>
                    <a:pt x="80" y="227"/>
                    <a:pt x="77" y="230"/>
                    <a:pt x="71" y="233"/>
                  </a:cubicBezTo>
                  <a:cubicBezTo>
                    <a:pt x="65" y="235"/>
                    <a:pt x="58" y="241"/>
                    <a:pt x="55" y="248"/>
                  </a:cubicBezTo>
                  <a:cubicBezTo>
                    <a:pt x="52" y="256"/>
                    <a:pt x="42" y="257"/>
                    <a:pt x="35" y="259"/>
                  </a:cubicBezTo>
                  <a:cubicBezTo>
                    <a:pt x="28" y="260"/>
                    <a:pt x="24" y="259"/>
                    <a:pt x="24" y="267"/>
                  </a:cubicBezTo>
                  <a:cubicBezTo>
                    <a:pt x="24" y="275"/>
                    <a:pt x="19" y="273"/>
                    <a:pt x="27" y="279"/>
                  </a:cubicBezTo>
                  <a:cubicBezTo>
                    <a:pt x="34" y="284"/>
                    <a:pt x="34" y="289"/>
                    <a:pt x="41" y="289"/>
                  </a:cubicBezTo>
                  <a:cubicBezTo>
                    <a:pt x="48" y="290"/>
                    <a:pt x="47" y="286"/>
                    <a:pt x="48" y="280"/>
                  </a:cubicBezTo>
                  <a:cubicBezTo>
                    <a:pt x="48" y="274"/>
                    <a:pt x="50" y="279"/>
                    <a:pt x="56" y="271"/>
                  </a:cubicBezTo>
                  <a:cubicBezTo>
                    <a:pt x="63" y="263"/>
                    <a:pt x="66" y="265"/>
                    <a:pt x="68" y="259"/>
                  </a:cubicBezTo>
                  <a:cubicBezTo>
                    <a:pt x="71" y="254"/>
                    <a:pt x="79" y="251"/>
                    <a:pt x="79" y="259"/>
                  </a:cubicBezTo>
                  <a:cubicBezTo>
                    <a:pt x="79" y="267"/>
                    <a:pt x="81" y="274"/>
                    <a:pt x="76" y="281"/>
                  </a:cubicBezTo>
                  <a:cubicBezTo>
                    <a:pt x="71" y="288"/>
                    <a:pt x="67" y="294"/>
                    <a:pt x="67" y="299"/>
                  </a:cubicBezTo>
                  <a:cubicBezTo>
                    <a:pt x="67" y="305"/>
                    <a:pt x="61" y="312"/>
                    <a:pt x="70" y="313"/>
                  </a:cubicBezTo>
                  <a:cubicBezTo>
                    <a:pt x="79" y="315"/>
                    <a:pt x="81" y="309"/>
                    <a:pt x="86" y="305"/>
                  </a:cubicBezTo>
                  <a:cubicBezTo>
                    <a:pt x="91" y="301"/>
                    <a:pt x="85" y="289"/>
                    <a:pt x="93" y="289"/>
                  </a:cubicBezTo>
                  <a:cubicBezTo>
                    <a:pt x="100" y="289"/>
                    <a:pt x="94" y="295"/>
                    <a:pt x="101" y="297"/>
                  </a:cubicBezTo>
                  <a:cubicBezTo>
                    <a:pt x="107" y="298"/>
                    <a:pt x="109" y="299"/>
                    <a:pt x="113" y="296"/>
                  </a:cubicBezTo>
                  <a:cubicBezTo>
                    <a:pt x="116" y="293"/>
                    <a:pt x="123" y="288"/>
                    <a:pt x="112" y="282"/>
                  </a:cubicBezTo>
                  <a:cubicBezTo>
                    <a:pt x="101" y="276"/>
                    <a:pt x="99" y="273"/>
                    <a:pt x="99" y="266"/>
                  </a:cubicBezTo>
                  <a:cubicBezTo>
                    <a:pt x="99" y="258"/>
                    <a:pt x="96" y="251"/>
                    <a:pt x="103" y="251"/>
                  </a:cubicBezTo>
                  <a:cubicBezTo>
                    <a:pt x="109" y="251"/>
                    <a:pt x="108" y="252"/>
                    <a:pt x="109" y="259"/>
                  </a:cubicBezTo>
                  <a:cubicBezTo>
                    <a:pt x="110" y="266"/>
                    <a:pt x="113" y="267"/>
                    <a:pt x="119" y="269"/>
                  </a:cubicBezTo>
                  <a:cubicBezTo>
                    <a:pt x="124" y="271"/>
                    <a:pt x="114" y="275"/>
                    <a:pt x="125" y="278"/>
                  </a:cubicBezTo>
                  <a:cubicBezTo>
                    <a:pt x="135" y="280"/>
                    <a:pt x="134" y="281"/>
                    <a:pt x="133" y="291"/>
                  </a:cubicBezTo>
                  <a:cubicBezTo>
                    <a:pt x="132" y="301"/>
                    <a:pt x="132" y="306"/>
                    <a:pt x="125" y="313"/>
                  </a:cubicBezTo>
                  <a:cubicBezTo>
                    <a:pt x="119" y="320"/>
                    <a:pt x="108" y="333"/>
                    <a:pt x="107" y="339"/>
                  </a:cubicBezTo>
                  <a:cubicBezTo>
                    <a:pt x="106" y="345"/>
                    <a:pt x="103" y="351"/>
                    <a:pt x="112" y="357"/>
                  </a:cubicBezTo>
                  <a:cubicBezTo>
                    <a:pt x="121" y="363"/>
                    <a:pt x="124" y="360"/>
                    <a:pt x="124" y="369"/>
                  </a:cubicBezTo>
                  <a:cubicBezTo>
                    <a:pt x="124" y="379"/>
                    <a:pt x="129" y="379"/>
                    <a:pt x="131" y="370"/>
                  </a:cubicBezTo>
                  <a:cubicBezTo>
                    <a:pt x="133" y="361"/>
                    <a:pt x="132" y="357"/>
                    <a:pt x="137" y="358"/>
                  </a:cubicBezTo>
                  <a:cubicBezTo>
                    <a:pt x="141" y="359"/>
                    <a:pt x="137" y="364"/>
                    <a:pt x="144" y="364"/>
                  </a:cubicBezTo>
                  <a:cubicBezTo>
                    <a:pt x="151" y="363"/>
                    <a:pt x="161" y="368"/>
                    <a:pt x="162" y="363"/>
                  </a:cubicBezTo>
                  <a:cubicBezTo>
                    <a:pt x="164" y="357"/>
                    <a:pt x="165" y="355"/>
                    <a:pt x="168" y="355"/>
                  </a:cubicBezTo>
                  <a:cubicBezTo>
                    <a:pt x="171" y="355"/>
                    <a:pt x="174" y="356"/>
                    <a:pt x="173" y="360"/>
                  </a:cubicBezTo>
                  <a:cubicBezTo>
                    <a:pt x="172" y="365"/>
                    <a:pt x="178" y="364"/>
                    <a:pt x="184" y="364"/>
                  </a:cubicBezTo>
                  <a:cubicBezTo>
                    <a:pt x="191" y="364"/>
                    <a:pt x="185" y="356"/>
                    <a:pt x="194" y="356"/>
                  </a:cubicBezTo>
                  <a:cubicBezTo>
                    <a:pt x="203" y="355"/>
                    <a:pt x="198" y="348"/>
                    <a:pt x="207" y="347"/>
                  </a:cubicBezTo>
                  <a:cubicBezTo>
                    <a:pt x="216" y="345"/>
                    <a:pt x="213" y="339"/>
                    <a:pt x="220" y="339"/>
                  </a:cubicBezTo>
                  <a:cubicBezTo>
                    <a:pt x="227" y="340"/>
                    <a:pt x="231" y="340"/>
                    <a:pt x="231" y="344"/>
                  </a:cubicBezTo>
                  <a:cubicBezTo>
                    <a:pt x="231" y="348"/>
                    <a:pt x="226" y="353"/>
                    <a:pt x="220" y="355"/>
                  </a:cubicBezTo>
                  <a:cubicBezTo>
                    <a:pt x="214" y="357"/>
                    <a:pt x="206" y="366"/>
                    <a:pt x="207" y="375"/>
                  </a:cubicBezTo>
                  <a:cubicBezTo>
                    <a:pt x="209" y="384"/>
                    <a:pt x="211" y="392"/>
                    <a:pt x="221" y="399"/>
                  </a:cubicBezTo>
                  <a:cubicBezTo>
                    <a:pt x="232" y="406"/>
                    <a:pt x="233" y="421"/>
                    <a:pt x="241" y="421"/>
                  </a:cubicBezTo>
                  <a:cubicBezTo>
                    <a:pt x="249" y="421"/>
                    <a:pt x="256" y="417"/>
                    <a:pt x="256" y="423"/>
                  </a:cubicBezTo>
                  <a:cubicBezTo>
                    <a:pt x="256" y="429"/>
                    <a:pt x="252" y="431"/>
                    <a:pt x="248" y="432"/>
                  </a:cubicBezTo>
                  <a:cubicBezTo>
                    <a:pt x="244" y="433"/>
                    <a:pt x="241" y="441"/>
                    <a:pt x="243" y="444"/>
                  </a:cubicBezTo>
                  <a:cubicBezTo>
                    <a:pt x="245" y="448"/>
                    <a:pt x="253" y="454"/>
                    <a:pt x="247" y="455"/>
                  </a:cubicBezTo>
                  <a:cubicBezTo>
                    <a:pt x="242" y="456"/>
                    <a:pt x="241" y="457"/>
                    <a:pt x="241" y="461"/>
                  </a:cubicBezTo>
                  <a:cubicBezTo>
                    <a:pt x="240" y="465"/>
                    <a:pt x="241" y="471"/>
                    <a:pt x="241" y="479"/>
                  </a:cubicBezTo>
                  <a:cubicBezTo>
                    <a:pt x="241" y="488"/>
                    <a:pt x="239" y="489"/>
                    <a:pt x="235" y="488"/>
                  </a:cubicBezTo>
                  <a:cubicBezTo>
                    <a:pt x="231" y="487"/>
                    <a:pt x="236" y="480"/>
                    <a:pt x="230" y="480"/>
                  </a:cubicBezTo>
                  <a:cubicBezTo>
                    <a:pt x="224" y="480"/>
                    <a:pt x="214" y="479"/>
                    <a:pt x="212" y="482"/>
                  </a:cubicBezTo>
                  <a:cubicBezTo>
                    <a:pt x="211" y="485"/>
                    <a:pt x="209" y="486"/>
                    <a:pt x="203" y="486"/>
                  </a:cubicBezTo>
                  <a:cubicBezTo>
                    <a:pt x="197" y="486"/>
                    <a:pt x="182" y="486"/>
                    <a:pt x="179" y="486"/>
                  </a:cubicBezTo>
                  <a:cubicBezTo>
                    <a:pt x="176" y="486"/>
                    <a:pt x="172" y="483"/>
                    <a:pt x="170" y="480"/>
                  </a:cubicBezTo>
                  <a:cubicBezTo>
                    <a:pt x="168" y="477"/>
                    <a:pt x="165" y="472"/>
                    <a:pt x="159" y="472"/>
                  </a:cubicBezTo>
                  <a:cubicBezTo>
                    <a:pt x="154" y="472"/>
                    <a:pt x="161" y="482"/>
                    <a:pt x="151" y="484"/>
                  </a:cubicBezTo>
                  <a:cubicBezTo>
                    <a:pt x="142" y="486"/>
                    <a:pt x="140" y="494"/>
                    <a:pt x="145" y="497"/>
                  </a:cubicBezTo>
                  <a:cubicBezTo>
                    <a:pt x="149" y="500"/>
                    <a:pt x="149" y="502"/>
                    <a:pt x="153" y="502"/>
                  </a:cubicBezTo>
                  <a:cubicBezTo>
                    <a:pt x="158" y="503"/>
                    <a:pt x="161" y="511"/>
                    <a:pt x="158" y="514"/>
                  </a:cubicBezTo>
                  <a:cubicBezTo>
                    <a:pt x="154" y="517"/>
                    <a:pt x="145" y="525"/>
                    <a:pt x="152" y="527"/>
                  </a:cubicBezTo>
                  <a:cubicBezTo>
                    <a:pt x="160" y="529"/>
                    <a:pt x="160" y="529"/>
                    <a:pt x="168" y="529"/>
                  </a:cubicBezTo>
                  <a:cubicBezTo>
                    <a:pt x="176" y="529"/>
                    <a:pt x="177" y="539"/>
                    <a:pt x="186" y="544"/>
                  </a:cubicBezTo>
                  <a:cubicBezTo>
                    <a:pt x="196" y="549"/>
                    <a:pt x="191" y="555"/>
                    <a:pt x="188" y="562"/>
                  </a:cubicBezTo>
                  <a:cubicBezTo>
                    <a:pt x="186" y="568"/>
                    <a:pt x="177" y="570"/>
                    <a:pt x="166" y="570"/>
                  </a:cubicBezTo>
                  <a:cubicBezTo>
                    <a:pt x="156" y="570"/>
                    <a:pt x="139" y="570"/>
                    <a:pt x="138" y="576"/>
                  </a:cubicBezTo>
                  <a:cubicBezTo>
                    <a:pt x="138" y="582"/>
                    <a:pt x="129" y="587"/>
                    <a:pt x="123" y="588"/>
                  </a:cubicBezTo>
                  <a:cubicBezTo>
                    <a:pt x="118" y="590"/>
                    <a:pt x="114" y="592"/>
                    <a:pt x="109" y="596"/>
                  </a:cubicBezTo>
                  <a:cubicBezTo>
                    <a:pt x="104" y="600"/>
                    <a:pt x="108" y="605"/>
                    <a:pt x="102" y="605"/>
                  </a:cubicBezTo>
                  <a:cubicBezTo>
                    <a:pt x="95" y="605"/>
                    <a:pt x="98" y="606"/>
                    <a:pt x="98" y="614"/>
                  </a:cubicBezTo>
                  <a:cubicBezTo>
                    <a:pt x="98" y="621"/>
                    <a:pt x="98" y="628"/>
                    <a:pt x="103" y="628"/>
                  </a:cubicBezTo>
                  <a:cubicBezTo>
                    <a:pt x="108" y="628"/>
                    <a:pt x="111" y="627"/>
                    <a:pt x="114" y="632"/>
                  </a:cubicBezTo>
                  <a:cubicBezTo>
                    <a:pt x="117" y="636"/>
                    <a:pt x="129" y="640"/>
                    <a:pt x="132" y="637"/>
                  </a:cubicBezTo>
                  <a:cubicBezTo>
                    <a:pt x="134" y="635"/>
                    <a:pt x="133" y="631"/>
                    <a:pt x="138" y="630"/>
                  </a:cubicBezTo>
                  <a:cubicBezTo>
                    <a:pt x="144" y="629"/>
                    <a:pt x="148" y="628"/>
                    <a:pt x="148" y="623"/>
                  </a:cubicBezTo>
                  <a:cubicBezTo>
                    <a:pt x="149" y="618"/>
                    <a:pt x="156" y="613"/>
                    <a:pt x="156" y="621"/>
                  </a:cubicBezTo>
                  <a:cubicBezTo>
                    <a:pt x="157" y="628"/>
                    <a:pt x="155" y="638"/>
                    <a:pt x="162" y="638"/>
                  </a:cubicBezTo>
                  <a:cubicBezTo>
                    <a:pt x="170" y="638"/>
                    <a:pt x="185" y="631"/>
                    <a:pt x="187" y="636"/>
                  </a:cubicBezTo>
                  <a:cubicBezTo>
                    <a:pt x="188" y="641"/>
                    <a:pt x="189" y="643"/>
                    <a:pt x="195" y="644"/>
                  </a:cubicBezTo>
                  <a:cubicBezTo>
                    <a:pt x="201" y="644"/>
                    <a:pt x="202" y="652"/>
                    <a:pt x="210" y="652"/>
                  </a:cubicBezTo>
                  <a:cubicBezTo>
                    <a:pt x="217" y="651"/>
                    <a:pt x="235" y="654"/>
                    <a:pt x="237" y="650"/>
                  </a:cubicBezTo>
                  <a:cubicBezTo>
                    <a:pt x="238" y="646"/>
                    <a:pt x="236" y="644"/>
                    <a:pt x="245" y="644"/>
                  </a:cubicBezTo>
                  <a:cubicBezTo>
                    <a:pt x="253" y="644"/>
                    <a:pt x="249" y="648"/>
                    <a:pt x="249" y="653"/>
                  </a:cubicBezTo>
                  <a:cubicBezTo>
                    <a:pt x="250" y="658"/>
                    <a:pt x="243" y="665"/>
                    <a:pt x="233" y="666"/>
                  </a:cubicBezTo>
                  <a:cubicBezTo>
                    <a:pt x="224" y="667"/>
                    <a:pt x="220" y="670"/>
                    <a:pt x="216" y="666"/>
                  </a:cubicBezTo>
                  <a:cubicBezTo>
                    <a:pt x="211" y="661"/>
                    <a:pt x="208" y="665"/>
                    <a:pt x="205" y="659"/>
                  </a:cubicBezTo>
                  <a:cubicBezTo>
                    <a:pt x="202" y="653"/>
                    <a:pt x="192" y="652"/>
                    <a:pt x="189" y="657"/>
                  </a:cubicBezTo>
                  <a:cubicBezTo>
                    <a:pt x="186" y="662"/>
                    <a:pt x="179" y="666"/>
                    <a:pt x="173" y="669"/>
                  </a:cubicBezTo>
                  <a:cubicBezTo>
                    <a:pt x="166" y="673"/>
                    <a:pt x="167" y="677"/>
                    <a:pt x="157" y="677"/>
                  </a:cubicBezTo>
                  <a:cubicBezTo>
                    <a:pt x="147" y="676"/>
                    <a:pt x="148" y="681"/>
                    <a:pt x="146" y="687"/>
                  </a:cubicBezTo>
                  <a:cubicBezTo>
                    <a:pt x="144" y="693"/>
                    <a:pt x="140" y="694"/>
                    <a:pt x="139" y="699"/>
                  </a:cubicBezTo>
                  <a:cubicBezTo>
                    <a:pt x="139" y="705"/>
                    <a:pt x="131" y="704"/>
                    <a:pt x="128" y="717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159" name="Freeform 25224"/>
            <p:cNvSpPr>
              <a:spLocks/>
            </p:cNvSpPr>
            <p:nvPr/>
          </p:nvSpPr>
          <p:spPr bwMode="auto">
            <a:xfrm>
              <a:off x="4170786" y="2382724"/>
              <a:ext cx="13889" cy="14995"/>
            </a:xfrm>
            <a:custGeom>
              <a:avLst/>
              <a:gdLst>
                <a:gd name="T0" fmla="*/ 19 w 37"/>
                <a:gd name="T1" fmla="*/ 4 h 40"/>
                <a:gd name="T2" fmla="*/ 15 w 37"/>
                <a:gd name="T3" fmla="*/ 16 h 40"/>
                <a:gd name="T4" fmla="*/ 5 w 37"/>
                <a:gd name="T5" fmla="*/ 26 h 40"/>
                <a:gd name="T6" fmla="*/ 5 w 37"/>
                <a:gd name="T7" fmla="*/ 38 h 40"/>
                <a:gd name="T8" fmla="*/ 19 w 37"/>
                <a:gd name="T9" fmla="*/ 37 h 40"/>
                <a:gd name="T10" fmla="*/ 24 w 37"/>
                <a:gd name="T11" fmla="*/ 31 h 40"/>
                <a:gd name="T12" fmla="*/ 36 w 37"/>
                <a:gd name="T13" fmla="*/ 17 h 40"/>
                <a:gd name="T14" fmla="*/ 33 w 37"/>
                <a:gd name="T15" fmla="*/ 4 h 40"/>
                <a:gd name="T16" fmla="*/ 19 w 37"/>
                <a:gd name="T1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7" h="40">
                  <a:moveTo>
                    <a:pt x="19" y="4"/>
                  </a:moveTo>
                  <a:cubicBezTo>
                    <a:pt x="19" y="4"/>
                    <a:pt x="21" y="13"/>
                    <a:pt x="15" y="16"/>
                  </a:cubicBezTo>
                  <a:cubicBezTo>
                    <a:pt x="9" y="19"/>
                    <a:pt x="6" y="23"/>
                    <a:pt x="5" y="26"/>
                  </a:cubicBezTo>
                  <a:cubicBezTo>
                    <a:pt x="3" y="29"/>
                    <a:pt x="0" y="37"/>
                    <a:pt x="5" y="38"/>
                  </a:cubicBezTo>
                  <a:cubicBezTo>
                    <a:pt x="11" y="39"/>
                    <a:pt x="19" y="40"/>
                    <a:pt x="19" y="37"/>
                  </a:cubicBezTo>
                  <a:cubicBezTo>
                    <a:pt x="20" y="34"/>
                    <a:pt x="20" y="32"/>
                    <a:pt x="24" y="31"/>
                  </a:cubicBezTo>
                  <a:cubicBezTo>
                    <a:pt x="28" y="29"/>
                    <a:pt x="35" y="24"/>
                    <a:pt x="36" y="17"/>
                  </a:cubicBezTo>
                  <a:cubicBezTo>
                    <a:pt x="36" y="9"/>
                    <a:pt x="37" y="5"/>
                    <a:pt x="33" y="4"/>
                  </a:cubicBezTo>
                  <a:cubicBezTo>
                    <a:pt x="29" y="2"/>
                    <a:pt x="19" y="0"/>
                    <a:pt x="19" y="4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160" name="Freeform 25225"/>
            <p:cNvSpPr>
              <a:spLocks/>
            </p:cNvSpPr>
            <p:nvPr/>
          </p:nvSpPr>
          <p:spPr bwMode="auto">
            <a:xfrm>
              <a:off x="4107810" y="2285814"/>
              <a:ext cx="9312" cy="6629"/>
            </a:xfrm>
            <a:custGeom>
              <a:avLst/>
              <a:gdLst>
                <a:gd name="T0" fmla="*/ 12 w 25"/>
                <a:gd name="T1" fmla="*/ 1 h 18"/>
                <a:gd name="T2" fmla="*/ 3 w 25"/>
                <a:gd name="T3" fmla="*/ 3 h 18"/>
                <a:gd name="T4" fmla="*/ 5 w 25"/>
                <a:gd name="T5" fmla="*/ 13 h 18"/>
                <a:gd name="T6" fmla="*/ 20 w 25"/>
                <a:gd name="T7" fmla="*/ 16 h 18"/>
                <a:gd name="T8" fmla="*/ 23 w 25"/>
                <a:gd name="T9" fmla="*/ 7 h 18"/>
                <a:gd name="T10" fmla="*/ 12 w 25"/>
                <a:gd name="T11" fmla="*/ 1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" h="18">
                  <a:moveTo>
                    <a:pt x="12" y="1"/>
                  </a:moveTo>
                  <a:cubicBezTo>
                    <a:pt x="12" y="1"/>
                    <a:pt x="3" y="0"/>
                    <a:pt x="3" y="3"/>
                  </a:cubicBezTo>
                  <a:cubicBezTo>
                    <a:pt x="2" y="6"/>
                    <a:pt x="0" y="10"/>
                    <a:pt x="5" y="13"/>
                  </a:cubicBezTo>
                  <a:cubicBezTo>
                    <a:pt x="9" y="16"/>
                    <a:pt x="18" y="18"/>
                    <a:pt x="20" y="16"/>
                  </a:cubicBezTo>
                  <a:cubicBezTo>
                    <a:pt x="23" y="13"/>
                    <a:pt x="25" y="10"/>
                    <a:pt x="23" y="7"/>
                  </a:cubicBezTo>
                  <a:cubicBezTo>
                    <a:pt x="21" y="3"/>
                    <a:pt x="16" y="1"/>
                    <a:pt x="12" y="1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161" name="Freeform 25226"/>
            <p:cNvSpPr>
              <a:spLocks/>
            </p:cNvSpPr>
            <p:nvPr/>
          </p:nvSpPr>
          <p:spPr bwMode="auto">
            <a:xfrm>
              <a:off x="4108600" y="2273503"/>
              <a:ext cx="5209" cy="6313"/>
            </a:xfrm>
            <a:custGeom>
              <a:avLst/>
              <a:gdLst>
                <a:gd name="T0" fmla="*/ 10 w 14"/>
                <a:gd name="T1" fmla="*/ 4 h 17"/>
                <a:gd name="T2" fmla="*/ 6 w 14"/>
                <a:gd name="T3" fmla="*/ 7 h 17"/>
                <a:gd name="T4" fmla="*/ 1 w 14"/>
                <a:gd name="T5" fmla="*/ 14 h 17"/>
                <a:gd name="T6" fmla="*/ 8 w 14"/>
                <a:gd name="T7" fmla="*/ 17 h 17"/>
                <a:gd name="T8" fmla="*/ 14 w 14"/>
                <a:gd name="T9" fmla="*/ 11 h 17"/>
                <a:gd name="T10" fmla="*/ 10 w 14"/>
                <a:gd name="T11" fmla="*/ 4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" h="17">
                  <a:moveTo>
                    <a:pt x="10" y="4"/>
                  </a:moveTo>
                  <a:cubicBezTo>
                    <a:pt x="10" y="4"/>
                    <a:pt x="11" y="6"/>
                    <a:pt x="6" y="7"/>
                  </a:cubicBezTo>
                  <a:cubicBezTo>
                    <a:pt x="2" y="8"/>
                    <a:pt x="0" y="12"/>
                    <a:pt x="1" y="14"/>
                  </a:cubicBezTo>
                  <a:cubicBezTo>
                    <a:pt x="3" y="17"/>
                    <a:pt x="5" y="17"/>
                    <a:pt x="8" y="17"/>
                  </a:cubicBezTo>
                  <a:cubicBezTo>
                    <a:pt x="12" y="17"/>
                    <a:pt x="14" y="16"/>
                    <a:pt x="14" y="11"/>
                  </a:cubicBezTo>
                  <a:cubicBezTo>
                    <a:pt x="14" y="6"/>
                    <a:pt x="12" y="0"/>
                    <a:pt x="10" y="4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162" name="Freeform 25227"/>
            <p:cNvSpPr>
              <a:spLocks/>
            </p:cNvSpPr>
            <p:nvPr/>
          </p:nvSpPr>
          <p:spPr bwMode="auto">
            <a:xfrm>
              <a:off x="4113808" y="2245882"/>
              <a:ext cx="27937" cy="28253"/>
            </a:xfrm>
            <a:custGeom>
              <a:avLst/>
              <a:gdLst>
                <a:gd name="T0" fmla="*/ 7 w 75"/>
                <a:gd name="T1" fmla="*/ 28 h 76"/>
                <a:gd name="T2" fmla="*/ 10 w 75"/>
                <a:gd name="T3" fmla="*/ 49 h 76"/>
                <a:gd name="T4" fmla="*/ 13 w 75"/>
                <a:gd name="T5" fmla="*/ 57 h 76"/>
                <a:gd name="T6" fmla="*/ 8 w 75"/>
                <a:gd name="T7" fmla="*/ 70 h 76"/>
                <a:gd name="T8" fmla="*/ 22 w 75"/>
                <a:gd name="T9" fmla="*/ 71 h 76"/>
                <a:gd name="T10" fmla="*/ 37 w 75"/>
                <a:gd name="T11" fmla="*/ 58 h 76"/>
                <a:gd name="T12" fmla="*/ 55 w 75"/>
                <a:gd name="T13" fmla="*/ 53 h 76"/>
                <a:gd name="T14" fmla="*/ 60 w 75"/>
                <a:gd name="T15" fmla="*/ 33 h 76"/>
                <a:gd name="T16" fmla="*/ 67 w 75"/>
                <a:gd name="T17" fmla="*/ 18 h 76"/>
                <a:gd name="T18" fmla="*/ 72 w 75"/>
                <a:gd name="T19" fmla="*/ 9 h 76"/>
                <a:gd name="T20" fmla="*/ 61 w 75"/>
                <a:gd name="T21" fmla="*/ 0 h 76"/>
                <a:gd name="T22" fmla="*/ 53 w 75"/>
                <a:gd name="T23" fmla="*/ 9 h 76"/>
                <a:gd name="T24" fmla="*/ 37 w 75"/>
                <a:gd name="T25" fmla="*/ 12 h 76"/>
                <a:gd name="T26" fmla="*/ 27 w 75"/>
                <a:gd name="T27" fmla="*/ 25 h 76"/>
                <a:gd name="T28" fmla="*/ 7 w 75"/>
                <a:gd name="T29" fmla="*/ 28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5" h="76">
                  <a:moveTo>
                    <a:pt x="7" y="28"/>
                  </a:moveTo>
                  <a:cubicBezTo>
                    <a:pt x="7" y="28"/>
                    <a:pt x="4" y="48"/>
                    <a:pt x="10" y="49"/>
                  </a:cubicBezTo>
                  <a:cubicBezTo>
                    <a:pt x="16" y="50"/>
                    <a:pt x="16" y="53"/>
                    <a:pt x="13" y="57"/>
                  </a:cubicBezTo>
                  <a:cubicBezTo>
                    <a:pt x="9" y="61"/>
                    <a:pt x="0" y="65"/>
                    <a:pt x="8" y="70"/>
                  </a:cubicBezTo>
                  <a:cubicBezTo>
                    <a:pt x="15" y="75"/>
                    <a:pt x="20" y="76"/>
                    <a:pt x="22" y="71"/>
                  </a:cubicBezTo>
                  <a:cubicBezTo>
                    <a:pt x="24" y="66"/>
                    <a:pt x="29" y="58"/>
                    <a:pt x="37" y="58"/>
                  </a:cubicBezTo>
                  <a:cubicBezTo>
                    <a:pt x="46" y="58"/>
                    <a:pt x="54" y="63"/>
                    <a:pt x="55" y="53"/>
                  </a:cubicBezTo>
                  <a:cubicBezTo>
                    <a:pt x="55" y="43"/>
                    <a:pt x="55" y="36"/>
                    <a:pt x="60" y="33"/>
                  </a:cubicBezTo>
                  <a:cubicBezTo>
                    <a:pt x="66" y="31"/>
                    <a:pt x="64" y="20"/>
                    <a:pt x="67" y="18"/>
                  </a:cubicBezTo>
                  <a:cubicBezTo>
                    <a:pt x="70" y="16"/>
                    <a:pt x="75" y="14"/>
                    <a:pt x="72" y="9"/>
                  </a:cubicBezTo>
                  <a:cubicBezTo>
                    <a:pt x="69" y="5"/>
                    <a:pt x="66" y="0"/>
                    <a:pt x="61" y="0"/>
                  </a:cubicBezTo>
                  <a:cubicBezTo>
                    <a:pt x="55" y="0"/>
                    <a:pt x="61" y="11"/>
                    <a:pt x="53" y="9"/>
                  </a:cubicBezTo>
                  <a:cubicBezTo>
                    <a:pt x="44" y="8"/>
                    <a:pt x="40" y="10"/>
                    <a:pt x="37" y="12"/>
                  </a:cubicBezTo>
                  <a:cubicBezTo>
                    <a:pt x="33" y="15"/>
                    <a:pt x="34" y="23"/>
                    <a:pt x="27" y="25"/>
                  </a:cubicBezTo>
                  <a:cubicBezTo>
                    <a:pt x="19" y="26"/>
                    <a:pt x="6" y="20"/>
                    <a:pt x="7" y="28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163" name="Freeform 25228"/>
            <p:cNvSpPr>
              <a:spLocks/>
            </p:cNvSpPr>
            <p:nvPr/>
          </p:nvSpPr>
          <p:spPr bwMode="auto">
            <a:xfrm>
              <a:off x="4201406" y="2224258"/>
              <a:ext cx="20834" cy="15310"/>
            </a:xfrm>
            <a:custGeom>
              <a:avLst/>
              <a:gdLst>
                <a:gd name="T0" fmla="*/ 26 w 56"/>
                <a:gd name="T1" fmla="*/ 0 h 41"/>
                <a:gd name="T2" fmla="*/ 11 w 56"/>
                <a:gd name="T3" fmla="*/ 6 h 41"/>
                <a:gd name="T4" fmla="*/ 9 w 56"/>
                <a:gd name="T5" fmla="*/ 19 h 41"/>
                <a:gd name="T6" fmla="*/ 7 w 56"/>
                <a:gd name="T7" fmla="*/ 34 h 41"/>
                <a:gd name="T8" fmla="*/ 19 w 56"/>
                <a:gd name="T9" fmla="*/ 30 h 41"/>
                <a:gd name="T10" fmla="*/ 25 w 56"/>
                <a:gd name="T11" fmla="*/ 24 h 41"/>
                <a:gd name="T12" fmla="*/ 35 w 56"/>
                <a:gd name="T13" fmla="*/ 28 h 41"/>
                <a:gd name="T14" fmla="*/ 40 w 56"/>
                <a:gd name="T15" fmla="*/ 40 h 41"/>
                <a:gd name="T16" fmla="*/ 44 w 56"/>
                <a:gd name="T17" fmla="*/ 32 h 41"/>
                <a:gd name="T18" fmla="*/ 53 w 56"/>
                <a:gd name="T19" fmla="*/ 21 h 41"/>
                <a:gd name="T20" fmla="*/ 48 w 56"/>
                <a:gd name="T21" fmla="*/ 8 h 41"/>
                <a:gd name="T22" fmla="*/ 31 w 56"/>
                <a:gd name="T23" fmla="*/ 5 h 41"/>
                <a:gd name="T24" fmla="*/ 26 w 56"/>
                <a:gd name="T25" fmla="*/ 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6" h="41">
                  <a:moveTo>
                    <a:pt x="26" y="0"/>
                  </a:moveTo>
                  <a:cubicBezTo>
                    <a:pt x="26" y="0"/>
                    <a:pt x="11" y="0"/>
                    <a:pt x="11" y="6"/>
                  </a:cubicBezTo>
                  <a:cubicBezTo>
                    <a:pt x="11" y="11"/>
                    <a:pt x="15" y="15"/>
                    <a:pt x="9" y="19"/>
                  </a:cubicBezTo>
                  <a:cubicBezTo>
                    <a:pt x="2" y="23"/>
                    <a:pt x="0" y="34"/>
                    <a:pt x="7" y="34"/>
                  </a:cubicBezTo>
                  <a:cubicBezTo>
                    <a:pt x="13" y="35"/>
                    <a:pt x="18" y="34"/>
                    <a:pt x="19" y="30"/>
                  </a:cubicBezTo>
                  <a:cubicBezTo>
                    <a:pt x="20" y="26"/>
                    <a:pt x="19" y="24"/>
                    <a:pt x="25" y="24"/>
                  </a:cubicBezTo>
                  <a:cubicBezTo>
                    <a:pt x="31" y="24"/>
                    <a:pt x="35" y="23"/>
                    <a:pt x="35" y="28"/>
                  </a:cubicBezTo>
                  <a:cubicBezTo>
                    <a:pt x="35" y="32"/>
                    <a:pt x="35" y="38"/>
                    <a:pt x="40" y="40"/>
                  </a:cubicBezTo>
                  <a:cubicBezTo>
                    <a:pt x="44" y="41"/>
                    <a:pt x="43" y="38"/>
                    <a:pt x="44" y="32"/>
                  </a:cubicBezTo>
                  <a:cubicBezTo>
                    <a:pt x="45" y="26"/>
                    <a:pt x="53" y="28"/>
                    <a:pt x="53" y="21"/>
                  </a:cubicBezTo>
                  <a:cubicBezTo>
                    <a:pt x="53" y="14"/>
                    <a:pt x="56" y="8"/>
                    <a:pt x="48" y="8"/>
                  </a:cubicBezTo>
                  <a:cubicBezTo>
                    <a:pt x="39" y="8"/>
                    <a:pt x="33" y="9"/>
                    <a:pt x="31" y="5"/>
                  </a:cubicBezTo>
                  <a:cubicBezTo>
                    <a:pt x="29" y="2"/>
                    <a:pt x="30" y="0"/>
                    <a:pt x="26" y="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164" name="Freeform 25229"/>
            <p:cNvSpPr>
              <a:spLocks/>
            </p:cNvSpPr>
            <p:nvPr/>
          </p:nvSpPr>
          <p:spPr bwMode="auto">
            <a:xfrm>
              <a:off x="4246546" y="2171700"/>
              <a:ext cx="14521" cy="24149"/>
            </a:xfrm>
            <a:custGeom>
              <a:avLst/>
              <a:gdLst>
                <a:gd name="T0" fmla="*/ 21 w 39"/>
                <a:gd name="T1" fmla="*/ 2 h 65"/>
                <a:gd name="T2" fmla="*/ 9 w 39"/>
                <a:gd name="T3" fmla="*/ 9 h 65"/>
                <a:gd name="T4" fmla="*/ 3 w 39"/>
                <a:gd name="T5" fmla="*/ 27 h 65"/>
                <a:gd name="T6" fmla="*/ 7 w 39"/>
                <a:gd name="T7" fmla="*/ 39 h 65"/>
                <a:gd name="T8" fmla="*/ 16 w 39"/>
                <a:gd name="T9" fmla="*/ 52 h 65"/>
                <a:gd name="T10" fmla="*/ 23 w 39"/>
                <a:gd name="T11" fmla="*/ 65 h 65"/>
                <a:gd name="T12" fmla="*/ 29 w 39"/>
                <a:gd name="T13" fmla="*/ 53 h 65"/>
                <a:gd name="T14" fmla="*/ 33 w 39"/>
                <a:gd name="T15" fmla="*/ 35 h 65"/>
                <a:gd name="T16" fmla="*/ 39 w 39"/>
                <a:gd name="T17" fmla="*/ 21 h 65"/>
                <a:gd name="T18" fmla="*/ 21 w 39"/>
                <a:gd name="T19" fmla="*/ 2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9" h="65">
                  <a:moveTo>
                    <a:pt x="21" y="2"/>
                  </a:moveTo>
                  <a:cubicBezTo>
                    <a:pt x="21" y="2"/>
                    <a:pt x="10" y="1"/>
                    <a:pt x="9" y="9"/>
                  </a:cubicBezTo>
                  <a:cubicBezTo>
                    <a:pt x="7" y="18"/>
                    <a:pt x="7" y="24"/>
                    <a:pt x="3" y="27"/>
                  </a:cubicBezTo>
                  <a:cubicBezTo>
                    <a:pt x="0" y="29"/>
                    <a:pt x="2" y="35"/>
                    <a:pt x="7" y="39"/>
                  </a:cubicBezTo>
                  <a:cubicBezTo>
                    <a:pt x="12" y="43"/>
                    <a:pt x="17" y="44"/>
                    <a:pt x="16" y="52"/>
                  </a:cubicBezTo>
                  <a:cubicBezTo>
                    <a:pt x="14" y="59"/>
                    <a:pt x="19" y="65"/>
                    <a:pt x="23" y="65"/>
                  </a:cubicBezTo>
                  <a:cubicBezTo>
                    <a:pt x="26" y="65"/>
                    <a:pt x="29" y="63"/>
                    <a:pt x="29" y="53"/>
                  </a:cubicBezTo>
                  <a:cubicBezTo>
                    <a:pt x="29" y="43"/>
                    <a:pt x="30" y="37"/>
                    <a:pt x="33" y="35"/>
                  </a:cubicBezTo>
                  <a:cubicBezTo>
                    <a:pt x="36" y="32"/>
                    <a:pt x="39" y="26"/>
                    <a:pt x="39" y="21"/>
                  </a:cubicBezTo>
                  <a:cubicBezTo>
                    <a:pt x="39" y="15"/>
                    <a:pt x="37" y="0"/>
                    <a:pt x="21" y="2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165" name="Freeform 25230"/>
            <p:cNvSpPr>
              <a:spLocks/>
            </p:cNvSpPr>
            <p:nvPr/>
          </p:nvSpPr>
          <p:spPr bwMode="auto">
            <a:xfrm>
              <a:off x="4261383" y="2161914"/>
              <a:ext cx="9786" cy="10891"/>
            </a:xfrm>
            <a:custGeom>
              <a:avLst/>
              <a:gdLst>
                <a:gd name="T0" fmla="*/ 3 w 26"/>
                <a:gd name="T1" fmla="*/ 12 h 29"/>
                <a:gd name="T2" fmla="*/ 0 w 26"/>
                <a:gd name="T3" fmla="*/ 25 h 29"/>
                <a:gd name="T4" fmla="*/ 13 w 26"/>
                <a:gd name="T5" fmla="*/ 23 h 29"/>
                <a:gd name="T6" fmla="*/ 18 w 26"/>
                <a:gd name="T7" fmla="*/ 9 h 29"/>
                <a:gd name="T8" fmla="*/ 22 w 26"/>
                <a:gd name="T9" fmla="*/ 2 h 29"/>
                <a:gd name="T10" fmla="*/ 3 w 26"/>
                <a:gd name="T11" fmla="*/ 12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" h="29">
                  <a:moveTo>
                    <a:pt x="3" y="12"/>
                  </a:moveTo>
                  <a:cubicBezTo>
                    <a:pt x="3" y="12"/>
                    <a:pt x="0" y="21"/>
                    <a:pt x="0" y="25"/>
                  </a:cubicBezTo>
                  <a:cubicBezTo>
                    <a:pt x="0" y="29"/>
                    <a:pt x="11" y="29"/>
                    <a:pt x="13" y="23"/>
                  </a:cubicBezTo>
                  <a:cubicBezTo>
                    <a:pt x="14" y="17"/>
                    <a:pt x="15" y="12"/>
                    <a:pt x="18" y="9"/>
                  </a:cubicBezTo>
                  <a:cubicBezTo>
                    <a:pt x="21" y="5"/>
                    <a:pt x="26" y="5"/>
                    <a:pt x="22" y="2"/>
                  </a:cubicBezTo>
                  <a:cubicBezTo>
                    <a:pt x="18" y="0"/>
                    <a:pt x="9" y="0"/>
                    <a:pt x="3" y="12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166" name="Freeform 25231"/>
            <p:cNvSpPr>
              <a:spLocks/>
            </p:cNvSpPr>
            <p:nvPr/>
          </p:nvSpPr>
          <p:spPr bwMode="auto">
            <a:xfrm>
              <a:off x="4209613" y="2214473"/>
              <a:ext cx="11206" cy="7103"/>
            </a:xfrm>
            <a:custGeom>
              <a:avLst/>
              <a:gdLst>
                <a:gd name="T0" fmla="*/ 12 w 30"/>
                <a:gd name="T1" fmla="*/ 3 h 19"/>
                <a:gd name="T2" fmla="*/ 1 w 30"/>
                <a:gd name="T3" fmla="*/ 4 h 19"/>
                <a:gd name="T4" fmla="*/ 5 w 30"/>
                <a:gd name="T5" fmla="*/ 12 h 19"/>
                <a:gd name="T6" fmla="*/ 16 w 30"/>
                <a:gd name="T7" fmla="*/ 19 h 19"/>
                <a:gd name="T8" fmla="*/ 21 w 30"/>
                <a:gd name="T9" fmla="*/ 12 h 19"/>
                <a:gd name="T10" fmla="*/ 12 w 30"/>
                <a:gd name="T11" fmla="*/ 3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19">
                  <a:moveTo>
                    <a:pt x="12" y="3"/>
                  </a:moveTo>
                  <a:cubicBezTo>
                    <a:pt x="12" y="3"/>
                    <a:pt x="3" y="0"/>
                    <a:pt x="1" y="4"/>
                  </a:cubicBezTo>
                  <a:cubicBezTo>
                    <a:pt x="0" y="8"/>
                    <a:pt x="3" y="6"/>
                    <a:pt x="5" y="12"/>
                  </a:cubicBezTo>
                  <a:cubicBezTo>
                    <a:pt x="6" y="18"/>
                    <a:pt x="13" y="19"/>
                    <a:pt x="16" y="19"/>
                  </a:cubicBezTo>
                  <a:cubicBezTo>
                    <a:pt x="20" y="18"/>
                    <a:pt x="30" y="15"/>
                    <a:pt x="21" y="12"/>
                  </a:cubicBezTo>
                  <a:cubicBezTo>
                    <a:pt x="13" y="10"/>
                    <a:pt x="12" y="9"/>
                    <a:pt x="12" y="3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167" name="Freeform 25232"/>
            <p:cNvSpPr>
              <a:spLocks/>
            </p:cNvSpPr>
            <p:nvPr/>
          </p:nvSpPr>
          <p:spPr bwMode="auto">
            <a:xfrm>
              <a:off x="4220820" y="2217471"/>
              <a:ext cx="4893" cy="7103"/>
            </a:xfrm>
            <a:custGeom>
              <a:avLst/>
              <a:gdLst>
                <a:gd name="T0" fmla="*/ 6 w 13"/>
                <a:gd name="T1" fmla="*/ 4 h 19"/>
                <a:gd name="T2" fmla="*/ 0 w 13"/>
                <a:gd name="T3" fmla="*/ 14 h 19"/>
                <a:gd name="T4" fmla="*/ 8 w 13"/>
                <a:gd name="T5" fmla="*/ 9 h 19"/>
                <a:gd name="T6" fmla="*/ 6 w 13"/>
                <a:gd name="T7" fmla="*/ 4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19">
                  <a:moveTo>
                    <a:pt x="6" y="4"/>
                  </a:moveTo>
                  <a:cubicBezTo>
                    <a:pt x="6" y="4"/>
                    <a:pt x="0" y="9"/>
                    <a:pt x="0" y="14"/>
                  </a:cubicBezTo>
                  <a:cubicBezTo>
                    <a:pt x="0" y="19"/>
                    <a:pt x="6" y="18"/>
                    <a:pt x="8" y="9"/>
                  </a:cubicBezTo>
                  <a:cubicBezTo>
                    <a:pt x="11" y="1"/>
                    <a:pt x="13" y="0"/>
                    <a:pt x="6" y="4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168" name="Freeform 25233"/>
            <p:cNvSpPr>
              <a:spLocks/>
            </p:cNvSpPr>
            <p:nvPr/>
          </p:nvSpPr>
          <p:spPr bwMode="auto">
            <a:xfrm>
              <a:off x="4126119" y="2309331"/>
              <a:ext cx="4104" cy="2999"/>
            </a:xfrm>
            <a:custGeom>
              <a:avLst/>
              <a:gdLst>
                <a:gd name="T0" fmla="*/ 9 w 11"/>
                <a:gd name="T1" fmla="*/ 0 h 8"/>
                <a:gd name="T2" fmla="*/ 2 w 11"/>
                <a:gd name="T3" fmla="*/ 2 h 8"/>
                <a:gd name="T4" fmla="*/ 2 w 11"/>
                <a:gd name="T5" fmla="*/ 6 h 8"/>
                <a:gd name="T6" fmla="*/ 8 w 11"/>
                <a:gd name="T7" fmla="*/ 6 h 8"/>
                <a:gd name="T8" fmla="*/ 9 w 11"/>
                <a:gd name="T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8">
                  <a:moveTo>
                    <a:pt x="9" y="0"/>
                  </a:moveTo>
                  <a:cubicBezTo>
                    <a:pt x="9" y="0"/>
                    <a:pt x="2" y="0"/>
                    <a:pt x="2" y="2"/>
                  </a:cubicBezTo>
                  <a:cubicBezTo>
                    <a:pt x="1" y="4"/>
                    <a:pt x="0" y="5"/>
                    <a:pt x="2" y="6"/>
                  </a:cubicBezTo>
                  <a:cubicBezTo>
                    <a:pt x="4" y="7"/>
                    <a:pt x="7" y="8"/>
                    <a:pt x="8" y="6"/>
                  </a:cubicBezTo>
                  <a:cubicBezTo>
                    <a:pt x="9" y="5"/>
                    <a:pt x="11" y="1"/>
                    <a:pt x="9" y="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169" name="Freeform 25234"/>
            <p:cNvSpPr>
              <a:spLocks/>
            </p:cNvSpPr>
            <p:nvPr/>
          </p:nvSpPr>
          <p:spPr bwMode="auto">
            <a:xfrm>
              <a:off x="4083188" y="2352893"/>
              <a:ext cx="74655" cy="47824"/>
            </a:xfrm>
            <a:custGeom>
              <a:avLst/>
              <a:gdLst>
                <a:gd name="T0" fmla="*/ 198 w 200"/>
                <a:gd name="T1" fmla="*/ 80 h 128"/>
                <a:gd name="T2" fmla="*/ 192 w 200"/>
                <a:gd name="T3" fmla="*/ 60 h 128"/>
                <a:gd name="T4" fmla="*/ 177 w 200"/>
                <a:gd name="T5" fmla="*/ 48 h 128"/>
                <a:gd name="T6" fmla="*/ 163 w 200"/>
                <a:gd name="T7" fmla="*/ 23 h 128"/>
                <a:gd name="T8" fmla="*/ 152 w 200"/>
                <a:gd name="T9" fmla="*/ 13 h 128"/>
                <a:gd name="T10" fmla="*/ 125 w 200"/>
                <a:gd name="T11" fmla="*/ 9 h 128"/>
                <a:gd name="T12" fmla="*/ 90 w 200"/>
                <a:gd name="T13" fmla="*/ 9 h 128"/>
                <a:gd name="T14" fmla="*/ 69 w 200"/>
                <a:gd name="T15" fmla="*/ 2 h 128"/>
                <a:gd name="T16" fmla="*/ 73 w 200"/>
                <a:gd name="T17" fmla="*/ 13 h 128"/>
                <a:gd name="T18" fmla="*/ 68 w 200"/>
                <a:gd name="T19" fmla="*/ 24 h 128"/>
                <a:gd name="T20" fmla="*/ 66 w 200"/>
                <a:gd name="T21" fmla="*/ 47 h 128"/>
                <a:gd name="T22" fmla="*/ 46 w 200"/>
                <a:gd name="T23" fmla="*/ 62 h 128"/>
                <a:gd name="T24" fmla="*/ 30 w 200"/>
                <a:gd name="T25" fmla="*/ 79 h 128"/>
                <a:gd name="T26" fmla="*/ 34 w 200"/>
                <a:gd name="T27" fmla="*/ 99 h 128"/>
                <a:gd name="T28" fmla="*/ 80 w 200"/>
                <a:gd name="T29" fmla="*/ 110 h 128"/>
                <a:gd name="T30" fmla="*/ 100 w 200"/>
                <a:gd name="T31" fmla="*/ 94 h 128"/>
                <a:gd name="T32" fmla="*/ 116 w 200"/>
                <a:gd name="T33" fmla="*/ 114 h 128"/>
                <a:gd name="T34" fmla="*/ 133 w 200"/>
                <a:gd name="T35" fmla="*/ 119 h 128"/>
                <a:gd name="T36" fmla="*/ 147 w 200"/>
                <a:gd name="T37" fmla="*/ 115 h 128"/>
                <a:gd name="T38" fmla="*/ 148 w 200"/>
                <a:gd name="T39" fmla="*/ 115 h 128"/>
                <a:gd name="T40" fmla="*/ 162 w 200"/>
                <a:gd name="T41" fmla="*/ 123 h 128"/>
                <a:gd name="T42" fmla="*/ 169 w 200"/>
                <a:gd name="T43" fmla="*/ 115 h 128"/>
                <a:gd name="T44" fmla="*/ 180 w 200"/>
                <a:gd name="T45" fmla="*/ 103 h 128"/>
                <a:gd name="T46" fmla="*/ 193 w 200"/>
                <a:gd name="T47" fmla="*/ 92 h 128"/>
                <a:gd name="T48" fmla="*/ 198 w 200"/>
                <a:gd name="T49" fmla="*/ 80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00" h="128">
                  <a:moveTo>
                    <a:pt x="198" y="80"/>
                  </a:moveTo>
                  <a:cubicBezTo>
                    <a:pt x="198" y="73"/>
                    <a:pt x="198" y="62"/>
                    <a:pt x="192" y="60"/>
                  </a:cubicBezTo>
                  <a:cubicBezTo>
                    <a:pt x="186" y="58"/>
                    <a:pt x="184" y="58"/>
                    <a:pt x="177" y="48"/>
                  </a:cubicBezTo>
                  <a:cubicBezTo>
                    <a:pt x="171" y="37"/>
                    <a:pt x="163" y="32"/>
                    <a:pt x="163" y="23"/>
                  </a:cubicBezTo>
                  <a:cubicBezTo>
                    <a:pt x="163" y="14"/>
                    <a:pt x="155" y="19"/>
                    <a:pt x="152" y="13"/>
                  </a:cubicBezTo>
                  <a:cubicBezTo>
                    <a:pt x="149" y="8"/>
                    <a:pt x="133" y="9"/>
                    <a:pt x="125" y="9"/>
                  </a:cubicBezTo>
                  <a:cubicBezTo>
                    <a:pt x="117" y="10"/>
                    <a:pt x="94" y="14"/>
                    <a:pt x="90" y="9"/>
                  </a:cubicBezTo>
                  <a:cubicBezTo>
                    <a:pt x="87" y="4"/>
                    <a:pt x="74" y="0"/>
                    <a:pt x="69" y="2"/>
                  </a:cubicBezTo>
                  <a:cubicBezTo>
                    <a:pt x="63" y="3"/>
                    <a:pt x="70" y="11"/>
                    <a:pt x="73" y="13"/>
                  </a:cubicBezTo>
                  <a:cubicBezTo>
                    <a:pt x="74" y="15"/>
                    <a:pt x="72" y="20"/>
                    <a:pt x="68" y="24"/>
                  </a:cubicBezTo>
                  <a:cubicBezTo>
                    <a:pt x="71" y="31"/>
                    <a:pt x="73" y="43"/>
                    <a:pt x="66" y="47"/>
                  </a:cubicBezTo>
                  <a:cubicBezTo>
                    <a:pt x="56" y="54"/>
                    <a:pt x="46" y="50"/>
                    <a:pt x="46" y="62"/>
                  </a:cubicBezTo>
                  <a:cubicBezTo>
                    <a:pt x="46" y="74"/>
                    <a:pt x="37" y="79"/>
                    <a:pt x="30" y="79"/>
                  </a:cubicBezTo>
                  <a:cubicBezTo>
                    <a:pt x="24" y="79"/>
                    <a:pt x="0" y="87"/>
                    <a:pt x="34" y="99"/>
                  </a:cubicBezTo>
                  <a:cubicBezTo>
                    <a:pt x="69" y="111"/>
                    <a:pt x="77" y="128"/>
                    <a:pt x="80" y="110"/>
                  </a:cubicBezTo>
                  <a:cubicBezTo>
                    <a:pt x="82" y="91"/>
                    <a:pt x="90" y="80"/>
                    <a:pt x="100" y="94"/>
                  </a:cubicBezTo>
                  <a:cubicBezTo>
                    <a:pt x="109" y="107"/>
                    <a:pt x="114" y="100"/>
                    <a:pt x="116" y="114"/>
                  </a:cubicBezTo>
                  <a:cubicBezTo>
                    <a:pt x="117" y="127"/>
                    <a:pt x="129" y="127"/>
                    <a:pt x="133" y="119"/>
                  </a:cubicBezTo>
                  <a:cubicBezTo>
                    <a:pt x="136" y="112"/>
                    <a:pt x="141" y="109"/>
                    <a:pt x="147" y="115"/>
                  </a:cubicBezTo>
                  <a:cubicBezTo>
                    <a:pt x="147" y="115"/>
                    <a:pt x="148" y="115"/>
                    <a:pt x="148" y="115"/>
                  </a:cubicBezTo>
                  <a:cubicBezTo>
                    <a:pt x="157" y="115"/>
                    <a:pt x="157" y="122"/>
                    <a:pt x="162" y="123"/>
                  </a:cubicBezTo>
                  <a:cubicBezTo>
                    <a:pt x="166" y="124"/>
                    <a:pt x="166" y="121"/>
                    <a:pt x="169" y="115"/>
                  </a:cubicBezTo>
                  <a:cubicBezTo>
                    <a:pt x="171" y="109"/>
                    <a:pt x="175" y="106"/>
                    <a:pt x="180" y="103"/>
                  </a:cubicBezTo>
                  <a:cubicBezTo>
                    <a:pt x="185" y="100"/>
                    <a:pt x="186" y="94"/>
                    <a:pt x="193" y="92"/>
                  </a:cubicBezTo>
                  <a:cubicBezTo>
                    <a:pt x="200" y="89"/>
                    <a:pt x="198" y="86"/>
                    <a:pt x="198" y="8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170" name="Freeform 25235"/>
            <p:cNvSpPr>
              <a:spLocks/>
            </p:cNvSpPr>
            <p:nvPr/>
          </p:nvSpPr>
          <p:spPr bwMode="auto">
            <a:xfrm>
              <a:off x="4039152" y="2356997"/>
              <a:ext cx="107485" cy="123426"/>
            </a:xfrm>
            <a:custGeom>
              <a:avLst/>
              <a:gdLst>
                <a:gd name="T0" fmla="*/ 234 w 288"/>
                <a:gd name="T1" fmla="*/ 103 h 331"/>
                <a:gd name="T2" fmla="*/ 198 w 288"/>
                <a:gd name="T3" fmla="*/ 99 h 331"/>
                <a:gd name="T4" fmla="*/ 148 w 288"/>
                <a:gd name="T5" fmla="*/ 68 h 331"/>
                <a:gd name="T6" fmla="*/ 184 w 288"/>
                <a:gd name="T7" fmla="*/ 36 h 331"/>
                <a:gd name="T8" fmla="*/ 180 w 288"/>
                <a:gd name="T9" fmla="*/ 17 h 331"/>
                <a:gd name="T10" fmla="*/ 146 w 288"/>
                <a:gd name="T11" fmla="*/ 1 h 331"/>
                <a:gd name="T12" fmla="*/ 122 w 288"/>
                <a:gd name="T13" fmla="*/ 20 h 331"/>
                <a:gd name="T14" fmla="*/ 107 w 288"/>
                <a:gd name="T15" fmla="*/ 42 h 331"/>
                <a:gd name="T16" fmla="*/ 130 w 288"/>
                <a:gd name="T17" fmla="*/ 57 h 331"/>
                <a:gd name="T18" fmla="*/ 115 w 288"/>
                <a:gd name="T19" fmla="*/ 74 h 331"/>
                <a:gd name="T20" fmla="*/ 87 w 288"/>
                <a:gd name="T21" fmla="*/ 86 h 331"/>
                <a:gd name="T22" fmla="*/ 64 w 288"/>
                <a:gd name="T23" fmla="*/ 83 h 331"/>
                <a:gd name="T24" fmla="*/ 39 w 288"/>
                <a:gd name="T25" fmla="*/ 81 h 331"/>
                <a:gd name="T26" fmla="*/ 26 w 288"/>
                <a:gd name="T27" fmla="*/ 73 h 331"/>
                <a:gd name="T28" fmla="*/ 25 w 288"/>
                <a:gd name="T29" fmla="*/ 96 h 331"/>
                <a:gd name="T30" fmla="*/ 8 w 288"/>
                <a:gd name="T31" fmla="*/ 115 h 331"/>
                <a:gd name="T32" fmla="*/ 31 w 288"/>
                <a:gd name="T33" fmla="*/ 128 h 331"/>
                <a:gd name="T34" fmla="*/ 7 w 288"/>
                <a:gd name="T35" fmla="*/ 164 h 331"/>
                <a:gd name="T36" fmla="*/ 42 w 288"/>
                <a:gd name="T37" fmla="*/ 174 h 331"/>
                <a:gd name="T38" fmla="*/ 49 w 288"/>
                <a:gd name="T39" fmla="*/ 211 h 331"/>
                <a:gd name="T40" fmla="*/ 30 w 288"/>
                <a:gd name="T41" fmla="*/ 241 h 331"/>
                <a:gd name="T42" fmla="*/ 16 w 288"/>
                <a:gd name="T43" fmla="*/ 254 h 331"/>
                <a:gd name="T44" fmla="*/ 5 w 288"/>
                <a:gd name="T45" fmla="*/ 285 h 331"/>
                <a:gd name="T46" fmla="*/ 26 w 288"/>
                <a:gd name="T47" fmla="*/ 308 h 331"/>
                <a:gd name="T48" fmla="*/ 58 w 288"/>
                <a:gd name="T49" fmla="*/ 324 h 331"/>
                <a:gd name="T50" fmla="*/ 82 w 288"/>
                <a:gd name="T51" fmla="*/ 328 h 331"/>
                <a:gd name="T52" fmla="*/ 109 w 288"/>
                <a:gd name="T53" fmla="*/ 317 h 331"/>
                <a:gd name="T54" fmla="*/ 140 w 288"/>
                <a:gd name="T55" fmla="*/ 302 h 331"/>
                <a:gd name="T56" fmla="*/ 170 w 288"/>
                <a:gd name="T57" fmla="*/ 289 h 331"/>
                <a:gd name="T58" fmla="*/ 192 w 288"/>
                <a:gd name="T59" fmla="*/ 299 h 331"/>
                <a:gd name="T60" fmla="*/ 212 w 288"/>
                <a:gd name="T61" fmla="*/ 273 h 331"/>
                <a:gd name="T62" fmla="*/ 258 w 288"/>
                <a:gd name="T63" fmla="*/ 265 h 331"/>
                <a:gd name="T64" fmla="*/ 266 w 288"/>
                <a:gd name="T65" fmla="*/ 235 h 331"/>
                <a:gd name="T66" fmla="*/ 281 w 288"/>
                <a:gd name="T67" fmla="*/ 204 h 331"/>
                <a:gd name="T68" fmla="*/ 273 w 288"/>
                <a:gd name="T69" fmla="*/ 167 h 331"/>
                <a:gd name="T70" fmla="*/ 263 w 288"/>
                <a:gd name="T71" fmla="*/ 134 h 331"/>
                <a:gd name="T72" fmla="*/ 251 w 288"/>
                <a:gd name="T73" fmla="*/ 108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88" h="331">
                  <a:moveTo>
                    <a:pt x="251" y="108"/>
                  </a:moveTo>
                  <a:cubicBezTo>
                    <a:pt x="247" y="116"/>
                    <a:pt x="235" y="116"/>
                    <a:pt x="234" y="103"/>
                  </a:cubicBezTo>
                  <a:cubicBezTo>
                    <a:pt x="232" y="89"/>
                    <a:pt x="227" y="96"/>
                    <a:pt x="218" y="83"/>
                  </a:cubicBezTo>
                  <a:cubicBezTo>
                    <a:pt x="208" y="69"/>
                    <a:pt x="200" y="80"/>
                    <a:pt x="198" y="99"/>
                  </a:cubicBezTo>
                  <a:cubicBezTo>
                    <a:pt x="195" y="117"/>
                    <a:pt x="187" y="100"/>
                    <a:pt x="152" y="88"/>
                  </a:cubicBezTo>
                  <a:cubicBezTo>
                    <a:pt x="118" y="76"/>
                    <a:pt x="142" y="68"/>
                    <a:pt x="148" y="68"/>
                  </a:cubicBezTo>
                  <a:cubicBezTo>
                    <a:pt x="155" y="68"/>
                    <a:pt x="164" y="63"/>
                    <a:pt x="164" y="51"/>
                  </a:cubicBezTo>
                  <a:cubicBezTo>
                    <a:pt x="164" y="39"/>
                    <a:pt x="174" y="43"/>
                    <a:pt x="184" y="36"/>
                  </a:cubicBezTo>
                  <a:cubicBezTo>
                    <a:pt x="191" y="32"/>
                    <a:pt x="189" y="20"/>
                    <a:pt x="186" y="13"/>
                  </a:cubicBezTo>
                  <a:cubicBezTo>
                    <a:pt x="184" y="15"/>
                    <a:pt x="182" y="16"/>
                    <a:pt x="180" y="17"/>
                  </a:cubicBezTo>
                  <a:cubicBezTo>
                    <a:pt x="173" y="19"/>
                    <a:pt x="176" y="10"/>
                    <a:pt x="170" y="7"/>
                  </a:cubicBezTo>
                  <a:cubicBezTo>
                    <a:pt x="164" y="4"/>
                    <a:pt x="153" y="0"/>
                    <a:pt x="146" y="1"/>
                  </a:cubicBezTo>
                  <a:cubicBezTo>
                    <a:pt x="139" y="2"/>
                    <a:pt x="131" y="5"/>
                    <a:pt x="127" y="8"/>
                  </a:cubicBezTo>
                  <a:cubicBezTo>
                    <a:pt x="123" y="11"/>
                    <a:pt x="126" y="15"/>
                    <a:pt x="122" y="20"/>
                  </a:cubicBezTo>
                  <a:cubicBezTo>
                    <a:pt x="118" y="25"/>
                    <a:pt x="125" y="33"/>
                    <a:pt x="124" y="37"/>
                  </a:cubicBezTo>
                  <a:cubicBezTo>
                    <a:pt x="122" y="41"/>
                    <a:pt x="108" y="39"/>
                    <a:pt x="107" y="42"/>
                  </a:cubicBezTo>
                  <a:cubicBezTo>
                    <a:pt x="107" y="46"/>
                    <a:pt x="100" y="57"/>
                    <a:pt x="108" y="57"/>
                  </a:cubicBezTo>
                  <a:cubicBezTo>
                    <a:pt x="116" y="57"/>
                    <a:pt x="122" y="57"/>
                    <a:pt x="130" y="57"/>
                  </a:cubicBezTo>
                  <a:cubicBezTo>
                    <a:pt x="139" y="57"/>
                    <a:pt x="147" y="63"/>
                    <a:pt x="136" y="65"/>
                  </a:cubicBezTo>
                  <a:cubicBezTo>
                    <a:pt x="125" y="66"/>
                    <a:pt x="121" y="70"/>
                    <a:pt x="115" y="74"/>
                  </a:cubicBezTo>
                  <a:cubicBezTo>
                    <a:pt x="108" y="79"/>
                    <a:pt x="108" y="83"/>
                    <a:pt x="102" y="83"/>
                  </a:cubicBezTo>
                  <a:cubicBezTo>
                    <a:pt x="96" y="83"/>
                    <a:pt x="88" y="83"/>
                    <a:pt x="87" y="86"/>
                  </a:cubicBezTo>
                  <a:cubicBezTo>
                    <a:pt x="86" y="90"/>
                    <a:pt x="84" y="90"/>
                    <a:pt x="79" y="90"/>
                  </a:cubicBezTo>
                  <a:cubicBezTo>
                    <a:pt x="73" y="90"/>
                    <a:pt x="69" y="83"/>
                    <a:pt x="64" y="83"/>
                  </a:cubicBezTo>
                  <a:cubicBezTo>
                    <a:pt x="58" y="82"/>
                    <a:pt x="60" y="78"/>
                    <a:pt x="54" y="78"/>
                  </a:cubicBezTo>
                  <a:cubicBezTo>
                    <a:pt x="49" y="78"/>
                    <a:pt x="47" y="78"/>
                    <a:pt x="39" y="81"/>
                  </a:cubicBezTo>
                  <a:cubicBezTo>
                    <a:pt x="39" y="81"/>
                    <a:pt x="34" y="84"/>
                    <a:pt x="33" y="79"/>
                  </a:cubicBezTo>
                  <a:cubicBezTo>
                    <a:pt x="32" y="74"/>
                    <a:pt x="28" y="73"/>
                    <a:pt x="26" y="73"/>
                  </a:cubicBezTo>
                  <a:cubicBezTo>
                    <a:pt x="24" y="73"/>
                    <a:pt x="14" y="82"/>
                    <a:pt x="20" y="86"/>
                  </a:cubicBezTo>
                  <a:cubicBezTo>
                    <a:pt x="26" y="90"/>
                    <a:pt x="27" y="91"/>
                    <a:pt x="25" y="96"/>
                  </a:cubicBezTo>
                  <a:cubicBezTo>
                    <a:pt x="24" y="101"/>
                    <a:pt x="28" y="105"/>
                    <a:pt x="19" y="106"/>
                  </a:cubicBezTo>
                  <a:cubicBezTo>
                    <a:pt x="11" y="107"/>
                    <a:pt x="8" y="111"/>
                    <a:pt x="8" y="115"/>
                  </a:cubicBezTo>
                  <a:cubicBezTo>
                    <a:pt x="8" y="119"/>
                    <a:pt x="7" y="122"/>
                    <a:pt x="17" y="122"/>
                  </a:cubicBezTo>
                  <a:cubicBezTo>
                    <a:pt x="27" y="122"/>
                    <a:pt x="30" y="123"/>
                    <a:pt x="31" y="128"/>
                  </a:cubicBezTo>
                  <a:cubicBezTo>
                    <a:pt x="32" y="132"/>
                    <a:pt x="30" y="137"/>
                    <a:pt x="25" y="141"/>
                  </a:cubicBezTo>
                  <a:cubicBezTo>
                    <a:pt x="21" y="144"/>
                    <a:pt x="0" y="158"/>
                    <a:pt x="7" y="164"/>
                  </a:cubicBezTo>
                  <a:cubicBezTo>
                    <a:pt x="13" y="171"/>
                    <a:pt x="20" y="169"/>
                    <a:pt x="26" y="173"/>
                  </a:cubicBezTo>
                  <a:cubicBezTo>
                    <a:pt x="32" y="177"/>
                    <a:pt x="35" y="174"/>
                    <a:pt x="42" y="174"/>
                  </a:cubicBezTo>
                  <a:cubicBezTo>
                    <a:pt x="49" y="174"/>
                    <a:pt x="53" y="168"/>
                    <a:pt x="54" y="179"/>
                  </a:cubicBezTo>
                  <a:cubicBezTo>
                    <a:pt x="56" y="190"/>
                    <a:pt x="52" y="205"/>
                    <a:pt x="49" y="211"/>
                  </a:cubicBezTo>
                  <a:cubicBezTo>
                    <a:pt x="45" y="217"/>
                    <a:pt x="44" y="225"/>
                    <a:pt x="37" y="229"/>
                  </a:cubicBezTo>
                  <a:cubicBezTo>
                    <a:pt x="29" y="232"/>
                    <a:pt x="26" y="239"/>
                    <a:pt x="30" y="241"/>
                  </a:cubicBezTo>
                  <a:cubicBezTo>
                    <a:pt x="33" y="242"/>
                    <a:pt x="34" y="252"/>
                    <a:pt x="33" y="254"/>
                  </a:cubicBezTo>
                  <a:cubicBezTo>
                    <a:pt x="33" y="256"/>
                    <a:pt x="21" y="252"/>
                    <a:pt x="16" y="254"/>
                  </a:cubicBezTo>
                  <a:cubicBezTo>
                    <a:pt x="10" y="256"/>
                    <a:pt x="2" y="267"/>
                    <a:pt x="2" y="272"/>
                  </a:cubicBezTo>
                  <a:cubicBezTo>
                    <a:pt x="2" y="276"/>
                    <a:pt x="8" y="280"/>
                    <a:pt x="5" y="285"/>
                  </a:cubicBezTo>
                  <a:cubicBezTo>
                    <a:pt x="2" y="290"/>
                    <a:pt x="2" y="299"/>
                    <a:pt x="7" y="301"/>
                  </a:cubicBezTo>
                  <a:cubicBezTo>
                    <a:pt x="13" y="303"/>
                    <a:pt x="25" y="302"/>
                    <a:pt x="26" y="308"/>
                  </a:cubicBezTo>
                  <a:cubicBezTo>
                    <a:pt x="28" y="313"/>
                    <a:pt x="30" y="317"/>
                    <a:pt x="39" y="320"/>
                  </a:cubicBezTo>
                  <a:cubicBezTo>
                    <a:pt x="48" y="323"/>
                    <a:pt x="57" y="318"/>
                    <a:pt x="58" y="324"/>
                  </a:cubicBezTo>
                  <a:cubicBezTo>
                    <a:pt x="59" y="331"/>
                    <a:pt x="64" y="329"/>
                    <a:pt x="69" y="329"/>
                  </a:cubicBezTo>
                  <a:cubicBezTo>
                    <a:pt x="75" y="329"/>
                    <a:pt x="80" y="331"/>
                    <a:pt x="82" y="328"/>
                  </a:cubicBezTo>
                  <a:cubicBezTo>
                    <a:pt x="83" y="325"/>
                    <a:pt x="81" y="321"/>
                    <a:pt x="91" y="321"/>
                  </a:cubicBezTo>
                  <a:cubicBezTo>
                    <a:pt x="101" y="321"/>
                    <a:pt x="107" y="321"/>
                    <a:pt x="109" y="317"/>
                  </a:cubicBezTo>
                  <a:cubicBezTo>
                    <a:pt x="110" y="313"/>
                    <a:pt x="121" y="315"/>
                    <a:pt x="124" y="309"/>
                  </a:cubicBezTo>
                  <a:cubicBezTo>
                    <a:pt x="126" y="303"/>
                    <a:pt x="133" y="301"/>
                    <a:pt x="140" y="302"/>
                  </a:cubicBezTo>
                  <a:cubicBezTo>
                    <a:pt x="147" y="303"/>
                    <a:pt x="150" y="308"/>
                    <a:pt x="152" y="301"/>
                  </a:cubicBezTo>
                  <a:cubicBezTo>
                    <a:pt x="155" y="294"/>
                    <a:pt x="164" y="289"/>
                    <a:pt x="170" y="289"/>
                  </a:cubicBezTo>
                  <a:cubicBezTo>
                    <a:pt x="176" y="289"/>
                    <a:pt x="181" y="293"/>
                    <a:pt x="183" y="298"/>
                  </a:cubicBezTo>
                  <a:cubicBezTo>
                    <a:pt x="185" y="303"/>
                    <a:pt x="192" y="307"/>
                    <a:pt x="192" y="299"/>
                  </a:cubicBezTo>
                  <a:cubicBezTo>
                    <a:pt x="192" y="292"/>
                    <a:pt x="187" y="280"/>
                    <a:pt x="194" y="278"/>
                  </a:cubicBezTo>
                  <a:cubicBezTo>
                    <a:pt x="201" y="276"/>
                    <a:pt x="206" y="270"/>
                    <a:pt x="212" y="273"/>
                  </a:cubicBezTo>
                  <a:cubicBezTo>
                    <a:pt x="218" y="275"/>
                    <a:pt x="228" y="273"/>
                    <a:pt x="237" y="273"/>
                  </a:cubicBezTo>
                  <a:cubicBezTo>
                    <a:pt x="246" y="273"/>
                    <a:pt x="261" y="278"/>
                    <a:pt x="258" y="265"/>
                  </a:cubicBezTo>
                  <a:cubicBezTo>
                    <a:pt x="256" y="253"/>
                    <a:pt x="256" y="251"/>
                    <a:pt x="261" y="248"/>
                  </a:cubicBezTo>
                  <a:cubicBezTo>
                    <a:pt x="266" y="246"/>
                    <a:pt x="261" y="240"/>
                    <a:pt x="266" y="235"/>
                  </a:cubicBezTo>
                  <a:cubicBezTo>
                    <a:pt x="272" y="231"/>
                    <a:pt x="273" y="228"/>
                    <a:pt x="274" y="221"/>
                  </a:cubicBezTo>
                  <a:cubicBezTo>
                    <a:pt x="275" y="214"/>
                    <a:pt x="280" y="214"/>
                    <a:pt x="281" y="204"/>
                  </a:cubicBezTo>
                  <a:cubicBezTo>
                    <a:pt x="282" y="194"/>
                    <a:pt x="288" y="189"/>
                    <a:pt x="280" y="183"/>
                  </a:cubicBezTo>
                  <a:cubicBezTo>
                    <a:pt x="272" y="177"/>
                    <a:pt x="272" y="176"/>
                    <a:pt x="273" y="167"/>
                  </a:cubicBezTo>
                  <a:cubicBezTo>
                    <a:pt x="273" y="158"/>
                    <a:pt x="276" y="148"/>
                    <a:pt x="273" y="142"/>
                  </a:cubicBezTo>
                  <a:cubicBezTo>
                    <a:pt x="269" y="136"/>
                    <a:pt x="264" y="143"/>
                    <a:pt x="263" y="134"/>
                  </a:cubicBezTo>
                  <a:cubicBezTo>
                    <a:pt x="263" y="125"/>
                    <a:pt x="259" y="107"/>
                    <a:pt x="265" y="104"/>
                  </a:cubicBezTo>
                  <a:cubicBezTo>
                    <a:pt x="259" y="98"/>
                    <a:pt x="254" y="101"/>
                    <a:pt x="251" y="108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171" name="Freeform 25236"/>
            <p:cNvSpPr>
              <a:spLocks/>
            </p:cNvSpPr>
            <p:nvPr/>
          </p:nvSpPr>
          <p:spPr bwMode="auto">
            <a:xfrm>
              <a:off x="4623927" y="2932775"/>
              <a:ext cx="7418" cy="6313"/>
            </a:xfrm>
            <a:custGeom>
              <a:avLst/>
              <a:gdLst>
                <a:gd name="T0" fmla="*/ 16 w 20"/>
                <a:gd name="T1" fmla="*/ 8 h 17"/>
                <a:gd name="T2" fmla="*/ 12 w 20"/>
                <a:gd name="T3" fmla="*/ 6 h 17"/>
                <a:gd name="T4" fmla="*/ 8 w 20"/>
                <a:gd name="T5" fmla="*/ 2 h 17"/>
                <a:gd name="T6" fmla="*/ 1 w 20"/>
                <a:gd name="T7" fmla="*/ 5 h 17"/>
                <a:gd name="T8" fmla="*/ 8 w 20"/>
                <a:gd name="T9" fmla="*/ 12 h 17"/>
                <a:gd name="T10" fmla="*/ 14 w 20"/>
                <a:gd name="T11" fmla="*/ 16 h 17"/>
                <a:gd name="T12" fmla="*/ 16 w 20"/>
                <a:gd name="T13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17">
                  <a:moveTo>
                    <a:pt x="16" y="8"/>
                  </a:moveTo>
                  <a:cubicBezTo>
                    <a:pt x="16" y="8"/>
                    <a:pt x="13" y="9"/>
                    <a:pt x="12" y="6"/>
                  </a:cubicBezTo>
                  <a:cubicBezTo>
                    <a:pt x="11" y="4"/>
                    <a:pt x="10" y="3"/>
                    <a:pt x="8" y="2"/>
                  </a:cubicBezTo>
                  <a:cubicBezTo>
                    <a:pt x="6" y="0"/>
                    <a:pt x="0" y="1"/>
                    <a:pt x="1" y="5"/>
                  </a:cubicBezTo>
                  <a:cubicBezTo>
                    <a:pt x="3" y="8"/>
                    <a:pt x="8" y="8"/>
                    <a:pt x="8" y="12"/>
                  </a:cubicBezTo>
                  <a:cubicBezTo>
                    <a:pt x="8" y="15"/>
                    <a:pt x="10" y="17"/>
                    <a:pt x="14" y="16"/>
                  </a:cubicBezTo>
                  <a:cubicBezTo>
                    <a:pt x="18" y="16"/>
                    <a:pt x="20" y="9"/>
                    <a:pt x="16" y="8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172" name="Freeform 25237"/>
            <p:cNvSpPr>
              <a:spLocks/>
            </p:cNvSpPr>
            <p:nvPr/>
          </p:nvSpPr>
          <p:spPr bwMode="auto">
            <a:xfrm>
              <a:off x="2558196" y="1115159"/>
              <a:ext cx="1444023" cy="1083373"/>
            </a:xfrm>
            <a:custGeom>
              <a:avLst/>
              <a:gdLst>
                <a:gd name="T0" fmla="*/ 522 w 3873"/>
                <a:gd name="T1" fmla="*/ 637 h 2905"/>
                <a:gd name="T2" fmla="*/ 86 w 3873"/>
                <a:gd name="T3" fmla="*/ 754 h 2905"/>
                <a:gd name="T4" fmla="*/ 118 w 3873"/>
                <a:gd name="T5" fmla="*/ 881 h 2905"/>
                <a:gd name="T6" fmla="*/ 402 w 3873"/>
                <a:gd name="T7" fmla="*/ 892 h 2905"/>
                <a:gd name="T8" fmla="*/ 134 w 3873"/>
                <a:gd name="T9" fmla="*/ 957 h 2905"/>
                <a:gd name="T10" fmla="*/ 271 w 3873"/>
                <a:gd name="T11" fmla="*/ 1038 h 2905"/>
                <a:gd name="T12" fmla="*/ 445 w 3873"/>
                <a:gd name="T13" fmla="*/ 1081 h 2905"/>
                <a:gd name="T14" fmla="*/ 755 w 3873"/>
                <a:gd name="T15" fmla="*/ 1091 h 2905"/>
                <a:gd name="T16" fmla="*/ 996 w 3873"/>
                <a:gd name="T17" fmla="*/ 1256 h 2905"/>
                <a:gd name="T18" fmla="*/ 1096 w 3873"/>
                <a:gd name="T19" fmla="*/ 1383 h 2905"/>
                <a:gd name="T20" fmla="*/ 1151 w 3873"/>
                <a:gd name="T21" fmla="*/ 1521 h 2905"/>
                <a:gd name="T22" fmla="*/ 1104 w 3873"/>
                <a:gd name="T23" fmla="*/ 1660 h 2905"/>
                <a:gd name="T24" fmla="*/ 1292 w 3873"/>
                <a:gd name="T25" fmla="*/ 1674 h 2905"/>
                <a:gd name="T26" fmla="*/ 1403 w 3873"/>
                <a:gd name="T27" fmla="*/ 1789 h 2905"/>
                <a:gd name="T28" fmla="*/ 1343 w 3873"/>
                <a:gd name="T29" fmla="*/ 1845 h 2905"/>
                <a:gd name="T30" fmla="*/ 1417 w 3873"/>
                <a:gd name="T31" fmla="*/ 1909 h 2905"/>
                <a:gd name="T32" fmla="*/ 1281 w 3873"/>
                <a:gd name="T33" fmla="*/ 2017 h 2905"/>
                <a:gd name="T34" fmla="*/ 1320 w 3873"/>
                <a:gd name="T35" fmla="*/ 2060 h 2905"/>
                <a:gd name="T36" fmla="*/ 1349 w 3873"/>
                <a:gd name="T37" fmla="*/ 2106 h 2905"/>
                <a:gd name="T38" fmla="*/ 1273 w 3873"/>
                <a:gd name="T39" fmla="*/ 2332 h 2905"/>
                <a:gd name="T40" fmla="*/ 1387 w 3873"/>
                <a:gd name="T41" fmla="*/ 2454 h 2905"/>
                <a:gd name="T42" fmla="*/ 1572 w 3873"/>
                <a:gd name="T43" fmla="*/ 2764 h 2905"/>
                <a:gd name="T44" fmla="*/ 1813 w 3873"/>
                <a:gd name="T45" fmla="*/ 2882 h 2905"/>
                <a:gd name="T46" fmla="*/ 1939 w 3873"/>
                <a:gd name="T47" fmla="*/ 2779 h 2905"/>
                <a:gd name="T48" fmla="*/ 1992 w 3873"/>
                <a:gd name="T49" fmla="*/ 2598 h 2905"/>
                <a:gd name="T50" fmla="*/ 2069 w 3873"/>
                <a:gd name="T51" fmla="*/ 2422 h 2905"/>
                <a:gd name="T52" fmla="*/ 2207 w 3873"/>
                <a:gd name="T53" fmla="*/ 2311 h 2905"/>
                <a:gd name="T54" fmla="*/ 2309 w 3873"/>
                <a:gd name="T55" fmla="*/ 2297 h 2905"/>
                <a:gd name="T56" fmla="*/ 2607 w 3873"/>
                <a:gd name="T57" fmla="*/ 2045 h 2905"/>
                <a:gd name="T58" fmla="*/ 2892 w 3873"/>
                <a:gd name="T59" fmla="*/ 2013 h 2905"/>
                <a:gd name="T60" fmla="*/ 3063 w 3873"/>
                <a:gd name="T61" fmla="*/ 1813 h 2905"/>
                <a:gd name="T62" fmla="*/ 2992 w 3873"/>
                <a:gd name="T63" fmla="*/ 1729 h 2905"/>
                <a:gd name="T64" fmla="*/ 2993 w 3873"/>
                <a:gd name="T65" fmla="*/ 1716 h 2905"/>
                <a:gd name="T66" fmla="*/ 3226 w 3873"/>
                <a:gd name="T67" fmla="*/ 1796 h 2905"/>
                <a:gd name="T68" fmla="*/ 2985 w 3873"/>
                <a:gd name="T69" fmla="*/ 1558 h 2905"/>
                <a:gd name="T70" fmla="*/ 2913 w 3873"/>
                <a:gd name="T71" fmla="*/ 1453 h 2905"/>
                <a:gd name="T72" fmla="*/ 3289 w 3873"/>
                <a:gd name="T73" fmla="*/ 1440 h 2905"/>
                <a:gd name="T74" fmla="*/ 3325 w 3873"/>
                <a:gd name="T75" fmla="*/ 1357 h 2905"/>
                <a:gd name="T76" fmla="*/ 3334 w 3873"/>
                <a:gd name="T77" fmla="*/ 1201 h 2905"/>
                <a:gd name="T78" fmla="*/ 3278 w 3873"/>
                <a:gd name="T79" fmla="*/ 1024 h 2905"/>
                <a:gd name="T80" fmla="*/ 3465 w 3873"/>
                <a:gd name="T81" fmla="*/ 941 h 2905"/>
                <a:gd name="T82" fmla="*/ 3245 w 3873"/>
                <a:gd name="T83" fmla="*/ 878 h 2905"/>
                <a:gd name="T84" fmla="*/ 3522 w 3873"/>
                <a:gd name="T85" fmla="*/ 557 h 2905"/>
                <a:gd name="T86" fmla="*/ 3598 w 3873"/>
                <a:gd name="T87" fmla="*/ 501 h 2905"/>
                <a:gd name="T88" fmla="*/ 3767 w 3873"/>
                <a:gd name="T89" fmla="*/ 392 h 2905"/>
                <a:gd name="T90" fmla="*/ 3438 w 3873"/>
                <a:gd name="T91" fmla="*/ 339 h 2905"/>
                <a:gd name="T92" fmla="*/ 3169 w 3873"/>
                <a:gd name="T93" fmla="*/ 394 h 2905"/>
                <a:gd name="T94" fmla="*/ 3014 w 3873"/>
                <a:gd name="T95" fmla="*/ 304 h 2905"/>
                <a:gd name="T96" fmla="*/ 2862 w 3873"/>
                <a:gd name="T97" fmla="*/ 238 h 2905"/>
                <a:gd name="T98" fmla="*/ 3031 w 3873"/>
                <a:gd name="T99" fmla="*/ 80 h 2905"/>
                <a:gd name="T100" fmla="*/ 2510 w 3873"/>
                <a:gd name="T101" fmla="*/ 111 h 2905"/>
                <a:gd name="T102" fmla="*/ 2580 w 3873"/>
                <a:gd name="T103" fmla="*/ 6 h 2905"/>
                <a:gd name="T104" fmla="*/ 2181 w 3873"/>
                <a:gd name="T105" fmla="*/ 100 h 2905"/>
                <a:gd name="T106" fmla="*/ 2051 w 3873"/>
                <a:gd name="T107" fmla="*/ 84 h 2905"/>
                <a:gd name="T108" fmla="*/ 1769 w 3873"/>
                <a:gd name="T109" fmla="*/ 126 h 2905"/>
                <a:gd name="T110" fmla="*/ 1810 w 3873"/>
                <a:gd name="T111" fmla="*/ 144 h 2905"/>
                <a:gd name="T112" fmla="*/ 1765 w 3873"/>
                <a:gd name="T113" fmla="*/ 245 h 2905"/>
                <a:gd name="T114" fmla="*/ 1417 w 3873"/>
                <a:gd name="T115" fmla="*/ 212 h 2905"/>
                <a:gd name="T116" fmla="*/ 1262 w 3873"/>
                <a:gd name="T117" fmla="*/ 298 h 2905"/>
                <a:gd name="T118" fmla="*/ 885 w 3873"/>
                <a:gd name="T119" fmla="*/ 269 h 2905"/>
                <a:gd name="T120" fmla="*/ 763 w 3873"/>
                <a:gd name="T121" fmla="*/ 390 h 29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873" h="2905">
                  <a:moveTo>
                    <a:pt x="479" y="455"/>
                  </a:moveTo>
                  <a:cubicBezTo>
                    <a:pt x="479" y="455"/>
                    <a:pt x="419" y="474"/>
                    <a:pt x="408" y="478"/>
                  </a:cubicBezTo>
                  <a:cubicBezTo>
                    <a:pt x="398" y="483"/>
                    <a:pt x="402" y="502"/>
                    <a:pt x="376" y="504"/>
                  </a:cubicBezTo>
                  <a:cubicBezTo>
                    <a:pt x="350" y="506"/>
                    <a:pt x="344" y="526"/>
                    <a:pt x="374" y="541"/>
                  </a:cubicBezTo>
                  <a:cubicBezTo>
                    <a:pt x="404" y="556"/>
                    <a:pt x="404" y="564"/>
                    <a:pt x="415" y="556"/>
                  </a:cubicBezTo>
                  <a:cubicBezTo>
                    <a:pt x="426" y="547"/>
                    <a:pt x="439" y="543"/>
                    <a:pt x="443" y="551"/>
                  </a:cubicBezTo>
                  <a:cubicBezTo>
                    <a:pt x="447" y="560"/>
                    <a:pt x="471" y="571"/>
                    <a:pt x="473" y="562"/>
                  </a:cubicBezTo>
                  <a:cubicBezTo>
                    <a:pt x="475" y="554"/>
                    <a:pt x="477" y="556"/>
                    <a:pt x="497" y="554"/>
                  </a:cubicBezTo>
                  <a:cubicBezTo>
                    <a:pt x="516" y="551"/>
                    <a:pt x="565" y="528"/>
                    <a:pt x="565" y="536"/>
                  </a:cubicBezTo>
                  <a:cubicBezTo>
                    <a:pt x="565" y="545"/>
                    <a:pt x="563" y="549"/>
                    <a:pt x="544" y="556"/>
                  </a:cubicBezTo>
                  <a:cubicBezTo>
                    <a:pt x="525" y="562"/>
                    <a:pt x="516" y="564"/>
                    <a:pt x="518" y="577"/>
                  </a:cubicBezTo>
                  <a:cubicBezTo>
                    <a:pt x="520" y="590"/>
                    <a:pt x="514" y="607"/>
                    <a:pt x="520" y="614"/>
                  </a:cubicBezTo>
                  <a:cubicBezTo>
                    <a:pt x="527" y="620"/>
                    <a:pt x="535" y="631"/>
                    <a:pt x="522" y="637"/>
                  </a:cubicBezTo>
                  <a:cubicBezTo>
                    <a:pt x="510" y="644"/>
                    <a:pt x="490" y="655"/>
                    <a:pt x="484" y="665"/>
                  </a:cubicBezTo>
                  <a:cubicBezTo>
                    <a:pt x="477" y="676"/>
                    <a:pt x="475" y="685"/>
                    <a:pt x="454" y="685"/>
                  </a:cubicBezTo>
                  <a:cubicBezTo>
                    <a:pt x="432" y="685"/>
                    <a:pt x="428" y="678"/>
                    <a:pt x="411" y="683"/>
                  </a:cubicBezTo>
                  <a:cubicBezTo>
                    <a:pt x="393" y="687"/>
                    <a:pt x="355" y="685"/>
                    <a:pt x="348" y="690"/>
                  </a:cubicBezTo>
                  <a:cubicBezTo>
                    <a:pt x="342" y="695"/>
                    <a:pt x="341" y="700"/>
                    <a:pt x="326" y="698"/>
                  </a:cubicBezTo>
                  <a:cubicBezTo>
                    <a:pt x="311" y="695"/>
                    <a:pt x="286" y="693"/>
                    <a:pt x="283" y="701"/>
                  </a:cubicBezTo>
                  <a:cubicBezTo>
                    <a:pt x="279" y="708"/>
                    <a:pt x="258" y="701"/>
                    <a:pt x="257" y="708"/>
                  </a:cubicBezTo>
                  <a:cubicBezTo>
                    <a:pt x="256" y="716"/>
                    <a:pt x="258" y="729"/>
                    <a:pt x="236" y="729"/>
                  </a:cubicBezTo>
                  <a:cubicBezTo>
                    <a:pt x="215" y="729"/>
                    <a:pt x="197" y="731"/>
                    <a:pt x="195" y="734"/>
                  </a:cubicBezTo>
                  <a:cubicBezTo>
                    <a:pt x="192" y="737"/>
                    <a:pt x="179" y="738"/>
                    <a:pt x="166" y="743"/>
                  </a:cubicBezTo>
                  <a:cubicBezTo>
                    <a:pt x="152" y="747"/>
                    <a:pt x="146" y="751"/>
                    <a:pt x="133" y="755"/>
                  </a:cubicBezTo>
                  <a:cubicBezTo>
                    <a:pt x="120" y="758"/>
                    <a:pt x="117" y="743"/>
                    <a:pt x="107" y="746"/>
                  </a:cubicBezTo>
                  <a:cubicBezTo>
                    <a:pt x="98" y="749"/>
                    <a:pt x="95" y="761"/>
                    <a:pt x="86" y="754"/>
                  </a:cubicBezTo>
                  <a:cubicBezTo>
                    <a:pt x="77" y="746"/>
                    <a:pt x="66" y="752"/>
                    <a:pt x="59" y="757"/>
                  </a:cubicBezTo>
                  <a:cubicBezTo>
                    <a:pt x="53" y="761"/>
                    <a:pt x="47" y="775"/>
                    <a:pt x="33" y="777"/>
                  </a:cubicBezTo>
                  <a:cubicBezTo>
                    <a:pt x="19" y="779"/>
                    <a:pt x="18" y="786"/>
                    <a:pt x="18" y="792"/>
                  </a:cubicBezTo>
                  <a:cubicBezTo>
                    <a:pt x="18" y="799"/>
                    <a:pt x="19" y="803"/>
                    <a:pt x="14" y="809"/>
                  </a:cubicBezTo>
                  <a:cubicBezTo>
                    <a:pt x="9" y="816"/>
                    <a:pt x="0" y="823"/>
                    <a:pt x="15" y="829"/>
                  </a:cubicBezTo>
                  <a:cubicBezTo>
                    <a:pt x="30" y="834"/>
                    <a:pt x="32" y="842"/>
                    <a:pt x="32" y="845"/>
                  </a:cubicBezTo>
                  <a:cubicBezTo>
                    <a:pt x="32" y="848"/>
                    <a:pt x="34" y="866"/>
                    <a:pt x="42" y="866"/>
                  </a:cubicBezTo>
                  <a:cubicBezTo>
                    <a:pt x="49" y="866"/>
                    <a:pt x="54" y="864"/>
                    <a:pt x="49" y="860"/>
                  </a:cubicBezTo>
                  <a:cubicBezTo>
                    <a:pt x="45" y="856"/>
                    <a:pt x="34" y="845"/>
                    <a:pt x="40" y="845"/>
                  </a:cubicBezTo>
                  <a:cubicBezTo>
                    <a:pt x="45" y="845"/>
                    <a:pt x="53" y="840"/>
                    <a:pt x="57" y="847"/>
                  </a:cubicBezTo>
                  <a:cubicBezTo>
                    <a:pt x="61" y="855"/>
                    <a:pt x="62" y="858"/>
                    <a:pt x="75" y="859"/>
                  </a:cubicBezTo>
                  <a:cubicBezTo>
                    <a:pt x="88" y="860"/>
                    <a:pt x="97" y="861"/>
                    <a:pt x="100" y="865"/>
                  </a:cubicBezTo>
                  <a:cubicBezTo>
                    <a:pt x="103" y="870"/>
                    <a:pt x="111" y="883"/>
                    <a:pt x="118" y="881"/>
                  </a:cubicBezTo>
                  <a:cubicBezTo>
                    <a:pt x="126" y="880"/>
                    <a:pt x="126" y="875"/>
                    <a:pt x="135" y="875"/>
                  </a:cubicBezTo>
                  <a:cubicBezTo>
                    <a:pt x="145" y="875"/>
                    <a:pt x="156" y="871"/>
                    <a:pt x="157" y="877"/>
                  </a:cubicBezTo>
                  <a:cubicBezTo>
                    <a:pt x="158" y="884"/>
                    <a:pt x="160" y="891"/>
                    <a:pt x="171" y="892"/>
                  </a:cubicBezTo>
                  <a:cubicBezTo>
                    <a:pt x="182" y="893"/>
                    <a:pt x="183" y="900"/>
                    <a:pt x="185" y="903"/>
                  </a:cubicBezTo>
                  <a:cubicBezTo>
                    <a:pt x="187" y="906"/>
                    <a:pt x="197" y="910"/>
                    <a:pt x="207" y="919"/>
                  </a:cubicBezTo>
                  <a:cubicBezTo>
                    <a:pt x="218" y="928"/>
                    <a:pt x="225" y="927"/>
                    <a:pt x="233" y="922"/>
                  </a:cubicBezTo>
                  <a:cubicBezTo>
                    <a:pt x="242" y="918"/>
                    <a:pt x="247" y="918"/>
                    <a:pt x="259" y="918"/>
                  </a:cubicBezTo>
                  <a:cubicBezTo>
                    <a:pt x="271" y="918"/>
                    <a:pt x="281" y="920"/>
                    <a:pt x="279" y="914"/>
                  </a:cubicBezTo>
                  <a:cubicBezTo>
                    <a:pt x="278" y="907"/>
                    <a:pt x="282" y="904"/>
                    <a:pt x="292" y="910"/>
                  </a:cubicBezTo>
                  <a:cubicBezTo>
                    <a:pt x="303" y="917"/>
                    <a:pt x="321" y="917"/>
                    <a:pt x="331" y="916"/>
                  </a:cubicBezTo>
                  <a:cubicBezTo>
                    <a:pt x="341" y="915"/>
                    <a:pt x="348" y="916"/>
                    <a:pt x="353" y="909"/>
                  </a:cubicBezTo>
                  <a:cubicBezTo>
                    <a:pt x="357" y="903"/>
                    <a:pt x="381" y="908"/>
                    <a:pt x="382" y="902"/>
                  </a:cubicBezTo>
                  <a:cubicBezTo>
                    <a:pt x="383" y="895"/>
                    <a:pt x="391" y="892"/>
                    <a:pt x="402" y="892"/>
                  </a:cubicBezTo>
                  <a:cubicBezTo>
                    <a:pt x="413" y="892"/>
                    <a:pt x="417" y="898"/>
                    <a:pt x="424" y="899"/>
                  </a:cubicBezTo>
                  <a:cubicBezTo>
                    <a:pt x="430" y="900"/>
                    <a:pt x="440" y="901"/>
                    <a:pt x="441" y="907"/>
                  </a:cubicBezTo>
                  <a:cubicBezTo>
                    <a:pt x="442" y="914"/>
                    <a:pt x="441" y="918"/>
                    <a:pt x="430" y="918"/>
                  </a:cubicBezTo>
                  <a:cubicBezTo>
                    <a:pt x="419" y="918"/>
                    <a:pt x="414" y="920"/>
                    <a:pt x="415" y="924"/>
                  </a:cubicBezTo>
                  <a:cubicBezTo>
                    <a:pt x="416" y="929"/>
                    <a:pt x="413" y="937"/>
                    <a:pt x="400" y="931"/>
                  </a:cubicBezTo>
                  <a:cubicBezTo>
                    <a:pt x="387" y="924"/>
                    <a:pt x="365" y="929"/>
                    <a:pt x="353" y="929"/>
                  </a:cubicBezTo>
                  <a:cubicBezTo>
                    <a:pt x="340" y="929"/>
                    <a:pt x="289" y="926"/>
                    <a:pt x="287" y="929"/>
                  </a:cubicBezTo>
                  <a:cubicBezTo>
                    <a:pt x="285" y="932"/>
                    <a:pt x="283" y="933"/>
                    <a:pt x="272" y="934"/>
                  </a:cubicBezTo>
                  <a:cubicBezTo>
                    <a:pt x="261" y="935"/>
                    <a:pt x="258" y="942"/>
                    <a:pt x="255" y="945"/>
                  </a:cubicBezTo>
                  <a:cubicBezTo>
                    <a:pt x="252" y="948"/>
                    <a:pt x="225" y="956"/>
                    <a:pt x="206" y="952"/>
                  </a:cubicBezTo>
                  <a:cubicBezTo>
                    <a:pt x="188" y="949"/>
                    <a:pt x="198" y="941"/>
                    <a:pt x="184" y="944"/>
                  </a:cubicBezTo>
                  <a:cubicBezTo>
                    <a:pt x="170" y="947"/>
                    <a:pt x="193" y="951"/>
                    <a:pt x="157" y="951"/>
                  </a:cubicBezTo>
                  <a:cubicBezTo>
                    <a:pt x="120" y="951"/>
                    <a:pt x="142" y="949"/>
                    <a:pt x="134" y="957"/>
                  </a:cubicBezTo>
                  <a:cubicBezTo>
                    <a:pt x="127" y="964"/>
                    <a:pt x="117" y="963"/>
                    <a:pt x="111" y="972"/>
                  </a:cubicBezTo>
                  <a:cubicBezTo>
                    <a:pt x="104" y="980"/>
                    <a:pt x="101" y="983"/>
                    <a:pt x="117" y="988"/>
                  </a:cubicBezTo>
                  <a:cubicBezTo>
                    <a:pt x="133" y="993"/>
                    <a:pt x="135" y="998"/>
                    <a:pt x="143" y="1006"/>
                  </a:cubicBezTo>
                  <a:cubicBezTo>
                    <a:pt x="150" y="1015"/>
                    <a:pt x="161" y="1013"/>
                    <a:pt x="167" y="1010"/>
                  </a:cubicBezTo>
                  <a:cubicBezTo>
                    <a:pt x="172" y="1008"/>
                    <a:pt x="181" y="1003"/>
                    <a:pt x="184" y="1002"/>
                  </a:cubicBezTo>
                  <a:cubicBezTo>
                    <a:pt x="187" y="1001"/>
                    <a:pt x="195" y="1007"/>
                    <a:pt x="198" y="1014"/>
                  </a:cubicBezTo>
                  <a:cubicBezTo>
                    <a:pt x="201" y="1020"/>
                    <a:pt x="209" y="1020"/>
                    <a:pt x="215" y="1020"/>
                  </a:cubicBezTo>
                  <a:cubicBezTo>
                    <a:pt x="221" y="1020"/>
                    <a:pt x="236" y="1027"/>
                    <a:pt x="244" y="1027"/>
                  </a:cubicBezTo>
                  <a:cubicBezTo>
                    <a:pt x="252" y="1027"/>
                    <a:pt x="262" y="1028"/>
                    <a:pt x="269" y="1028"/>
                  </a:cubicBezTo>
                  <a:cubicBezTo>
                    <a:pt x="275" y="1028"/>
                    <a:pt x="287" y="1030"/>
                    <a:pt x="291" y="1027"/>
                  </a:cubicBezTo>
                  <a:cubicBezTo>
                    <a:pt x="296" y="1023"/>
                    <a:pt x="312" y="1021"/>
                    <a:pt x="318" y="1022"/>
                  </a:cubicBezTo>
                  <a:cubicBezTo>
                    <a:pt x="325" y="1023"/>
                    <a:pt x="317" y="1033"/>
                    <a:pt x="305" y="1035"/>
                  </a:cubicBezTo>
                  <a:cubicBezTo>
                    <a:pt x="293" y="1037"/>
                    <a:pt x="283" y="1033"/>
                    <a:pt x="271" y="1038"/>
                  </a:cubicBezTo>
                  <a:cubicBezTo>
                    <a:pt x="259" y="1044"/>
                    <a:pt x="257" y="1047"/>
                    <a:pt x="245" y="1050"/>
                  </a:cubicBezTo>
                  <a:cubicBezTo>
                    <a:pt x="233" y="1053"/>
                    <a:pt x="218" y="1060"/>
                    <a:pt x="226" y="1066"/>
                  </a:cubicBezTo>
                  <a:cubicBezTo>
                    <a:pt x="233" y="1073"/>
                    <a:pt x="248" y="1073"/>
                    <a:pt x="259" y="1080"/>
                  </a:cubicBezTo>
                  <a:cubicBezTo>
                    <a:pt x="270" y="1088"/>
                    <a:pt x="288" y="1095"/>
                    <a:pt x="297" y="1098"/>
                  </a:cubicBezTo>
                  <a:cubicBezTo>
                    <a:pt x="305" y="1100"/>
                    <a:pt x="324" y="1106"/>
                    <a:pt x="332" y="1110"/>
                  </a:cubicBezTo>
                  <a:cubicBezTo>
                    <a:pt x="341" y="1115"/>
                    <a:pt x="354" y="1116"/>
                    <a:pt x="370" y="1116"/>
                  </a:cubicBezTo>
                  <a:cubicBezTo>
                    <a:pt x="386" y="1116"/>
                    <a:pt x="408" y="1128"/>
                    <a:pt x="407" y="1121"/>
                  </a:cubicBezTo>
                  <a:cubicBezTo>
                    <a:pt x="406" y="1115"/>
                    <a:pt x="401" y="1109"/>
                    <a:pt x="393" y="1106"/>
                  </a:cubicBezTo>
                  <a:cubicBezTo>
                    <a:pt x="386" y="1103"/>
                    <a:pt x="369" y="1098"/>
                    <a:pt x="374" y="1090"/>
                  </a:cubicBezTo>
                  <a:cubicBezTo>
                    <a:pt x="379" y="1082"/>
                    <a:pt x="386" y="1074"/>
                    <a:pt x="393" y="1082"/>
                  </a:cubicBezTo>
                  <a:cubicBezTo>
                    <a:pt x="401" y="1091"/>
                    <a:pt x="403" y="1099"/>
                    <a:pt x="413" y="1099"/>
                  </a:cubicBezTo>
                  <a:cubicBezTo>
                    <a:pt x="422" y="1099"/>
                    <a:pt x="430" y="1105"/>
                    <a:pt x="430" y="1096"/>
                  </a:cubicBezTo>
                  <a:cubicBezTo>
                    <a:pt x="430" y="1088"/>
                    <a:pt x="432" y="1081"/>
                    <a:pt x="445" y="1081"/>
                  </a:cubicBezTo>
                  <a:cubicBezTo>
                    <a:pt x="458" y="1081"/>
                    <a:pt x="472" y="1075"/>
                    <a:pt x="468" y="1085"/>
                  </a:cubicBezTo>
                  <a:cubicBezTo>
                    <a:pt x="463" y="1094"/>
                    <a:pt x="465" y="1105"/>
                    <a:pt x="471" y="1108"/>
                  </a:cubicBezTo>
                  <a:cubicBezTo>
                    <a:pt x="476" y="1112"/>
                    <a:pt x="489" y="1115"/>
                    <a:pt x="490" y="1107"/>
                  </a:cubicBezTo>
                  <a:cubicBezTo>
                    <a:pt x="491" y="1100"/>
                    <a:pt x="492" y="1096"/>
                    <a:pt x="500" y="1096"/>
                  </a:cubicBezTo>
                  <a:cubicBezTo>
                    <a:pt x="507" y="1096"/>
                    <a:pt x="540" y="1101"/>
                    <a:pt x="542" y="1092"/>
                  </a:cubicBezTo>
                  <a:cubicBezTo>
                    <a:pt x="544" y="1084"/>
                    <a:pt x="546" y="1077"/>
                    <a:pt x="554" y="1078"/>
                  </a:cubicBezTo>
                  <a:cubicBezTo>
                    <a:pt x="561" y="1079"/>
                    <a:pt x="563" y="1081"/>
                    <a:pt x="563" y="1088"/>
                  </a:cubicBezTo>
                  <a:cubicBezTo>
                    <a:pt x="563" y="1094"/>
                    <a:pt x="575" y="1096"/>
                    <a:pt x="579" y="1096"/>
                  </a:cubicBezTo>
                  <a:cubicBezTo>
                    <a:pt x="584" y="1096"/>
                    <a:pt x="598" y="1093"/>
                    <a:pt x="601" y="1086"/>
                  </a:cubicBezTo>
                  <a:cubicBezTo>
                    <a:pt x="604" y="1078"/>
                    <a:pt x="618" y="1069"/>
                    <a:pt x="631" y="1069"/>
                  </a:cubicBezTo>
                  <a:cubicBezTo>
                    <a:pt x="644" y="1069"/>
                    <a:pt x="652" y="1085"/>
                    <a:pt x="670" y="1082"/>
                  </a:cubicBezTo>
                  <a:cubicBezTo>
                    <a:pt x="687" y="1080"/>
                    <a:pt x="702" y="1076"/>
                    <a:pt x="704" y="1084"/>
                  </a:cubicBezTo>
                  <a:cubicBezTo>
                    <a:pt x="706" y="1091"/>
                    <a:pt x="740" y="1089"/>
                    <a:pt x="755" y="1091"/>
                  </a:cubicBezTo>
                  <a:cubicBezTo>
                    <a:pt x="770" y="1093"/>
                    <a:pt x="777" y="1103"/>
                    <a:pt x="777" y="1110"/>
                  </a:cubicBezTo>
                  <a:cubicBezTo>
                    <a:pt x="777" y="1118"/>
                    <a:pt x="800" y="1118"/>
                    <a:pt x="816" y="1115"/>
                  </a:cubicBezTo>
                  <a:cubicBezTo>
                    <a:pt x="832" y="1112"/>
                    <a:pt x="837" y="1106"/>
                    <a:pt x="840" y="1123"/>
                  </a:cubicBezTo>
                  <a:cubicBezTo>
                    <a:pt x="842" y="1141"/>
                    <a:pt x="852" y="1145"/>
                    <a:pt x="863" y="1138"/>
                  </a:cubicBezTo>
                  <a:cubicBezTo>
                    <a:pt x="874" y="1132"/>
                    <a:pt x="884" y="1139"/>
                    <a:pt x="884" y="1144"/>
                  </a:cubicBezTo>
                  <a:cubicBezTo>
                    <a:pt x="884" y="1148"/>
                    <a:pt x="889" y="1157"/>
                    <a:pt x="903" y="1155"/>
                  </a:cubicBezTo>
                  <a:cubicBezTo>
                    <a:pt x="917" y="1152"/>
                    <a:pt x="933" y="1148"/>
                    <a:pt x="936" y="1159"/>
                  </a:cubicBezTo>
                  <a:cubicBezTo>
                    <a:pt x="940" y="1170"/>
                    <a:pt x="949" y="1184"/>
                    <a:pt x="936" y="1187"/>
                  </a:cubicBezTo>
                  <a:cubicBezTo>
                    <a:pt x="923" y="1190"/>
                    <a:pt x="913" y="1190"/>
                    <a:pt x="908" y="1192"/>
                  </a:cubicBezTo>
                  <a:cubicBezTo>
                    <a:pt x="904" y="1194"/>
                    <a:pt x="910" y="1199"/>
                    <a:pt x="919" y="1201"/>
                  </a:cubicBezTo>
                  <a:cubicBezTo>
                    <a:pt x="928" y="1203"/>
                    <a:pt x="935" y="1202"/>
                    <a:pt x="943" y="1214"/>
                  </a:cubicBezTo>
                  <a:cubicBezTo>
                    <a:pt x="950" y="1225"/>
                    <a:pt x="950" y="1236"/>
                    <a:pt x="966" y="1239"/>
                  </a:cubicBezTo>
                  <a:cubicBezTo>
                    <a:pt x="983" y="1243"/>
                    <a:pt x="984" y="1256"/>
                    <a:pt x="996" y="1256"/>
                  </a:cubicBezTo>
                  <a:cubicBezTo>
                    <a:pt x="1009" y="1256"/>
                    <a:pt x="1018" y="1260"/>
                    <a:pt x="1019" y="1268"/>
                  </a:cubicBezTo>
                  <a:cubicBezTo>
                    <a:pt x="1020" y="1277"/>
                    <a:pt x="1008" y="1282"/>
                    <a:pt x="1028" y="1285"/>
                  </a:cubicBezTo>
                  <a:cubicBezTo>
                    <a:pt x="1047" y="1287"/>
                    <a:pt x="1044" y="1292"/>
                    <a:pt x="1043" y="1299"/>
                  </a:cubicBezTo>
                  <a:cubicBezTo>
                    <a:pt x="1042" y="1305"/>
                    <a:pt x="1023" y="1299"/>
                    <a:pt x="1012" y="1299"/>
                  </a:cubicBezTo>
                  <a:cubicBezTo>
                    <a:pt x="1000" y="1299"/>
                    <a:pt x="991" y="1308"/>
                    <a:pt x="1006" y="1311"/>
                  </a:cubicBezTo>
                  <a:cubicBezTo>
                    <a:pt x="1021" y="1315"/>
                    <a:pt x="1041" y="1313"/>
                    <a:pt x="1048" y="1319"/>
                  </a:cubicBezTo>
                  <a:cubicBezTo>
                    <a:pt x="1056" y="1325"/>
                    <a:pt x="1059" y="1334"/>
                    <a:pt x="1046" y="1337"/>
                  </a:cubicBezTo>
                  <a:cubicBezTo>
                    <a:pt x="1033" y="1340"/>
                    <a:pt x="1033" y="1344"/>
                    <a:pt x="1022" y="1346"/>
                  </a:cubicBezTo>
                  <a:cubicBezTo>
                    <a:pt x="1012" y="1348"/>
                    <a:pt x="1000" y="1359"/>
                    <a:pt x="1021" y="1358"/>
                  </a:cubicBezTo>
                  <a:cubicBezTo>
                    <a:pt x="1043" y="1357"/>
                    <a:pt x="1039" y="1354"/>
                    <a:pt x="1047" y="1350"/>
                  </a:cubicBezTo>
                  <a:cubicBezTo>
                    <a:pt x="1055" y="1346"/>
                    <a:pt x="1070" y="1336"/>
                    <a:pt x="1070" y="1347"/>
                  </a:cubicBezTo>
                  <a:cubicBezTo>
                    <a:pt x="1070" y="1358"/>
                    <a:pt x="1065" y="1367"/>
                    <a:pt x="1079" y="1367"/>
                  </a:cubicBezTo>
                  <a:cubicBezTo>
                    <a:pt x="1093" y="1367"/>
                    <a:pt x="1094" y="1374"/>
                    <a:pt x="1096" y="1383"/>
                  </a:cubicBezTo>
                  <a:cubicBezTo>
                    <a:pt x="1099" y="1393"/>
                    <a:pt x="1094" y="1392"/>
                    <a:pt x="1093" y="1401"/>
                  </a:cubicBezTo>
                  <a:cubicBezTo>
                    <a:pt x="1092" y="1409"/>
                    <a:pt x="1077" y="1409"/>
                    <a:pt x="1082" y="1415"/>
                  </a:cubicBezTo>
                  <a:cubicBezTo>
                    <a:pt x="1088" y="1420"/>
                    <a:pt x="1105" y="1452"/>
                    <a:pt x="1110" y="1444"/>
                  </a:cubicBezTo>
                  <a:cubicBezTo>
                    <a:pt x="1116" y="1435"/>
                    <a:pt x="1127" y="1434"/>
                    <a:pt x="1127" y="1444"/>
                  </a:cubicBezTo>
                  <a:cubicBezTo>
                    <a:pt x="1127" y="1453"/>
                    <a:pt x="1134" y="1462"/>
                    <a:pt x="1122" y="1465"/>
                  </a:cubicBezTo>
                  <a:cubicBezTo>
                    <a:pt x="1110" y="1468"/>
                    <a:pt x="1110" y="1477"/>
                    <a:pt x="1121" y="1485"/>
                  </a:cubicBezTo>
                  <a:cubicBezTo>
                    <a:pt x="1132" y="1492"/>
                    <a:pt x="1141" y="1503"/>
                    <a:pt x="1145" y="1490"/>
                  </a:cubicBezTo>
                  <a:cubicBezTo>
                    <a:pt x="1149" y="1477"/>
                    <a:pt x="1159" y="1481"/>
                    <a:pt x="1160" y="1492"/>
                  </a:cubicBezTo>
                  <a:cubicBezTo>
                    <a:pt x="1161" y="1503"/>
                    <a:pt x="1168" y="1517"/>
                    <a:pt x="1168" y="1523"/>
                  </a:cubicBezTo>
                  <a:cubicBezTo>
                    <a:pt x="1168" y="1530"/>
                    <a:pt x="1146" y="1539"/>
                    <a:pt x="1147" y="1547"/>
                  </a:cubicBezTo>
                  <a:cubicBezTo>
                    <a:pt x="1148" y="1554"/>
                    <a:pt x="1137" y="1559"/>
                    <a:pt x="1132" y="1559"/>
                  </a:cubicBezTo>
                  <a:cubicBezTo>
                    <a:pt x="1127" y="1559"/>
                    <a:pt x="1127" y="1544"/>
                    <a:pt x="1135" y="1535"/>
                  </a:cubicBezTo>
                  <a:cubicBezTo>
                    <a:pt x="1144" y="1526"/>
                    <a:pt x="1150" y="1524"/>
                    <a:pt x="1151" y="1521"/>
                  </a:cubicBezTo>
                  <a:cubicBezTo>
                    <a:pt x="1152" y="1518"/>
                    <a:pt x="1152" y="1510"/>
                    <a:pt x="1144" y="1510"/>
                  </a:cubicBezTo>
                  <a:cubicBezTo>
                    <a:pt x="1135" y="1510"/>
                    <a:pt x="1129" y="1511"/>
                    <a:pt x="1120" y="1517"/>
                  </a:cubicBezTo>
                  <a:cubicBezTo>
                    <a:pt x="1112" y="1522"/>
                    <a:pt x="1099" y="1519"/>
                    <a:pt x="1089" y="1520"/>
                  </a:cubicBezTo>
                  <a:cubicBezTo>
                    <a:pt x="1079" y="1521"/>
                    <a:pt x="1077" y="1534"/>
                    <a:pt x="1091" y="1535"/>
                  </a:cubicBezTo>
                  <a:cubicBezTo>
                    <a:pt x="1105" y="1536"/>
                    <a:pt x="1118" y="1543"/>
                    <a:pt x="1118" y="1548"/>
                  </a:cubicBezTo>
                  <a:cubicBezTo>
                    <a:pt x="1118" y="1553"/>
                    <a:pt x="1114" y="1561"/>
                    <a:pt x="1118" y="1564"/>
                  </a:cubicBezTo>
                  <a:cubicBezTo>
                    <a:pt x="1122" y="1567"/>
                    <a:pt x="1115" y="1576"/>
                    <a:pt x="1108" y="1578"/>
                  </a:cubicBezTo>
                  <a:cubicBezTo>
                    <a:pt x="1102" y="1580"/>
                    <a:pt x="1100" y="1591"/>
                    <a:pt x="1112" y="1592"/>
                  </a:cubicBezTo>
                  <a:cubicBezTo>
                    <a:pt x="1123" y="1593"/>
                    <a:pt x="1134" y="1591"/>
                    <a:pt x="1134" y="1598"/>
                  </a:cubicBezTo>
                  <a:cubicBezTo>
                    <a:pt x="1134" y="1606"/>
                    <a:pt x="1128" y="1606"/>
                    <a:pt x="1124" y="1611"/>
                  </a:cubicBezTo>
                  <a:cubicBezTo>
                    <a:pt x="1121" y="1617"/>
                    <a:pt x="1102" y="1616"/>
                    <a:pt x="1103" y="1623"/>
                  </a:cubicBezTo>
                  <a:cubicBezTo>
                    <a:pt x="1104" y="1631"/>
                    <a:pt x="1109" y="1641"/>
                    <a:pt x="1101" y="1644"/>
                  </a:cubicBezTo>
                  <a:cubicBezTo>
                    <a:pt x="1092" y="1646"/>
                    <a:pt x="1092" y="1650"/>
                    <a:pt x="1104" y="1660"/>
                  </a:cubicBezTo>
                  <a:cubicBezTo>
                    <a:pt x="1116" y="1669"/>
                    <a:pt x="1123" y="1693"/>
                    <a:pt x="1130" y="1684"/>
                  </a:cubicBezTo>
                  <a:cubicBezTo>
                    <a:pt x="1136" y="1676"/>
                    <a:pt x="1156" y="1684"/>
                    <a:pt x="1163" y="1692"/>
                  </a:cubicBezTo>
                  <a:cubicBezTo>
                    <a:pt x="1171" y="1700"/>
                    <a:pt x="1185" y="1698"/>
                    <a:pt x="1188" y="1690"/>
                  </a:cubicBezTo>
                  <a:cubicBezTo>
                    <a:pt x="1191" y="1681"/>
                    <a:pt x="1217" y="1691"/>
                    <a:pt x="1218" y="1674"/>
                  </a:cubicBezTo>
                  <a:cubicBezTo>
                    <a:pt x="1219" y="1657"/>
                    <a:pt x="1222" y="1648"/>
                    <a:pt x="1233" y="1643"/>
                  </a:cubicBezTo>
                  <a:cubicBezTo>
                    <a:pt x="1244" y="1637"/>
                    <a:pt x="1249" y="1641"/>
                    <a:pt x="1252" y="1633"/>
                  </a:cubicBezTo>
                  <a:cubicBezTo>
                    <a:pt x="1256" y="1624"/>
                    <a:pt x="1274" y="1624"/>
                    <a:pt x="1274" y="1630"/>
                  </a:cubicBezTo>
                  <a:cubicBezTo>
                    <a:pt x="1274" y="1635"/>
                    <a:pt x="1270" y="1645"/>
                    <a:pt x="1259" y="1648"/>
                  </a:cubicBezTo>
                  <a:cubicBezTo>
                    <a:pt x="1248" y="1651"/>
                    <a:pt x="1249" y="1667"/>
                    <a:pt x="1260" y="1667"/>
                  </a:cubicBezTo>
                  <a:cubicBezTo>
                    <a:pt x="1271" y="1667"/>
                    <a:pt x="1273" y="1667"/>
                    <a:pt x="1277" y="1660"/>
                  </a:cubicBezTo>
                  <a:cubicBezTo>
                    <a:pt x="1281" y="1652"/>
                    <a:pt x="1289" y="1651"/>
                    <a:pt x="1293" y="1651"/>
                  </a:cubicBezTo>
                  <a:cubicBezTo>
                    <a:pt x="1297" y="1651"/>
                    <a:pt x="1307" y="1650"/>
                    <a:pt x="1306" y="1658"/>
                  </a:cubicBezTo>
                  <a:cubicBezTo>
                    <a:pt x="1305" y="1665"/>
                    <a:pt x="1300" y="1673"/>
                    <a:pt x="1292" y="1674"/>
                  </a:cubicBezTo>
                  <a:cubicBezTo>
                    <a:pt x="1285" y="1675"/>
                    <a:pt x="1287" y="1681"/>
                    <a:pt x="1276" y="1686"/>
                  </a:cubicBezTo>
                  <a:cubicBezTo>
                    <a:pt x="1265" y="1690"/>
                    <a:pt x="1260" y="1692"/>
                    <a:pt x="1270" y="1704"/>
                  </a:cubicBezTo>
                  <a:cubicBezTo>
                    <a:pt x="1279" y="1716"/>
                    <a:pt x="1294" y="1717"/>
                    <a:pt x="1301" y="1708"/>
                  </a:cubicBezTo>
                  <a:cubicBezTo>
                    <a:pt x="1307" y="1700"/>
                    <a:pt x="1322" y="1696"/>
                    <a:pt x="1323" y="1704"/>
                  </a:cubicBezTo>
                  <a:cubicBezTo>
                    <a:pt x="1324" y="1711"/>
                    <a:pt x="1331" y="1714"/>
                    <a:pt x="1335" y="1714"/>
                  </a:cubicBezTo>
                  <a:cubicBezTo>
                    <a:pt x="1339" y="1714"/>
                    <a:pt x="1343" y="1719"/>
                    <a:pt x="1354" y="1718"/>
                  </a:cubicBezTo>
                  <a:cubicBezTo>
                    <a:pt x="1366" y="1717"/>
                    <a:pt x="1379" y="1714"/>
                    <a:pt x="1379" y="1720"/>
                  </a:cubicBezTo>
                  <a:cubicBezTo>
                    <a:pt x="1379" y="1726"/>
                    <a:pt x="1370" y="1730"/>
                    <a:pt x="1361" y="1730"/>
                  </a:cubicBezTo>
                  <a:cubicBezTo>
                    <a:pt x="1352" y="1730"/>
                    <a:pt x="1334" y="1725"/>
                    <a:pt x="1338" y="1733"/>
                  </a:cubicBezTo>
                  <a:cubicBezTo>
                    <a:pt x="1343" y="1740"/>
                    <a:pt x="1354" y="1754"/>
                    <a:pt x="1361" y="1747"/>
                  </a:cubicBezTo>
                  <a:cubicBezTo>
                    <a:pt x="1367" y="1739"/>
                    <a:pt x="1374" y="1744"/>
                    <a:pt x="1381" y="1744"/>
                  </a:cubicBezTo>
                  <a:cubicBezTo>
                    <a:pt x="1389" y="1744"/>
                    <a:pt x="1378" y="1766"/>
                    <a:pt x="1390" y="1767"/>
                  </a:cubicBezTo>
                  <a:cubicBezTo>
                    <a:pt x="1402" y="1768"/>
                    <a:pt x="1393" y="1786"/>
                    <a:pt x="1403" y="1789"/>
                  </a:cubicBezTo>
                  <a:cubicBezTo>
                    <a:pt x="1413" y="1792"/>
                    <a:pt x="1420" y="1796"/>
                    <a:pt x="1417" y="1802"/>
                  </a:cubicBezTo>
                  <a:cubicBezTo>
                    <a:pt x="1414" y="1807"/>
                    <a:pt x="1401" y="1809"/>
                    <a:pt x="1392" y="1804"/>
                  </a:cubicBezTo>
                  <a:cubicBezTo>
                    <a:pt x="1383" y="1798"/>
                    <a:pt x="1378" y="1797"/>
                    <a:pt x="1371" y="1797"/>
                  </a:cubicBezTo>
                  <a:cubicBezTo>
                    <a:pt x="1363" y="1797"/>
                    <a:pt x="1352" y="1784"/>
                    <a:pt x="1344" y="1781"/>
                  </a:cubicBezTo>
                  <a:cubicBezTo>
                    <a:pt x="1335" y="1778"/>
                    <a:pt x="1332" y="1780"/>
                    <a:pt x="1328" y="1772"/>
                  </a:cubicBezTo>
                  <a:cubicBezTo>
                    <a:pt x="1323" y="1763"/>
                    <a:pt x="1296" y="1763"/>
                    <a:pt x="1291" y="1759"/>
                  </a:cubicBezTo>
                  <a:cubicBezTo>
                    <a:pt x="1286" y="1754"/>
                    <a:pt x="1267" y="1753"/>
                    <a:pt x="1250" y="1753"/>
                  </a:cubicBezTo>
                  <a:cubicBezTo>
                    <a:pt x="1233" y="1753"/>
                    <a:pt x="1204" y="1746"/>
                    <a:pt x="1194" y="1751"/>
                  </a:cubicBezTo>
                  <a:cubicBezTo>
                    <a:pt x="1185" y="1757"/>
                    <a:pt x="1175" y="1778"/>
                    <a:pt x="1198" y="1786"/>
                  </a:cubicBezTo>
                  <a:cubicBezTo>
                    <a:pt x="1220" y="1793"/>
                    <a:pt x="1228" y="1794"/>
                    <a:pt x="1238" y="1798"/>
                  </a:cubicBezTo>
                  <a:cubicBezTo>
                    <a:pt x="1249" y="1803"/>
                    <a:pt x="1261" y="1807"/>
                    <a:pt x="1274" y="1807"/>
                  </a:cubicBezTo>
                  <a:cubicBezTo>
                    <a:pt x="1287" y="1807"/>
                    <a:pt x="1301" y="1815"/>
                    <a:pt x="1309" y="1823"/>
                  </a:cubicBezTo>
                  <a:cubicBezTo>
                    <a:pt x="1318" y="1832"/>
                    <a:pt x="1328" y="1848"/>
                    <a:pt x="1343" y="1845"/>
                  </a:cubicBezTo>
                  <a:cubicBezTo>
                    <a:pt x="1358" y="1841"/>
                    <a:pt x="1367" y="1847"/>
                    <a:pt x="1374" y="1849"/>
                  </a:cubicBezTo>
                  <a:cubicBezTo>
                    <a:pt x="1380" y="1851"/>
                    <a:pt x="1387" y="1853"/>
                    <a:pt x="1390" y="1847"/>
                  </a:cubicBezTo>
                  <a:cubicBezTo>
                    <a:pt x="1393" y="1840"/>
                    <a:pt x="1404" y="1841"/>
                    <a:pt x="1407" y="1846"/>
                  </a:cubicBezTo>
                  <a:cubicBezTo>
                    <a:pt x="1410" y="1850"/>
                    <a:pt x="1422" y="1850"/>
                    <a:pt x="1423" y="1846"/>
                  </a:cubicBezTo>
                  <a:cubicBezTo>
                    <a:pt x="1424" y="1841"/>
                    <a:pt x="1444" y="1834"/>
                    <a:pt x="1447" y="1841"/>
                  </a:cubicBezTo>
                  <a:cubicBezTo>
                    <a:pt x="1450" y="1849"/>
                    <a:pt x="1434" y="1852"/>
                    <a:pt x="1440" y="1858"/>
                  </a:cubicBezTo>
                  <a:cubicBezTo>
                    <a:pt x="1447" y="1863"/>
                    <a:pt x="1459" y="1868"/>
                    <a:pt x="1446" y="1870"/>
                  </a:cubicBezTo>
                  <a:cubicBezTo>
                    <a:pt x="1433" y="1873"/>
                    <a:pt x="1425" y="1867"/>
                    <a:pt x="1419" y="1864"/>
                  </a:cubicBezTo>
                  <a:cubicBezTo>
                    <a:pt x="1413" y="1861"/>
                    <a:pt x="1403" y="1852"/>
                    <a:pt x="1394" y="1864"/>
                  </a:cubicBezTo>
                  <a:cubicBezTo>
                    <a:pt x="1386" y="1876"/>
                    <a:pt x="1373" y="1883"/>
                    <a:pt x="1390" y="1892"/>
                  </a:cubicBezTo>
                  <a:cubicBezTo>
                    <a:pt x="1407" y="1901"/>
                    <a:pt x="1406" y="1891"/>
                    <a:pt x="1413" y="1886"/>
                  </a:cubicBezTo>
                  <a:cubicBezTo>
                    <a:pt x="1419" y="1880"/>
                    <a:pt x="1426" y="1883"/>
                    <a:pt x="1426" y="1891"/>
                  </a:cubicBezTo>
                  <a:cubicBezTo>
                    <a:pt x="1426" y="1898"/>
                    <a:pt x="1416" y="1903"/>
                    <a:pt x="1417" y="1909"/>
                  </a:cubicBezTo>
                  <a:cubicBezTo>
                    <a:pt x="1418" y="1916"/>
                    <a:pt x="1402" y="1913"/>
                    <a:pt x="1403" y="1923"/>
                  </a:cubicBezTo>
                  <a:cubicBezTo>
                    <a:pt x="1404" y="1933"/>
                    <a:pt x="1402" y="1938"/>
                    <a:pt x="1400" y="1952"/>
                  </a:cubicBezTo>
                  <a:cubicBezTo>
                    <a:pt x="1397" y="1966"/>
                    <a:pt x="1393" y="1983"/>
                    <a:pt x="1401" y="1984"/>
                  </a:cubicBezTo>
                  <a:cubicBezTo>
                    <a:pt x="1408" y="1985"/>
                    <a:pt x="1416" y="1984"/>
                    <a:pt x="1415" y="1991"/>
                  </a:cubicBezTo>
                  <a:cubicBezTo>
                    <a:pt x="1414" y="1997"/>
                    <a:pt x="1399" y="1993"/>
                    <a:pt x="1397" y="1999"/>
                  </a:cubicBezTo>
                  <a:cubicBezTo>
                    <a:pt x="1396" y="2006"/>
                    <a:pt x="1388" y="2016"/>
                    <a:pt x="1373" y="2012"/>
                  </a:cubicBezTo>
                  <a:cubicBezTo>
                    <a:pt x="1358" y="2009"/>
                    <a:pt x="1351" y="2004"/>
                    <a:pt x="1343" y="2001"/>
                  </a:cubicBezTo>
                  <a:cubicBezTo>
                    <a:pt x="1334" y="1997"/>
                    <a:pt x="1337" y="1989"/>
                    <a:pt x="1323" y="1989"/>
                  </a:cubicBezTo>
                  <a:cubicBezTo>
                    <a:pt x="1309" y="1989"/>
                    <a:pt x="1305" y="1983"/>
                    <a:pt x="1293" y="1987"/>
                  </a:cubicBezTo>
                  <a:cubicBezTo>
                    <a:pt x="1281" y="1990"/>
                    <a:pt x="1271" y="1999"/>
                    <a:pt x="1289" y="1999"/>
                  </a:cubicBezTo>
                  <a:cubicBezTo>
                    <a:pt x="1307" y="1999"/>
                    <a:pt x="1317" y="1998"/>
                    <a:pt x="1317" y="2006"/>
                  </a:cubicBezTo>
                  <a:cubicBezTo>
                    <a:pt x="1317" y="2013"/>
                    <a:pt x="1314" y="2015"/>
                    <a:pt x="1302" y="2019"/>
                  </a:cubicBezTo>
                  <a:cubicBezTo>
                    <a:pt x="1290" y="2023"/>
                    <a:pt x="1284" y="2021"/>
                    <a:pt x="1281" y="2017"/>
                  </a:cubicBezTo>
                  <a:cubicBezTo>
                    <a:pt x="1279" y="2012"/>
                    <a:pt x="1273" y="2018"/>
                    <a:pt x="1268" y="2024"/>
                  </a:cubicBezTo>
                  <a:cubicBezTo>
                    <a:pt x="1264" y="2031"/>
                    <a:pt x="1270" y="2045"/>
                    <a:pt x="1285" y="2037"/>
                  </a:cubicBezTo>
                  <a:cubicBezTo>
                    <a:pt x="1300" y="2030"/>
                    <a:pt x="1303" y="2027"/>
                    <a:pt x="1307" y="2037"/>
                  </a:cubicBezTo>
                  <a:cubicBezTo>
                    <a:pt x="1311" y="2047"/>
                    <a:pt x="1331" y="2054"/>
                    <a:pt x="1337" y="2047"/>
                  </a:cubicBezTo>
                  <a:cubicBezTo>
                    <a:pt x="1344" y="2039"/>
                    <a:pt x="1348" y="2036"/>
                    <a:pt x="1358" y="2037"/>
                  </a:cubicBezTo>
                  <a:cubicBezTo>
                    <a:pt x="1367" y="2038"/>
                    <a:pt x="1380" y="2024"/>
                    <a:pt x="1389" y="2024"/>
                  </a:cubicBezTo>
                  <a:cubicBezTo>
                    <a:pt x="1397" y="2024"/>
                    <a:pt x="1396" y="2032"/>
                    <a:pt x="1393" y="2037"/>
                  </a:cubicBezTo>
                  <a:cubicBezTo>
                    <a:pt x="1390" y="2042"/>
                    <a:pt x="1377" y="2049"/>
                    <a:pt x="1390" y="2051"/>
                  </a:cubicBezTo>
                  <a:cubicBezTo>
                    <a:pt x="1403" y="2053"/>
                    <a:pt x="1414" y="2061"/>
                    <a:pt x="1421" y="2063"/>
                  </a:cubicBezTo>
                  <a:cubicBezTo>
                    <a:pt x="1429" y="2065"/>
                    <a:pt x="1454" y="2073"/>
                    <a:pt x="1449" y="2077"/>
                  </a:cubicBezTo>
                  <a:cubicBezTo>
                    <a:pt x="1444" y="2081"/>
                    <a:pt x="1422" y="2071"/>
                    <a:pt x="1410" y="2067"/>
                  </a:cubicBezTo>
                  <a:cubicBezTo>
                    <a:pt x="1399" y="2063"/>
                    <a:pt x="1377" y="2059"/>
                    <a:pt x="1367" y="2059"/>
                  </a:cubicBezTo>
                  <a:cubicBezTo>
                    <a:pt x="1358" y="2059"/>
                    <a:pt x="1329" y="2065"/>
                    <a:pt x="1320" y="2060"/>
                  </a:cubicBezTo>
                  <a:cubicBezTo>
                    <a:pt x="1311" y="2054"/>
                    <a:pt x="1292" y="2047"/>
                    <a:pt x="1281" y="2052"/>
                  </a:cubicBezTo>
                  <a:cubicBezTo>
                    <a:pt x="1271" y="2058"/>
                    <a:pt x="1273" y="2079"/>
                    <a:pt x="1262" y="2081"/>
                  </a:cubicBezTo>
                  <a:cubicBezTo>
                    <a:pt x="1251" y="2083"/>
                    <a:pt x="1242" y="2082"/>
                    <a:pt x="1242" y="2097"/>
                  </a:cubicBezTo>
                  <a:cubicBezTo>
                    <a:pt x="1242" y="2112"/>
                    <a:pt x="1245" y="2121"/>
                    <a:pt x="1258" y="2107"/>
                  </a:cubicBezTo>
                  <a:cubicBezTo>
                    <a:pt x="1271" y="2093"/>
                    <a:pt x="1265" y="2094"/>
                    <a:pt x="1290" y="2093"/>
                  </a:cubicBezTo>
                  <a:cubicBezTo>
                    <a:pt x="1315" y="2092"/>
                    <a:pt x="1311" y="2084"/>
                    <a:pt x="1320" y="2078"/>
                  </a:cubicBezTo>
                  <a:cubicBezTo>
                    <a:pt x="1329" y="2071"/>
                    <a:pt x="1336" y="2071"/>
                    <a:pt x="1343" y="2079"/>
                  </a:cubicBezTo>
                  <a:cubicBezTo>
                    <a:pt x="1349" y="2087"/>
                    <a:pt x="1360" y="2092"/>
                    <a:pt x="1366" y="2085"/>
                  </a:cubicBezTo>
                  <a:cubicBezTo>
                    <a:pt x="1373" y="2079"/>
                    <a:pt x="1387" y="2075"/>
                    <a:pt x="1392" y="2082"/>
                  </a:cubicBezTo>
                  <a:cubicBezTo>
                    <a:pt x="1397" y="2090"/>
                    <a:pt x="1408" y="2090"/>
                    <a:pt x="1411" y="2095"/>
                  </a:cubicBezTo>
                  <a:cubicBezTo>
                    <a:pt x="1415" y="2101"/>
                    <a:pt x="1401" y="2113"/>
                    <a:pt x="1392" y="2105"/>
                  </a:cubicBezTo>
                  <a:cubicBezTo>
                    <a:pt x="1383" y="2096"/>
                    <a:pt x="1376" y="2093"/>
                    <a:pt x="1376" y="2098"/>
                  </a:cubicBezTo>
                  <a:cubicBezTo>
                    <a:pt x="1376" y="2104"/>
                    <a:pt x="1362" y="2113"/>
                    <a:pt x="1349" y="2106"/>
                  </a:cubicBezTo>
                  <a:cubicBezTo>
                    <a:pt x="1336" y="2098"/>
                    <a:pt x="1322" y="2092"/>
                    <a:pt x="1311" y="2097"/>
                  </a:cubicBezTo>
                  <a:cubicBezTo>
                    <a:pt x="1301" y="2103"/>
                    <a:pt x="1270" y="2107"/>
                    <a:pt x="1267" y="2114"/>
                  </a:cubicBezTo>
                  <a:cubicBezTo>
                    <a:pt x="1265" y="2122"/>
                    <a:pt x="1257" y="2132"/>
                    <a:pt x="1243" y="2133"/>
                  </a:cubicBezTo>
                  <a:cubicBezTo>
                    <a:pt x="1229" y="2134"/>
                    <a:pt x="1223" y="2131"/>
                    <a:pt x="1231" y="2145"/>
                  </a:cubicBezTo>
                  <a:cubicBezTo>
                    <a:pt x="1238" y="2159"/>
                    <a:pt x="1237" y="2179"/>
                    <a:pt x="1249" y="2183"/>
                  </a:cubicBezTo>
                  <a:cubicBezTo>
                    <a:pt x="1261" y="2188"/>
                    <a:pt x="1273" y="2187"/>
                    <a:pt x="1287" y="2187"/>
                  </a:cubicBezTo>
                  <a:cubicBezTo>
                    <a:pt x="1301" y="2187"/>
                    <a:pt x="1313" y="2179"/>
                    <a:pt x="1313" y="2187"/>
                  </a:cubicBezTo>
                  <a:cubicBezTo>
                    <a:pt x="1313" y="2194"/>
                    <a:pt x="1303" y="2204"/>
                    <a:pt x="1281" y="2205"/>
                  </a:cubicBezTo>
                  <a:cubicBezTo>
                    <a:pt x="1260" y="2206"/>
                    <a:pt x="1249" y="2212"/>
                    <a:pt x="1249" y="2222"/>
                  </a:cubicBezTo>
                  <a:cubicBezTo>
                    <a:pt x="1249" y="2232"/>
                    <a:pt x="1231" y="2227"/>
                    <a:pt x="1235" y="2238"/>
                  </a:cubicBezTo>
                  <a:cubicBezTo>
                    <a:pt x="1239" y="2249"/>
                    <a:pt x="1247" y="2263"/>
                    <a:pt x="1249" y="2274"/>
                  </a:cubicBezTo>
                  <a:cubicBezTo>
                    <a:pt x="1251" y="2284"/>
                    <a:pt x="1277" y="2284"/>
                    <a:pt x="1277" y="2297"/>
                  </a:cubicBezTo>
                  <a:cubicBezTo>
                    <a:pt x="1277" y="2310"/>
                    <a:pt x="1266" y="2332"/>
                    <a:pt x="1273" y="2332"/>
                  </a:cubicBezTo>
                  <a:cubicBezTo>
                    <a:pt x="1279" y="2332"/>
                    <a:pt x="1286" y="2329"/>
                    <a:pt x="1289" y="2321"/>
                  </a:cubicBezTo>
                  <a:cubicBezTo>
                    <a:pt x="1292" y="2312"/>
                    <a:pt x="1295" y="2314"/>
                    <a:pt x="1304" y="2329"/>
                  </a:cubicBezTo>
                  <a:cubicBezTo>
                    <a:pt x="1313" y="2345"/>
                    <a:pt x="1314" y="2362"/>
                    <a:pt x="1323" y="2365"/>
                  </a:cubicBezTo>
                  <a:cubicBezTo>
                    <a:pt x="1333" y="2368"/>
                    <a:pt x="1336" y="2372"/>
                    <a:pt x="1334" y="2386"/>
                  </a:cubicBezTo>
                  <a:cubicBezTo>
                    <a:pt x="1332" y="2400"/>
                    <a:pt x="1329" y="2414"/>
                    <a:pt x="1336" y="2415"/>
                  </a:cubicBezTo>
                  <a:cubicBezTo>
                    <a:pt x="1344" y="2417"/>
                    <a:pt x="1346" y="2431"/>
                    <a:pt x="1343" y="2435"/>
                  </a:cubicBezTo>
                  <a:cubicBezTo>
                    <a:pt x="1339" y="2439"/>
                    <a:pt x="1332" y="2464"/>
                    <a:pt x="1346" y="2466"/>
                  </a:cubicBezTo>
                  <a:cubicBezTo>
                    <a:pt x="1360" y="2468"/>
                    <a:pt x="1364" y="2463"/>
                    <a:pt x="1364" y="2456"/>
                  </a:cubicBezTo>
                  <a:cubicBezTo>
                    <a:pt x="1364" y="2450"/>
                    <a:pt x="1377" y="2448"/>
                    <a:pt x="1380" y="2439"/>
                  </a:cubicBezTo>
                  <a:cubicBezTo>
                    <a:pt x="1383" y="2431"/>
                    <a:pt x="1388" y="2422"/>
                    <a:pt x="1400" y="2421"/>
                  </a:cubicBezTo>
                  <a:cubicBezTo>
                    <a:pt x="1411" y="2420"/>
                    <a:pt x="1422" y="2420"/>
                    <a:pt x="1424" y="2423"/>
                  </a:cubicBezTo>
                  <a:cubicBezTo>
                    <a:pt x="1426" y="2426"/>
                    <a:pt x="1429" y="2443"/>
                    <a:pt x="1416" y="2443"/>
                  </a:cubicBezTo>
                  <a:cubicBezTo>
                    <a:pt x="1403" y="2443"/>
                    <a:pt x="1388" y="2449"/>
                    <a:pt x="1387" y="2454"/>
                  </a:cubicBezTo>
                  <a:cubicBezTo>
                    <a:pt x="1386" y="2460"/>
                    <a:pt x="1373" y="2465"/>
                    <a:pt x="1373" y="2480"/>
                  </a:cubicBezTo>
                  <a:cubicBezTo>
                    <a:pt x="1373" y="2495"/>
                    <a:pt x="1379" y="2526"/>
                    <a:pt x="1388" y="2526"/>
                  </a:cubicBezTo>
                  <a:cubicBezTo>
                    <a:pt x="1396" y="2526"/>
                    <a:pt x="1405" y="2531"/>
                    <a:pt x="1405" y="2543"/>
                  </a:cubicBezTo>
                  <a:cubicBezTo>
                    <a:pt x="1405" y="2556"/>
                    <a:pt x="1406" y="2570"/>
                    <a:pt x="1417" y="2570"/>
                  </a:cubicBezTo>
                  <a:cubicBezTo>
                    <a:pt x="1428" y="2570"/>
                    <a:pt x="1438" y="2585"/>
                    <a:pt x="1445" y="2595"/>
                  </a:cubicBezTo>
                  <a:cubicBezTo>
                    <a:pt x="1451" y="2605"/>
                    <a:pt x="1461" y="2607"/>
                    <a:pt x="1459" y="2623"/>
                  </a:cubicBezTo>
                  <a:cubicBezTo>
                    <a:pt x="1457" y="2639"/>
                    <a:pt x="1445" y="2644"/>
                    <a:pt x="1465" y="2654"/>
                  </a:cubicBezTo>
                  <a:cubicBezTo>
                    <a:pt x="1486" y="2664"/>
                    <a:pt x="1497" y="2668"/>
                    <a:pt x="1503" y="2686"/>
                  </a:cubicBezTo>
                  <a:cubicBezTo>
                    <a:pt x="1508" y="2705"/>
                    <a:pt x="1515" y="2693"/>
                    <a:pt x="1528" y="2711"/>
                  </a:cubicBezTo>
                  <a:cubicBezTo>
                    <a:pt x="1540" y="2729"/>
                    <a:pt x="1537" y="2724"/>
                    <a:pt x="1524" y="2725"/>
                  </a:cubicBezTo>
                  <a:cubicBezTo>
                    <a:pt x="1511" y="2726"/>
                    <a:pt x="1519" y="2738"/>
                    <a:pt x="1529" y="2740"/>
                  </a:cubicBezTo>
                  <a:cubicBezTo>
                    <a:pt x="1538" y="2742"/>
                    <a:pt x="1544" y="2743"/>
                    <a:pt x="1548" y="2751"/>
                  </a:cubicBezTo>
                  <a:cubicBezTo>
                    <a:pt x="1552" y="2758"/>
                    <a:pt x="1568" y="2753"/>
                    <a:pt x="1572" y="2764"/>
                  </a:cubicBezTo>
                  <a:cubicBezTo>
                    <a:pt x="1575" y="2775"/>
                    <a:pt x="1595" y="2778"/>
                    <a:pt x="1598" y="2778"/>
                  </a:cubicBezTo>
                  <a:cubicBezTo>
                    <a:pt x="1602" y="2778"/>
                    <a:pt x="1597" y="2795"/>
                    <a:pt x="1589" y="2799"/>
                  </a:cubicBezTo>
                  <a:cubicBezTo>
                    <a:pt x="1580" y="2804"/>
                    <a:pt x="1581" y="2816"/>
                    <a:pt x="1598" y="2816"/>
                  </a:cubicBezTo>
                  <a:cubicBezTo>
                    <a:pt x="1616" y="2816"/>
                    <a:pt x="1607" y="2807"/>
                    <a:pt x="1626" y="2800"/>
                  </a:cubicBezTo>
                  <a:cubicBezTo>
                    <a:pt x="1646" y="2794"/>
                    <a:pt x="1654" y="2794"/>
                    <a:pt x="1659" y="2802"/>
                  </a:cubicBezTo>
                  <a:cubicBezTo>
                    <a:pt x="1663" y="2811"/>
                    <a:pt x="1678" y="2818"/>
                    <a:pt x="1681" y="2807"/>
                  </a:cubicBezTo>
                  <a:cubicBezTo>
                    <a:pt x="1684" y="2796"/>
                    <a:pt x="1690" y="2795"/>
                    <a:pt x="1698" y="2794"/>
                  </a:cubicBezTo>
                  <a:cubicBezTo>
                    <a:pt x="1707" y="2793"/>
                    <a:pt x="1716" y="2794"/>
                    <a:pt x="1717" y="2804"/>
                  </a:cubicBezTo>
                  <a:cubicBezTo>
                    <a:pt x="1718" y="2813"/>
                    <a:pt x="1727" y="2820"/>
                    <a:pt x="1735" y="2819"/>
                  </a:cubicBezTo>
                  <a:cubicBezTo>
                    <a:pt x="1743" y="2818"/>
                    <a:pt x="1748" y="2820"/>
                    <a:pt x="1753" y="2834"/>
                  </a:cubicBezTo>
                  <a:cubicBezTo>
                    <a:pt x="1759" y="2848"/>
                    <a:pt x="1768" y="2845"/>
                    <a:pt x="1776" y="2848"/>
                  </a:cubicBezTo>
                  <a:cubicBezTo>
                    <a:pt x="1783" y="2850"/>
                    <a:pt x="1789" y="2850"/>
                    <a:pt x="1790" y="2863"/>
                  </a:cubicBezTo>
                  <a:cubicBezTo>
                    <a:pt x="1791" y="2876"/>
                    <a:pt x="1801" y="2882"/>
                    <a:pt x="1813" y="2882"/>
                  </a:cubicBezTo>
                  <a:cubicBezTo>
                    <a:pt x="1826" y="2882"/>
                    <a:pt x="1837" y="2877"/>
                    <a:pt x="1837" y="2868"/>
                  </a:cubicBezTo>
                  <a:cubicBezTo>
                    <a:pt x="1837" y="2859"/>
                    <a:pt x="1844" y="2858"/>
                    <a:pt x="1849" y="2859"/>
                  </a:cubicBezTo>
                  <a:cubicBezTo>
                    <a:pt x="1854" y="2861"/>
                    <a:pt x="1853" y="2866"/>
                    <a:pt x="1852" y="2876"/>
                  </a:cubicBezTo>
                  <a:cubicBezTo>
                    <a:pt x="1851" y="2885"/>
                    <a:pt x="1847" y="2902"/>
                    <a:pt x="1855" y="2904"/>
                  </a:cubicBezTo>
                  <a:cubicBezTo>
                    <a:pt x="1864" y="2905"/>
                    <a:pt x="1866" y="2904"/>
                    <a:pt x="1868" y="2894"/>
                  </a:cubicBezTo>
                  <a:cubicBezTo>
                    <a:pt x="1870" y="2884"/>
                    <a:pt x="1870" y="2882"/>
                    <a:pt x="1883" y="2882"/>
                  </a:cubicBezTo>
                  <a:cubicBezTo>
                    <a:pt x="1896" y="2882"/>
                    <a:pt x="1906" y="2876"/>
                    <a:pt x="1906" y="2868"/>
                  </a:cubicBezTo>
                  <a:cubicBezTo>
                    <a:pt x="1906" y="2861"/>
                    <a:pt x="1906" y="2855"/>
                    <a:pt x="1901" y="2851"/>
                  </a:cubicBezTo>
                  <a:cubicBezTo>
                    <a:pt x="1895" y="2847"/>
                    <a:pt x="1892" y="2841"/>
                    <a:pt x="1909" y="2837"/>
                  </a:cubicBezTo>
                  <a:cubicBezTo>
                    <a:pt x="1926" y="2833"/>
                    <a:pt x="1922" y="2823"/>
                    <a:pt x="1923" y="2812"/>
                  </a:cubicBezTo>
                  <a:cubicBezTo>
                    <a:pt x="1924" y="2801"/>
                    <a:pt x="1933" y="2798"/>
                    <a:pt x="1942" y="2797"/>
                  </a:cubicBezTo>
                  <a:cubicBezTo>
                    <a:pt x="1952" y="2796"/>
                    <a:pt x="1941" y="2783"/>
                    <a:pt x="1951" y="2782"/>
                  </a:cubicBezTo>
                  <a:cubicBezTo>
                    <a:pt x="1961" y="2781"/>
                    <a:pt x="1948" y="2779"/>
                    <a:pt x="1939" y="2779"/>
                  </a:cubicBezTo>
                  <a:cubicBezTo>
                    <a:pt x="1931" y="2779"/>
                    <a:pt x="1925" y="2781"/>
                    <a:pt x="1929" y="2771"/>
                  </a:cubicBezTo>
                  <a:cubicBezTo>
                    <a:pt x="1932" y="2762"/>
                    <a:pt x="1945" y="2761"/>
                    <a:pt x="1947" y="2756"/>
                  </a:cubicBezTo>
                  <a:cubicBezTo>
                    <a:pt x="1949" y="2752"/>
                    <a:pt x="1966" y="2752"/>
                    <a:pt x="1958" y="2742"/>
                  </a:cubicBezTo>
                  <a:cubicBezTo>
                    <a:pt x="1949" y="2733"/>
                    <a:pt x="1951" y="2725"/>
                    <a:pt x="1958" y="2724"/>
                  </a:cubicBezTo>
                  <a:cubicBezTo>
                    <a:pt x="1964" y="2723"/>
                    <a:pt x="1969" y="2709"/>
                    <a:pt x="1968" y="2696"/>
                  </a:cubicBezTo>
                  <a:cubicBezTo>
                    <a:pt x="1967" y="2683"/>
                    <a:pt x="1968" y="2669"/>
                    <a:pt x="1962" y="2664"/>
                  </a:cubicBezTo>
                  <a:cubicBezTo>
                    <a:pt x="1955" y="2658"/>
                    <a:pt x="1948" y="2652"/>
                    <a:pt x="1956" y="2651"/>
                  </a:cubicBezTo>
                  <a:cubicBezTo>
                    <a:pt x="1965" y="2650"/>
                    <a:pt x="1970" y="2646"/>
                    <a:pt x="1962" y="2640"/>
                  </a:cubicBezTo>
                  <a:cubicBezTo>
                    <a:pt x="1953" y="2635"/>
                    <a:pt x="1948" y="2621"/>
                    <a:pt x="1940" y="2624"/>
                  </a:cubicBezTo>
                  <a:cubicBezTo>
                    <a:pt x="1933" y="2627"/>
                    <a:pt x="1925" y="2634"/>
                    <a:pt x="1927" y="2621"/>
                  </a:cubicBezTo>
                  <a:cubicBezTo>
                    <a:pt x="1930" y="2608"/>
                    <a:pt x="1942" y="2604"/>
                    <a:pt x="1948" y="2613"/>
                  </a:cubicBezTo>
                  <a:cubicBezTo>
                    <a:pt x="1953" y="2623"/>
                    <a:pt x="1964" y="2626"/>
                    <a:pt x="1968" y="2620"/>
                  </a:cubicBezTo>
                  <a:cubicBezTo>
                    <a:pt x="1973" y="2613"/>
                    <a:pt x="1990" y="2611"/>
                    <a:pt x="1992" y="2598"/>
                  </a:cubicBezTo>
                  <a:cubicBezTo>
                    <a:pt x="1994" y="2585"/>
                    <a:pt x="1985" y="2581"/>
                    <a:pt x="2001" y="2581"/>
                  </a:cubicBezTo>
                  <a:cubicBezTo>
                    <a:pt x="2016" y="2581"/>
                    <a:pt x="2028" y="2581"/>
                    <a:pt x="2028" y="2571"/>
                  </a:cubicBezTo>
                  <a:cubicBezTo>
                    <a:pt x="2028" y="2562"/>
                    <a:pt x="2001" y="2569"/>
                    <a:pt x="2001" y="2560"/>
                  </a:cubicBezTo>
                  <a:cubicBezTo>
                    <a:pt x="2001" y="2550"/>
                    <a:pt x="2003" y="2548"/>
                    <a:pt x="2011" y="2548"/>
                  </a:cubicBezTo>
                  <a:cubicBezTo>
                    <a:pt x="2020" y="2548"/>
                    <a:pt x="2036" y="2554"/>
                    <a:pt x="2038" y="2543"/>
                  </a:cubicBezTo>
                  <a:cubicBezTo>
                    <a:pt x="2040" y="2533"/>
                    <a:pt x="2039" y="2524"/>
                    <a:pt x="2047" y="2521"/>
                  </a:cubicBezTo>
                  <a:cubicBezTo>
                    <a:pt x="2054" y="2518"/>
                    <a:pt x="2066" y="2515"/>
                    <a:pt x="2060" y="2505"/>
                  </a:cubicBezTo>
                  <a:cubicBezTo>
                    <a:pt x="2053" y="2494"/>
                    <a:pt x="2056" y="2474"/>
                    <a:pt x="2047" y="2474"/>
                  </a:cubicBezTo>
                  <a:cubicBezTo>
                    <a:pt x="2037" y="2474"/>
                    <a:pt x="2018" y="2483"/>
                    <a:pt x="2010" y="2478"/>
                  </a:cubicBezTo>
                  <a:cubicBezTo>
                    <a:pt x="2003" y="2472"/>
                    <a:pt x="1977" y="2453"/>
                    <a:pt x="2004" y="2455"/>
                  </a:cubicBezTo>
                  <a:cubicBezTo>
                    <a:pt x="2031" y="2457"/>
                    <a:pt x="2052" y="2467"/>
                    <a:pt x="2052" y="2456"/>
                  </a:cubicBezTo>
                  <a:cubicBezTo>
                    <a:pt x="2052" y="2446"/>
                    <a:pt x="2077" y="2457"/>
                    <a:pt x="2077" y="2446"/>
                  </a:cubicBezTo>
                  <a:cubicBezTo>
                    <a:pt x="2077" y="2434"/>
                    <a:pt x="2078" y="2431"/>
                    <a:pt x="2069" y="2422"/>
                  </a:cubicBezTo>
                  <a:cubicBezTo>
                    <a:pt x="2061" y="2413"/>
                    <a:pt x="2069" y="2403"/>
                    <a:pt x="2052" y="2406"/>
                  </a:cubicBezTo>
                  <a:cubicBezTo>
                    <a:pt x="2035" y="2409"/>
                    <a:pt x="2021" y="2410"/>
                    <a:pt x="2021" y="2398"/>
                  </a:cubicBezTo>
                  <a:cubicBezTo>
                    <a:pt x="2021" y="2386"/>
                    <a:pt x="2028" y="2394"/>
                    <a:pt x="2033" y="2383"/>
                  </a:cubicBezTo>
                  <a:cubicBezTo>
                    <a:pt x="2037" y="2372"/>
                    <a:pt x="2056" y="2375"/>
                    <a:pt x="2063" y="2382"/>
                  </a:cubicBezTo>
                  <a:cubicBezTo>
                    <a:pt x="2069" y="2390"/>
                    <a:pt x="2082" y="2391"/>
                    <a:pt x="2090" y="2380"/>
                  </a:cubicBezTo>
                  <a:cubicBezTo>
                    <a:pt x="2097" y="2369"/>
                    <a:pt x="2104" y="2369"/>
                    <a:pt x="2109" y="2361"/>
                  </a:cubicBezTo>
                  <a:cubicBezTo>
                    <a:pt x="2114" y="2352"/>
                    <a:pt x="2109" y="2352"/>
                    <a:pt x="2098" y="2349"/>
                  </a:cubicBezTo>
                  <a:cubicBezTo>
                    <a:pt x="2088" y="2346"/>
                    <a:pt x="2089" y="2335"/>
                    <a:pt x="2099" y="2331"/>
                  </a:cubicBezTo>
                  <a:cubicBezTo>
                    <a:pt x="2110" y="2326"/>
                    <a:pt x="2119" y="2317"/>
                    <a:pt x="2123" y="2326"/>
                  </a:cubicBezTo>
                  <a:cubicBezTo>
                    <a:pt x="2127" y="2336"/>
                    <a:pt x="2137" y="2338"/>
                    <a:pt x="2140" y="2331"/>
                  </a:cubicBezTo>
                  <a:cubicBezTo>
                    <a:pt x="2144" y="2323"/>
                    <a:pt x="2152" y="2318"/>
                    <a:pt x="2160" y="2324"/>
                  </a:cubicBezTo>
                  <a:cubicBezTo>
                    <a:pt x="2167" y="2331"/>
                    <a:pt x="2178" y="2327"/>
                    <a:pt x="2184" y="2321"/>
                  </a:cubicBezTo>
                  <a:cubicBezTo>
                    <a:pt x="2191" y="2314"/>
                    <a:pt x="2207" y="2320"/>
                    <a:pt x="2207" y="2311"/>
                  </a:cubicBezTo>
                  <a:cubicBezTo>
                    <a:pt x="2207" y="2303"/>
                    <a:pt x="2207" y="2302"/>
                    <a:pt x="2199" y="2298"/>
                  </a:cubicBezTo>
                  <a:cubicBezTo>
                    <a:pt x="2192" y="2295"/>
                    <a:pt x="2184" y="2285"/>
                    <a:pt x="2199" y="2284"/>
                  </a:cubicBezTo>
                  <a:cubicBezTo>
                    <a:pt x="2214" y="2283"/>
                    <a:pt x="2217" y="2283"/>
                    <a:pt x="2221" y="2270"/>
                  </a:cubicBezTo>
                  <a:cubicBezTo>
                    <a:pt x="2225" y="2257"/>
                    <a:pt x="2220" y="2257"/>
                    <a:pt x="2232" y="2255"/>
                  </a:cubicBezTo>
                  <a:cubicBezTo>
                    <a:pt x="2243" y="2253"/>
                    <a:pt x="2253" y="2255"/>
                    <a:pt x="2246" y="2265"/>
                  </a:cubicBezTo>
                  <a:cubicBezTo>
                    <a:pt x="2238" y="2275"/>
                    <a:pt x="2232" y="2280"/>
                    <a:pt x="2232" y="2285"/>
                  </a:cubicBezTo>
                  <a:cubicBezTo>
                    <a:pt x="2232" y="2291"/>
                    <a:pt x="2232" y="2295"/>
                    <a:pt x="2225" y="2303"/>
                  </a:cubicBezTo>
                  <a:cubicBezTo>
                    <a:pt x="2219" y="2310"/>
                    <a:pt x="2221" y="2322"/>
                    <a:pt x="2226" y="2325"/>
                  </a:cubicBezTo>
                  <a:cubicBezTo>
                    <a:pt x="2232" y="2328"/>
                    <a:pt x="2243" y="2323"/>
                    <a:pt x="2249" y="2316"/>
                  </a:cubicBezTo>
                  <a:cubicBezTo>
                    <a:pt x="2254" y="2308"/>
                    <a:pt x="2267" y="2316"/>
                    <a:pt x="2270" y="2304"/>
                  </a:cubicBezTo>
                  <a:cubicBezTo>
                    <a:pt x="2274" y="2292"/>
                    <a:pt x="2284" y="2281"/>
                    <a:pt x="2286" y="2291"/>
                  </a:cubicBezTo>
                  <a:cubicBezTo>
                    <a:pt x="2289" y="2300"/>
                    <a:pt x="2284" y="2307"/>
                    <a:pt x="2292" y="2308"/>
                  </a:cubicBezTo>
                  <a:cubicBezTo>
                    <a:pt x="2299" y="2309"/>
                    <a:pt x="2309" y="2312"/>
                    <a:pt x="2309" y="2297"/>
                  </a:cubicBezTo>
                  <a:cubicBezTo>
                    <a:pt x="2309" y="2282"/>
                    <a:pt x="2318" y="2274"/>
                    <a:pt x="2325" y="2285"/>
                  </a:cubicBezTo>
                  <a:cubicBezTo>
                    <a:pt x="2333" y="2297"/>
                    <a:pt x="2345" y="2291"/>
                    <a:pt x="2352" y="2282"/>
                  </a:cubicBezTo>
                  <a:cubicBezTo>
                    <a:pt x="2360" y="2274"/>
                    <a:pt x="2367" y="2256"/>
                    <a:pt x="2381" y="2256"/>
                  </a:cubicBezTo>
                  <a:cubicBezTo>
                    <a:pt x="2395" y="2256"/>
                    <a:pt x="2421" y="2254"/>
                    <a:pt x="2434" y="2237"/>
                  </a:cubicBezTo>
                  <a:cubicBezTo>
                    <a:pt x="2447" y="2220"/>
                    <a:pt x="2468" y="2223"/>
                    <a:pt x="2469" y="2205"/>
                  </a:cubicBezTo>
                  <a:cubicBezTo>
                    <a:pt x="2470" y="2187"/>
                    <a:pt x="2470" y="2180"/>
                    <a:pt x="2484" y="2178"/>
                  </a:cubicBezTo>
                  <a:cubicBezTo>
                    <a:pt x="2498" y="2176"/>
                    <a:pt x="2503" y="2166"/>
                    <a:pt x="2507" y="2151"/>
                  </a:cubicBezTo>
                  <a:cubicBezTo>
                    <a:pt x="2511" y="2136"/>
                    <a:pt x="2514" y="2108"/>
                    <a:pt x="2538" y="2101"/>
                  </a:cubicBezTo>
                  <a:cubicBezTo>
                    <a:pt x="2562" y="2093"/>
                    <a:pt x="2561" y="2090"/>
                    <a:pt x="2576" y="2084"/>
                  </a:cubicBezTo>
                  <a:cubicBezTo>
                    <a:pt x="2591" y="2079"/>
                    <a:pt x="2593" y="2076"/>
                    <a:pt x="2593" y="2067"/>
                  </a:cubicBezTo>
                  <a:cubicBezTo>
                    <a:pt x="2593" y="2059"/>
                    <a:pt x="2585" y="2048"/>
                    <a:pt x="2582" y="2047"/>
                  </a:cubicBezTo>
                  <a:cubicBezTo>
                    <a:pt x="2579" y="2046"/>
                    <a:pt x="2580" y="2034"/>
                    <a:pt x="2594" y="2034"/>
                  </a:cubicBezTo>
                  <a:cubicBezTo>
                    <a:pt x="2608" y="2034"/>
                    <a:pt x="2600" y="2033"/>
                    <a:pt x="2607" y="2045"/>
                  </a:cubicBezTo>
                  <a:cubicBezTo>
                    <a:pt x="2613" y="2056"/>
                    <a:pt x="2613" y="2048"/>
                    <a:pt x="2629" y="2051"/>
                  </a:cubicBezTo>
                  <a:cubicBezTo>
                    <a:pt x="2646" y="2054"/>
                    <a:pt x="2634" y="2066"/>
                    <a:pt x="2650" y="2065"/>
                  </a:cubicBezTo>
                  <a:cubicBezTo>
                    <a:pt x="2666" y="2064"/>
                    <a:pt x="2697" y="2069"/>
                    <a:pt x="2697" y="2060"/>
                  </a:cubicBezTo>
                  <a:cubicBezTo>
                    <a:pt x="2697" y="2050"/>
                    <a:pt x="2696" y="2046"/>
                    <a:pt x="2707" y="2050"/>
                  </a:cubicBezTo>
                  <a:cubicBezTo>
                    <a:pt x="2718" y="2054"/>
                    <a:pt x="2724" y="2058"/>
                    <a:pt x="2732" y="2054"/>
                  </a:cubicBezTo>
                  <a:cubicBezTo>
                    <a:pt x="2739" y="2051"/>
                    <a:pt x="2740" y="2050"/>
                    <a:pt x="2732" y="2047"/>
                  </a:cubicBezTo>
                  <a:cubicBezTo>
                    <a:pt x="2723" y="2044"/>
                    <a:pt x="2719" y="2033"/>
                    <a:pt x="2726" y="2031"/>
                  </a:cubicBezTo>
                  <a:cubicBezTo>
                    <a:pt x="2734" y="2028"/>
                    <a:pt x="2744" y="2033"/>
                    <a:pt x="2748" y="2038"/>
                  </a:cubicBezTo>
                  <a:cubicBezTo>
                    <a:pt x="2751" y="2044"/>
                    <a:pt x="2764" y="2048"/>
                    <a:pt x="2769" y="2039"/>
                  </a:cubicBezTo>
                  <a:cubicBezTo>
                    <a:pt x="2775" y="2031"/>
                    <a:pt x="2791" y="2030"/>
                    <a:pt x="2797" y="2036"/>
                  </a:cubicBezTo>
                  <a:cubicBezTo>
                    <a:pt x="2804" y="2042"/>
                    <a:pt x="2808" y="2042"/>
                    <a:pt x="2816" y="2033"/>
                  </a:cubicBezTo>
                  <a:cubicBezTo>
                    <a:pt x="2825" y="2023"/>
                    <a:pt x="2827" y="2016"/>
                    <a:pt x="2842" y="2018"/>
                  </a:cubicBezTo>
                  <a:cubicBezTo>
                    <a:pt x="2857" y="2020"/>
                    <a:pt x="2879" y="2021"/>
                    <a:pt x="2892" y="2013"/>
                  </a:cubicBezTo>
                  <a:cubicBezTo>
                    <a:pt x="2905" y="2006"/>
                    <a:pt x="2911" y="1999"/>
                    <a:pt x="2938" y="1998"/>
                  </a:cubicBezTo>
                  <a:cubicBezTo>
                    <a:pt x="2965" y="1997"/>
                    <a:pt x="2963" y="1983"/>
                    <a:pt x="2984" y="1978"/>
                  </a:cubicBezTo>
                  <a:cubicBezTo>
                    <a:pt x="3006" y="1973"/>
                    <a:pt x="3012" y="1967"/>
                    <a:pt x="3027" y="1952"/>
                  </a:cubicBezTo>
                  <a:cubicBezTo>
                    <a:pt x="3042" y="1937"/>
                    <a:pt x="3036" y="1933"/>
                    <a:pt x="3052" y="1931"/>
                  </a:cubicBezTo>
                  <a:cubicBezTo>
                    <a:pt x="3068" y="1929"/>
                    <a:pt x="3063" y="1913"/>
                    <a:pt x="3088" y="1913"/>
                  </a:cubicBezTo>
                  <a:cubicBezTo>
                    <a:pt x="3114" y="1913"/>
                    <a:pt x="3097" y="1903"/>
                    <a:pt x="3115" y="1898"/>
                  </a:cubicBezTo>
                  <a:cubicBezTo>
                    <a:pt x="3134" y="1894"/>
                    <a:pt x="3125" y="1879"/>
                    <a:pt x="3140" y="1879"/>
                  </a:cubicBezTo>
                  <a:cubicBezTo>
                    <a:pt x="3155" y="1879"/>
                    <a:pt x="3167" y="1877"/>
                    <a:pt x="3173" y="1867"/>
                  </a:cubicBezTo>
                  <a:cubicBezTo>
                    <a:pt x="3180" y="1858"/>
                    <a:pt x="3195" y="1867"/>
                    <a:pt x="3205" y="1859"/>
                  </a:cubicBezTo>
                  <a:cubicBezTo>
                    <a:pt x="3214" y="1850"/>
                    <a:pt x="3226" y="1849"/>
                    <a:pt x="3226" y="1843"/>
                  </a:cubicBezTo>
                  <a:cubicBezTo>
                    <a:pt x="3226" y="1836"/>
                    <a:pt x="3222" y="1831"/>
                    <a:pt x="3206" y="1834"/>
                  </a:cubicBezTo>
                  <a:cubicBezTo>
                    <a:pt x="3189" y="1837"/>
                    <a:pt x="3144" y="1845"/>
                    <a:pt x="3117" y="1836"/>
                  </a:cubicBezTo>
                  <a:cubicBezTo>
                    <a:pt x="3091" y="1827"/>
                    <a:pt x="3078" y="1817"/>
                    <a:pt x="3063" y="1813"/>
                  </a:cubicBezTo>
                  <a:cubicBezTo>
                    <a:pt x="3048" y="1810"/>
                    <a:pt x="3037" y="1802"/>
                    <a:pt x="3027" y="1802"/>
                  </a:cubicBezTo>
                  <a:cubicBezTo>
                    <a:pt x="3017" y="1802"/>
                    <a:pt x="3005" y="1800"/>
                    <a:pt x="2996" y="1806"/>
                  </a:cubicBezTo>
                  <a:cubicBezTo>
                    <a:pt x="2987" y="1812"/>
                    <a:pt x="2969" y="1820"/>
                    <a:pt x="2955" y="1820"/>
                  </a:cubicBezTo>
                  <a:cubicBezTo>
                    <a:pt x="2941" y="1820"/>
                    <a:pt x="2923" y="1821"/>
                    <a:pt x="2918" y="1829"/>
                  </a:cubicBezTo>
                  <a:cubicBezTo>
                    <a:pt x="2912" y="1836"/>
                    <a:pt x="2899" y="1846"/>
                    <a:pt x="2886" y="1845"/>
                  </a:cubicBezTo>
                  <a:cubicBezTo>
                    <a:pt x="2873" y="1844"/>
                    <a:pt x="2824" y="1839"/>
                    <a:pt x="2824" y="1839"/>
                  </a:cubicBezTo>
                  <a:cubicBezTo>
                    <a:pt x="2824" y="1839"/>
                    <a:pt x="2832" y="1830"/>
                    <a:pt x="2855" y="1830"/>
                  </a:cubicBezTo>
                  <a:cubicBezTo>
                    <a:pt x="2879" y="1830"/>
                    <a:pt x="2892" y="1832"/>
                    <a:pt x="2896" y="1822"/>
                  </a:cubicBezTo>
                  <a:cubicBezTo>
                    <a:pt x="2900" y="1812"/>
                    <a:pt x="2915" y="1810"/>
                    <a:pt x="2925" y="1810"/>
                  </a:cubicBezTo>
                  <a:cubicBezTo>
                    <a:pt x="2935" y="1810"/>
                    <a:pt x="2956" y="1806"/>
                    <a:pt x="2959" y="1800"/>
                  </a:cubicBezTo>
                  <a:cubicBezTo>
                    <a:pt x="2963" y="1793"/>
                    <a:pt x="2977" y="1788"/>
                    <a:pt x="2997" y="1781"/>
                  </a:cubicBezTo>
                  <a:cubicBezTo>
                    <a:pt x="3017" y="1775"/>
                    <a:pt x="3024" y="1769"/>
                    <a:pt x="3020" y="1753"/>
                  </a:cubicBezTo>
                  <a:cubicBezTo>
                    <a:pt x="3015" y="1737"/>
                    <a:pt x="3024" y="1726"/>
                    <a:pt x="2992" y="1729"/>
                  </a:cubicBezTo>
                  <a:cubicBezTo>
                    <a:pt x="2959" y="1731"/>
                    <a:pt x="2926" y="1738"/>
                    <a:pt x="2909" y="1743"/>
                  </a:cubicBezTo>
                  <a:cubicBezTo>
                    <a:pt x="2892" y="1747"/>
                    <a:pt x="2885" y="1757"/>
                    <a:pt x="2877" y="1767"/>
                  </a:cubicBezTo>
                  <a:cubicBezTo>
                    <a:pt x="2868" y="1778"/>
                    <a:pt x="2836" y="1789"/>
                    <a:pt x="2866" y="1789"/>
                  </a:cubicBezTo>
                  <a:cubicBezTo>
                    <a:pt x="2896" y="1789"/>
                    <a:pt x="2933" y="1772"/>
                    <a:pt x="2931" y="1782"/>
                  </a:cubicBezTo>
                  <a:cubicBezTo>
                    <a:pt x="2930" y="1793"/>
                    <a:pt x="2910" y="1802"/>
                    <a:pt x="2890" y="1801"/>
                  </a:cubicBezTo>
                  <a:cubicBezTo>
                    <a:pt x="2869" y="1800"/>
                    <a:pt x="2866" y="1797"/>
                    <a:pt x="2849" y="1800"/>
                  </a:cubicBezTo>
                  <a:cubicBezTo>
                    <a:pt x="2832" y="1802"/>
                    <a:pt x="2837" y="1795"/>
                    <a:pt x="2815" y="1796"/>
                  </a:cubicBezTo>
                  <a:cubicBezTo>
                    <a:pt x="2794" y="1797"/>
                    <a:pt x="2778" y="1793"/>
                    <a:pt x="2791" y="1787"/>
                  </a:cubicBezTo>
                  <a:cubicBezTo>
                    <a:pt x="2804" y="1780"/>
                    <a:pt x="2838" y="1783"/>
                    <a:pt x="2839" y="1773"/>
                  </a:cubicBezTo>
                  <a:cubicBezTo>
                    <a:pt x="2840" y="1762"/>
                    <a:pt x="2863" y="1768"/>
                    <a:pt x="2855" y="1751"/>
                  </a:cubicBezTo>
                  <a:cubicBezTo>
                    <a:pt x="2848" y="1734"/>
                    <a:pt x="2862" y="1722"/>
                    <a:pt x="2878" y="1730"/>
                  </a:cubicBezTo>
                  <a:cubicBezTo>
                    <a:pt x="2894" y="1737"/>
                    <a:pt x="2907" y="1729"/>
                    <a:pt x="2925" y="1724"/>
                  </a:cubicBezTo>
                  <a:cubicBezTo>
                    <a:pt x="2943" y="1720"/>
                    <a:pt x="2985" y="1722"/>
                    <a:pt x="2993" y="1716"/>
                  </a:cubicBezTo>
                  <a:cubicBezTo>
                    <a:pt x="3000" y="1709"/>
                    <a:pt x="2990" y="1687"/>
                    <a:pt x="2965" y="1687"/>
                  </a:cubicBezTo>
                  <a:cubicBezTo>
                    <a:pt x="2940" y="1687"/>
                    <a:pt x="2923" y="1674"/>
                    <a:pt x="2901" y="1671"/>
                  </a:cubicBezTo>
                  <a:cubicBezTo>
                    <a:pt x="2880" y="1667"/>
                    <a:pt x="2857" y="1669"/>
                    <a:pt x="2844" y="1659"/>
                  </a:cubicBezTo>
                  <a:cubicBezTo>
                    <a:pt x="2832" y="1648"/>
                    <a:pt x="2828" y="1641"/>
                    <a:pt x="2826" y="1632"/>
                  </a:cubicBezTo>
                  <a:cubicBezTo>
                    <a:pt x="2824" y="1622"/>
                    <a:pt x="2849" y="1614"/>
                    <a:pt x="2861" y="1628"/>
                  </a:cubicBezTo>
                  <a:cubicBezTo>
                    <a:pt x="2872" y="1641"/>
                    <a:pt x="2899" y="1663"/>
                    <a:pt x="2929" y="1663"/>
                  </a:cubicBezTo>
                  <a:cubicBezTo>
                    <a:pt x="2959" y="1663"/>
                    <a:pt x="2981" y="1668"/>
                    <a:pt x="2991" y="1671"/>
                  </a:cubicBezTo>
                  <a:cubicBezTo>
                    <a:pt x="3000" y="1673"/>
                    <a:pt x="3010" y="1689"/>
                    <a:pt x="3027" y="1693"/>
                  </a:cubicBezTo>
                  <a:cubicBezTo>
                    <a:pt x="3044" y="1697"/>
                    <a:pt x="3094" y="1710"/>
                    <a:pt x="3094" y="1730"/>
                  </a:cubicBezTo>
                  <a:cubicBezTo>
                    <a:pt x="3094" y="1749"/>
                    <a:pt x="3101" y="1764"/>
                    <a:pt x="3114" y="1776"/>
                  </a:cubicBezTo>
                  <a:cubicBezTo>
                    <a:pt x="3127" y="1788"/>
                    <a:pt x="3153" y="1805"/>
                    <a:pt x="3173" y="1797"/>
                  </a:cubicBezTo>
                  <a:cubicBezTo>
                    <a:pt x="3194" y="1790"/>
                    <a:pt x="3197" y="1752"/>
                    <a:pt x="3203" y="1768"/>
                  </a:cubicBezTo>
                  <a:cubicBezTo>
                    <a:pt x="3210" y="1784"/>
                    <a:pt x="3211" y="1793"/>
                    <a:pt x="3226" y="1796"/>
                  </a:cubicBezTo>
                  <a:cubicBezTo>
                    <a:pt x="3241" y="1800"/>
                    <a:pt x="3260" y="1797"/>
                    <a:pt x="3257" y="1777"/>
                  </a:cubicBezTo>
                  <a:cubicBezTo>
                    <a:pt x="3254" y="1757"/>
                    <a:pt x="3246" y="1739"/>
                    <a:pt x="3254" y="1732"/>
                  </a:cubicBezTo>
                  <a:cubicBezTo>
                    <a:pt x="3262" y="1724"/>
                    <a:pt x="3264" y="1702"/>
                    <a:pt x="3257" y="1691"/>
                  </a:cubicBezTo>
                  <a:cubicBezTo>
                    <a:pt x="3251" y="1680"/>
                    <a:pt x="3239" y="1673"/>
                    <a:pt x="3230" y="1677"/>
                  </a:cubicBezTo>
                  <a:cubicBezTo>
                    <a:pt x="3222" y="1681"/>
                    <a:pt x="3212" y="1692"/>
                    <a:pt x="3209" y="1675"/>
                  </a:cubicBezTo>
                  <a:cubicBezTo>
                    <a:pt x="3206" y="1658"/>
                    <a:pt x="3239" y="1667"/>
                    <a:pt x="3228" y="1652"/>
                  </a:cubicBezTo>
                  <a:cubicBezTo>
                    <a:pt x="3217" y="1637"/>
                    <a:pt x="3211" y="1651"/>
                    <a:pt x="3195" y="1634"/>
                  </a:cubicBezTo>
                  <a:cubicBezTo>
                    <a:pt x="3179" y="1617"/>
                    <a:pt x="3163" y="1617"/>
                    <a:pt x="3141" y="1603"/>
                  </a:cubicBezTo>
                  <a:cubicBezTo>
                    <a:pt x="3120" y="1589"/>
                    <a:pt x="3079" y="1564"/>
                    <a:pt x="3066" y="1564"/>
                  </a:cubicBezTo>
                  <a:cubicBezTo>
                    <a:pt x="3053" y="1564"/>
                    <a:pt x="3042" y="1564"/>
                    <a:pt x="3036" y="1581"/>
                  </a:cubicBezTo>
                  <a:cubicBezTo>
                    <a:pt x="3029" y="1598"/>
                    <a:pt x="3009" y="1603"/>
                    <a:pt x="3011" y="1593"/>
                  </a:cubicBezTo>
                  <a:cubicBezTo>
                    <a:pt x="3013" y="1583"/>
                    <a:pt x="3013" y="1573"/>
                    <a:pt x="2996" y="1572"/>
                  </a:cubicBezTo>
                  <a:cubicBezTo>
                    <a:pt x="2979" y="1571"/>
                    <a:pt x="2963" y="1561"/>
                    <a:pt x="2985" y="1558"/>
                  </a:cubicBezTo>
                  <a:cubicBezTo>
                    <a:pt x="3008" y="1554"/>
                    <a:pt x="3057" y="1561"/>
                    <a:pt x="3057" y="1548"/>
                  </a:cubicBezTo>
                  <a:cubicBezTo>
                    <a:pt x="3057" y="1535"/>
                    <a:pt x="3031" y="1523"/>
                    <a:pt x="3019" y="1522"/>
                  </a:cubicBezTo>
                  <a:cubicBezTo>
                    <a:pt x="3006" y="1521"/>
                    <a:pt x="2985" y="1526"/>
                    <a:pt x="2977" y="1535"/>
                  </a:cubicBezTo>
                  <a:cubicBezTo>
                    <a:pt x="2968" y="1544"/>
                    <a:pt x="2948" y="1538"/>
                    <a:pt x="2927" y="1529"/>
                  </a:cubicBezTo>
                  <a:cubicBezTo>
                    <a:pt x="2907" y="1519"/>
                    <a:pt x="2906" y="1507"/>
                    <a:pt x="2926" y="1508"/>
                  </a:cubicBezTo>
                  <a:cubicBezTo>
                    <a:pt x="2947" y="1509"/>
                    <a:pt x="2971" y="1521"/>
                    <a:pt x="2982" y="1514"/>
                  </a:cubicBezTo>
                  <a:cubicBezTo>
                    <a:pt x="2993" y="1506"/>
                    <a:pt x="3009" y="1504"/>
                    <a:pt x="3017" y="1504"/>
                  </a:cubicBezTo>
                  <a:cubicBezTo>
                    <a:pt x="3026" y="1504"/>
                    <a:pt x="3042" y="1506"/>
                    <a:pt x="3040" y="1495"/>
                  </a:cubicBezTo>
                  <a:cubicBezTo>
                    <a:pt x="3038" y="1485"/>
                    <a:pt x="3007" y="1481"/>
                    <a:pt x="2995" y="1477"/>
                  </a:cubicBezTo>
                  <a:cubicBezTo>
                    <a:pt x="2983" y="1473"/>
                    <a:pt x="2964" y="1473"/>
                    <a:pt x="2949" y="1479"/>
                  </a:cubicBezTo>
                  <a:cubicBezTo>
                    <a:pt x="2934" y="1486"/>
                    <a:pt x="2892" y="1500"/>
                    <a:pt x="2887" y="1487"/>
                  </a:cubicBezTo>
                  <a:cubicBezTo>
                    <a:pt x="2883" y="1474"/>
                    <a:pt x="2897" y="1471"/>
                    <a:pt x="2915" y="1471"/>
                  </a:cubicBezTo>
                  <a:cubicBezTo>
                    <a:pt x="2934" y="1471"/>
                    <a:pt x="2928" y="1459"/>
                    <a:pt x="2913" y="1453"/>
                  </a:cubicBezTo>
                  <a:cubicBezTo>
                    <a:pt x="2898" y="1448"/>
                    <a:pt x="2897" y="1429"/>
                    <a:pt x="2920" y="1440"/>
                  </a:cubicBezTo>
                  <a:cubicBezTo>
                    <a:pt x="2942" y="1452"/>
                    <a:pt x="2990" y="1473"/>
                    <a:pt x="3008" y="1452"/>
                  </a:cubicBezTo>
                  <a:cubicBezTo>
                    <a:pt x="3026" y="1432"/>
                    <a:pt x="3050" y="1447"/>
                    <a:pt x="3049" y="1434"/>
                  </a:cubicBezTo>
                  <a:cubicBezTo>
                    <a:pt x="3048" y="1421"/>
                    <a:pt x="3037" y="1417"/>
                    <a:pt x="3025" y="1410"/>
                  </a:cubicBezTo>
                  <a:cubicBezTo>
                    <a:pt x="3013" y="1404"/>
                    <a:pt x="2998" y="1389"/>
                    <a:pt x="3001" y="1382"/>
                  </a:cubicBezTo>
                  <a:cubicBezTo>
                    <a:pt x="3005" y="1376"/>
                    <a:pt x="3028" y="1392"/>
                    <a:pt x="3040" y="1404"/>
                  </a:cubicBezTo>
                  <a:cubicBezTo>
                    <a:pt x="3052" y="1416"/>
                    <a:pt x="3064" y="1431"/>
                    <a:pt x="3076" y="1426"/>
                  </a:cubicBezTo>
                  <a:cubicBezTo>
                    <a:pt x="3087" y="1422"/>
                    <a:pt x="3082" y="1410"/>
                    <a:pt x="3090" y="1404"/>
                  </a:cubicBezTo>
                  <a:cubicBezTo>
                    <a:pt x="3097" y="1397"/>
                    <a:pt x="3112" y="1396"/>
                    <a:pt x="3112" y="1408"/>
                  </a:cubicBezTo>
                  <a:cubicBezTo>
                    <a:pt x="3112" y="1420"/>
                    <a:pt x="3120" y="1426"/>
                    <a:pt x="3137" y="1434"/>
                  </a:cubicBezTo>
                  <a:cubicBezTo>
                    <a:pt x="3154" y="1442"/>
                    <a:pt x="3156" y="1453"/>
                    <a:pt x="3178" y="1458"/>
                  </a:cubicBezTo>
                  <a:cubicBezTo>
                    <a:pt x="3199" y="1462"/>
                    <a:pt x="3226" y="1474"/>
                    <a:pt x="3236" y="1460"/>
                  </a:cubicBezTo>
                  <a:cubicBezTo>
                    <a:pt x="3245" y="1446"/>
                    <a:pt x="3266" y="1440"/>
                    <a:pt x="3289" y="1440"/>
                  </a:cubicBezTo>
                  <a:cubicBezTo>
                    <a:pt x="3313" y="1440"/>
                    <a:pt x="3337" y="1445"/>
                    <a:pt x="3334" y="1425"/>
                  </a:cubicBezTo>
                  <a:cubicBezTo>
                    <a:pt x="3330" y="1406"/>
                    <a:pt x="3331" y="1409"/>
                    <a:pt x="3340" y="1403"/>
                  </a:cubicBezTo>
                  <a:cubicBezTo>
                    <a:pt x="3349" y="1396"/>
                    <a:pt x="3350" y="1387"/>
                    <a:pt x="3331" y="1386"/>
                  </a:cubicBezTo>
                  <a:cubicBezTo>
                    <a:pt x="3313" y="1385"/>
                    <a:pt x="3315" y="1386"/>
                    <a:pt x="3299" y="1379"/>
                  </a:cubicBezTo>
                  <a:cubicBezTo>
                    <a:pt x="3283" y="1373"/>
                    <a:pt x="3269" y="1368"/>
                    <a:pt x="3255" y="1368"/>
                  </a:cubicBezTo>
                  <a:cubicBezTo>
                    <a:pt x="3241" y="1368"/>
                    <a:pt x="3238" y="1372"/>
                    <a:pt x="3244" y="1382"/>
                  </a:cubicBezTo>
                  <a:cubicBezTo>
                    <a:pt x="3251" y="1393"/>
                    <a:pt x="3264" y="1409"/>
                    <a:pt x="3249" y="1402"/>
                  </a:cubicBezTo>
                  <a:cubicBezTo>
                    <a:pt x="3234" y="1394"/>
                    <a:pt x="3243" y="1375"/>
                    <a:pt x="3226" y="1375"/>
                  </a:cubicBezTo>
                  <a:cubicBezTo>
                    <a:pt x="3209" y="1375"/>
                    <a:pt x="3203" y="1361"/>
                    <a:pt x="3213" y="1358"/>
                  </a:cubicBezTo>
                  <a:cubicBezTo>
                    <a:pt x="3223" y="1354"/>
                    <a:pt x="3226" y="1357"/>
                    <a:pt x="3223" y="1345"/>
                  </a:cubicBezTo>
                  <a:cubicBezTo>
                    <a:pt x="3220" y="1333"/>
                    <a:pt x="3240" y="1323"/>
                    <a:pt x="3246" y="1337"/>
                  </a:cubicBezTo>
                  <a:cubicBezTo>
                    <a:pt x="3253" y="1351"/>
                    <a:pt x="3264" y="1352"/>
                    <a:pt x="3280" y="1354"/>
                  </a:cubicBezTo>
                  <a:cubicBezTo>
                    <a:pt x="3296" y="1357"/>
                    <a:pt x="3311" y="1368"/>
                    <a:pt x="3325" y="1357"/>
                  </a:cubicBezTo>
                  <a:cubicBezTo>
                    <a:pt x="3339" y="1345"/>
                    <a:pt x="3342" y="1349"/>
                    <a:pt x="3360" y="1346"/>
                  </a:cubicBezTo>
                  <a:cubicBezTo>
                    <a:pt x="3379" y="1343"/>
                    <a:pt x="3404" y="1346"/>
                    <a:pt x="3411" y="1329"/>
                  </a:cubicBezTo>
                  <a:cubicBezTo>
                    <a:pt x="3417" y="1311"/>
                    <a:pt x="3416" y="1307"/>
                    <a:pt x="3430" y="1305"/>
                  </a:cubicBezTo>
                  <a:cubicBezTo>
                    <a:pt x="3444" y="1303"/>
                    <a:pt x="3438" y="1292"/>
                    <a:pt x="3429" y="1291"/>
                  </a:cubicBezTo>
                  <a:cubicBezTo>
                    <a:pt x="3421" y="1290"/>
                    <a:pt x="3410" y="1304"/>
                    <a:pt x="3406" y="1294"/>
                  </a:cubicBezTo>
                  <a:cubicBezTo>
                    <a:pt x="3401" y="1285"/>
                    <a:pt x="3397" y="1286"/>
                    <a:pt x="3389" y="1294"/>
                  </a:cubicBezTo>
                  <a:cubicBezTo>
                    <a:pt x="3382" y="1303"/>
                    <a:pt x="3371" y="1297"/>
                    <a:pt x="3363" y="1290"/>
                  </a:cubicBezTo>
                  <a:cubicBezTo>
                    <a:pt x="3354" y="1282"/>
                    <a:pt x="3359" y="1279"/>
                    <a:pt x="3365" y="1274"/>
                  </a:cubicBezTo>
                  <a:cubicBezTo>
                    <a:pt x="3370" y="1268"/>
                    <a:pt x="3373" y="1266"/>
                    <a:pt x="3361" y="1252"/>
                  </a:cubicBezTo>
                  <a:cubicBezTo>
                    <a:pt x="3350" y="1238"/>
                    <a:pt x="3338" y="1236"/>
                    <a:pt x="3329" y="1242"/>
                  </a:cubicBezTo>
                  <a:cubicBezTo>
                    <a:pt x="3321" y="1247"/>
                    <a:pt x="3305" y="1254"/>
                    <a:pt x="3305" y="1239"/>
                  </a:cubicBezTo>
                  <a:cubicBezTo>
                    <a:pt x="3305" y="1224"/>
                    <a:pt x="3324" y="1237"/>
                    <a:pt x="3318" y="1220"/>
                  </a:cubicBezTo>
                  <a:cubicBezTo>
                    <a:pt x="3313" y="1203"/>
                    <a:pt x="3318" y="1201"/>
                    <a:pt x="3334" y="1201"/>
                  </a:cubicBezTo>
                  <a:cubicBezTo>
                    <a:pt x="3349" y="1201"/>
                    <a:pt x="3359" y="1211"/>
                    <a:pt x="3361" y="1219"/>
                  </a:cubicBezTo>
                  <a:cubicBezTo>
                    <a:pt x="3364" y="1227"/>
                    <a:pt x="3388" y="1241"/>
                    <a:pt x="3393" y="1229"/>
                  </a:cubicBezTo>
                  <a:cubicBezTo>
                    <a:pt x="3397" y="1217"/>
                    <a:pt x="3397" y="1189"/>
                    <a:pt x="3403" y="1180"/>
                  </a:cubicBezTo>
                  <a:cubicBezTo>
                    <a:pt x="3410" y="1172"/>
                    <a:pt x="3427" y="1138"/>
                    <a:pt x="3409" y="1128"/>
                  </a:cubicBezTo>
                  <a:cubicBezTo>
                    <a:pt x="3391" y="1117"/>
                    <a:pt x="3388" y="1115"/>
                    <a:pt x="3380" y="1102"/>
                  </a:cubicBezTo>
                  <a:cubicBezTo>
                    <a:pt x="3371" y="1089"/>
                    <a:pt x="3360" y="1081"/>
                    <a:pt x="3345" y="1085"/>
                  </a:cubicBezTo>
                  <a:cubicBezTo>
                    <a:pt x="3330" y="1088"/>
                    <a:pt x="3322" y="1095"/>
                    <a:pt x="3313" y="1084"/>
                  </a:cubicBezTo>
                  <a:cubicBezTo>
                    <a:pt x="3305" y="1072"/>
                    <a:pt x="3295" y="1074"/>
                    <a:pt x="3285" y="1078"/>
                  </a:cubicBezTo>
                  <a:cubicBezTo>
                    <a:pt x="3275" y="1082"/>
                    <a:pt x="3259" y="1088"/>
                    <a:pt x="3259" y="1075"/>
                  </a:cubicBezTo>
                  <a:cubicBezTo>
                    <a:pt x="3259" y="1062"/>
                    <a:pt x="3241" y="1041"/>
                    <a:pt x="3228" y="1036"/>
                  </a:cubicBezTo>
                  <a:cubicBezTo>
                    <a:pt x="3215" y="1032"/>
                    <a:pt x="3189" y="1046"/>
                    <a:pt x="3197" y="1026"/>
                  </a:cubicBezTo>
                  <a:cubicBezTo>
                    <a:pt x="3205" y="1005"/>
                    <a:pt x="3217" y="999"/>
                    <a:pt x="3229" y="1013"/>
                  </a:cubicBezTo>
                  <a:cubicBezTo>
                    <a:pt x="3241" y="1027"/>
                    <a:pt x="3273" y="1037"/>
                    <a:pt x="3278" y="1024"/>
                  </a:cubicBezTo>
                  <a:cubicBezTo>
                    <a:pt x="3282" y="1012"/>
                    <a:pt x="3277" y="1014"/>
                    <a:pt x="3296" y="1012"/>
                  </a:cubicBezTo>
                  <a:cubicBezTo>
                    <a:pt x="3315" y="1009"/>
                    <a:pt x="3342" y="1008"/>
                    <a:pt x="3351" y="1001"/>
                  </a:cubicBezTo>
                  <a:cubicBezTo>
                    <a:pt x="3359" y="993"/>
                    <a:pt x="3364" y="991"/>
                    <a:pt x="3379" y="998"/>
                  </a:cubicBezTo>
                  <a:cubicBezTo>
                    <a:pt x="3394" y="1004"/>
                    <a:pt x="3404" y="1001"/>
                    <a:pt x="3417" y="1004"/>
                  </a:cubicBezTo>
                  <a:cubicBezTo>
                    <a:pt x="3430" y="1007"/>
                    <a:pt x="3446" y="1010"/>
                    <a:pt x="3437" y="1018"/>
                  </a:cubicBezTo>
                  <a:cubicBezTo>
                    <a:pt x="3427" y="1026"/>
                    <a:pt x="3418" y="1041"/>
                    <a:pt x="3423" y="1059"/>
                  </a:cubicBezTo>
                  <a:cubicBezTo>
                    <a:pt x="3427" y="1077"/>
                    <a:pt x="3437" y="1087"/>
                    <a:pt x="3440" y="1100"/>
                  </a:cubicBezTo>
                  <a:cubicBezTo>
                    <a:pt x="3443" y="1113"/>
                    <a:pt x="3466" y="1130"/>
                    <a:pt x="3460" y="1114"/>
                  </a:cubicBezTo>
                  <a:cubicBezTo>
                    <a:pt x="3455" y="1098"/>
                    <a:pt x="3450" y="1086"/>
                    <a:pt x="3450" y="1066"/>
                  </a:cubicBezTo>
                  <a:cubicBezTo>
                    <a:pt x="3450" y="1047"/>
                    <a:pt x="3452" y="1049"/>
                    <a:pt x="3450" y="1034"/>
                  </a:cubicBezTo>
                  <a:cubicBezTo>
                    <a:pt x="3447" y="1019"/>
                    <a:pt x="3441" y="1016"/>
                    <a:pt x="3455" y="1013"/>
                  </a:cubicBezTo>
                  <a:cubicBezTo>
                    <a:pt x="3469" y="1009"/>
                    <a:pt x="3481" y="993"/>
                    <a:pt x="3481" y="978"/>
                  </a:cubicBezTo>
                  <a:cubicBezTo>
                    <a:pt x="3481" y="963"/>
                    <a:pt x="3474" y="942"/>
                    <a:pt x="3465" y="941"/>
                  </a:cubicBezTo>
                  <a:cubicBezTo>
                    <a:pt x="3455" y="940"/>
                    <a:pt x="3432" y="930"/>
                    <a:pt x="3426" y="937"/>
                  </a:cubicBezTo>
                  <a:cubicBezTo>
                    <a:pt x="3420" y="945"/>
                    <a:pt x="3413" y="949"/>
                    <a:pt x="3394" y="938"/>
                  </a:cubicBezTo>
                  <a:cubicBezTo>
                    <a:pt x="3374" y="928"/>
                    <a:pt x="3351" y="931"/>
                    <a:pt x="3339" y="919"/>
                  </a:cubicBezTo>
                  <a:cubicBezTo>
                    <a:pt x="3327" y="907"/>
                    <a:pt x="3335" y="908"/>
                    <a:pt x="3320" y="903"/>
                  </a:cubicBezTo>
                  <a:cubicBezTo>
                    <a:pt x="3305" y="898"/>
                    <a:pt x="3332" y="890"/>
                    <a:pt x="3350" y="890"/>
                  </a:cubicBezTo>
                  <a:cubicBezTo>
                    <a:pt x="3367" y="890"/>
                    <a:pt x="3367" y="897"/>
                    <a:pt x="3385" y="904"/>
                  </a:cubicBezTo>
                  <a:cubicBezTo>
                    <a:pt x="3403" y="912"/>
                    <a:pt x="3413" y="905"/>
                    <a:pt x="3420" y="902"/>
                  </a:cubicBezTo>
                  <a:cubicBezTo>
                    <a:pt x="3426" y="899"/>
                    <a:pt x="3438" y="893"/>
                    <a:pt x="3413" y="880"/>
                  </a:cubicBezTo>
                  <a:cubicBezTo>
                    <a:pt x="3388" y="867"/>
                    <a:pt x="3380" y="862"/>
                    <a:pt x="3366" y="854"/>
                  </a:cubicBezTo>
                  <a:cubicBezTo>
                    <a:pt x="3352" y="845"/>
                    <a:pt x="3350" y="855"/>
                    <a:pt x="3327" y="849"/>
                  </a:cubicBezTo>
                  <a:cubicBezTo>
                    <a:pt x="3305" y="844"/>
                    <a:pt x="3296" y="838"/>
                    <a:pt x="3287" y="851"/>
                  </a:cubicBezTo>
                  <a:cubicBezTo>
                    <a:pt x="3279" y="864"/>
                    <a:pt x="3277" y="897"/>
                    <a:pt x="3265" y="897"/>
                  </a:cubicBezTo>
                  <a:cubicBezTo>
                    <a:pt x="3253" y="897"/>
                    <a:pt x="3239" y="899"/>
                    <a:pt x="3245" y="878"/>
                  </a:cubicBezTo>
                  <a:cubicBezTo>
                    <a:pt x="3252" y="858"/>
                    <a:pt x="3283" y="835"/>
                    <a:pt x="3283" y="813"/>
                  </a:cubicBezTo>
                  <a:cubicBezTo>
                    <a:pt x="3283" y="790"/>
                    <a:pt x="3280" y="795"/>
                    <a:pt x="3289" y="778"/>
                  </a:cubicBezTo>
                  <a:cubicBezTo>
                    <a:pt x="3299" y="761"/>
                    <a:pt x="3285" y="733"/>
                    <a:pt x="3314" y="730"/>
                  </a:cubicBezTo>
                  <a:cubicBezTo>
                    <a:pt x="3343" y="727"/>
                    <a:pt x="3372" y="741"/>
                    <a:pt x="3372" y="717"/>
                  </a:cubicBezTo>
                  <a:cubicBezTo>
                    <a:pt x="3372" y="693"/>
                    <a:pt x="3368" y="697"/>
                    <a:pt x="3386" y="690"/>
                  </a:cubicBezTo>
                  <a:cubicBezTo>
                    <a:pt x="3404" y="684"/>
                    <a:pt x="3423" y="675"/>
                    <a:pt x="3416" y="668"/>
                  </a:cubicBezTo>
                  <a:cubicBezTo>
                    <a:pt x="3410" y="660"/>
                    <a:pt x="3375" y="668"/>
                    <a:pt x="3379" y="656"/>
                  </a:cubicBezTo>
                  <a:cubicBezTo>
                    <a:pt x="3382" y="644"/>
                    <a:pt x="3396" y="640"/>
                    <a:pt x="3396" y="620"/>
                  </a:cubicBezTo>
                  <a:cubicBezTo>
                    <a:pt x="3396" y="601"/>
                    <a:pt x="3398" y="598"/>
                    <a:pt x="3409" y="596"/>
                  </a:cubicBezTo>
                  <a:cubicBezTo>
                    <a:pt x="3420" y="593"/>
                    <a:pt x="3434" y="591"/>
                    <a:pt x="3437" y="597"/>
                  </a:cubicBezTo>
                  <a:cubicBezTo>
                    <a:pt x="3440" y="602"/>
                    <a:pt x="3449" y="608"/>
                    <a:pt x="3466" y="606"/>
                  </a:cubicBezTo>
                  <a:cubicBezTo>
                    <a:pt x="3483" y="604"/>
                    <a:pt x="3496" y="602"/>
                    <a:pt x="3504" y="585"/>
                  </a:cubicBezTo>
                  <a:cubicBezTo>
                    <a:pt x="3513" y="568"/>
                    <a:pt x="3536" y="566"/>
                    <a:pt x="3522" y="557"/>
                  </a:cubicBezTo>
                  <a:cubicBezTo>
                    <a:pt x="3508" y="547"/>
                    <a:pt x="3501" y="549"/>
                    <a:pt x="3481" y="551"/>
                  </a:cubicBezTo>
                  <a:cubicBezTo>
                    <a:pt x="3460" y="554"/>
                    <a:pt x="3442" y="561"/>
                    <a:pt x="3427" y="553"/>
                  </a:cubicBezTo>
                  <a:cubicBezTo>
                    <a:pt x="3412" y="544"/>
                    <a:pt x="3414" y="546"/>
                    <a:pt x="3395" y="548"/>
                  </a:cubicBezTo>
                  <a:cubicBezTo>
                    <a:pt x="3375" y="550"/>
                    <a:pt x="3377" y="547"/>
                    <a:pt x="3368" y="564"/>
                  </a:cubicBezTo>
                  <a:cubicBezTo>
                    <a:pt x="3359" y="582"/>
                    <a:pt x="3345" y="594"/>
                    <a:pt x="3334" y="586"/>
                  </a:cubicBezTo>
                  <a:cubicBezTo>
                    <a:pt x="3322" y="577"/>
                    <a:pt x="3309" y="560"/>
                    <a:pt x="3330" y="549"/>
                  </a:cubicBezTo>
                  <a:cubicBezTo>
                    <a:pt x="3352" y="539"/>
                    <a:pt x="3355" y="539"/>
                    <a:pt x="3360" y="531"/>
                  </a:cubicBezTo>
                  <a:cubicBezTo>
                    <a:pt x="3366" y="523"/>
                    <a:pt x="3380" y="521"/>
                    <a:pt x="3399" y="522"/>
                  </a:cubicBezTo>
                  <a:cubicBezTo>
                    <a:pt x="3418" y="523"/>
                    <a:pt x="3424" y="520"/>
                    <a:pt x="3441" y="528"/>
                  </a:cubicBezTo>
                  <a:cubicBezTo>
                    <a:pt x="3458" y="535"/>
                    <a:pt x="3465" y="536"/>
                    <a:pt x="3478" y="530"/>
                  </a:cubicBezTo>
                  <a:cubicBezTo>
                    <a:pt x="3490" y="523"/>
                    <a:pt x="3503" y="525"/>
                    <a:pt x="3512" y="528"/>
                  </a:cubicBezTo>
                  <a:cubicBezTo>
                    <a:pt x="3521" y="531"/>
                    <a:pt x="3532" y="534"/>
                    <a:pt x="3559" y="525"/>
                  </a:cubicBezTo>
                  <a:cubicBezTo>
                    <a:pt x="3586" y="515"/>
                    <a:pt x="3582" y="512"/>
                    <a:pt x="3598" y="501"/>
                  </a:cubicBezTo>
                  <a:cubicBezTo>
                    <a:pt x="3614" y="490"/>
                    <a:pt x="3613" y="483"/>
                    <a:pt x="3592" y="483"/>
                  </a:cubicBezTo>
                  <a:cubicBezTo>
                    <a:pt x="3570" y="483"/>
                    <a:pt x="3555" y="479"/>
                    <a:pt x="3538" y="474"/>
                  </a:cubicBezTo>
                  <a:cubicBezTo>
                    <a:pt x="3521" y="469"/>
                    <a:pt x="3508" y="476"/>
                    <a:pt x="3495" y="482"/>
                  </a:cubicBezTo>
                  <a:cubicBezTo>
                    <a:pt x="3482" y="487"/>
                    <a:pt x="3454" y="494"/>
                    <a:pt x="3445" y="483"/>
                  </a:cubicBezTo>
                  <a:cubicBezTo>
                    <a:pt x="3437" y="471"/>
                    <a:pt x="3447" y="469"/>
                    <a:pt x="3463" y="467"/>
                  </a:cubicBezTo>
                  <a:cubicBezTo>
                    <a:pt x="3478" y="464"/>
                    <a:pt x="3486" y="468"/>
                    <a:pt x="3490" y="456"/>
                  </a:cubicBezTo>
                  <a:cubicBezTo>
                    <a:pt x="3495" y="444"/>
                    <a:pt x="3511" y="448"/>
                    <a:pt x="3527" y="453"/>
                  </a:cubicBezTo>
                  <a:cubicBezTo>
                    <a:pt x="3543" y="457"/>
                    <a:pt x="3595" y="471"/>
                    <a:pt x="3610" y="461"/>
                  </a:cubicBezTo>
                  <a:cubicBezTo>
                    <a:pt x="3625" y="451"/>
                    <a:pt x="3624" y="444"/>
                    <a:pt x="3647" y="444"/>
                  </a:cubicBezTo>
                  <a:cubicBezTo>
                    <a:pt x="3671" y="444"/>
                    <a:pt x="3713" y="442"/>
                    <a:pt x="3712" y="432"/>
                  </a:cubicBezTo>
                  <a:cubicBezTo>
                    <a:pt x="3711" y="422"/>
                    <a:pt x="3689" y="430"/>
                    <a:pt x="3689" y="413"/>
                  </a:cubicBezTo>
                  <a:cubicBezTo>
                    <a:pt x="3689" y="396"/>
                    <a:pt x="3694" y="397"/>
                    <a:pt x="3715" y="402"/>
                  </a:cubicBezTo>
                  <a:cubicBezTo>
                    <a:pt x="3737" y="407"/>
                    <a:pt x="3757" y="405"/>
                    <a:pt x="3767" y="392"/>
                  </a:cubicBezTo>
                  <a:cubicBezTo>
                    <a:pt x="3776" y="379"/>
                    <a:pt x="3791" y="364"/>
                    <a:pt x="3822" y="357"/>
                  </a:cubicBezTo>
                  <a:cubicBezTo>
                    <a:pt x="3852" y="349"/>
                    <a:pt x="3868" y="346"/>
                    <a:pt x="3867" y="336"/>
                  </a:cubicBezTo>
                  <a:cubicBezTo>
                    <a:pt x="3866" y="327"/>
                    <a:pt x="3873" y="325"/>
                    <a:pt x="3854" y="319"/>
                  </a:cubicBezTo>
                  <a:cubicBezTo>
                    <a:pt x="3834" y="314"/>
                    <a:pt x="3827" y="300"/>
                    <a:pt x="3810" y="300"/>
                  </a:cubicBezTo>
                  <a:cubicBezTo>
                    <a:pt x="3793" y="300"/>
                    <a:pt x="3755" y="293"/>
                    <a:pt x="3740" y="288"/>
                  </a:cubicBezTo>
                  <a:cubicBezTo>
                    <a:pt x="3725" y="283"/>
                    <a:pt x="3685" y="277"/>
                    <a:pt x="3671" y="277"/>
                  </a:cubicBezTo>
                  <a:cubicBezTo>
                    <a:pt x="3657" y="277"/>
                    <a:pt x="3619" y="274"/>
                    <a:pt x="3602" y="275"/>
                  </a:cubicBezTo>
                  <a:cubicBezTo>
                    <a:pt x="3585" y="276"/>
                    <a:pt x="3545" y="282"/>
                    <a:pt x="3536" y="291"/>
                  </a:cubicBezTo>
                  <a:cubicBezTo>
                    <a:pt x="3526" y="301"/>
                    <a:pt x="3525" y="306"/>
                    <a:pt x="3516" y="306"/>
                  </a:cubicBezTo>
                  <a:cubicBezTo>
                    <a:pt x="3508" y="306"/>
                    <a:pt x="3503" y="312"/>
                    <a:pt x="3502" y="318"/>
                  </a:cubicBezTo>
                  <a:cubicBezTo>
                    <a:pt x="3501" y="325"/>
                    <a:pt x="3507" y="334"/>
                    <a:pt x="3495" y="334"/>
                  </a:cubicBezTo>
                  <a:cubicBezTo>
                    <a:pt x="3483" y="334"/>
                    <a:pt x="3494" y="350"/>
                    <a:pt x="3478" y="350"/>
                  </a:cubicBezTo>
                  <a:cubicBezTo>
                    <a:pt x="3461" y="350"/>
                    <a:pt x="3454" y="339"/>
                    <a:pt x="3438" y="339"/>
                  </a:cubicBezTo>
                  <a:cubicBezTo>
                    <a:pt x="3422" y="339"/>
                    <a:pt x="3426" y="327"/>
                    <a:pt x="3404" y="331"/>
                  </a:cubicBezTo>
                  <a:cubicBezTo>
                    <a:pt x="3383" y="335"/>
                    <a:pt x="3381" y="333"/>
                    <a:pt x="3372" y="342"/>
                  </a:cubicBezTo>
                  <a:cubicBezTo>
                    <a:pt x="3364" y="350"/>
                    <a:pt x="3342" y="350"/>
                    <a:pt x="3345" y="339"/>
                  </a:cubicBezTo>
                  <a:cubicBezTo>
                    <a:pt x="3349" y="327"/>
                    <a:pt x="3370" y="315"/>
                    <a:pt x="3358" y="316"/>
                  </a:cubicBezTo>
                  <a:cubicBezTo>
                    <a:pt x="3346" y="317"/>
                    <a:pt x="3322" y="321"/>
                    <a:pt x="3311" y="332"/>
                  </a:cubicBezTo>
                  <a:cubicBezTo>
                    <a:pt x="3300" y="343"/>
                    <a:pt x="3280" y="353"/>
                    <a:pt x="3268" y="365"/>
                  </a:cubicBezTo>
                  <a:cubicBezTo>
                    <a:pt x="3256" y="378"/>
                    <a:pt x="3254" y="389"/>
                    <a:pt x="3234" y="388"/>
                  </a:cubicBezTo>
                  <a:cubicBezTo>
                    <a:pt x="3213" y="387"/>
                    <a:pt x="3206" y="399"/>
                    <a:pt x="3196" y="407"/>
                  </a:cubicBezTo>
                  <a:cubicBezTo>
                    <a:pt x="3186" y="416"/>
                    <a:pt x="3177" y="417"/>
                    <a:pt x="3158" y="429"/>
                  </a:cubicBezTo>
                  <a:cubicBezTo>
                    <a:pt x="3140" y="441"/>
                    <a:pt x="3142" y="445"/>
                    <a:pt x="3131" y="455"/>
                  </a:cubicBezTo>
                  <a:cubicBezTo>
                    <a:pt x="3121" y="464"/>
                    <a:pt x="3103" y="470"/>
                    <a:pt x="3101" y="465"/>
                  </a:cubicBezTo>
                  <a:cubicBezTo>
                    <a:pt x="3099" y="461"/>
                    <a:pt x="3122" y="448"/>
                    <a:pt x="3125" y="435"/>
                  </a:cubicBezTo>
                  <a:cubicBezTo>
                    <a:pt x="3128" y="422"/>
                    <a:pt x="3157" y="407"/>
                    <a:pt x="3169" y="394"/>
                  </a:cubicBezTo>
                  <a:cubicBezTo>
                    <a:pt x="3181" y="382"/>
                    <a:pt x="3212" y="373"/>
                    <a:pt x="3224" y="353"/>
                  </a:cubicBezTo>
                  <a:cubicBezTo>
                    <a:pt x="3236" y="332"/>
                    <a:pt x="3238" y="315"/>
                    <a:pt x="3238" y="295"/>
                  </a:cubicBezTo>
                  <a:cubicBezTo>
                    <a:pt x="3238" y="274"/>
                    <a:pt x="3241" y="263"/>
                    <a:pt x="3223" y="255"/>
                  </a:cubicBezTo>
                  <a:cubicBezTo>
                    <a:pt x="3205" y="246"/>
                    <a:pt x="3205" y="254"/>
                    <a:pt x="3184" y="254"/>
                  </a:cubicBezTo>
                  <a:cubicBezTo>
                    <a:pt x="3164" y="254"/>
                    <a:pt x="3113" y="253"/>
                    <a:pt x="3111" y="272"/>
                  </a:cubicBezTo>
                  <a:cubicBezTo>
                    <a:pt x="3109" y="291"/>
                    <a:pt x="3101" y="313"/>
                    <a:pt x="3084" y="312"/>
                  </a:cubicBezTo>
                  <a:cubicBezTo>
                    <a:pt x="3067" y="311"/>
                    <a:pt x="3038" y="313"/>
                    <a:pt x="3030" y="320"/>
                  </a:cubicBezTo>
                  <a:cubicBezTo>
                    <a:pt x="3023" y="328"/>
                    <a:pt x="2988" y="328"/>
                    <a:pt x="2972" y="333"/>
                  </a:cubicBezTo>
                  <a:cubicBezTo>
                    <a:pt x="2956" y="339"/>
                    <a:pt x="2948" y="347"/>
                    <a:pt x="2931" y="353"/>
                  </a:cubicBezTo>
                  <a:cubicBezTo>
                    <a:pt x="2915" y="358"/>
                    <a:pt x="2899" y="364"/>
                    <a:pt x="2893" y="358"/>
                  </a:cubicBezTo>
                  <a:cubicBezTo>
                    <a:pt x="2886" y="351"/>
                    <a:pt x="2892" y="340"/>
                    <a:pt x="2909" y="336"/>
                  </a:cubicBezTo>
                  <a:cubicBezTo>
                    <a:pt x="2926" y="333"/>
                    <a:pt x="2945" y="330"/>
                    <a:pt x="2956" y="321"/>
                  </a:cubicBezTo>
                  <a:cubicBezTo>
                    <a:pt x="2967" y="313"/>
                    <a:pt x="3000" y="314"/>
                    <a:pt x="3014" y="304"/>
                  </a:cubicBezTo>
                  <a:cubicBezTo>
                    <a:pt x="3028" y="295"/>
                    <a:pt x="3041" y="292"/>
                    <a:pt x="3031" y="279"/>
                  </a:cubicBezTo>
                  <a:cubicBezTo>
                    <a:pt x="3022" y="267"/>
                    <a:pt x="3020" y="269"/>
                    <a:pt x="2992" y="264"/>
                  </a:cubicBezTo>
                  <a:cubicBezTo>
                    <a:pt x="2964" y="260"/>
                    <a:pt x="2925" y="260"/>
                    <a:pt x="2896" y="260"/>
                  </a:cubicBezTo>
                  <a:cubicBezTo>
                    <a:pt x="2867" y="260"/>
                    <a:pt x="2824" y="261"/>
                    <a:pt x="2804" y="265"/>
                  </a:cubicBezTo>
                  <a:cubicBezTo>
                    <a:pt x="2783" y="270"/>
                    <a:pt x="2770" y="274"/>
                    <a:pt x="2743" y="276"/>
                  </a:cubicBezTo>
                  <a:cubicBezTo>
                    <a:pt x="2716" y="278"/>
                    <a:pt x="2689" y="277"/>
                    <a:pt x="2670" y="283"/>
                  </a:cubicBezTo>
                  <a:cubicBezTo>
                    <a:pt x="2652" y="288"/>
                    <a:pt x="2623" y="291"/>
                    <a:pt x="2608" y="296"/>
                  </a:cubicBezTo>
                  <a:cubicBezTo>
                    <a:pt x="2593" y="300"/>
                    <a:pt x="2582" y="301"/>
                    <a:pt x="2571" y="306"/>
                  </a:cubicBezTo>
                  <a:cubicBezTo>
                    <a:pt x="2561" y="312"/>
                    <a:pt x="2539" y="311"/>
                    <a:pt x="2538" y="300"/>
                  </a:cubicBezTo>
                  <a:cubicBezTo>
                    <a:pt x="2537" y="289"/>
                    <a:pt x="2541" y="278"/>
                    <a:pt x="2561" y="278"/>
                  </a:cubicBezTo>
                  <a:cubicBezTo>
                    <a:pt x="2580" y="278"/>
                    <a:pt x="2648" y="269"/>
                    <a:pt x="2655" y="264"/>
                  </a:cubicBezTo>
                  <a:cubicBezTo>
                    <a:pt x="2663" y="260"/>
                    <a:pt x="2723" y="252"/>
                    <a:pt x="2739" y="244"/>
                  </a:cubicBezTo>
                  <a:cubicBezTo>
                    <a:pt x="2755" y="236"/>
                    <a:pt x="2824" y="235"/>
                    <a:pt x="2862" y="238"/>
                  </a:cubicBezTo>
                  <a:cubicBezTo>
                    <a:pt x="2899" y="240"/>
                    <a:pt x="3035" y="247"/>
                    <a:pt x="3060" y="240"/>
                  </a:cubicBezTo>
                  <a:cubicBezTo>
                    <a:pt x="3086" y="232"/>
                    <a:pt x="3099" y="222"/>
                    <a:pt x="3134" y="221"/>
                  </a:cubicBezTo>
                  <a:cubicBezTo>
                    <a:pt x="3168" y="220"/>
                    <a:pt x="3217" y="210"/>
                    <a:pt x="3239" y="196"/>
                  </a:cubicBezTo>
                  <a:cubicBezTo>
                    <a:pt x="3260" y="182"/>
                    <a:pt x="3295" y="175"/>
                    <a:pt x="3266" y="164"/>
                  </a:cubicBezTo>
                  <a:cubicBezTo>
                    <a:pt x="3237" y="154"/>
                    <a:pt x="3219" y="143"/>
                    <a:pt x="3200" y="142"/>
                  </a:cubicBezTo>
                  <a:cubicBezTo>
                    <a:pt x="3182" y="141"/>
                    <a:pt x="3174" y="149"/>
                    <a:pt x="3166" y="141"/>
                  </a:cubicBezTo>
                  <a:cubicBezTo>
                    <a:pt x="3157" y="132"/>
                    <a:pt x="3149" y="127"/>
                    <a:pt x="3139" y="134"/>
                  </a:cubicBezTo>
                  <a:cubicBezTo>
                    <a:pt x="3129" y="142"/>
                    <a:pt x="3122" y="149"/>
                    <a:pt x="3114" y="141"/>
                  </a:cubicBezTo>
                  <a:cubicBezTo>
                    <a:pt x="3107" y="132"/>
                    <a:pt x="3103" y="125"/>
                    <a:pt x="3088" y="124"/>
                  </a:cubicBezTo>
                  <a:cubicBezTo>
                    <a:pt x="3073" y="123"/>
                    <a:pt x="3070" y="117"/>
                    <a:pt x="3062" y="128"/>
                  </a:cubicBezTo>
                  <a:cubicBezTo>
                    <a:pt x="3053" y="139"/>
                    <a:pt x="3039" y="142"/>
                    <a:pt x="3039" y="131"/>
                  </a:cubicBezTo>
                  <a:cubicBezTo>
                    <a:pt x="3039" y="120"/>
                    <a:pt x="3054" y="113"/>
                    <a:pt x="3051" y="102"/>
                  </a:cubicBezTo>
                  <a:cubicBezTo>
                    <a:pt x="3048" y="91"/>
                    <a:pt x="3049" y="78"/>
                    <a:pt x="3031" y="80"/>
                  </a:cubicBezTo>
                  <a:cubicBezTo>
                    <a:pt x="3014" y="81"/>
                    <a:pt x="2994" y="87"/>
                    <a:pt x="2979" y="91"/>
                  </a:cubicBezTo>
                  <a:cubicBezTo>
                    <a:pt x="2964" y="96"/>
                    <a:pt x="2943" y="97"/>
                    <a:pt x="2921" y="99"/>
                  </a:cubicBezTo>
                  <a:cubicBezTo>
                    <a:pt x="2898" y="101"/>
                    <a:pt x="2852" y="102"/>
                    <a:pt x="2835" y="100"/>
                  </a:cubicBezTo>
                  <a:cubicBezTo>
                    <a:pt x="2818" y="98"/>
                    <a:pt x="2794" y="92"/>
                    <a:pt x="2776" y="91"/>
                  </a:cubicBezTo>
                  <a:cubicBezTo>
                    <a:pt x="2757" y="90"/>
                    <a:pt x="2713" y="95"/>
                    <a:pt x="2693" y="98"/>
                  </a:cubicBezTo>
                  <a:cubicBezTo>
                    <a:pt x="2672" y="101"/>
                    <a:pt x="2651" y="104"/>
                    <a:pt x="2638" y="111"/>
                  </a:cubicBezTo>
                  <a:cubicBezTo>
                    <a:pt x="2625" y="117"/>
                    <a:pt x="2599" y="117"/>
                    <a:pt x="2580" y="115"/>
                  </a:cubicBezTo>
                  <a:cubicBezTo>
                    <a:pt x="2561" y="113"/>
                    <a:pt x="2525" y="113"/>
                    <a:pt x="2512" y="121"/>
                  </a:cubicBezTo>
                  <a:cubicBezTo>
                    <a:pt x="2499" y="130"/>
                    <a:pt x="2479" y="124"/>
                    <a:pt x="2462" y="123"/>
                  </a:cubicBezTo>
                  <a:cubicBezTo>
                    <a:pt x="2445" y="121"/>
                    <a:pt x="2392" y="153"/>
                    <a:pt x="2388" y="139"/>
                  </a:cubicBezTo>
                  <a:cubicBezTo>
                    <a:pt x="2383" y="125"/>
                    <a:pt x="2377" y="124"/>
                    <a:pt x="2398" y="119"/>
                  </a:cubicBezTo>
                  <a:cubicBezTo>
                    <a:pt x="2420" y="115"/>
                    <a:pt x="2447" y="107"/>
                    <a:pt x="2464" y="111"/>
                  </a:cubicBezTo>
                  <a:cubicBezTo>
                    <a:pt x="2481" y="114"/>
                    <a:pt x="2499" y="119"/>
                    <a:pt x="2510" y="111"/>
                  </a:cubicBezTo>
                  <a:cubicBezTo>
                    <a:pt x="2521" y="102"/>
                    <a:pt x="2546" y="100"/>
                    <a:pt x="2566" y="100"/>
                  </a:cubicBezTo>
                  <a:cubicBezTo>
                    <a:pt x="2586" y="100"/>
                    <a:pt x="2615" y="105"/>
                    <a:pt x="2637" y="97"/>
                  </a:cubicBezTo>
                  <a:cubicBezTo>
                    <a:pt x="2658" y="88"/>
                    <a:pt x="2685" y="85"/>
                    <a:pt x="2710" y="82"/>
                  </a:cubicBezTo>
                  <a:cubicBezTo>
                    <a:pt x="2735" y="78"/>
                    <a:pt x="2791" y="80"/>
                    <a:pt x="2819" y="83"/>
                  </a:cubicBezTo>
                  <a:cubicBezTo>
                    <a:pt x="2847" y="86"/>
                    <a:pt x="2943" y="84"/>
                    <a:pt x="2962" y="78"/>
                  </a:cubicBezTo>
                  <a:cubicBezTo>
                    <a:pt x="2980" y="73"/>
                    <a:pt x="3008" y="62"/>
                    <a:pt x="2990" y="54"/>
                  </a:cubicBezTo>
                  <a:cubicBezTo>
                    <a:pt x="2971" y="45"/>
                    <a:pt x="2962" y="45"/>
                    <a:pt x="2951" y="45"/>
                  </a:cubicBezTo>
                  <a:cubicBezTo>
                    <a:pt x="2940" y="45"/>
                    <a:pt x="2933" y="34"/>
                    <a:pt x="2912" y="33"/>
                  </a:cubicBezTo>
                  <a:cubicBezTo>
                    <a:pt x="2892" y="32"/>
                    <a:pt x="2897" y="24"/>
                    <a:pt x="2877" y="26"/>
                  </a:cubicBezTo>
                  <a:cubicBezTo>
                    <a:pt x="2856" y="28"/>
                    <a:pt x="2833" y="35"/>
                    <a:pt x="2815" y="31"/>
                  </a:cubicBezTo>
                  <a:cubicBezTo>
                    <a:pt x="2798" y="27"/>
                    <a:pt x="2779" y="15"/>
                    <a:pt x="2761" y="15"/>
                  </a:cubicBezTo>
                  <a:cubicBezTo>
                    <a:pt x="2742" y="15"/>
                    <a:pt x="2705" y="10"/>
                    <a:pt x="2680" y="11"/>
                  </a:cubicBezTo>
                  <a:cubicBezTo>
                    <a:pt x="2655" y="12"/>
                    <a:pt x="2597" y="10"/>
                    <a:pt x="2580" y="6"/>
                  </a:cubicBezTo>
                  <a:cubicBezTo>
                    <a:pt x="2563" y="3"/>
                    <a:pt x="2563" y="0"/>
                    <a:pt x="2540" y="0"/>
                  </a:cubicBezTo>
                  <a:cubicBezTo>
                    <a:pt x="2518" y="0"/>
                    <a:pt x="2499" y="5"/>
                    <a:pt x="2493" y="14"/>
                  </a:cubicBezTo>
                  <a:cubicBezTo>
                    <a:pt x="2486" y="23"/>
                    <a:pt x="2467" y="28"/>
                    <a:pt x="2456" y="17"/>
                  </a:cubicBezTo>
                  <a:cubicBezTo>
                    <a:pt x="2446" y="6"/>
                    <a:pt x="2435" y="11"/>
                    <a:pt x="2409" y="14"/>
                  </a:cubicBezTo>
                  <a:cubicBezTo>
                    <a:pt x="2383" y="17"/>
                    <a:pt x="2306" y="9"/>
                    <a:pt x="2307" y="17"/>
                  </a:cubicBezTo>
                  <a:cubicBezTo>
                    <a:pt x="2308" y="26"/>
                    <a:pt x="2308" y="42"/>
                    <a:pt x="2280" y="34"/>
                  </a:cubicBezTo>
                  <a:cubicBezTo>
                    <a:pt x="2252" y="27"/>
                    <a:pt x="2239" y="16"/>
                    <a:pt x="2234" y="27"/>
                  </a:cubicBezTo>
                  <a:cubicBezTo>
                    <a:pt x="2228" y="38"/>
                    <a:pt x="2227" y="50"/>
                    <a:pt x="2211" y="40"/>
                  </a:cubicBezTo>
                  <a:cubicBezTo>
                    <a:pt x="2195" y="29"/>
                    <a:pt x="2173" y="27"/>
                    <a:pt x="2173" y="39"/>
                  </a:cubicBezTo>
                  <a:cubicBezTo>
                    <a:pt x="2173" y="50"/>
                    <a:pt x="2175" y="66"/>
                    <a:pt x="2185" y="69"/>
                  </a:cubicBezTo>
                  <a:cubicBezTo>
                    <a:pt x="2196" y="72"/>
                    <a:pt x="2242" y="71"/>
                    <a:pt x="2242" y="78"/>
                  </a:cubicBezTo>
                  <a:cubicBezTo>
                    <a:pt x="2242" y="86"/>
                    <a:pt x="2221" y="90"/>
                    <a:pt x="2211" y="90"/>
                  </a:cubicBezTo>
                  <a:cubicBezTo>
                    <a:pt x="2202" y="90"/>
                    <a:pt x="2199" y="98"/>
                    <a:pt x="2181" y="100"/>
                  </a:cubicBezTo>
                  <a:cubicBezTo>
                    <a:pt x="2163" y="102"/>
                    <a:pt x="2149" y="105"/>
                    <a:pt x="2159" y="113"/>
                  </a:cubicBezTo>
                  <a:cubicBezTo>
                    <a:pt x="2168" y="120"/>
                    <a:pt x="2184" y="128"/>
                    <a:pt x="2175" y="132"/>
                  </a:cubicBezTo>
                  <a:cubicBezTo>
                    <a:pt x="2165" y="136"/>
                    <a:pt x="2165" y="129"/>
                    <a:pt x="2148" y="124"/>
                  </a:cubicBezTo>
                  <a:cubicBezTo>
                    <a:pt x="2131" y="118"/>
                    <a:pt x="2113" y="113"/>
                    <a:pt x="2130" y="100"/>
                  </a:cubicBezTo>
                  <a:cubicBezTo>
                    <a:pt x="2146" y="87"/>
                    <a:pt x="2153" y="86"/>
                    <a:pt x="2163" y="86"/>
                  </a:cubicBezTo>
                  <a:cubicBezTo>
                    <a:pt x="2173" y="86"/>
                    <a:pt x="2178" y="73"/>
                    <a:pt x="2161" y="73"/>
                  </a:cubicBezTo>
                  <a:cubicBezTo>
                    <a:pt x="2144" y="73"/>
                    <a:pt x="2130" y="66"/>
                    <a:pt x="2119" y="59"/>
                  </a:cubicBezTo>
                  <a:cubicBezTo>
                    <a:pt x="2108" y="53"/>
                    <a:pt x="2096" y="53"/>
                    <a:pt x="2082" y="54"/>
                  </a:cubicBezTo>
                  <a:cubicBezTo>
                    <a:pt x="2068" y="55"/>
                    <a:pt x="2062" y="58"/>
                    <a:pt x="2056" y="61"/>
                  </a:cubicBezTo>
                  <a:cubicBezTo>
                    <a:pt x="2051" y="64"/>
                    <a:pt x="2061" y="69"/>
                    <a:pt x="2078" y="69"/>
                  </a:cubicBezTo>
                  <a:cubicBezTo>
                    <a:pt x="2095" y="69"/>
                    <a:pt x="2099" y="63"/>
                    <a:pt x="2101" y="71"/>
                  </a:cubicBezTo>
                  <a:cubicBezTo>
                    <a:pt x="2102" y="78"/>
                    <a:pt x="2073" y="74"/>
                    <a:pt x="2071" y="82"/>
                  </a:cubicBezTo>
                  <a:cubicBezTo>
                    <a:pt x="2070" y="89"/>
                    <a:pt x="2058" y="90"/>
                    <a:pt x="2051" y="84"/>
                  </a:cubicBezTo>
                  <a:cubicBezTo>
                    <a:pt x="2045" y="77"/>
                    <a:pt x="2025" y="75"/>
                    <a:pt x="2020" y="77"/>
                  </a:cubicBezTo>
                  <a:cubicBezTo>
                    <a:pt x="2015" y="80"/>
                    <a:pt x="2004" y="90"/>
                    <a:pt x="1994" y="85"/>
                  </a:cubicBezTo>
                  <a:cubicBezTo>
                    <a:pt x="1984" y="80"/>
                    <a:pt x="1994" y="74"/>
                    <a:pt x="1975" y="69"/>
                  </a:cubicBezTo>
                  <a:cubicBezTo>
                    <a:pt x="1955" y="63"/>
                    <a:pt x="1921" y="59"/>
                    <a:pt x="1904" y="61"/>
                  </a:cubicBezTo>
                  <a:cubicBezTo>
                    <a:pt x="1887" y="63"/>
                    <a:pt x="1869" y="80"/>
                    <a:pt x="1844" y="80"/>
                  </a:cubicBezTo>
                  <a:cubicBezTo>
                    <a:pt x="1818" y="80"/>
                    <a:pt x="1774" y="78"/>
                    <a:pt x="1767" y="84"/>
                  </a:cubicBezTo>
                  <a:cubicBezTo>
                    <a:pt x="1761" y="89"/>
                    <a:pt x="1774" y="92"/>
                    <a:pt x="1784" y="101"/>
                  </a:cubicBezTo>
                  <a:cubicBezTo>
                    <a:pt x="1795" y="110"/>
                    <a:pt x="1797" y="118"/>
                    <a:pt x="1778" y="112"/>
                  </a:cubicBezTo>
                  <a:cubicBezTo>
                    <a:pt x="1759" y="105"/>
                    <a:pt x="1746" y="98"/>
                    <a:pt x="1725" y="92"/>
                  </a:cubicBezTo>
                  <a:cubicBezTo>
                    <a:pt x="1705" y="87"/>
                    <a:pt x="1708" y="91"/>
                    <a:pt x="1691" y="98"/>
                  </a:cubicBezTo>
                  <a:cubicBezTo>
                    <a:pt x="1674" y="104"/>
                    <a:pt x="1664" y="115"/>
                    <a:pt x="1680" y="119"/>
                  </a:cubicBezTo>
                  <a:cubicBezTo>
                    <a:pt x="1696" y="124"/>
                    <a:pt x="1726" y="140"/>
                    <a:pt x="1733" y="130"/>
                  </a:cubicBezTo>
                  <a:cubicBezTo>
                    <a:pt x="1739" y="120"/>
                    <a:pt x="1753" y="127"/>
                    <a:pt x="1769" y="126"/>
                  </a:cubicBezTo>
                  <a:cubicBezTo>
                    <a:pt x="1786" y="125"/>
                    <a:pt x="1811" y="124"/>
                    <a:pt x="1835" y="127"/>
                  </a:cubicBezTo>
                  <a:cubicBezTo>
                    <a:pt x="1859" y="130"/>
                    <a:pt x="1891" y="130"/>
                    <a:pt x="1922" y="130"/>
                  </a:cubicBezTo>
                  <a:cubicBezTo>
                    <a:pt x="1953" y="130"/>
                    <a:pt x="1977" y="129"/>
                    <a:pt x="1998" y="136"/>
                  </a:cubicBezTo>
                  <a:cubicBezTo>
                    <a:pt x="2020" y="144"/>
                    <a:pt x="2026" y="139"/>
                    <a:pt x="2044" y="144"/>
                  </a:cubicBezTo>
                  <a:cubicBezTo>
                    <a:pt x="2061" y="149"/>
                    <a:pt x="2093" y="153"/>
                    <a:pt x="2099" y="163"/>
                  </a:cubicBezTo>
                  <a:cubicBezTo>
                    <a:pt x="2106" y="174"/>
                    <a:pt x="2112" y="189"/>
                    <a:pt x="2102" y="191"/>
                  </a:cubicBezTo>
                  <a:cubicBezTo>
                    <a:pt x="2091" y="193"/>
                    <a:pt x="2092" y="175"/>
                    <a:pt x="2078" y="174"/>
                  </a:cubicBezTo>
                  <a:cubicBezTo>
                    <a:pt x="2064" y="173"/>
                    <a:pt x="2065" y="167"/>
                    <a:pt x="2042" y="160"/>
                  </a:cubicBezTo>
                  <a:cubicBezTo>
                    <a:pt x="2020" y="154"/>
                    <a:pt x="2007" y="150"/>
                    <a:pt x="1998" y="153"/>
                  </a:cubicBezTo>
                  <a:cubicBezTo>
                    <a:pt x="1990" y="155"/>
                    <a:pt x="2004" y="176"/>
                    <a:pt x="1992" y="176"/>
                  </a:cubicBezTo>
                  <a:cubicBezTo>
                    <a:pt x="1980" y="176"/>
                    <a:pt x="1982" y="154"/>
                    <a:pt x="1966" y="147"/>
                  </a:cubicBezTo>
                  <a:cubicBezTo>
                    <a:pt x="1950" y="141"/>
                    <a:pt x="1925" y="142"/>
                    <a:pt x="1909" y="142"/>
                  </a:cubicBezTo>
                  <a:cubicBezTo>
                    <a:pt x="1893" y="142"/>
                    <a:pt x="1831" y="144"/>
                    <a:pt x="1810" y="144"/>
                  </a:cubicBezTo>
                  <a:cubicBezTo>
                    <a:pt x="1790" y="144"/>
                    <a:pt x="1751" y="136"/>
                    <a:pt x="1754" y="146"/>
                  </a:cubicBezTo>
                  <a:cubicBezTo>
                    <a:pt x="1758" y="156"/>
                    <a:pt x="1769" y="160"/>
                    <a:pt x="1787" y="167"/>
                  </a:cubicBezTo>
                  <a:cubicBezTo>
                    <a:pt x="1804" y="173"/>
                    <a:pt x="1822" y="176"/>
                    <a:pt x="1830" y="186"/>
                  </a:cubicBezTo>
                  <a:cubicBezTo>
                    <a:pt x="1837" y="196"/>
                    <a:pt x="1863" y="193"/>
                    <a:pt x="1863" y="202"/>
                  </a:cubicBezTo>
                  <a:cubicBezTo>
                    <a:pt x="1863" y="211"/>
                    <a:pt x="1855" y="217"/>
                    <a:pt x="1846" y="213"/>
                  </a:cubicBezTo>
                  <a:cubicBezTo>
                    <a:pt x="1836" y="209"/>
                    <a:pt x="1818" y="214"/>
                    <a:pt x="1810" y="204"/>
                  </a:cubicBezTo>
                  <a:cubicBezTo>
                    <a:pt x="1803" y="195"/>
                    <a:pt x="1789" y="184"/>
                    <a:pt x="1774" y="179"/>
                  </a:cubicBezTo>
                  <a:cubicBezTo>
                    <a:pt x="1759" y="175"/>
                    <a:pt x="1745" y="168"/>
                    <a:pt x="1732" y="164"/>
                  </a:cubicBezTo>
                  <a:cubicBezTo>
                    <a:pt x="1719" y="161"/>
                    <a:pt x="1692" y="155"/>
                    <a:pt x="1675" y="155"/>
                  </a:cubicBezTo>
                  <a:cubicBezTo>
                    <a:pt x="1658" y="155"/>
                    <a:pt x="1610" y="158"/>
                    <a:pt x="1625" y="168"/>
                  </a:cubicBezTo>
                  <a:cubicBezTo>
                    <a:pt x="1640" y="177"/>
                    <a:pt x="1651" y="204"/>
                    <a:pt x="1671" y="207"/>
                  </a:cubicBezTo>
                  <a:cubicBezTo>
                    <a:pt x="1690" y="211"/>
                    <a:pt x="1691" y="221"/>
                    <a:pt x="1712" y="221"/>
                  </a:cubicBezTo>
                  <a:cubicBezTo>
                    <a:pt x="1734" y="221"/>
                    <a:pt x="1754" y="242"/>
                    <a:pt x="1765" y="245"/>
                  </a:cubicBezTo>
                  <a:cubicBezTo>
                    <a:pt x="1776" y="248"/>
                    <a:pt x="1807" y="253"/>
                    <a:pt x="1789" y="239"/>
                  </a:cubicBezTo>
                  <a:cubicBezTo>
                    <a:pt x="1770" y="225"/>
                    <a:pt x="1779" y="214"/>
                    <a:pt x="1792" y="218"/>
                  </a:cubicBezTo>
                  <a:cubicBezTo>
                    <a:pt x="1805" y="222"/>
                    <a:pt x="1796" y="227"/>
                    <a:pt x="1806" y="239"/>
                  </a:cubicBezTo>
                  <a:cubicBezTo>
                    <a:pt x="1816" y="250"/>
                    <a:pt x="1804" y="259"/>
                    <a:pt x="1809" y="268"/>
                  </a:cubicBezTo>
                  <a:cubicBezTo>
                    <a:pt x="1815" y="276"/>
                    <a:pt x="1813" y="299"/>
                    <a:pt x="1800" y="299"/>
                  </a:cubicBezTo>
                  <a:cubicBezTo>
                    <a:pt x="1786" y="299"/>
                    <a:pt x="1752" y="276"/>
                    <a:pt x="1737" y="271"/>
                  </a:cubicBezTo>
                  <a:cubicBezTo>
                    <a:pt x="1722" y="265"/>
                    <a:pt x="1718" y="249"/>
                    <a:pt x="1691" y="248"/>
                  </a:cubicBezTo>
                  <a:cubicBezTo>
                    <a:pt x="1664" y="247"/>
                    <a:pt x="1653" y="242"/>
                    <a:pt x="1632" y="233"/>
                  </a:cubicBezTo>
                  <a:cubicBezTo>
                    <a:pt x="1610" y="225"/>
                    <a:pt x="1595" y="221"/>
                    <a:pt x="1577" y="215"/>
                  </a:cubicBezTo>
                  <a:cubicBezTo>
                    <a:pt x="1559" y="209"/>
                    <a:pt x="1557" y="210"/>
                    <a:pt x="1537" y="200"/>
                  </a:cubicBezTo>
                  <a:cubicBezTo>
                    <a:pt x="1518" y="190"/>
                    <a:pt x="1512" y="182"/>
                    <a:pt x="1478" y="182"/>
                  </a:cubicBezTo>
                  <a:cubicBezTo>
                    <a:pt x="1444" y="182"/>
                    <a:pt x="1408" y="176"/>
                    <a:pt x="1401" y="185"/>
                  </a:cubicBezTo>
                  <a:cubicBezTo>
                    <a:pt x="1393" y="193"/>
                    <a:pt x="1414" y="201"/>
                    <a:pt x="1417" y="212"/>
                  </a:cubicBezTo>
                  <a:cubicBezTo>
                    <a:pt x="1420" y="222"/>
                    <a:pt x="1425" y="235"/>
                    <a:pt x="1437" y="241"/>
                  </a:cubicBezTo>
                  <a:cubicBezTo>
                    <a:pt x="1449" y="246"/>
                    <a:pt x="1448" y="263"/>
                    <a:pt x="1465" y="263"/>
                  </a:cubicBezTo>
                  <a:cubicBezTo>
                    <a:pt x="1482" y="263"/>
                    <a:pt x="1493" y="269"/>
                    <a:pt x="1488" y="276"/>
                  </a:cubicBezTo>
                  <a:cubicBezTo>
                    <a:pt x="1482" y="284"/>
                    <a:pt x="1466" y="277"/>
                    <a:pt x="1451" y="276"/>
                  </a:cubicBezTo>
                  <a:cubicBezTo>
                    <a:pt x="1436" y="275"/>
                    <a:pt x="1417" y="267"/>
                    <a:pt x="1409" y="277"/>
                  </a:cubicBezTo>
                  <a:cubicBezTo>
                    <a:pt x="1402" y="288"/>
                    <a:pt x="1399" y="282"/>
                    <a:pt x="1377" y="276"/>
                  </a:cubicBezTo>
                  <a:cubicBezTo>
                    <a:pt x="1356" y="271"/>
                    <a:pt x="1360" y="263"/>
                    <a:pt x="1373" y="261"/>
                  </a:cubicBezTo>
                  <a:cubicBezTo>
                    <a:pt x="1386" y="259"/>
                    <a:pt x="1380" y="245"/>
                    <a:pt x="1361" y="241"/>
                  </a:cubicBezTo>
                  <a:cubicBezTo>
                    <a:pt x="1342" y="236"/>
                    <a:pt x="1324" y="238"/>
                    <a:pt x="1307" y="226"/>
                  </a:cubicBezTo>
                  <a:cubicBezTo>
                    <a:pt x="1290" y="214"/>
                    <a:pt x="1275" y="201"/>
                    <a:pt x="1264" y="210"/>
                  </a:cubicBezTo>
                  <a:cubicBezTo>
                    <a:pt x="1253" y="218"/>
                    <a:pt x="1243" y="221"/>
                    <a:pt x="1261" y="239"/>
                  </a:cubicBezTo>
                  <a:cubicBezTo>
                    <a:pt x="1279" y="256"/>
                    <a:pt x="1281" y="264"/>
                    <a:pt x="1270" y="272"/>
                  </a:cubicBezTo>
                  <a:cubicBezTo>
                    <a:pt x="1258" y="279"/>
                    <a:pt x="1277" y="289"/>
                    <a:pt x="1262" y="298"/>
                  </a:cubicBezTo>
                  <a:cubicBezTo>
                    <a:pt x="1247" y="306"/>
                    <a:pt x="1248" y="334"/>
                    <a:pt x="1236" y="332"/>
                  </a:cubicBezTo>
                  <a:cubicBezTo>
                    <a:pt x="1224" y="330"/>
                    <a:pt x="1223" y="326"/>
                    <a:pt x="1222" y="316"/>
                  </a:cubicBezTo>
                  <a:cubicBezTo>
                    <a:pt x="1221" y="306"/>
                    <a:pt x="1219" y="307"/>
                    <a:pt x="1232" y="295"/>
                  </a:cubicBezTo>
                  <a:cubicBezTo>
                    <a:pt x="1245" y="282"/>
                    <a:pt x="1246" y="273"/>
                    <a:pt x="1241" y="262"/>
                  </a:cubicBezTo>
                  <a:cubicBezTo>
                    <a:pt x="1235" y="252"/>
                    <a:pt x="1245" y="240"/>
                    <a:pt x="1224" y="232"/>
                  </a:cubicBezTo>
                  <a:cubicBezTo>
                    <a:pt x="1204" y="225"/>
                    <a:pt x="1206" y="207"/>
                    <a:pt x="1188" y="207"/>
                  </a:cubicBezTo>
                  <a:cubicBezTo>
                    <a:pt x="1170" y="207"/>
                    <a:pt x="1134" y="200"/>
                    <a:pt x="1124" y="212"/>
                  </a:cubicBezTo>
                  <a:cubicBezTo>
                    <a:pt x="1115" y="224"/>
                    <a:pt x="1090" y="219"/>
                    <a:pt x="1077" y="222"/>
                  </a:cubicBezTo>
                  <a:cubicBezTo>
                    <a:pt x="1064" y="226"/>
                    <a:pt x="1061" y="234"/>
                    <a:pt x="1045" y="230"/>
                  </a:cubicBezTo>
                  <a:cubicBezTo>
                    <a:pt x="1029" y="226"/>
                    <a:pt x="998" y="236"/>
                    <a:pt x="987" y="236"/>
                  </a:cubicBezTo>
                  <a:cubicBezTo>
                    <a:pt x="976" y="236"/>
                    <a:pt x="960" y="238"/>
                    <a:pt x="943" y="241"/>
                  </a:cubicBezTo>
                  <a:cubicBezTo>
                    <a:pt x="926" y="244"/>
                    <a:pt x="912" y="248"/>
                    <a:pt x="894" y="250"/>
                  </a:cubicBezTo>
                  <a:cubicBezTo>
                    <a:pt x="877" y="253"/>
                    <a:pt x="857" y="259"/>
                    <a:pt x="885" y="269"/>
                  </a:cubicBezTo>
                  <a:cubicBezTo>
                    <a:pt x="913" y="278"/>
                    <a:pt x="915" y="269"/>
                    <a:pt x="924" y="282"/>
                  </a:cubicBezTo>
                  <a:cubicBezTo>
                    <a:pt x="934" y="295"/>
                    <a:pt x="940" y="304"/>
                    <a:pt x="950" y="311"/>
                  </a:cubicBezTo>
                  <a:cubicBezTo>
                    <a:pt x="961" y="317"/>
                    <a:pt x="955" y="321"/>
                    <a:pt x="942" y="324"/>
                  </a:cubicBezTo>
                  <a:cubicBezTo>
                    <a:pt x="929" y="326"/>
                    <a:pt x="922" y="312"/>
                    <a:pt x="913" y="304"/>
                  </a:cubicBezTo>
                  <a:cubicBezTo>
                    <a:pt x="903" y="297"/>
                    <a:pt x="902" y="282"/>
                    <a:pt x="889" y="282"/>
                  </a:cubicBezTo>
                  <a:cubicBezTo>
                    <a:pt x="876" y="282"/>
                    <a:pt x="887" y="286"/>
                    <a:pt x="862" y="279"/>
                  </a:cubicBezTo>
                  <a:cubicBezTo>
                    <a:pt x="837" y="273"/>
                    <a:pt x="834" y="263"/>
                    <a:pt x="818" y="267"/>
                  </a:cubicBezTo>
                  <a:cubicBezTo>
                    <a:pt x="802" y="270"/>
                    <a:pt x="787" y="273"/>
                    <a:pt x="776" y="279"/>
                  </a:cubicBezTo>
                  <a:cubicBezTo>
                    <a:pt x="765" y="286"/>
                    <a:pt x="733" y="281"/>
                    <a:pt x="735" y="295"/>
                  </a:cubicBezTo>
                  <a:cubicBezTo>
                    <a:pt x="737" y="308"/>
                    <a:pt x="740" y="317"/>
                    <a:pt x="752" y="321"/>
                  </a:cubicBezTo>
                  <a:cubicBezTo>
                    <a:pt x="765" y="326"/>
                    <a:pt x="783" y="331"/>
                    <a:pt x="772" y="343"/>
                  </a:cubicBezTo>
                  <a:cubicBezTo>
                    <a:pt x="761" y="355"/>
                    <a:pt x="750" y="356"/>
                    <a:pt x="754" y="363"/>
                  </a:cubicBezTo>
                  <a:cubicBezTo>
                    <a:pt x="757" y="371"/>
                    <a:pt x="772" y="384"/>
                    <a:pt x="763" y="390"/>
                  </a:cubicBezTo>
                  <a:cubicBezTo>
                    <a:pt x="755" y="397"/>
                    <a:pt x="743" y="405"/>
                    <a:pt x="726" y="399"/>
                  </a:cubicBezTo>
                  <a:cubicBezTo>
                    <a:pt x="708" y="392"/>
                    <a:pt x="698" y="386"/>
                    <a:pt x="679" y="385"/>
                  </a:cubicBezTo>
                  <a:cubicBezTo>
                    <a:pt x="661" y="384"/>
                    <a:pt x="650" y="373"/>
                    <a:pt x="629" y="385"/>
                  </a:cubicBezTo>
                  <a:cubicBezTo>
                    <a:pt x="607" y="397"/>
                    <a:pt x="590" y="397"/>
                    <a:pt x="575" y="406"/>
                  </a:cubicBezTo>
                  <a:cubicBezTo>
                    <a:pt x="560" y="416"/>
                    <a:pt x="536" y="405"/>
                    <a:pt x="528" y="418"/>
                  </a:cubicBezTo>
                  <a:cubicBezTo>
                    <a:pt x="519" y="431"/>
                    <a:pt x="504" y="441"/>
                    <a:pt x="479" y="45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173" name="Freeform 25244"/>
            <p:cNvSpPr>
              <a:spLocks/>
            </p:cNvSpPr>
            <p:nvPr/>
          </p:nvSpPr>
          <p:spPr bwMode="auto">
            <a:xfrm>
              <a:off x="3816922" y="1380636"/>
              <a:ext cx="16099" cy="14995"/>
            </a:xfrm>
            <a:custGeom>
              <a:avLst/>
              <a:gdLst>
                <a:gd name="T0" fmla="*/ 29 w 43"/>
                <a:gd name="T1" fmla="*/ 8 h 40"/>
                <a:gd name="T2" fmla="*/ 13 w 43"/>
                <a:gd name="T3" fmla="*/ 16 h 40"/>
                <a:gd name="T4" fmla="*/ 2 w 43"/>
                <a:gd name="T5" fmla="*/ 25 h 40"/>
                <a:gd name="T6" fmla="*/ 15 w 43"/>
                <a:gd name="T7" fmla="*/ 34 h 40"/>
                <a:gd name="T8" fmla="*/ 33 w 43"/>
                <a:gd name="T9" fmla="*/ 33 h 40"/>
                <a:gd name="T10" fmla="*/ 43 w 43"/>
                <a:gd name="T11" fmla="*/ 22 h 40"/>
                <a:gd name="T12" fmla="*/ 29 w 43"/>
                <a:gd name="T13" fmla="*/ 8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" h="40">
                  <a:moveTo>
                    <a:pt x="29" y="8"/>
                  </a:moveTo>
                  <a:cubicBezTo>
                    <a:pt x="29" y="8"/>
                    <a:pt x="15" y="13"/>
                    <a:pt x="13" y="16"/>
                  </a:cubicBezTo>
                  <a:cubicBezTo>
                    <a:pt x="10" y="20"/>
                    <a:pt x="0" y="17"/>
                    <a:pt x="2" y="25"/>
                  </a:cubicBezTo>
                  <a:cubicBezTo>
                    <a:pt x="5" y="33"/>
                    <a:pt x="10" y="28"/>
                    <a:pt x="15" y="34"/>
                  </a:cubicBezTo>
                  <a:cubicBezTo>
                    <a:pt x="20" y="40"/>
                    <a:pt x="30" y="37"/>
                    <a:pt x="33" y="33"/>
                  </a:cubicBezTo>
                  <a:cubicBezTo>
                    <a:pt x="36" y="30"/>
                    <a:pt x="42" y="33"/>
                    <a:pt x="43" y="22"/>
                  </a:cubicBezTo>
                  <a:cubicBezTo>
                    <a:pt x="43" y="11"/>
                    <a:pt x="38" y="0"/>
                    <a:pt x="29" y="8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174" name="Freeform 25245"/>
            <p:cNvSpPr>
              <a:spLocks/>
            </p:cNvSpPr>
            <p:nvPr/>
          </p:nvSpPr>
          <p:spPr bwMode="auto">
            <a:xfrm>
              <a:off x="3816922" y="1407941"/>
              <a:ext cx="9312" cy="10417"/>
            </a:xfrm>
            <a:custGeom>
              <a:avLst/>
              <a:gdLst>
                <a:gd name="T0" fmla="*/ 4 w 25"/>
                <a:gd name="T1" fmla="*/ 6 h 28"/>
                <a:gd name="T2" fmla="*/ 7 w 25"/>
                <a:gd name="T3" fmla="*/ 16 h 28"/>
                <a:gd name="T4" fmla="*/ 14 w 25"/>
                <a:gd name="T5" fmla="*/ 27 h 28"/>
                <a:gd name="T6" fmla="*/ 21 w 25"/>
                <a:gd name="T7" fmla="*/ 19 h 28"/>
                <a:gd name="T8" fmla="*/ 4 w 25"/>
                <a:gd name="T9" fmla="*/ 6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28">
                  <a:moveTo>
                    <a:pt x="4" y="6"/>
                  </a:moveTo>
                  <a:cubicBezTo>
                    <a:pt x="4" y="6"/>
                    <a:pt x="0" y="12"/>
                    <a:pt x="7" y="16"/>
                  </a:cubicBezTo>
                  <a:cubicBezTo>
                    <a:pt x="15" y="20"/>
                    <a:pt x="8" y="26"/>
                    <a:pt x="14" y="27"/>
                  </a:cubicBezTo>
                  <a:cubicBezTo>
                    <a:pt x="20" y="28"/>
                    <a:pt x="25" y="27"/>
                    <a:pt x="21" y="19"/>
                  </a:cubicBezTo>
                  <a:cubicBezTo>
                    <a:pt x="16" y="12"/>
                    <a:pt x="10" y="0"/>
                    <a:pt x="4" y="6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175" name="Freeform 25246"/>
            <p:cNvSpPr>
              <a:spLocks/>
            </p:cNvSpPr>
            <p:nvPr/>
          </p:nvSpPr>
          <p:spPr bwMode="auto">
            <a:xfrm>
              <a:off x="3825919" y="1408257"/>
              <a:ext cx="14205" cy="11522"/>
            </a:xfrm>
            <a:custGeom>
              <a:avLst/>
              <a:gdLst>
                <a:gd name="T0" fmla="*/ 16 w 38"/>
                <a:gd name="T1" fmla="*/ 2 h 31"/>
                <a:gd name="T2" fmla="*/ 5 w 38"/>
                <a:gd name="T3" fmla="*/ 10 h 31"/>
                <a:gd name="T4" fmla="*/ 8 w 38"/>
                <a:gd name="T5" fmla="*/ 17 h 31"/>
                <a:gd name="T6" fmla="*/ 19 w 38"/>
                <a:gd name="T7" fmla="*/ 31 h 31"/>
                <a:gd name="T8" fmla="*/ 30 w 38"/>
                <a:gd name="T9" fmla="*/ 24 h 31"/>
                <a:gd name="T10" fmla="*/ 31 w 38"/>
                <a:gd name="T11" fmla="*/ 16 h 31"/>
                <a:gd name="T12" fmla="*/ 22 w 38"/>
                <a:gd name="T13" fmla="*/ 11 h 31"/>
                <a:gd name="T14" fmla="*/ 16 w 38"/>
                <a:gd name="T15" fmla="*/ 2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1">
                  <a:moveTo>
                    <a:pt x="16" y="2"/>
                  </a:moveTo>
                  <a:cubicBezTo>
                    <a:pt x="14" y="3"/>
                    <a:pt x="11" y="9"/>
                    <a:pt x="5" y="10"/>
                  </a:cubicBezTo>
                  <a:cubicBezTo>
                    <a:pt x="0" y="11"/>
                    <a:pt x="4" y="15"/>
                    <a:pt x="8" y="17"/>
                  </a:cubicBezTo>
                  <a:cubicBezTo>
                    <a:pt x="12" y="18"/>
                    <a:pt x="12" y="30"/>
                    <a:pt x="19" y="31"/>
                  </a:cubicBezTo>
                  <a:cubicBezTo>
                    <a:pt x="27" y="31"/>
                    <a:pt x="25" y="24"/>
                    <a:pt x="30" y="24"/>
                  </a:cubicBezTo>
                  <a:cubicBezTo>
                    <a:pt x="36" y="24"/>
                    <a:pt x="38" y="16"/>
                    <a:pt x="31" y="16"/>
                  </a:cubicBezTo>
                  <a:cubicBezTo>
                    <a:pt x="23" y="15"/>
                    <a:pt x="23" y="17"/>
                    <a:pt x="22" y="11"/>
                  </a:cubicBezTo>
                  <a:cubicBezTo>
                    <a:pt x="21" y="4"/>
                    <a:pt x="21" y="0"/>
                    <a:pt x="16" y="2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176" name="Freeform 25247"/>
            <p:cNvSpPr>
              <a:spLocks/>
            </p:cNvSpPr>
            <p:nvPr/>
          </p:nvSpPr>
          <p:spPr bwMode="auto">
            <a:xfrm>
              <a:off x="3831916" y="1417885"/>
              <a:ext cx="10417" cy="11996"/>
            </a:xfrm>
            <a:custGeom>
              <a:avLst/>
              <a:gdLst>
                <a:gd name="T0" fmla="*/ 12 w 28"/>
                <a:gd name="T1" fmla="*/ 9 h 32"/>
                <a:gd name="T2" fmla="*/ 7 w 28"/>
                <a:gd name="T3" fmla="*/ 21 h 32"/>
                <a:gd name="T4" fmla="*/ 3 w 28"/>
                <a:gd name="T5" fmla="*/ 29 h 32"/>
                <a:gd name="T6" fmla="*/ 21 w 28"/>
                <a:gd name="T7" fmla="*/ 20 h 32"/>
                <a:gd name="T8" fmla="*/ 12 w 28"/>
                <a:gd name="T9" fmla="*/ 9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32">
                  <a:moveTo>
                    <a:pt x="12" y="9"/>
                  </a:moveTo>
                  <a:cubicBezTo>
                    <a:pt x="12" y="9"/>
                    <a:pt x="12" y="19"/>
                    <a:pt x="7" y="21"/>
                  </a:cubicBezTo>
                  <a:cubicBezTo>
                    <a:pt x="3" y="24"/>
                    <a:pt x="0" y="27"/>
                    <a:pt x="3" y="29"/>
                  </a:cubicBezTo>
                  <a:cubicBezTo>
                    <a:pt x="5" y="32"/>
                    <a:pt x="14" y="22"/>
                    <a:pt x="21" y="20"/>
                  </a:cubicBezTo>
                  <a:cubicBezTo>
                    <a:pt x="28" y="17"/>
                    <a:pt x="14" y="0"/>
                    <a:pt x="12" y="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177" name="Freeform 25248"/>
            <p:cNvSpPr>
              <a:spLocks/>
            </p:cNvSpPr>
            <p:nvPr/>
          </p:nvSpPr>
          <p:spPr bwMode="auto">
            <a:xfrm>
              <a:off x="3855433" y="1434299"/>
              <a:ext cx="15626" cy="17993"/>
            </a:xfrm>
            <a:custGeom>
              <a:avLst/>
              <a:gdLst>
                <a:gd name="T0" fmla="*/ 20 w 42"/>
                <a:gd name="T1" fmla="*/ 6 h 48"/>
                <a:gd name="T2" fmla="*/ 6 w 42"/>
                <a:gd name="T3" fmla="*/ 16 h 48"/>
                <a:gd name="T4" fmla="*/ 1 w 42"/>
                <a:gd name="T5" fmla="*/ 35 h 48"/>
                <a:gd name="T6" fmla="*/ 17 w 42"/>
                <a:gd name="T7" fmla="*/ 44 h 48"/>
                <a:gd name="T8" fmla="*/ 27 w 42"/>
                <a:gd name="T9" fmla="*/ 36 h 48"/>
                <a:gd name="T10" fmla="*/ 40 w 42"/>
                <a:gd name="T11" fmla="*/ 25 h 48"/>
                <a:gd name="T12" fmla="*/ 33 w 42"/>
                <a:gd name="T13" fmla="*/ 6 h 48"/>
                <a:gd name="T14" fmla="*/ 20 w 42"/>
                <a:gd name="T15" fmla="*/ 6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2" h="48">
                  <a:moveTo>
                    <a:pt x="20" y="6"/>
                  </a:moveTo>
                  <a:cubicBezTo>
                    <a:pt x="20" y="6"/>
                    <a:pt x="13" y="12"/>
                    <a:pt x="6" y="16"/>
                  </a:cubicBezTo>
                  <a:cubicBezTo>
                    <a:pt x="0" y="21"/>
                    <a:pt x="0" y="29"/>
                    <a:pt x="1" y="35"/>
                  </a:cubicBezTo>
                  <a:cubicBezTo>
                    <a:pt x="3" y="42"/>
                    <a:pt x="13" y="48"/>
                    <a:pt x="17" y="44"/>
                  </a:cubicBezTo>
                  <a:cubicBezTo>
                    <a:pt x="21" y="39"/>
                    <a:pt x="23" y="36"/>
                    <a:pt x="27" y="36"/>
                  </a:cubicBezTo>
                  <a:cubicBezTo>
                    <a:pt x="32" y="36"/>
                    <a:pt x="41" y="33"/>
                    <a:pt x="40" y="25"/>
                  </a:cubicBezTo>
                  <a:cubicBezTo>
                    <a:pt x="39" y="17"/>
                    <a:pt x="42" y="7"/>
                    <a:pt x="33" y="6"/>
                  </a:cubicBezTo>
                  <a:cubicBezTo>
                    <a:pt x="25" y="4"/>
                    <a:pt x="25" y="0"/>
                    <a:pt x="20" y="6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178" name="Freeform 25249"/>
            <p:cNvSpPr>
              <a:spLocks/>
            </p:cNvSpPr>
            <p:nvPr/>
          </p:nvSpPr>
          <p:spPr bwMode="auto">
            <a:xfrm>
              <a:off x="3838545" y="1392947"/>
              <a:ext cx="15310" cy="8997"/>
            </a:xfrm>
            <a:custGeom>
              <a:avLst/>
              <a:gdLst>
                <a:gd name="T0" fmla="*/ 22 w 41"/>
                <a:gd name="T1" fmla="*/ 6 h 24"/>
                <a:gd name="T2" fmla="*/ 8 w 41"/>
                <a:gd name="T3" fmla="*/ 16 h 24"/>
                <a:gd name="T4" fmla="*/ 13 w 41"/>
                <a:gd name="T5" fmla="*/ 24 h 24"/>
                <a:gd name="T6" fmla="*/ 30 w 41"/>
                <a:gd name="T7" fmla="*/ 15 h 24"/>
                <a:gd name="T8" fmla="*/ 35 w 41"/>
                <a:gd name="T9" fmla="*/ 3 h 24"/>
                <a:gd name="T10" fmla="*/ 22 w 41"/>
                <a:gd name="T11" fmla="*/ 6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" h="24">
                  <a:moveTo>
                    <a:pt x="22" y="6"/>
                  </a:moveTo>
                  <a:cubicBezTo>
                    <a:pt x="22" y="6"/>
                    <a:pt x="16" y="12"/>
                    <a:pt x="8" y="16"/>
                  </a:cubicBezTo>
                  <a:cubicBezTo>
                    <a:pt x="0" y="21"/>
                    <a:pt x="3" y="24"/>
                    <a:pt x="13" y="24"/>
                  </a:cubicBezTo>
                  <a:cubicBezTo>
                    <a:pt x="23" y="24"/>
                    <a:pt x="23" y="15"/>
                    <a:pt x="30" y="15"/>
                  </a:cubicBezTo>
                  <a:cubicBezTo>
                    <a:pt x="38" y="15"/>
                    <a:pt x="41" y="6"/>
                    <a:pt x="35" y="3"/>
                  </a:cubicBezTo>
                  <a:cubicBezTo>
                    <a:pt x="28" y="0"/>
                    <a:pt x="28" y="0"/>
                    <a:pt x="22" y="6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179" name="Freeform 25250"/>
            <p:cNvSpPr>
              <a:spLocks/>
            </p:cNvSpPr>
            <p:nvPr/>
          </p:nvSpPr>
          <p:spPr bwMode="auto">
            <a:xfrm>
              <a:off x="3850226" y="1385529"/>
              <a:ext cx="7418" cy="8523"/>
            </a:xfrm>
            <a:custGeom>
              <a:avLst/>
              <a:gdLst>
                <a:gd name="T0" fmla="*/ 11 w 20"/>
                <a:gd name="T1" fmla="*/ 2 h 23"/>
                <a:gd name="T2" fmla="*/ 5 w 20"/>
                <a:gd name="T3" fmla="*/ 11 h 23"/>
                <a:gd name="T4" fmla="*/ 12 w 20"/>
                <a:gd name="T5" fmla="*/ 19 h 23"/>
                <a:gd name="T6" fmla="*/ 20 w 20"/>
                <a:gd name="T7" fmla="*/ 9 h 23"/>
                <a:gd name="T8" fmla="*/ 11 w 20"/>
                <a:gd name="T9" fmla="*/ 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23">
                  <a:moveTo>
                    <a:pt x="11" y="2"/>
                  </a:moveTo>
                  <a:cubicBezTo>
                    <a:pt x="11" y="2"/>
                    <a:pt x="0" y="9"/>
                    <a:pt x="5" y="11"/>
                  </a:cubicBezTo>
                  <a:cubicBezTo>
                    <a:pt x="10" y="13"/>
                    <a:pt x="8" y="15"/>
                    <a:pt x="12" y="19"/>
                  </a:cubicBezTo>
                  <a:cubicBezTo>
                    <a:pt x="16" y="23"/>
                    <a:pt x="20" y="15"/>
                    <a:pt x="20" y="9"/>
                  </a:cubicBezTo>
                  <a:cubicBezTo>
                    <a:pt x="20" y="3"/>
                    <a:pt x="19" y="0"/>
                    <a:pt x="11" y="2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180" name="Freeform 25251"/>
            <p:cNvSpPr>
              <a:spLocks/>
            </p:cNvSpPr>
            <p:nvPr/>
          </p:nvSpPr>
          <p:spPr bwMode="auto">
            <a:xfrm>
              <a:off x="3857643" y="1366115"/>
              <a:ext cx="17520" cy="16731"/>
            </a:xfrm>
            <a:custGeom>
              <a:avLst/>
              <a:gdLst>
                <a:gd name="T0" fmla="*/ 7 w 47"/>
                <a:gd name="T1" fmla="*/ 8 h 45"/>
                <a:gd name="T2" fmla="*/ 0 w 47"/>
                <a:gd name="T3" fmla="*/ 20 h 45"/>
                <a:gd name="T4" fmla="*/ 4 w 47"/>
                <a:gd name="T5" fmla="*/ 38 h 45"/>
                <a:gd name="T6" fmla="*/ 16 w 47"/>
                <a:gd name="T7" fmla="*/ 37 h 45"/>
                <a:gd name="T8" fmla="*/ 25 w 47"/>
                <a:gd name="T9" fmla="*/ 29 h 45"/>
                <a:gd name="T10" fmla="*/ 34 w 47"/>
                <a:gd name="T11" fmla="*/ 23 h 45"/>
                <a:gd name="T12" fmla="*/ 42 w 47"/>
                <a:gd name="T13" fmla="*/ 16 h 45"/>
                <a:gd name="T14" fmla="*/ 30 w 47"/>
                <a:gd name="T15" fmla="*/ 6 h 45"/>
                <a:gd name="T16" fmla="*/ 7 w 47"/>
                <a:gd name="T17" fmla="*/ 8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7" h="45">
                  <a:moveTo>
                    <a:pt x="7" y="8"/>
                  </a:moveTo>
                  <a:cubicBezTo>
                    <a:pt x="7" y="8"/>
                    <a:pt x="0" y="11"/>
                    <a:pt x="0" y="20"/>
                  </a:cubicBezTo>
                  <a:cubicBezTo>
                    <a:pt x="0" y="29"/>
                    <a:pt x="0" y="34"/>
                    <a:pt x="4" y="38"/>
                  </a:cubicBezTo>
                  <a:cubicBezTo>
                    <a:pt x="8" y="42"/>
                    <a:pt x="15" y="45"/>
                    <a:pt x="16" y="37"/>
                  </a:cubicBezTo>
                  <a:cubicBezTo>
                    <a:pt x="17" y="30"/>
                    <a:pt x="17" y="32"/>
                    <a:pt x="25" y="29"/>
                  </a:cubicBezTo>
                  <a:cubicBezTo>
                    <a:pt x="32" y="26"/>
                    <a:pt x="29" y="23"/>
                    <a:pt x="34" y="23"/>
                  </a:cubicBezTo>
                  <a:cubicBezTo>
                    <a:pt x="40" y="22"/>
                    <a:pt x="47" y="21"/>
                    <a:pt x="42" y="16"/>
                  </a:cubicBezTo>
                  <a:cubicBezTo>
                    <a:pt x="37" y="11"/>
                    <a:pt x="32" y="10"/>
                    <a:pt x="30" y="6"/>
                  </a:cubicBezTo>
                  <a:cubicBezTo>
                    <a:pt x="29" y="1"/>
                    <a:pt x="19" y="0"/>
                    <a:pt x="7" y="8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181" name="Freeform 25252"/>
            <p:cNvSpPr>
              <a:spLocks/>
            </p:cNvSpPr>
            <p:nvPr/>
          </p:nvSpPr>
          <p:spPr bwMode="auto">
            <a:xfrm>
              <a:off x="3793089" y="1202441"/>
              <a:ext cx="26043" cy="21150"/>
            </a:xfrm>
            <a:custGeom>
              <a:avLst/>
              <a:gdLst>
                <a:gd name="T0" fmla="*/ 42 w 70"/>
                <a:gd name="T1" fmla="*/ 17 h 57"/>
                <a:gd name="T2" fmla="*/ 19 w 70"/>
                <a:gd name="T3" fmla="*/ 3 h 57"/>
                <a:gd name="T4" fmla="*/ 1 w 70"/>
                <a:gd name="T5" fmla="*/ 17 h 57"/>
                <a:gd name="T6" fmla="*/ 24 w 70"/>
                <a:gd name="T7" fmla="*/ 40 h 57"/>
                <a:gd name="T8" fmla="*/ 47 w 70"/>
                <a:gd name="T9" fmla="*/ 56 h 57"/>
                <a:gd name="T10" fmla="*/ 63 w 70"/>
                <a:gd name="T11" fmla="*/ 49 h 57"/>
                <a:gd name="T12" fmla="*/ 63 w 70"/>
                <a:gd name="T13" fmla="*/ 37 h 57"/>
                <a:gd name="T14" fmla="*/ 42 w 70"/>
                <a:gd name="T15" fmla="*/ 1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0" h="57">
                  <a:moveTo>
                    <a:pt x="42" y="17"/>
                  </a:moveTo>
                  <a:cubicBezTo>
                    <a:pt x="42" y="17"/>
                    <a:pt x="28" y="0"/>
                    <a:pt x="19" y="3"/>
                  </a:cubicBezTo>
                  <a:cubicBezTo>
                    <a:pt x="11" y="5"/>
                    <a:pt x="2" y="5"/>
                    <a:pt x="1" y="17"/>
                  </a:cubicBezTo>
                  <a:cubicBezTo>
                    <a:pt x="0" y="28"/>
                    <a:pt x="15" y="31"/>
                    <a:pt x="24" y="40"/>
                  </a:cubicBezTo>
                  <a:cubicBezTo>
                    <a:pt x="32" y="49"/>
                    <a:pt x="40" y="55"/>
                    <a:pt x="47" y="56"/>
                  </a:cubicBezTo>
                  <a:cubicBezTo>
                    <a:pt x="55" y="57"/>
                    <a:pt x="56" y="50"/>
                    <a:pt x="63" y="49"/>
                  </a:cubicBezTo>
                  <a:cubicBezTo>
                    <a:pt x="70" y="48"/>
                    <a:pt x="69" y="43"/>
                    <a:pt x="63" y="37"/>
                  </a:cubicBezTo>
                  <a:cubicBezTo>
                    <a:pt x="57" y="31"/>
                    <a:pt x="53" y="31"/>
                    <a:pt x="42" y="17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182" name="Freeform 25253"/>
            <p:cNvSpPr>
              <a:spLocks/>
            </p:cNvSpPr>
            <p:nvPr/>
          </p:nvSpPr>
          <p:spPr bwMode="auto">
            <a:xfrm>
              <a:off x="3829233" y="1220592"/>
              <a:ext cx="26516" cy="16099"/>
            </a:xfrm>
            <a:custGeom>
              <a:avLst/>
              <a:gdLst>
                <a:gd name="T0" fmla="*/ 27 w 71"/>
                <a:gd name="T1" fmla="*/ 6 h 43"/>
                <a:gd name="T2" fmla="*/ 12 w 71"/>
                <a:gd name="T3" fmla="*/ 14 h 43"/>
                <a:gd name="T4" fmla="*/ 8 w 71"/>
                <a:gd name="T5" fmla="*/ 25 h 43"/>
                <a:gd name="T6" fmla="*/ 24 w 71"/>
                <a:gd name="T7" fmla="*/ 33 h 43"/>
                <a:gd name="T8" fmla="*/ 40 w 71"/>
                <a:gd name="T9" fmla="*/ 41 h 43"/>
                <a:gd name="T10" fmla="*/ 57 w 71"/>
                <a:gd name="T11" fmla="*/ 38 h 43"/>
                <a:gd name="T12" fmla="*/ 61 w 71"/>
                <a:gd name="T13" fmla="*/ 26 h 43"/>
                <a:gd name="T14" fmla="*/ 42 w 71"/>
                <a:gd name="T15" fmla="*/ 14 h 43"/>
                <a:gd name="T16" fmla="*/ 27 w 71"/>
                <a:gd name="T17" fmla="*/ 6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1" h="43">
                  <a:moveTo>
                    <a:pt x="27" y="6"/>
                  </a:moveTo>
                  <a:cubicBezTo>
                    <a:pt x="27" y="6"/>
                    <a:pt x="19" y="14"/>
                    <a:pt x="12" y="14"/>
                  </a:cubicBezTo>
                  <a:cubicBezTo>
                    <a:pt x="6" y="15"/>
                    <a:pt x="0" y="23"/>
                    <a:pt x="8" y="25"/>
                  </a:cubicBezTo>
                  <a:cubicBezTo>
                    <a:pt x="17" y="27"/>
                    <a:pt x="20" y="28"/>
                    <a:pt x="24" y="33"/>
                  </a:cubicBezTo>
                  <a:cubicBezTo>
                    <a:pt x="29" y="38"/>
                    <a:pt x="32" y="41"/>
                    <a:pt x="40" y="41"/>
                  </a:cubicBezTo>
                  <a:cubicBezTo>
                    <a:pt x="48" y="41"/>
                    <a:pt x="53" y="43"/>
                    <a:pt x="57" y="38"/>
                  </a:cubicBezTo>
                  <a:cubicBezTo>
                    <a:pt x="60" y="32"/>
                    <a:pt x="71" y="30"/>
                    <a:pt x="61" y="26"/>
                  </a:cubicBezTo>
                  <a:cubicBezTo>
                    <a:pt x="52" y="22"/>
                    <a:pt x="47" y="18"/>
                    <a:pt x="42" y="14"/>
                  </a:cubicBezTo>
                  <a:cubicBezTo>
                    <a:pt x="37" y="10"/>
                    <a:pt x="33" y="0"/>
                    <a:pt x="27" y="6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183" name="Freeform 25254"/>
            <p:cNvSpPr>
              <a:spLocks/>
            </p:cNvSpPr>
            <p:nvPr/>
          </p:nvSpPr>
          <p:spPr bwMode="auto">
            <a:xfrm>
              <a:off x="3139499" y="1158721"/>
              <a:ext cx="23044" cy="10417"/>
            </a:xfrm>
            <a:custGeom>
              <a:avLst/>
              <a:gdLst>
                <a:gd name="T0" fmla="*/ 36 w 62"/>
                <a:gd name="T1" fmla="*/ 4 h 28"/>
                <a:gd name="T2" fmla="*/ 19 w 62"/>
                <a:gd name="T3" fmla="*/ 1 h 28"/>
                <a:gd name="T4" fmla="*/ 6 w 62"/>
                <a:gd name="T5" fmla="*/ 15 h 28"/>
                <a:gd name="T6" fmla="*/ 34 w 62"/>
                <a:gd name="T7" fmla="*/ 25 h 28"/>
                <a:gd name="T8" fmla="*/ 56 w 62"/>
                <a:gd name="T9" fmla="*/ 22 h 28"/>
                <a:gd name="T10" fmla="*/ 54 w 62"/>
                <a:gd name="T11" fmla="*/ 9 h 28"/>
                <a:gd name="T12" fmla="*/ 36 w 62"/>
                <a:gd name="T13" fmla="*/ 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2" h="28">
                  <a:moveTo>
                    <a:pt x="36" y="4"/>
                  </a:moveTo>
                  <a:cubicBezTo>
                    <a:pt x="36" y="4"/>
                    <a:pt x="28" y="2"/>
                    <a:pt x="19" y="1"/>
                  </a:cubicBezTo>
                  <a:cubicBezTo>
                    <a:pt x="10" y="0"/>
                    <a:pt x="0" y="8"/>
                    <a:pt x="6" y="15"/>
                  </a:cubicBezTo>
                  <a:cubicBezTo>
                    <a:pt x="13" y="22"/>
                    <a:pt x="25" y="25"/>
                    <a:pt x="34" y="25"/>
                  </a:cubicBezTo>
                  <a:cubicBezTo>
                    <a:pt x="42" y="25"/>
                    <a:pt x="52" y="28"/>
                    <a:pt x="56" y="22"/>
                  </a:cubicBezTo>
                  <a:cubicBezTo>
                    <a:pt x="60" y="16"/>
                    <a:pt x="62" y="9"/>
                    <a:pt x="54" y="9"/>
                  </a:cubicBezTo>
                  <a:cubicBezTo>
                    <a:pt x="47" y="8"/>
                    <a:pt x="54" y="8"/>
                    <a:pt x="36" y="4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184" name="Freeform 25257"/>
            <p:cNvSpPr>
              <a:spLocks/>
            </p:cNvSpPr>
            <p:nvPr/>
          </p:nvSpPr>
          <p:spPr bwMode="auto">
            <a:xfrm>
              <a:off x="4543748" y="2328271"/>
              <a:ext cx="42457" cy="52559"/>
            </a:xfrm>
            <a:custGeom>
              <a:avLst/>
              <a:gdLst>
                <a:gd name="T0" fmla="*/ 32 w 114"/>
                <a:gd name="T1" fmla="*/ 26 h 141"/>
                <a:gd name="T2" fmla="*/ 22 w 114"/>
                <a:gd name="T3" fmla="*/ 36 h 141"/>
                <a:gd name="T4" fmla="*/ 6 w 114"/>
                <a:gd name="T5" fmla="*/ 52 h 141"/>
                <a:gd name="T6" fmla="*/ 26 w 114"/>
                <a:gd name="T7" fmla="*/ 79 h 141"/>
                <a:gd name="T8" fmla="*/ 48 w 114"/>
                <a:gd name="T9" fmla="*/ 95 h 141"/>
                <a:gd name="T10" fmla="*/ 58 w 114"/>
                <a:gd name="T11" fmla="*/ 113 h 141"/>
                <a:gd name="T12" fmla="*/ 39 w 114"/>
                <a:gd name="T13" fmla="*/ 113 h 141"/>
                <a:gd name="T14" fmla="*/ 22 w 114"/>
                <a:gd name="T15" fmla="*/ 105 h 141"/>
                <a:gd name="T16" fmla="*/ 5 w 114"/>
                <a:gd name="T17" fmla="*/ 113 h 141"/>
                <a:gd name="T18" fmla="*/ 12 w 114"/>
                <a:gd name="T19" fmla="*/ 126 h 141"/>
                <a:gd name="T20" fmla="*/ 37 w 114"/>
                <a:gd name="T21" fmla="*/ 137 h 141"/>
                <a:gd name="T22" fmla="*/ 56 w 114"/>
                <a:gd name="T23" fmla="*/ 133 h 141"/>
                <a:gd name="T24" fmla="*/ 75 w 114"/>
                <a:gd name="T25" fmla="*/ 131 h 141"/>
                <a:gd name="T26" fmla="*/ 85 w 114"/>
                <a:gd name="T27" fmla="*/ 111 h 141"/>
                <a:gd name="T28" fmla="*/ 104 w 114"/>
                <a:gd name="T29" fmla="*/ 106 h 141"/>
                <a:gd name="T30" fmla="*/ 87 w 114"/>
                <a:gd name="T31" fmla="*/ 100 h 141"/>
                <a:gd name="T32" fmla="*/ 88 w 114"/>
                <a:gd name="T33" fmla="*/ 85 h 141"/>
                <a:gd name="T34" fmla="*/ 101 w 114"/>
                <a:gd name="T35" fmla="*/ 74 h 141"/>
                <a:gd name="T36" fmla="*/ 96 w 114"/>
                <a:gd name="T37" fmla="*/ 60 h 141"/>
                <a:gd name="T38" fmla="*/ 98 w 114"/>
                <a:gd name="T39" fmla="*/ 51 h 141"/>
                <a:gd name="T40" fmla="*/ 114 w 114"/>
                <a:gd name="T41" fmla="*/ 46 h 141"/>
                <a:gd name="T42" fmla="*/ 105 w 114"/>
                <a:gd name="T43" fmla="*/ 34 h 141"/>
                <a:gd name="T44" fmla="*/ 101 w 114"/>
                <a:gd name="T45" fmla="*/ 14 h 141"/>
                <a:gd name="T46" fmla="*/ 80 w 114"/>
                <a:gd name="T47" fmla="*/ 4 h 141"/>
                <a:gd name="T48" fmla="*/ 58 w 114"/>
                <a:gd name="T49" fmla="*/ 15 h 141"/>
                <a:gd name="T50" fmla="*/ 43 w 114"/>
                <a:gd name="T51" fmla="*/ 24 h 141"/>
                <a:gd name="T52" fmla="*/ 32 w 114"/>
                <a:gd name="T53" fmla="*/ 26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14" h="141">
                  <a:moveTo>
                    <a:pt x="32" y="26"/>
                  </a:moveTo>
                  <a:cubicBezTo>
                    <a:pt x="32" y="26"/>
                    <a:pt x="31" y="35"/>
                    <a:pt x="22" y="36"/>
                  </a:cubicBezTo>
                  <a:cubicBezTo>
                    <a:pt x="13" y="36"/>
                    <a:pt x="0" y="43"/>
                    <a:pt x="6" y="52"/>
                  </a:cubicBezTo>
                  <a:cubicBezTo>
                    <a:pt x="13" y="61"/>
                    <a:pt x="13" y="75"/>
                    <a:pt x="26" y="79"/>
                  </a:cubicBezTo>
                  <a:cubicBezTo>
                    <a:pt x="39" y="83"/>
                    <a:pt x="40" y="90"/>
                    <a:pt x="48" y="95"/>
                  </a:cubicBezTo>
                  <a:cubicBezTo>
                    <a:pt x="57" y="99"/>
                    <a:pt x="64" y="108"/>
                    <a:pt x="58" y="113"/>
                  </a:cubicBezTo>
                  <a:cubicBezTo>
                    <a:pt x="52" y="117"/>
                    <a:pt x="46" y="119"/>
                    <a:pt x="39" y="113"/>
                  </a:cubicBezTo>
                  <a:cubicBezTo>
                    <a:pt x="32" y="106"/>
                    <a:pt x="31" y="105"/>
                    <a:pt x="22" y="105"/>
                  </a:cubicBezTo>
                  <a:cubicBezTo>
                    <a:pt x="14" y="105"/>
                    <a:pt x="7" y="107"/>
                    <a:pt x="5" y="113"/>
                  </a:cubicBezTo>
                  <a:cubicBezTo>
                    <a:pt x="4" y="119"/>
                    <a:pt x="1" y="120"/>
                    <a:pt x="12" y="126"/>
                  </a:cubicBezTo>
                  <a:cubicBezTo>
                    <a:pt x="23" y="133"/>
                    <a:pt x="30" y="141"/>
                    <a:pt x="37" y="137"/>
                  </a:cubicBezTo>
                  <a:cubicBezTo>
                    <a:pt x="43" y="134"/>
                    <a:pt x="51" y="128"/>
                    <a:pt x="56" y="133"/>
                  </a:cubicBezTo>
                  <a:cubicBezTo>
                    <a:pt x="62" y="138"/>
                    <a:pt x="75" y="140"/>
                    <a:pt x="75" y="131"/>
                  </a:cubicBezTo>
                  <a:cubicBezTo>
                    <a:pt x="76" y="122"/>
                    <a:pt x="77" y="113"/>
                    <a:pt x="85" y="111"/>
                  </a:cubicBezTo>
                  <a:cubicBezTo>
                    <a:pt x="93" y="110"/>
                    <a:pt x="104" y="110"/>
                    <a:pt x="104" y="106"/>
                  </a:cubicBezTo>
                  <a:cubicBezTo>
                    <a:pt x="105" y="102"/>
                    <a:pt x="95" y="100"/>
                    <a:pt x="87" y="100"/>
                  </a:cubicBezTo>
                  <a:cubicBezTo>
                    <a:pt x="79" y="100"/>
                    <a:pt x="79" y="85"/>
                    <a:pt x="88" y="85"/>
                  </a:cubicBezTo>
                  <a:cubicBezTo>
                    <a:pt x="97" y="84"/>
                    <a:pt x="101" y="82"/>
                    <a:pt x="101" y="74"/>
                  </a:cubicBezTo>
                  <a:cubicBezTo>
                    <a:pt x="101" y="67"/>
                    <a:pt x="100" y="58"/>
                    <a:pt x="96" y="60"/>
                  </a:cubicBezTo>
                  <a:cubicBezTo>
                    <a:pt x="92" y="62"/>
                    <a:pt x="89" y="51"/>
                    <a:pt x="98" y="51"/>
                  </a:cubicBezTo>
                  <a:cubicBezTo>
                    <a:pt x="106" y="51"/>
                    <a:pt x="114" y="52"/>
                    <a:pt x="114" y="46"/>
                  </a:cubicBezTo>
                  <a:cubicBezTo>
                    <a:pt x="114" y="39"/>
                    <a:pt x="109" y="39"/>
                    <a:pt x="105" y="34"/>
                  </a:cubicBezTo>
                  <a:cubicBezTo>
                    <a:pt x="102" y="28"/>
                    <a:pt x="103" y="20"/>
                    <a:pt x="101" y="14"/>
                  </a:cubicBezTo>
                  <a:cubicBezTo>
                    <a:pt x="100" y="7"/>
                    <a:pt x="89" y="0"/>
                    <a:pt x="80" y="4"/>
                  </a:cubicBezTo>
                  <a:cubicBezTo>
                    <a:pt x="72" y="8"/>
                    <a:pt x="58" y="7"/>
                    <a:pt x="58" y="15"/>
                  </a:cubicBezTo>
                  <a:cubicBezTo>
                    <a:pt x="58" y="24"/>
                    <a:pt x="50" y="25"/>
                    <a:pt x="43" y="24"/>
                  </a:cubicBezTo>
                  <a:cubicBezTo>
                    <a:pt x="36" y="22"/>
                    <a:pt x="32" y="26"/>
                    <a:pt x="32" y="26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185" name="Freeform 25258"/>
            <p:cNvSpPr>
              <a:spLocks/>
            </p:cNvSpPr>
            <p:nvPr/>
          </p:nvSpPr>
          <p:spPr bwMode="auto">
            <a:xfrm>
              <a:off x="4533962" y="2268610"/>
              <a:ext cx="8997" cy="7103"/>
            </a:xfrm>
            <a:custGeom>
              <a:avLst/>
              <a:gdLst>
                <a:gd name="T0" fmla="*/ 14 w 24"/>
                <a:gd name="T1" fmla="*/ 5 h 19"/>
                <a:gd name="T2" fmla="*/ 3 w 24"/>
                <a:gd name="T3" fmla="*/ 10 h 19"/>
                <a:gd name="T4" fmla="*/ 6 w 24"/>
                <a:gd name="T5" fmla="*/ 19 h 19"/>
                <a:gd name="T6" fmla="*/ 14 w 24"/>
                <a:gd name="T7" fmla="*/ 5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" h="19">
                  <a:moveTo>
                    <a:pt x="14" y="5"/>
                  </a:moveTo>
                  <a:cubicBezTo>
                    <a:pt x="14" y="5"/>
                    <a:pt x="5" y="8"/>
                    <a:pt x="3" y="10"/>
                  </a:cubicBezTo>
                  <a:cubicBezTo>
                    <a:pt x="1" y="12"/>
                    <a:pt x="0" y="19"/>
                    <a:pt x="6" y="19"/>
                  </a:cubicBezTo>
                  <a:cubicBezTo>
                    <a:pt x="12" y="19"/>
                    <a:pt x="24" y="0"/>
                    <a:pt x="14" y="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186" name="Freeform 25259"/>
            <p:cNvSpPr>
              <a:spLocks/>
            </p:cNvSpPr>
            <p:nvPr/>
          </p:nvSpPr>
          <p:spPr bwMode="auto">
            <a:xfrm>
              <a:off x="4542959" y="2283131"/>
              <a:ext cx="7892" cy="8997"/>
            </a:xfrm>
            <a:custGeom>
              <a:avLst/>
              <a:gdLst>
                <a:gd name="T0" fmla="*/ 14 w 21"/>
                <a:gd name="T1" fmla="*/ 7 h 24"/>
                <a:gd name="T2" fmla="*/ 8 w 21"/>
                <a:gd name="T3" fmla="*/ 16 h 24"/>
                <a:gd name="T4" fmla="*/ 13 w 21"/>
                <a:gd name="T5" fmla="*/ 24 h 24"/>
                <a:gd name="T6" fmla="*/ 21 w 21"/>
                <a:gd name="T7" fmla="*/ 15 h 24"/>
                <a:gd name="T8" fmla="*/ 14 w 21"/>
                <a:gd name="T9" fmla="*/ 7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24">
                  <a:moveTo>
                    <a:pt x="14" y="7"/>
                  </a:moveTo>
                  <a:cubicBezTo>
                    <a:pt x="14" y="7"/>
                    <a:pt x="16" y="15"/>
                    <a:pt x="8" y="16"/>
                  </a:cubicBezTo>
                  <a:cubicBezTo>
                    <a:pt x="0" y="17"/>
                    <a:pt x="5" y="24"/>
                    <a:pt x="13" y="24"/>
                  </a:cubicBezTo>
                  <a:cubicBezTo>
                    <a:pt x="21" y="24"/>
                    <a:pt x="21" y="22"/>
                    <a:pt x="21" y="15"/>
                  </a:cubicBezTo>
                  <a:cubicBezTo>
                    <a:pt x="21" y="9"/>
                    <a:pt x="15" y="0"/>
                    <a:pt x="14" y="7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187" name="Freeform 25260"/>
            <p:cNvSpPr>
              <a:spLocks/>
            </p:cNvSpPr>
            <p:nvPr/>
          </p:nvSpPr>
          <p:spPr bwMode="auto">
            <a:xfrm>
              <a:off x="4471775" y="2276502"/>
              <a:ext cx="73867" cy="98015"/>
            </a:xfrm>
            <a:custGeom>
              <a:avLst/>
              <a:gdLst>
                <a:gd name="T0" fmla="*/ 40 w 198"/>
                <a:gd name="T1" fmla="*/ 241 h 263"/>
                <a:gd name="T2" fmla="*/ 67 w 198"/>
                <a:gd name="T3" fmla="*/ 257 h 263"/>
                <a:gd name="T4" fmla="*/ 97 w 198"/>
                <a:gd name="T5" fmla="*/ 259 h 263"/>
                <a:gd name="T6" fmla="*/ 115 w 198"/>
                <a:gd name="T7" fmla="*/ 255 h 263"/>
                <a:gd name="T8" fmla="*/ 135 w 198"/>
                <a:gd name="T9" fmla="*/ 261 h 263"/>
                <a:gd name="T10" fmla="*/ 135 w 198"/>
                <a:gd name="T11" fmla="*/ 254 h 263"/>
                <a:gd name="T12" fmla="*/ 110 w 198"/>
                <a:gd name="T13" fmla="*/ 230 h 263"/>
                <a:gd name="T14" fmla="*/ 116 w 198"/>
                <a:gd name="T15" fmla="*/ 201 h 263"/>
                <a:gd name="T16" fmla="*/ 143 w 198"/>
                <a:gd name="T17" fmla="*/ 227 h 263"/>
                <a:gd name="T18" fmla="*/ 182 w 198"/>
                <a:gd name="T19" fmla="*/ 241 h 263"/>
                <a:gd name="T20" fmla="*/ 185 w 198"/>
                <a:gd name="T21" fmla="*/ 208 h 263"/>
                <a:gd name="T22" fmla="*/ 148 w 198"/>
                <a:gd name="T23" fmla="*/ 189 h 263"/>
                <a:gd name="T24" fmla="*/ 135 w 198"/>
                <a:gd name="T25" fmla="*/ 172 h 263"/>
                <a:gd name="T26" fmla="*/ 173 w 198"/>
                <a:gd name="T27" fmla="*/ 152 h 263"/>
                <a:gd name="T28" fmla="*/ 191 w 198"/>
                <a:gd name="T29" fmla="*/ 122 h 263"/>
                <a:gd name="T30" fmla="*/ 168 w 198"/>
                <a:gd name="T31" fmla="*/ 105 h 263"/>
                <a:gd name="T32" fmla="*/ 156 w 198"/>
                <a:gd name="T33" fmla="*/ 96 h 263"/>
                <a:gd name="T34" fmla="*/ 156 w 198"/>
                <a:gd name="T35" fmla="*/ 58 h 263"/>
                <a:gd name="T36" fmla="*/ 171 w 198"/>
                <a:gd name="T37" fmla="*/ 29 h 263"/>
                <a:gd name="T38" fmla="*/ 158 w 198"/>
                <a:gd name="T39" fmla="*/ 0 h 263"/>
                <a:gd name="T40" fmla="*/ 118 w 198"/>
                <a:gd name="T41" fmla="*/ 27 h 263"/>
                <a:gd name="T42" fmla="*/ 89 w 198"/>
                <a:gd name="T43" fmla="*/ 62 h 263"/>
                <a:gd name="T44" fmla="*/ 76 w 198"/>
                <a:gd name="T45" fmla="*/ 83 h 263"/>
                <a:gd name="T46" fmla="*/ 66 w 198"/>
                <a:gd name="T47" fmla="*/ 60 h 263"/>
                <a:gd name="T48" fmla="*/ 34 w 198"/>
                <a:gd name="T49" fmla="*/ 68 h 263"/>
                <a:gd name="T50" fmla="*/ 13 w 198"/>
                <a:gd name="T51" fmla="*/ 119 h 263"/>
                <a:gd name="T52" fmla="*/ 13 w 198"/>
                <a:gd name="T53" fmla="*/ 178 h 263"/>
                <a:gd name="T54" fmla="*/ 37 w 198"/>
                <a:gd name="T55" fmla="*/ 202 h 263"/>
                <a:gd name="T56" fmla="*/ 34 w 198"/>
                <a:gd name="T57" fmla="*/ 234 h 263"/>
                <a:gd name="T58" fmla="*/ 34 w 198"/>
                <a:gd name="T59" fmla="*/ 235 h 263"/>
                <a:gd name="T60" fmla="*/ 40 w 198"/>
                <a:gd name="T61" fmla="*/ 241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98" h="263">
                  <a:moveTo>
                    <a:pt x="40" y="241"/>
                  </a:moveTo>
                  <a:cubicBezTo>
                    <a:pt x="47" y="250"/>
                    <a:pt x="54" y="258"/>
                    <a:pt x="67" y="257"/>
                  </a:cubicBezTo>
                  <a:cubicBezTo>
                    <a:pt x="80" y="255"/>
                    <a:pt x="88" y="263"/>
                    <a:pt x="97" y="259"/>
                  </a:cubicBezTo>
                  <a:cubicBezTo>
                    <a:pt x="106" y="256"/>
                    <a:pt x="109" y="250"/>
                    <a:pt x="115" y="255"/>
                  </a:cubicBezTo>
                  <a:cubicBezTo>
                    <a:pt x="120" y="258"/>
                    <a:pt x="128" y="260"/>
                    <a:pt x="135" y="261"/>
                  </a:cubicBezTo>
                  <a:cubicBezTo>
                    <a:pt x="135" y="259"/>
                    <a:pt x="135" y="256"/>
                    <a:pt x="135" y="254"/>
                  </a:cubicBezTo>
                  <a:cubicBezTo>
                    <a:pt x="135" y="231"/>
                    <a:pt x="116" y="245"/>
                    <a:pt x="110" y="230"/>
                  </a:cubicBezTo>
                  <a:cubicBezTo>
                    <a:pt x="105" y="214"/>
                    <a:pt x="108" y="204"/>
                    <a:pt x="116" y="201"/>
                  </a:cubicBezTo>
                  <a:cubicBezTo>
                    <a:pt x="125" y="198"/>
                    <a:pt x="135" y="218"/>
                    <a:pt x="143" y="227"/>
                  </a:cubicBezTo>
                  <a:cubicBezTo>
                    <a:pt x="152" y="235"/>
                    <a:pt x="166" y="238"/>
                    <a:pt x="182" y="241"/>
                  </a:cubicBezTo>
                  <a:cubicBezTo>
                    <a:pt x="198" y="244"/>
                    <a:pt x="186" y="227"/>
                    <a:pt x="185" y="208"/>
                  </a:cubicBezTo>
                  <a:cubicBezTo>
                    <a:pt x="183" y="189"/>
                    <a:pt x="162" y="192"/>
                    <a:pt x="148" y="189"/>
                  </a:cubicBezTo>
                  <a:cubicBezTo>
                    <a:pt x="133" y="187"/>
                    <a:pt x="135" y="182"/>
                    <a:pt x="135" y="172"/>
                  </a:cubicBezTo>
                  <a:cubicBezTo>
                    <a:pt x="135" y="162"/>
                    <a:pt x="155" y="155"/>
                    <a:pt x="173" y="152"/>
                  </a:cubicBezTo>
                  <a:cubicBezTo>
                    <a:pt x="192" y="149"/>
                    <a:pt x="188" y="136"/>
                    <a:pt x="191" y="122"/>
                  </a:cubicBezTo>
                  <a:cubicBezTo>
                    <a:pt x="194" y="108"/>
                    <a:pt x="182" y="105"/>
                    <a:pt x="168" y="105"/>
                  </a:cubicBezTo>
                  <a:cubicBezTo>
                    <a:pt x="153" y="105"/>
                    <a:pt x="156" y="103"/>
                    <a:pt x="156" y="96"/>
                  </a:cubicBezTo>
                  <a:cubicBezTo>
                    <a:pt x="156" y="89"/>
                    <a:pt x="151" y="63"/>
                    <a:pt x="156" y="58"/>
                  </a:cubicBezTo>
                  <a:cubicBezTo>
                    <a:pt x="162" y="52"/>
                    <a:pt x="171" y="43"/>
                    <a:pt x="171" y="29"/>
                  </a:cubicBezTo>
                  <a:cubicBezTo>
                    <a:pt x="171" y="15"/>
                    <a:pt x="168" y="0"/>
                    <a:pt x="158" y="0"/>
                  </a:cubicBezTo>
                  <a:cubicBezTo>
                    <a:pt x="148" y="0"/>
                    <a:pt x="126" y="9"/>
                    <a:pt x="118" y="27"/>
                  </a:cubicBezTo>
                  <a:cubicBezTo>
                    <a:pt x="109" y="46"/>
                    <a:pt x="90" y="43"/>
                    <a:pt x="89" y="62"/>
                  </a:cubicBezTo>
                  <a:cubicBezTo>
                    <a:pt x="87" y="81"/>
                    <a:pt x="80" y="95"/>
                    <a:pt x="76" y="83"/>
                  </a:cubicBezTo>
                  <a:cubicBezTo>
                    <a:pt x="72" y="72"/>
                    <a:pt x="66" y="79"/>
                    <a:pt x="66" y="60"/>
                  </a:cubicBezTo>
                  <a:cubicBezTo>
                    <a:pt x="66" y="42"/>
                    <a:pt x="56" y="52"/>
                    <a:pt x="34" y="68"/>
                  </a:cubicBezTo>
                  <a:cubicBezTo>
                    <a:pt x="13" y="83"/>
                    <a:pt x="26" y="96"/>
                    <a:pt x="13" y="119"/>
                  </a:cubicBezTo>
                  <a:cubicBezTo>
                    <a:pt x="0" y="142"/>
                    <a:pt x="13" y="164"/>
                    <a:pt x="13" y="178"/>
                  </a:cubicBezTo>
                  <a:cubicBezTo>
                    <a:pt x="13" y="192"/>
                    <a:pt x="22" y="194"/>
                    <a:pt x="37" y="202"/>
                  </a:cubicBezTo>
                  <a:cubicBezTo>
                    <a:pt x="53" y="211"/>
                    <a:pt x="50" y="222"/>
                    <a:pt x="34" y="234"/>
                  </a:cubicBezTo>
                  <a:cubicBezTo>
                    <a:pt x="34" y="234"/>
                    <a:pt x="34" y="234"/>
                    <a:pt x="34" y="235"/>
                  </a:cubicBezTo>
                  <a:cubicBezTo>
                    <a:pt x="36" y="236"/>
                    <a:pt x="38" y="239"/>
                    <a:pt x="40" y="241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188" name="Freeform 25261"/>
            <p:cNvSpPr>
              <a:spLocks/>
            </p:cNvSpPr>
            <p:nvPr/>
          </p:nvSpPr>
          <p:spPr bwMode="auto">
            <a:xfrm>
              <a:off x="4599937" y="2379409"/>
              <a:ext cx="12311" cy="11838"/>
            </a:xfrm>
            <a:custGeom>
              <a:avLst/>
              <a:gdLst>
                <a:gd name="T0" fmla="*/ 9 w 33"/>
                <a:gd name="T1" fmla="*/ 3 h 32"/>
                <a:gd name="T2" fmla="*/ 1 w 33"/>
                <a:gd name="T3" fmla="*/ 10 h 32"/>
                <a:gd name="T4" fmla="*/ 12 w 33"/>
                <a:gd name="T5" fmla="*/ 25 h 32"/>
                <a:gd name="T6" fmla="*/ 28 w 33"/>
                <a:gd name="T7" fmla="*/ 24 h 32"/>
                <a:gd name="T8" fmla="*/ 9 w 33"/>
                <a:gd name="T9" fmla="*/ 3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32">
                  <a:moveTo>
                    <a:pt x="9" y="3"/>
                  </a:moveTo>
                  <a:cubicBezTo>
                    <a:pt x="9" y="3"/>
                    <a:pt x="0" y="5"/>
                    <a:pt x="1" y="10"/>
                  </a:cubicBezTo>
                  <a:cubicBezTo>
                    <a:pt x="2" y="15"/>
                    <a:pt x="5" y="22"/>
                    <a:pt x="12" y="25"/>
                  </a:cubicBezTo>
                  <a:cubicBezTo>
                    <a:pt x="19" y="27"/>
                    <a:pt x="26" y="32"/>
                    <a:pt x="28" y="24"/>
                  </a:cubicBezTo>
                  <a:cubicBezTo>
                    <a:pt x="30" y="15"/>
                    <a:pt x="33" y="0"/>
                    <a:pt x="9" y="3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189" name="Freeform 25262"/>
            <p:cNvSpPr>
              <a:spLocks/>
            </p:cNvSpPr>
            <p:nvPr/>
          </p:nvSpPr>
          <p:spPr bwMode="auto">
            <a:xfrm>
              <a:off x="4425530" y="2364099"/>
              <a:ext cx="214812" cy="246064"/>
            </a:xfrm>
            <a:custGeom>
              <a:avLst/>
              <a:gdLst>
                <a:gd name="T0" fmla="*/ 562 w 576"/>
                <a:gd name="T1" fmla="*/ 317 h 660"/>
                <a:gd name="T2" fmla="*/ 558 w 576"/>
                <a:gd name="T3" fmla="*/ 279 h 660"/>
                <a:gd name="T4" fmla="*/ 549 w 576"/>
                <a:gd name="T5" fmla="*/ 238 h 660"/>
                <a:gd name="T6" fmla="*/ 525 w 576"/>
                <a:gd name="T7" fmla="*/ 187 h 660"/>
                <a:gd name="T8" fmla="*/ 534 w 576"/>
                <a:gd name="T9" fmla="*/ 144 h 660"/>
                <a:gd name="T10" fmla="*/ 529 w 576"/>
                <a:gd name="T11" fmla="*/ 97 h 660"/>
                <a:gd name="T12" fmla="*/ 477 w 576"/>
                <a:gd name="T13" fmla="*/ 72 h 660"/>
                <a:gd name="T14" fmla="*/ 414 w 576"/>
                <a:gd name="T15" fmla="*/ 49 h 660"/>
                <a:gd name="T16" fmla="*/ 348 w 576"/>
                <a:gd name="T17" fmla="*/ 98 h 660"/>
                <a:gd name="T18" fmla="*/ 308 w 576"/>
                <a:gd name="T19" fmla="*/ 65 h 660"/>
                <a:gd name="T20" fmla="*/ 259 w 576"/>
                <a:gd name="T21" fmla="*/ 26 h 660"/>
                <a:gd name="T22" fmla="*/ 221 w 576"/>
                <a:gd name="T23" fmla="*/ 24 h 660"/>
                <a:gd name="T24" fmla="*/ 164 w 576"/>
                <a:gd name="T25" fmla="*/ 6 h 660"/>
                <a:gd name="T26" fmla="*/ 186 w 576"/>
                <a:gd name="T27" fmla="*/ 35 h 660"/>
                <a:gd name="T28" fmla="*/ 186 w 576"/>
                <a:gd name="T29" fmla="*/ 73 h 660"/>
                <a:gd name="T30" fmla="*/ 163 w 576"/>
                <a:gd name="T31" fmla="*/ 122 h 660"/>
                <a:gd name="T32" fmla="*/ 81 w 576"/>
                <a:gd name="T33" fmla="*/ 118 h 660"/>
                <a:gd name="T34" fmla="*/ 69 w 576"/>
                <a:gd name="T35" fmla="*/ 143 h 660"/>
                <a:gd name="T36" fmla="*/ 83 w 576"/>
                <a:gd name="T37" fmla="*/ 180 h 660"/>
                <a:gd name="T38" fmla="*/ 62 w 576"/>
                <a:gd name="T39" fmla="*/ 212 h 660"/>
                <a:gd name="T40" fmla="*/ 58 w 576"/>
                <a:gd name="T41" fmla="*/ 233 h 660"/>
                <a:gd name="T42" fmla="*/ 57 w 576"/>
                <a:gd name="T43" fmla="*/ 258 h 660"/>
                <a:gd name="T44" fmla="*/ 16 w 576"/>
                <a:gd name="T45" fmla="*/ 284 h 660"/>
                <a:gd name="T46" fmla="*/ 5 w 576"/>
                <a:gd name="T47" fmla="*/ 305 h 660"/>
                <a:gd name="T48" fmla="*/ 8 w 576"/>
                <a:gd name="T49" fmla="*/ 340 h 660"/>
                <a:gd name="T50" fmla="*/ 16 w 576"/>
                <a:gd name="T51" fmla="*/ 389 h 660"/>
                <a:gd name="T52" fmla="*/ 17 w 576"/>
                <a:gd name="T53" fmla="*/ 417 h 660"/>
                <a:gd name="T54" fmla="*/ 23 w 576"/>
                <a:gd name="T55" fmla="*/ 450 h 660"/>
                <a:gd name="T56" fmla="*/ 31 w 576"/>
                <a:gd name="T57" fmla="*/ 483 h 660"/>
                <a:gd name="T58" fmla="*/ 57 w 576"/>
                <a:gd name="T59" fmla="*/ 508 h 660"/>
                <a:gd name="T60" fmla="*/ 100 w 576"/>
                <a:gd name="T61" fmla="*/ 514 h 660"/>
                <a:gd name="T62" fmla="*/ 140 w 576"/>
                <a:gd name="T63" fmla="*/ 528 h 660"/>
                <a:gd name="T64" fmla="*/ 114 w 576"/>
                <a:gd name="T65" fmla="*/ 562 h 660"/>
                <a:gd name="T66" fmla="*/ 102 w 576"/>
                <a:gd name="T67" fmla="*/ 600 h 660"/>
                <a:gd name="T68" fmla="*/ 102 w 576"/>
                <a:gd name="T69" fmla="*/ 638 h 660"/>
                <a:gd name="T70" fmla="*/ 145 w 576"/>
                <a:gd name="T71" fmla="*/ 639 h 660"/>
                <a:gd name="T72" fmla="*/ 172 w 576"/>
                <a:gd name="T73" fmla="*/ 626 h 660"/>
                <a:gd name="T74" fmla="*/ 208 w 576"/>
                <a:gd name="T75" fmla="*/ 636 h 660"/>
                <a:gd name="T76" fmla="*/ 259 w 576"/>
                <a:gd name="T77" fmla="*/ 649 h 660"/>
                <a:gd name="T78" fmla="*/ 281 w 576"/>
                <a:gd name="T79" fmla="*/ 650 h 660"/>
                <a:gd name="T80" fmla="*/ 308 w 576"/>
                <a:gd name="T81" fmla="*/ 641 h 660"/>
                <a:gd name="T82" fmla="*/ 335 w 576"/>
                <a:gd name="T83" fmla="*/ 655 h 660"/>
                <a:gd name="T84" fmla="*/ 366 w 576"/>
                <a:gd name="T85" fmla="*/ 635 h 660"/>
                <a:gd name="T86" fmla="*/ 407 w 576"/>
                <a:gd name="T87" fmla="*/ 634 h 660"/>
                <a:gd name="T88" fmla="*/ 446 w 576"/>
                <a:gd name="T89" fmla="*/ 640 h 660"/>
                <a:gd name="T90" fmla="*/ 442 w 576"/>
                <a:gd name="T91" fmla="*/ 611 h 660"/>
                <a:gd name="T92" fmla="*/ 452 w 576"/>
                <a:gd name="T93" fmla="*/ 582 h 660"/>
                <a:gd name="T94" fmla="*/ 483 w 576"/>
                <a:gd name="T95" fmla="*/ 554 h 660"/>
                <a:gd name="T96" fmla="*/ 492 w 576"/>
                <a:gd name="T97" fmla="*/ 533 h 660"/>
                <a:gd name="T98" fmla="*/ 460 w 576"/>
                <a:gd name="T99" fmla="*/ 510 h 660"/>
                <a:gd name="T100" fmla="*/ 418 w 576"/>
                <a:gd name="T101" fmla="*/ 476 h 660"/>
                <a:gd name="T102" fmla="*/ 408 w 576"/>
                <a:gd name="T103" fmla="*/ 438 h 660"/>
                <a:gd name="T104" fmla="*/ 400 w 576"/>
                <a:gd name="T105" fmla="*/ 413 h 660"/>
                <a:gd name="T106" fmla="*/ 434 w 576"/>
                <a:gd name="T107" fmla="*/ 404 h 660"/>
                <a:gd name="T108" fmla="*/ 468 w 576"/>
                <a:gd name="T109" fmla="*/ 388 h 660"/>
                <a:gd name="T110" fmla="*/ 505 w 576"/>
                <a:gd name="T111" fmla="*/ 374 h 660"/>
                <a:gd name="T112" fmla="*/ 532 w 576"/>
                <a:gd name="T113" fmla="*/ 352 h 660"/>
                <a:gd name="T114" fmla="*/ 564 w 576"/>
                <a:gd name="T115" fmla="*/ 366 h 660"/>
                <a:gd name="T116" fmla="*/ 572 w 576"/>
                <a:gd name="T117" fmla="*/ 337 h 6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76" h="660">
                  <a:moveTo>
                    <a:pt x="572" y="337"/>
                  </a:moveTo>
                  <a:cubicBezTo>
                    <a:pt x="572" y="326"/>
                    <a:pt x="570" y="318"/>
                    <a:pt x="562" y="317"/>
                  </a:cubicBezTo>
                  <a:cubicBezTo>
                    <a:pt x="554" y="316"/>
                    <a:pt x="552" y="308"/>
                    <a:pt x="554" y="296"/>
                  </a:cubicBezTo>
                  <a:cubicBezTo>
                    <a:pt x="556" y="285"/>
                    <a:pt x="554" y="283"/>
                    <a:pt x="558" y="279"/>
                  </a:cubicBezTo>
                  <a:cubicBezTo>
                    <a:pt x="562" y="275"/>
                    <a:pt x="562" y="266"/>
                    <a:pt x="558" y="260"/>
                  </a:cubicBezTo>
                  <a:cubicBezTo>
                    <a:pt x="553" y="253"/>
                    <a:pt x="549" y="252"/>
                    <a:pt x="549" y="238"/>
                  </a:cubicBezTo>
                  <a:cubicBezTo>
                    <a:pt x="549" y="224"/>
                    <a:pt x="545" y="211"/>
                    <a:pt x="534" y="203"/>
                  </a:cubicBezTo>
                  <a:cubicBezTo>
                    <a:pt x="524" y="195"/>
                    <a:pt x="520" y="191"/>
                    <a:pt x="525" y="187"/>
                  </a:cubicBezTo>
                  <a:cubicBezTo>
                    <a:pt x="530" y="183"/>
                    <a:pt x="536" y="182"/>
                    <a:pt x="540" y="169"/>
                  </a:cubicBezTo>
                  <a:cubicBezTo>
                    <a:pt x="543" y="156"/>
                    <a:pt x="543" y="152"/>
                    <a:pt x="534" y="144"/>
                  </a:cubicBezTo>
                  <a:cubicBezTo>
                    <a:pt x="524" y="136"/>
                    <a:pt x="528" y="130"/>
                    <a:pt x="527" y="121"/>
                  </a:cubicBezTo>
                  <a:cubicBezTo>
                    <a:pt x="527" y="115"/>
                    <a:pt x="528" y="104"/>
                    <a:pt x="529" y="97"/>
                  </a:cubicBezTo>
                  <a:cubicBezTo>
                    <a:pt x="522" y="94"/>
                    <a:pt x="516" y="90"/>
                    <a:pt x="510" y="86"/>
                  </a:cubicBezTo>
                  <a:cubicBezTo>
                    <a:pt x="495" y="79"/>
                    <a:pt x="482" y="83"/>
                    <a:pt x="477" y="72"/>
                  </a:cubicBezTo>
                  <a:cubicBezTo>
                    <a:pt x="471" y="61"/>
                    <a:pt x="461" y="66"/>
                    <a:pt x="447" y="60"/>
                  </a:cubicBezTo>
                  <a:cubicBezTo>
                    <a:pt x="432" y="55"/>
                    <a:pt x="421" y="38"/>
                    <a:pt x="414" y="49"/>
                  </a:cubicBezTo>
                  <a:cubicBezTo>
                    <a:pt x="406" y="60"/>
                    <a:pt x="394" y="76"/>
                    <a:pt x="379" y="75"/>
                  </a:cubicBezTo>
                  <a:cubicBezTo>
                    <a:pt x="365" y="73"/>
                    <a:pt x="371" y="99"/>
                    <a:pt x="348" y="98"/>
                  </a:cubicBezTo>
                  <a:cubicBezTo>
                    <a:pt x="325" y="96"/>
                    <a:pt x="325" y="85"/>
                    <a:pt x="330" y="69"/>
                  </a:cubicBezTo>
                  <a:cubicBezTo>
                    <a:pt x="336" y="53"/>
                    <a:pt x="320" y="62"/>
                    <a:pt x="308" y="65"/>
                  </a:cubicBezTo>
                  <a:cubicBezTo>
                    <a:pt x="295" y="68"/>
                    <a:pt x="293" y="60"/>
                    <a:pt x="273" y="58"/>
                  </a:cubicBezTo>
                  <a:cubicBezTo>
                    <a:pt x="255" y="55"/>
                    <a:pt x="258" y="45"/>
                    <a:pt x="259" y="26"/>
                  </a:cubicBezTo>
                  <a:cubicBezTo>
                    <a:pt x="252" y="25"/>
                    <a:pt x="244" y="23"/>
                    <a:pt x="239" y="20"/>
                  </a:cubicBezTo>
                  <a:cubicBezTo>
                    <a:pt x="233" y="15"/>
                    <a:pt x="230" y="21"/>
                    <a:pt x="221" y="24"/>
                  </a:cubicBezTo>
                  <a:cubicBezTo>
                    <a:pt x="212" y="28"/>
                    <a:pt x="204" y="20"/>
                    <a:pt x="191" y="22"/>
                  </a:cubicBezTo>
                  <a:cubicBezTo>
                    <a:pt x="178" y="23"/>
                    <a:pt x="171" y="15"/>
                    <a:pt x="164" y="6"/>
                  </a:cubicBezTo>
                  <a:cubicBezTo>
                    <a:pt x="162" y="4"/>
                    <a:pt x="160" y="1"/>
                    <a:pt x="158" y="0"/>
                  </a:cubicBezTo>
                  <a:cubicBezTo>
                    <a:pt x="144" y="11"/>
                    <a:pt x="169" y="29"/>
                    <a:pt x="186" y="35"/>
                  </a:cubicBezTo>
                  <a:cubicBezTo>
                    <a:pt x="203" y="40"/>
                    <a:pt x="189" y="49"/>
                    <a:pt x="177" y="55"/>
                  </a:cubicBezTo>
                  <a:cubicBezTo>
                    <a:pt x="166" y="61"/>
                    <a:pt x="173" y="72"/>
                    <a:pt x="186" y="73"/>
                  </a:cubicBezTo>
                  <a:cubicBezTo>
                    <a:pt x="199" y="75"/>
                    <a:pt x="191" y="103"/>
                    <a:pt x="184" y="103"/>
                  </a:cubicBezTo>
                  <a:cubicBezTo>
                    <a:pt x="177" y="103"/>
                    <a:pt x="167" y="105"/>
                    <a:pt x="163" y="122"/>
                  </a:cubicBezTo>
                  <a:cubicBezTo>
                    <a:pt x="158" y="139"/>
                    <a:pt x="141" y="136"/>
                    <a:pt x="136" y="121"/>
                  </a:cubicBezTo>
                  <a:cubicBezTo>
                    <a:pt x="130" y="105"/>
                    <a:pt x="93" y="121"/>
                    <a:pt x="81" y="118"/>
                  </a:cubicBezTo>
                  <a:cubicBezTo>
                    <a:pt x="70" y="115"/>
                    <a:pt x="58" y="121"/>
                    <a:pt x="68" y="134"/>
                  </a:cubicBezTo>
                  <a:cubicBezTo>
                    <a:pt x="72" y="139"/>
                    <a:pt x="72" y="142"/>
                    <a:pt x="69" y="143"/>
                  </a:cubicBezTo>
                  <a:cubicBezTo>
                    <a:pt x="72" y="147"/>
                    <a:pt x="76" y="152"/>
                    <a:pt x="77" y="156"/>
                  </a:cubicBezTo>
                  <a:cubicBezTo>
                    <a:pt x="79" y="164"/>
                    <a:pt x="86" y="173"/>
                    <a:pt x="83" y="180"/>
                  </a:cubicBezTo>
                  <a:cubicBezTo>
                    <a:pt x="80" y="186"/>
                    <a:pt x="71" y="197"/>
                    <a:pt x="71" y="201"/>
                  </a:cubicBezTo>
                  <a:cubicBezTo>
                    <a:pt x="71" y="205"/>
                    <a:pt x="69" y="210"/>
                    <a:pt x="62" y="212"/>
                  </a:cubicBezTo>
                  <a:cubicBezTo>
                    <a:pt x="54" y="214"/>
                    <a:pt x="49" y="218"/>
                    <a:pt x="50" y="224"/>
                  </a:cubicBezTo>
                  <a:cubicBezTo>
                    <a:pt x="50" y="230"/>
                    <a:pt x="49" y="233"/>
                    <a:pt x="58" y="233"/>
                  </a:cubicBezTo>
                  <a:cubicBezTo>
                    <a:pt x="66" y="233"/>
                    <a:pt x="74" y="239"/>
                    <a:pt x="73" y="243"/>
                  </a:cubicBezTo>
                  <a:cubicBezTo>
                    <a:pt x="72" y="247"/>
                    <a:pt x="60" y="250"/>
                    <a:pt x="57" y="258"/>
                  </a:cubicBezTo>
                  <a:cubicBezTo>
                    <a:pt x="54" y="266"/>
                    <a:pt x="48" y="277"/>
                    <a:pt x="39" y="280"/>
                  </a:cubicBezTo>
                  <a:cubicBezTo>
                    <a:pt x="30" y="282"/>
                    <a:pt x="26" y="285"/>
                    <a:pt x="16" y="284"/>
                  </a:cubicBezTo>
                  <a:cubicBezTo>
                    <a:pt x="6" y="282"/>
                    <a:pt x="0" y="283"/>
                    <a:pt x="0" y="290"/>
                  </a:cubicBezTo>
                  <a:cubicBezTo>
                    <a:pt x="0" y="298"/>
                    <a:pt x="0" y="301"/>
                    <a:pt x="5" y="305"/>
                  </a:cubicBezTo>
                  <a:cubicBezTo>
                    <a:pt x="10" y="309"/>
                    <a:pt x="22" y="313"/>
                    <a:pt x="15" y="321"/>
                  </a:cubicBezTo>
                  <a:cubicBezTo>
                    <a:pt x="8" y="329"/>
                    <a:pt x="12" y="331"/>
                    <a:pt x="8" y="340"/>
                  </a:cubicBezTo>
                  <a:cubicBezTo>
                    <a:pt x="5" y="350"/>
                    <a:pt x="9" y="358"/>
                    <a:pt x="9" y="368"/>
                  </a:cubicBezTo>
                  <a:cubicBezTo>
                    <a:pt x="9" y="378"/>
                    <a:pt x="11" y="382"/>
                    <a:pt x="16" y="389"/>
                  </a:cubicBezTo>
                  <a:cubicBezTo>
                    <a:pt x="22" y="396"/>
                    <a:pt x="24" y="400"/>
                    <a:pt x="25" y="406"/>
                  </a:cubicBezTo>
                  <a:cubicBezTo>
                    <a:pt x="26" y="412"/>
                    <a:pt x="22" y="416"/>
                    <a:pt x="17" y="417"/>
                  </a:cubicBezTo>
                  <a:cubicBezTo>
                    <a:pt x="12" y="418"/>
                    <a:pt x="3" y="428"/>
                    <a:pt x="8" y="436"/>
                  </a:cubicBezTo>
                  <a:cubicBezTo>
                    <a:pt x="14" y="444"/>
                    <a:pt x="16" y="448"/>
                    <a:pt x="23" y="450"/>
                  </a:cubicBezTo>
                  <a:cubicBezTo>
                    <a:pt x="30" y="452"/>
                    <a:pt x="32" y="462"/>
                    <a:pt x="33" y="469"/>
                  </a:cubicBezTo>
                  <a:cubicBezTo>
                    <a:pt x="34" y="474"/>
                    <a:pt x="32" y="478"/>
                    <a:pt x="31" y="483"/>
                  </a:cubicBezTo>
                  <a:cubicBezTo>
                    <a:pt x="36" y="484"/>
                    <a:pt x="40" y="487"/>
                    <a:pt x="42" y="491"/>
                  </a:cubicBezTo>
                  <a:cubicBezTo>
                    <a:pt x="48" y="504"/>
                    <a:pt x="48" y="506"/>
                    <a:pt x="57" y="508"/>
                  </a:cubicBezTo>
                  <a:cubicBezTo>
                    <a:pt x="66" y="511"/>
                    <a:pt x="72" y="516"/>
                    <a:pt x="78" y="513"/>
                  </a:cubicBezTo>
                  <a:cubicBezTo>
                    <a:pt x="84" y="510"/>
                    <a:pt x="96" y="510"/>
                    <a:pt x="100" y="514"/>
                  </a:cubicBezTo>
                  <a:cubicBezTo>
                    <a:pt x="104" y="518"/>
                    <a:pt x="106" y="522"/>
                    <a:pt x="116" y="522"/>
                  </a:cubicBezTo>
                  <a:cubicBezTo>
                    <a:pt x="127" y="522"/>
                    <a:pt x="142" y="520"/>
                    <a:pt x="140" y="528"/>
                  </a:cubicBezTo>
                  <a:cubicBezTo>
                    <a:pt x="139" y="537"/>
                    <a:pt x="138" y="542"/>
                    <a:pt x="130" y="545"/>
                  </a:cubicBezTo>
                  <a:cubicBezTo>
                    <a:pt x="122" y="548"/>
                    <a:pt x="114" y="556"/>
                    <a:pt x="114" y="562"/>
                  </a:cubicBezTo>
                  <a:cubicBezTo>
                    <a:pt x="114" y="568"/>
                    <a:pt x="116" y="576"/>
                    <a:pt x="111" y="581"/>
                  </a:cubicBezTo>
                  <a:cubicBezTo>
                    <a:pt x="106" y="586"/>
                    <a:pt x="101" y="592"/>
                    <a:pt x="102" y="600"/>
                  </a:cubicBezTo>
                  <a:cubicBezTo>
                    <a:pt x="102" y="607"/>
                    <a:pt x="99" y="615"/>
                    <a:pt x="100" y="621"/>
                  </a:cubicBezTo>
                  <a:cubicBezTo>
                    <a:pt x="101" y="625"/>
                    <a:pt x="103" y="632"/>
                    <a:pt x="102" y="638"/>
                  </a:cubicBezTo>
                  <a:cubicBezTo>
                    <a:pt x="106" y="637"/>
                    <a:pt x="112" y="636"/>
                    <a:pt x="119" y="637"/>
                  </a:cubicBezTo>
                  <a:cubicBezTo>
                    <a:pt x="133" y="638"/>
                    <a:pt x="139" y="636"/>
                    <a:pt x="145" y="639"/>
                  </a:cubicBezTo>
                  <a:cubicBezTo>
                    <a:pt x="150" y="642"/>
                    <a:pt x="166" y="655"/>
                    <a:pt x="167" y="644"/>
                  </a:cubicBezTo>
                  <a:cubicBezTo>
                    <a:pt x="168" y="633"/>
                    <a:pt x="165" y="625"/>
                    <a:pt x="172" y="626"/>
                  </a:cubicBezTo>
                  <a:cubicBezTo>
                    <a:pt x="178" y="626"/>
                    <a:pt x="184" y="639"/>
                    <a:pt x="189" y="637"/>
                  </a:cubicBezTo>
                  <a:cubicBezTo>
                    <a:pt x="194" y="634"/>
                    <a:pt x="202" y="631"/>
                    <a:pt x="208" y="636"/>
                  </a:cubicBezTo>
                  <a:cubicBezTo>
                    <a:pt x="213" y="642"/>
                    <a:pt x="223" y="640"/>
                    <a:pt x="231" y="641"/>
                  </a:cubicBezTo>
                  <a:cubicBezTo>
                    <a:pt x="240" y="642"/>
                    <a:pt x="255" y="642"/>
                    <a:pt x="259" y="649"/>
                  </a:cubicBezTo>
                  <a:cubicBezTo>
                    <a:pt x="263" y="655"/>
                    <a:pt x="266" y="660"/>
                    <a:pt x="271" y="659"/>
                  </a:cubicBezTo>
                  <a:cubicBezTo>
                    <a:pt x="277" y="659"/>
                    <a:pt x="279" y="656"/>
                    <a:pt x="281" y="650"/>
                  </a:cubicBezTo>
                  <a:cubicBezTo>
                    <a:pt x="284" y="643"/>
                    <a:pt x="287" y="643"/>
                    <a:pt x="292" y="642"/>
                  </a:cubicBezTo>
                  <a:cubicBezTo>
                    <a:pt x="298" y="641"/>
                    <a:pt x="302" y="637"/>
                    <a:pt x="308" y="641"/>
                  </a:cubicBezTo>
                  <a:cubicBezTo>
                    <a:pt x="314" y="646"/>
                    <a:pt x="319" y="650"/>
                    <a:pt x="319" y="650"/>
                  </a:cubicBezTo>
                  <a:cubicBezTo>
                    <a:pt x="319" y="650"/>
                    <a:pt x="328" y="657"/>
                    <a:pt x="335" y="655"/>
                  </a:cubicBezTo>
                  <a:cubicBezTo>
                    <a:pt x="341" y="653"/>
                    <a:pt x="347" y="652"/>
                    <a:pt x="349" y="646"/>
                  </a:cubicBezTo>
                  <a:cubicBezTo>
                    <a:pt x="352" y="641"/>
                    <a:pt x="359" y="635"/>
                    <a:pt x="366" y="635"/>
                  </a:cubicBezTo>
                  <a:cubicBezTo>
                    <a:pt x="374" y="635"/>
                    <a:pt x="380" y="636"/>
                    <a:pt x="391" y="639"/>
                  </a:cubicBezTo>
                  <a:cubicBezTo>
                    <a:pt x="402" y="642"/>
                    <a:pt x="406" y="646"/>
                    <a:pt x="407" y="634"/>
                  </a:cubicBezTo>
                  <a:cubicBezTo>
                    <a:pt x="408" y="623"/>
                    <a:pt x="422" y="633"/>
                    <a:pt x="427" y="636"/>
                  </a:cubicBezTo>
                  <a:cubicBezTo>
                    <a:pt x="432" y="639"/>
                    <a:pt x="442" y="648"/>
                    <a:pt x="446" y="640"/>
                  </a:cubicBezTo>
                  <a:cubicBezTo>
                    <a:pt x="450" y="632"/>
                    <a:pt x="457" y="631"/>
                    <a:pt x="451" y="626"/>
                  </a:cubicBezTo>
                  <a:cubicBezTo>
                    <a:pt x="445" y="622"/>
                    <a:pt x="448" y="616"/>
                    <a:pt x="442" y="611"/>
                  </a:cubicBezTo>
                  <a:cubicBezTo>
                    <a:pt x="436" y="606"/>
                    <a:pt x="434" y="607"/>
                    <a:pt x="437" y="597"/>
                  </a:cubicBezTo>
                  <a:cubicBezTo>
                    <a:pt x="439" y="588"/>
                    <a:pt x="442" y="582"/>
                    <a:pt x="452" y="582"/>
                  </a:cubicBezTo>
                  <a:cubicBezTo>
                    <a:pt x="463" y="582"/>
                    <a:pt x="470" y="582"/>
                    <a:pt x="472" y="571"/>
                  </a:cubicBezTo>
                  <a:cubicBezTo>
                    <a:pt x="474" y="560"/>
                    <a:pt x="476" y="554"/>
                    <a:pt x="483" y="554"/>
                  </a:cubicBezTo>
                  <a:cubicBezTo>
                    <a:pt x="490" y="553"/>
                    <a:pt x="501" y="551"/>
                    <a:pt x="512" y="552"/>
                  </a:cubicBezTo>
                  <a:cubicBezTo>
                    <a:pt x="508" y="542"/>
                    <a:pt x="498" y="535"/>
                    <a:pt x="492" y="533"/>
                  </a:cubicBezTo>
                  <a:cubicBezTo>
                    <a:pt x="485" y="530"/>
                    <a:pt x="484" y="525"/>
                    <a:pt x="479" y="522"/>
                  </a:cubicBezTo>
                  <a:cubicBezTo>
                    <a:pt x="474" y="518"/>
                    <a:pt x="466" y="514"/>
                    <a:pt x="460" y="510"/>
                  </a:cubicBezTo>
                  <a:cubicBezTo>
                    <a:pt x="453" y="507"/>
                    <a:pt x="446" y="502"/>
                    <a:pt x="441" y="497"/>
                  </a:cubicBezTo>
                  <a:cubicBezTo>
                    <a:pt x="436" y="492"/>
                    <a:pt x="422" y="480"/>
                    <a:pt x="418" y="476"/>
                  </a:cubicBezTo>
                  <a:cubicBezTo>
                    <a:pt x="413" y="471"/>
                    <a:pt x="416" y="460"/>
                    <a:pt x="416" y="453"/>
                  </a:cubicBezTo>
                  <a:cubicBezTo>
                    <a:pt x="416" y="446"/>
                    <a:pt x="415" y="438"/>
                    <a:pt x="408" y="438"/>
                  </a:cubicBezTo>
                  <a:cubicBezTo>
                    <a:pt x="400" y="437"/>
                    <a:pt x="405" y="430"/>
                    <a:pt x="393" y="423"/>
                  </a:cubicBezTo>
                  <a:cubicBezTo>
                    <a:pt x="381" y="416"/>
                    <a:pt x="390" y="412"/>
                    <a:pt x="400" y="413"/>
                  </a:cubicBezTo>
                  <a:cubicBezTo>
                    <a:pt x="411" y="414"/>
                    <a:pt x="404" y="408"/>
                    <a:pt x="411" y="406"/>
                  </a:cubicBezTo>
                  <a:cubicBezTo>
                    <a:pt x="418" y="403"/>
                    <a:pt x="430" y="404"/>
                    <a:pt x="434" y="404"/>
                  </a:cubicBezTo>
                  <a:cubicBezTo>
                    <a:pt x="438" y="404"/>
                    <a:pt x="447" y="401"/>
                    <a:pt x="453" y="396"/>
                  </a:cubicBezTo>
                  <a:cubicBezTo>
                    <a:pt x="459" y="392"/>
                    <a:pt x="462" y="388"/>
                    <a:pt x="468" y="388"/>
                  </a:cubicBezTo>
                  <a:cubicBezTo>
                    <a:pt x="475" y="388"/>
                    <a:pt x="481" y="386"/>
                    <a:pt x="484" y="380"/>
                  </a:cubicBezTo>
                  <a:cubicBezTo>
                    <a:pt x="486" y="374"/>
                    <a:pt x="500" y="379"/>
                    <a:pt x="505" y="374"/>
                  </a:cubicBezTo>
                  <a:cubicBezTo>
                    <a:pt x="510" y="368"/>
                    <a:pt x="514" y="367"/>
                    <a:pt x="522" y="367"/>
                  </a:cubicBezTo>
                  <a:cubicBezTo>
                    <a:pt x="529" y="367"/>
                    <a:pt x="531" y="356"/>
                    <a:pt x="532" y="352"/>
                  </a:cubicBezTo>
                  <a:cubicBezTo>
                    <a:pt x="532" y="348"/>
                    <a:pt x="542" y="350"/>
                    <a:pt x="544" y="356"/>
                  </a:cubicBezTo>
                  <a:cubicBezTo>
                    <a:pt x="546" y="361"/>
                    <a:pt x="553" y="366"/>
                    <a:pt x="564" y="366"/>
                  </a:cubicBezTo>
                  <a:cubicBezTo>
                    <a:pt x="570" y="367"/>
                    <a:pt x="574" y="361"/>
                    <a:pt x="576" y="356"/>
                  </a:cubicBezTo>
                  <a:cubicBezTo>
                    <a:pt x="572" y="354"/>
                    <a:pt x="571" y="346"/>
                    <a:pt x="572" y="337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190" name="Freeform 25263"/>
            <p:cNvSpPr>
              <a:spLocks/>
            </p:cNvSpPr>
            <p:nvPr/>
          </p:nvSpPr>
          <p:spPr bwMode="auto">
            <a:xfrm>
              <a:off x="4402329" y="1758017"/>
              <a:ext cx="622813" cy="509488"/>
            </a:xfrm>
            <a:custGeom>
              <a:avLst/>
              <a:gdLst>
                <a:gd name="T0" fmla="*/ 441 w 1670"/>
                <a:gd name="T1" fmla="*/ 1194 h 1366"/>
                <a:gd name="T2" fmla="*/ 468 w 1670"/>
                <a:gd name="T3" fmla="*/ 1089 h 1366"/>
                <a:gd name="T4" fmla="*/ 459 w 1670"/>
                <a:gd name="T5" fmla="*/ 987 h 1366"/>
                <a:gd name="T6" fmla="*/ 452 w 1670"/>
                <a:gd name="T7" fmla="*/ 852 h 1366"/>
                <a:gd name="T8" fmla="*/ 583 w 1670"/>
                <a:gd name="T9" fmla="*/ 760 h 1366"/>
                <a:gd name="T10" fmla="*/ 609 w 1670"/>
                <a:gd name="T11" fmla="*/ 622 h 1366"/>
                <a:gd name="T12" fmla="*/ 713 w 1670"/>
                <a:gd name="T13" fmla="*/ 476 h 1366"/>
                <a:gd name="T14" fmla="*/ 759 w 1670"/>
                <a:gd name="T15" fmla="*/ 365 h 1366"/>
                <a:gd name="T16" fmla="*/ 839 w 1670"/>
                <a:gd name="T17" fmla="*/ 320 h 1366"/>
                <a:gd name="T18" fmla="*/ 965 w 1670"/>
                <a:gd name="T19" fmla="*/ 300 h 1366"/>
                <a:gd name="T20" fmla="*/ 1023 w 1670"/>
                <a:gd name="T21" fmla="*/ 234 h 1366"/>
                <a:gd name="T22" fmla="*/ 1216 w 1670"/>
                <a:gd name="T23" fmla="*/ 271 h 1366"/>
                <a:gd name="T24" fmla="*/ 1326 w 1670"/>
                <a:gd name="T25" fmla="*/ 248 h 1366"/>
                <a:gd name="T26" fmla="*/ 1458 w 1670"/>
                <a:gd name="T27" fmla="*/ 129 h 1366"/>
                <a:gd name="T28" fmla="*/ 1552 w 1670"/>
                <a:gd name="T29" fmla="*/ 236 h 1366"/>
                <a:gd name="T30" fmla="*/ 1654 w 1670"/>
                <a:gd name="T31" fmla="*/ 180 h 1366"/>
                <a:gd name="T32" fmla="*/ 1568 w 1670"/>
                <a:gd name="T33" fmla="*/ 135 h 1366"/>
                <a:gd name="T34" fmla="*/ 1619 w 1670"/>
                <a:gd name="T35" fmla="*/ 64 h 1366"/>
                <a:gd name="T36" fmla="*/ 1487 w 1670"/>
                <a:gd name="T37" fmla="*/ 74 h 1366"/>
                <a:gd name="T38" fmla="*/ 1426 w 1670"/>
                <a:gd name="T39" fmla="*/ 30 h 1366"/>
                <a:gd name="T40" fmla="*/ 1374 w 1670"/>
                <a:gd name="T41" fmla="*/ 26 h 1366"/>
                <a:gd name="T42" fmla="*/ 1317 w 1670"/>
                <a:gd name="T43" fmla="*/ 54 h 1366"/>
                <a:gd name="T44" fmla="*/ 1290 w 1670"/>
                <a:gd name="T45" fmla="*/ 26 h 1366"/>
                <a:gd name="T46" fmla="*/ 1232 w 1670"/>
                <a:gd name="T47" fmla="*/ 56 h 1366"/>
                <a:gd name="T48" fmla="*/ 1176 w 1670"/>
                <a:gd name="T49" fmla="*/ 110 h 1366"/>
                <a:gd name="T50" fmla="*/ 1171 w 1670"/>
                <a:gd name="T51" fmla="*/ 39 h 1366"/>
                <a:gd name="T52" fmla="*/ 1118 w 1670"/>
                <a:gd name="T53" fmla="*/ 100 h 1366"/>
                <a:gd name="T54" fmla="*/ 1079 w 1670"/>
                <a:gd name="T55" fmla="*/ 142 h 1366"/>
                <a:gd name="T56" fmla="*/ 1010 w 1670"/>
                <a:gd name="T57" fmla="*/ 133 h 1366"/>
                <a:gd name="T58" fmla="*/ 977 w 1670"/>
                <a:gd name="T59" fmla="*/ 136 h 1366"/>
                <a:gd name="T60" fmla="*/ 936 w 1670"/>
                <a:gd name="T61" fmla="*/ 107 h 1366"/>
                <a:gd name="T62" fmla="*/ 888 w 1670"/>
                <a:gd name="T63" fmla="*/ 142 h 1366"/>
                <a:gd name="T64" fmla="*/ 864 w 1670"/>
                <a:gd name="T65" fmla="*/ 155 h 1366"/>
                <a:gd name="T66" fmla="*/ 812 w 1670"/>
                <a:gd name="T67" fmla="*/ 176 h 1366"/>
                <a:gd name="T68" fmla="*/ 771 w 1670"/>
                <a:gd name="T69" fmla="*/ 241 h 1366"/>
                <a:gd name="T70" fmla="*/ 778 w 1670"/>
                <a:gd name="T71" fmla="*/ 256 h 1366"/>
                <a:gd name="T72" fmla="*/ 708 w 1670"/>
                <a:gd name="T73" fmla="*/ 269 h 1366"/>
                <a:gd name="T74" fmla="*/ 659 w 1670"/>
                <a:gd name="T75" fmla="*/ 252 h 1366"/>
                <a:gd name="T76" fmla="*/ 635 w 1670"/>
                <a:gd name="T77" fmla="*/ 295 h 1366"/>
                <a:gd name="T78" fmla="*/ 612 w 1670"/>
                <a:gd name="T79" fmla="*/ 331 h 1366"/>
                <a:gd name="T80" fmla="*/ 768 w 1670"/>
                <a:gd name="T81" fmla="*/ 312 h 1366"/>
                <a:gd name="T82" fmla="*/ 706 w 1670"/>
                <a:gd name="T83" fmla="*/ 340 h 1366"/>
                <a:gd name="T84" fmla="*/ 653 w 1670"/>
                <a:gd name="T85" fmla="*/ 383 h 1366"/>
                <a:gd name="T86" fmla="*/ 596 w 1670"/>
                <a:gd name="T87" fmla="*/ 434 h 1366"/>
                <a:gd name="T88" fmla="*/ 541 w 1670"/>
                <a:gd name="T89" fmla="*/ 539 h 1366"/>
                <a:gd name="T90" fmla="*/ 471 w 1670"/>
                <a:gd name="T91" fmla="*/ 576 h 1366"/>
                <a:gd name="T92" fmla="*/ 461 w 1670"/>
                <a:gd name="T93" fmla="*/ 656 h 1366"/>
                <a:gd name="T94" fmla="*/ 361 w 1670"/>
                <a:gd name="T95" fmla="*/ 694 h 1366"/>
                <a:gd name="T96" fmla="*/ 361 w 1670"/>
                <a:gd name="T97" fmla="*/ 732 h 1366"/>
                <a:gd name="T98" fmla="*/ 268 w 1670"/>
                <a:gd name="T99" fmla="*/ 823 h 1366"/>
                <a:gd name="T100" fmla="*/ 230 w 1670"/>
                <a:gd name="T101" fmla="*/ 850 h 1366"/>
                <a:gd name="T102" fmla="*/ 190 w 1670"/>
                <a:gd name="T103" fmla="*/ 856 h 1366"/>
                <a:gd name="T104" fmla="*/ 199 w 1670"/>
                <a:gd name="T105" fmla="*/ 894 h 1366"/>
                <a:gd name="T106" fmla="*/ 170 w 1670"/>
                <a:gd name="T107" fmla="*/ 919 h 1366"/>
                <a:gd name="T108" fmla="*/ 74 w 1670"/>
                <a:gd name="T109" fmla="*/ 944 h 1366"/>
                <a:gd name="T110" fmla="*/ 11 w 1670"/>
                <a:gd name="T111" fmla="*/ 980 h 1366"/>
                <a:gd name="T112" fmla="*/ 15 w 1670"/>
                <a:gd name="T113" fmla="*/ 1094 h 1366"/>
                <a:gd name="T114" fmla="*/ 50 w 1670"/>
                <a:gd name="T115" fmla="*/ 1168 h 1366"/>
                <a:gd name="T116" fmla="*/ 21 w 1670"/>
                <a:gd name="T117" fmla="*/ 1201 h 1366"/>
                <a:gd name="T118" fmla="*/ 64 w 1670"/>
                <a:gd name="T119" fmla="*/ 1220 h 1366"/>
                <a:gd name="T120" fmla="*/ 70 w 1670"/>
                <a:gd name="T121" fmla="*/ 1317 h 1366"/>
                <a:gd name="T122" fmla="*/ 292 w 1670"/>
                <a:gd name="T123" fmla="*/ 1277 h 1366"/>
                <a:gd name="T124" fmla="*/ 392 w 1670"/>
                <a:gd name="T125" fmla="*/ 1260 h 1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670" h="1366">
                  <a:moveTo>
                    <a:pt x="404" y="1261"/>
                  </a:moveTo>
                  <a:cubicBezTo>
                    <a:pt x="414" y="1273"/>
                    <a:pt x="417" y="1279"/>
                    <a:pt x="425" y="1273"/>
                  </a:cubicBezTo>
                  <a:cubicBezTo>
                    <a:pt x="434" y="1267"/>
                    <a:pt x="441" y="1259"/>
                    <a:pt x="438" y="1248"/>
                  </a:cubicBezTo>
                  <a:cubicBezTo>
                    <a:pt x="436" y="1236"/>
                    <a:pt x="421" y="1235"/>
                    <a:pt x="429" y="1224"/>
                  </a:cubicBezTo>
                  <a:cubicBezTo>
                    <a:pt x="436" y="1212"/>
                    <a:pt x="439" y="1203"/>
                    <a:pt x="441" y="1194"/>
                  </a:cubicBezTo>
                  <a:cubicBezTo>
                    <a:pt x="443" y="1184"/>
                    <a:pt x="446" y="1180"/>
                    <a:pt x="458" y="1180"/>
                  </a:cubicBezTo>
                  <a:cubicBezTo>
                    <a:pt x="470" y="1180"/>
                    <a:pt x="477" y="1174"/>
                    <a:pt x="480" y="1165"/>
                  </a:cubicBezTo>
                  <a:cubicBezTo>
                    <a:pt x="482" y="1157"/>
                    <a:pt x="483" y="1142"/>
                    <a:pt x="484" y="1134"/>
                  </a:cubicBezTo>
                  <a:cubicBezTo>
                    <a:pt x="486" y="1127"/>
                    <a:pt x="491" y="1125"/>
                    <a:pt x="482" y="1116"/>
                  </a:cubicBezTo>
                  <a:cubicBezTo>
                    <a:pt x="473" y="1108"/>
                    <a:pt x="464" y="1099"/>
                    <a:pt x="468" y="1089"/>
                  </a:cubicBezTo>
                  <a:cubicBezTo>
                    <a:pt x="473" y="1078"/>
                    <a:pt x="470" y="1074"/>
                    <a:pt x="481" y="1072"/>
                  </a:cubicBezTo>
                  <a:cubicBezTo>
                    <a:pt x="491" y="1071"/>
                    <a:pt x="501" y="1065"/>
                    <a:pt x="505" y="1055"/>
                  </a:cubicBezTo>
                  <a:cubicBezTo>
                    <a:pt x="508" y="1046"/>
                    <a:pt x="508" y="1035"/>
                    <a:pt x="496" y="1032"/>
                  </a:cubicBezTo>
                  <a:cubicBezTo>
                    <a:pt x="484" y="1028"/>
                    <a:pt x="468" y="1024"/>
                    <a:pt x="467" y="1011"/>
                  </a:cubicBezTo>
                  <a:cubicBezTo>
                    <a:pt x="465" y="999"/>
                    <a:pt x="456" y="1000"/>
                    <a:pt x="459" y="987"/>
                  </a:cubicBezTo>
                  <a:cubicBezTo>
                    <a:pt x="461" y="974"/>
                    <a:pt x="466" y="974"/>
                    <a:pt x="466" y="961"/>
                  </a:cubicBezTo>
                  <a:cubicBezTo>
                    <a:pt x="466" y="948"/>
                    <a:pt x="466" y="944"/>
                    <a:pt x="461" y="938"/>
                  </a:cubicBezTo>
                  <a:cubicBezTo>
                    <a:pt x="455" y="932"/>
                    <a:pt x="457" y="922"/>
                    <a:pt x="457" y="908"/>
                  </a:cubicBezTo>
                  <a:cubicBezTo>
                    <a:pt x="457" y="895"/>
                    <a:pt x="469" y="885"/>
                    <a:pt x="465" y="876"/>
                  </a:cubicBezTo>
                  <a:cubicBezTo>
                    <a:pt x="460" y="868"/>
                    <a:pt x="451" y="864"/>
                    <a:pt x="452" y="852"/>
                  </a:cubicBezTo>
                  <a:cubicBezTo>
                    <a:pt x="454" y="840"/>
                    <a:pt x="459" y="831"/>
                    <a:pt x="466" y="822"/>
                  </a:cubicBezTo>
                  <a:cubicBezTo>
                    <a:pt x="472" y="814"/>
                    <a:pt x="486" y="790"/>
                    <a:pt x="493" y="786"/>
                  </a:cubicBezTo>
                  <a:cubicBezTo>
                    <a:pt x="500" y="781"/>
                    <a:pt x="505" y="769"/>
                    <a:pt x="524" y="773"/>
                  </a:cubicBezTo>
                  <a:cubicBezTo>
                    <a:pt x="543" y="777"/>
                    <a:pt x="562" y="775"/>
                    <a:pt x="570" y="775"/>
                  </a:cubicBezTo>
                  <a:cubicBezTo>
                    <a:pt x="577" y="775"/>
                    <a:pt x="577" y="760"/>
                    <a:pt x="583" y="760"/>
                  </a:cubicBezTo>
                  <a:cubicBezTo>
                    <a:pt x="589" y="760"/>
                    <a:pt x="593" y="754"/>
                    <a:pt x="590" y="747"/>
                  </a:cubicBezTo>
                  <a:cubicBezTo>
                    <a:pt x="587" y="740"/>
                    <a:pt x="589" y="734"/>
                    <a:pt x="577" y="731"/>
                  </a:cubicBezTo>
                  <a:cubicBezTo>
                    <a:pt x="564" y="727"/>
                    <a:pt x="544" y="721"/>
                    <a:pt x="563" y="708"/>
                  </a:cubicBezTo>
                  <a:cubicBezTo>
                    <a:pt x="582" y="695"/>
                    <a:pt x="605" y="666"/>
                    <a:pt x="603" y="651"/>
                  </a:cubicBezTo>
                  <a:cubicBezTo>
                    <a:pt x="602" y="637"/>
                    <a:pt x="605" y="634"/>
                    <a:pt x="609" y="622"/>
                  </a:cubicBezTo>
                  <a:cubicBezTo>
                    <a:pt x="614" y="609"/>
                    <a:pt x="617" y="606"/>
                    <a:pt x="617" y="594"/>
                  </a:cubicBezTo>
                  <a:cubicBezTo>
                    <a:pt x="617" y="582"/>
                    <a:pt x="599" y="559"/>
                    <a:pt x="618" y="558"/>
                  </a:cubicBezTo>
                  <a:cubicBezTo>
                    <a:pt x="636" y="558"/>
                    <a:pt x="679" y="544"/>
                    <a:pt x="678" y="530"/>
                  </a:cubicBezTo>
                  <a:cubicBezTo>
                    <a:pt x="677" y="517"/>
                    <a:pt x="666" y="517"/>
                    <a:pt x="683" y="509"/>
                  </a:cubicBezTo>
                  <a:cubicBezTo>
                    <a:pt x="700" y="501"/>
                    <a:pt x="700" y="484"/>
                    <a:pt x="713" y="476"/>
                  </a:cubicBezTo>
                  <a:cubicBezTo>
                    <a:pt x="726" y="468"/>
                    <a:pt x="728" y="465"/>
                    <a:pt x="729" y="456"/>
                  </a:cubicBezTo>
                  <a:cubicBezTo>
                    <a:pt x="729" y="446"/>
                    <a:pt x="733" y="438"/>
                    <a:pt x="724" y="432"/>
                  </a:cubicBezTo>
                  <a:cubicBezTo>
                    <a:pt x="715" y="427"/>
                    <a:pt x="707" y="416"/>
                    <a:pt x="719" y="413"/>
                  </a:cubicBezTo>
                  <a:cubicBezTo>
                    <a:pt x="732" y="410"/>
                    <a:pt x="736" y="413"/>
                    <a:pt x="739" y="400"/>
                  </a:cubicBezTo>
                  <a:cubicBezTo>
                    <a:pt x="742" y="386"/>
                    <a:pt x="749" y="371"/>
                    <a:pt x="759" y="365"/>
                  </a:cubicBezTo>
                  <a:cubicBezTo>
                    <a:pt x="770" y="359"/>
                    <a:pt x="770" y="344"/>
                    <a:pt x="783" y="344"/>
                  </a:cubicBezTo>
                  <a:cubicBezTo>
                    <a:pt x="796" y="343"/>
                    <a:pt x="799" y="343"/>
                    <a:pt x="802" y="350"/>
                  </a:cubicBezTo>
                  <a:cubicBezTo>
                    <a:pt x="804" y="357"/>
                    <a:pt x="816" y="360"/>
                    <a:pt x="822" y="359"/>
                  </a:cubicBezTo>
                  <a:cubicBezTo>
                    <a:pt x="827" y="358"/>
                    <a:pt x="837" y="353"/>
                    <a:pt x="841" y="344"/>
                  </a:cubicBezTo>
                  <a:cubicBezTo>
                    <a:pt x="844" y="335"/>
                    <a:pt x="839" y="328"/>
                    <a:pt x="839" y="320"/>
                  </a:cubicBezTo>
                  <a:cubicBezTo>
                    <a:pt x="839" y="311"/>
                    <a:pt x="826" y="294"/>
                    <a:pt x="849" y="294"/>
                  </a:cubicBezTo>
                  <a:cubicBezTo>
                    <a:pt x="872" y="294"/>
                    <a:pt x="875" y="303"/>
                    <a:pt x="889" y="304"/>
                  </a:cubicBezTo>
                  <a:cubicBezTo>
                    <a:pt x="904" y="306"/>
                    <a:pt x="923" y="303"/>
                    <a:pt x="930" y="311"/>
                  </a:cubicBezTo>
                  <a:cubicBezTo>
                    <a:pt x="937" y="318"/>
                    <a:pt x="958" y="329"/>
                    <a:pt x="962" y="320"/>
                  </a:cubicBezTo>
                  <a:cubicBezTo>
                    <a:pt x="965" y="311"/>
                    <a:pt x="970" y="303"/>
                    <a:pt x="965" y="300"/>
                  </a:cubicBezTo>
                  <a:cubicBezTo>
                    <a:pt x="961" y="297"/>
                    <a:pt x="964" y="290"/>
                    <a:pt x="970" y="286"/>
                  </a:cubicBezTo>
                  <a:cubicBezTo>
                    <a:pt x="977" y="282"/>
                    <a:pt x="982" y="285"/>
                    <a:pt x="982" y="274"/>
                  </a:cubicBezTo>
                  <a:cubicBezTo>
                    <a:pt x="982" y="264"/>
                    <a:pt x="983" y="258"/>
                    <a:pt x="976" y="254"/>
                  </a:cubicBezTo>
                  <a:cubicBezTo>
                    <a:pt x="969" y="250"/>
                    <a:pt x="947" y="242"/>
                    <a:pt x="973" y="239"/>
                  </a:cubicBezTo>
                  <a:cubicBezTo>
                    <a:pt x="998" y="237"/>
                    <a:pt x="1012" y="250"/>
                    <a:pt x="1023" y="234"/>
                  </a:cubicBezTo>
                  <a:cubicBezTo>
                    <a:pt x="1035" y="219"/>
                    <a:pt x="1054" y="199"/>
                    <a:pt x="1068" y="220"/>
                  </a:cubicBezTo>
                  <a:cubicBezTo>
                    <a:pt x="1081" y="241"/>
                    <a:pt x="1105" y="269"/>
                    <a:pt x="1114" y="275"/>
                  </a:cubicBezTo>
                  <a:cubicBezTo>
                    <a:pt x="1124" y="281"/>
                    <a:pt x="1134" y="284"/>
                    <a:pt x="1144" y="284"/>
                  </a:cubicBezTo>
                  <a:cubicBezTo>
                    <a:pt x="1155" y="284"/>
                    <a:pt x="1186" y="289"/>
                    <a:pt x="1194" y="278"/>
                  </a:cubicBezTo>
                  <a:cubicBezTo>
                    <a:pt x="1203" y="267"/>
                    <a:pt x="1209" y="266"/>
                    <a:pt x="1216" y="271"/>
                  </a:cubicBezTo>
                  <a:cubicBezTo>
                    <a:pt x="1223" y="276"/>
                    <a:pt x="1231" y="280"/>
                    <a:pt x="1240" y="280"/>
                  </a:cubicBezTo>
                  <a:cubicBezTo>
                    <a:pt x="1250" y="280"/>
                    <a:pt x="1256" y="290"/>
                    <a:pt x="1268" y="292"/>
                  </a:cubicBezTo>
                  <a:cubicBezTo>
                    <a:pt x="1281" y="295"/>
                    <a:pt x="1283" y="292"/>
                    <a:pt x="1286" y="281"/>
                  </a:cubicBezTo>
                  <a:cubicBezTo>
                    <a:pt x="1289" y="271"/>
                    <a:pt x="1290" y="264"/>
                    <a:pt x="1301" y="262"/>
                  </a:cubicBezTo>
                  <a:cubicBezTo>
                    <a:pt x="1312" y="260"/>
                    <a:pt x="1324" y="268"/>
                    <a:pt x="1326" y="248"/>
                  </a:cubicBezTo>
                  <a:cubicBezTo>
                    <a:pt x="1329" y="228"/>
                    <a:pt x="1320" y="204"/>
                    <a:pt x="1330" y="196"/>
                  </a:cubicBezTo>
                  <a:cubicBezTo>
                    <a:pt x="1340" y="188"/>
                    <a:pt x="1332" y="175"/>
                    <a:pt x="1348" y="167"/>
                  </a:cubicBezTo>
                  <a:cubicBezTo>
                    <a:pt x="1364" y="158"/>
                    <a:pt x="1374" y="144"/>
                    <a:pt x="1394" y="146"/>
                  </a:cubicBezTo>
                  <a:cubicBezTo>
                    <a:pt x="1413" y="149"/>
                    <a:pt x="1422" y="149"/>
                    <a:pt x="1427" y="140"/>
                  </a:cubicBezTo>
                  <a:cubicBezTo>
                    <a:pt x="1432" y="132"/>
                    <a:pt x="1443" y="118"/>
                    <a:pt x="1458" y="129"/>
                  </a:cubicBezTo>
                  <a:cubicBezTo>
                    <a:pt x="1473" y="140"/>
                    <a:pt x="1493" y="165"/>
                    <a:pt x="1509" y="165"/>
                  </a:cubicBezTo>
                  <a:cubicBezTo>
                    <a:pt x="1524" y="165"/>
                    <a:pt x="1534" y="165"/>
                    <a:pt x="1541" y="176"/>
                  </a:cubicBezTo>
                  <a:cubicBezTo>
                    <a:pt x="1547" y="186"/>
                    <a:pt x="1551" y="195"/>
                    <a:pt x="1546" y="202"/>
                  </a:cubicBezTo>
                  <a:cubicBezTo>
                    <a:pt x="1542" y="209"/>
                    <a:pt x="1520" y="232"/>
                    <a:pt x="1525" y="241"/>
                  </a:cubicBezTo>
                  <a:cubicBezTo>
                    <a:pt x="1530" y="250"/>
                    <a:pt x="1545" y="248"/>
                    <a:pt x="1552" y="236"/>
                  </a:cubicBezTo>
                  <a:cubicBezTo>
                    <a:pt x="1559" y="223"/>
                    <a:pt x="1563" y="211"/>
                    <a:pt x="1573" y="210"/>
                  </a:cubicBezTo>
                  <a:cubicBezTo>
                    <a:pt x="1583" y="210"/>
                    <a:pt x="1593" y="211"/>
                    <a:pt x="1597" y="200"/>
                  </a:cubicBezTo>
                  <a:cubicBezTo>
                    <a:pt x="1601" y="189"/>
                    <a:pt x="1608" y="176"/>
                    <a:pt x="1619" y="180"/>
                  </a:cubicBezTo>
                  <a:cubicBezTo>
                    <a:pt x="1629" y="184"/>
                    <a:pt x="1629" y="189"/>
                    <a:pt x="1638" y="189"/>
                  </a:cubicBezTo>
                  <a:cubicBezTo>
                    <a:pt x="1648" y="190"/>
                    <a:pt x="1656" y="189"/>
                    <a:pt x="1654" y="180"/>
                  </a:cubicBezTo>
                  <a:cubicBezTo>
                    <a:pt x="1653" y="174"/>
                    <a:pt x="1651" y="165"/>
                    <a:pt x="1654" y="157"/>
                  </a:cubicBezTo>
                  <a:cubicBezTo>
                    <a:pt x="1650" y="156"/>
                    <a:pt x="1645" y="155"/>
                    <a:pt x="1639" y="155"/>
                  </a:cubicBezTo>
                  <a:cubicBezTo>
                    <a:pt x="1622" y="153"/>
                    <a:pt x="1621" y="166"/>
                    <a:pt x="1606" y="168"/>
                  </a:cubicBezTo>
                  <a:cubicBezTo>
                    <a:pt x="1592" y="169"/>
                    <a:pt x="1615" y="152"/>
                    <a:pt x="1595" y="152"/>
                  </a:cubicBezTo>
                  <a:cubicBezTo>
                    <a:pt x="1575" y="152"/>
                    <a:pt x="1565" y="145"/>
                    <a:pt x="1568" y="135"/>
                  </a:cubicBezTo>
                  <a:cubicBezTo>
                    <a:pt x="1571" y="125"/>
                    <a:pt x="1588" y="120"/>
                    <a:pt x="1604" y="123"/>
                  </a:cubicBezTo>
                  <a:cubicBezTo>
                    <a:pt x="1619" y="126"/>
                    <a:pt x="1628" y="112"/>
                    <a:pt x="1638" y="107"/>
                  </a:cubicBezTo>
                  <a:cubicBezTo>
                    <a:pt x="1648" y="103"/>
                    <a:pt x="1661" y="105"/>
                    <a:pt x="1665" y="94"/>
                  </a:cubicBezTo>
                  <a:cubicBezTo>
                    <a:pt x="1670" y="84"/>
                    <a:pt x="1648" y="76"/>
                    <a:pt x="1637" y="74"/>
                  </a:cubicBezTo>
                  <a:cubicBezTo>
                    <a:pt x="1625" y="73"/>
                    <a:pt x="1619" y="72"/>
                    <a:pt x="1619" y="64"/>
                  </a:cubicBezTo>
                  <a:cubicBezTo>
                    <a:pt x="1619" y="57"/>
                    <a:pt x="1605" y="56"/>
                    <a:pt x="1592" y="56"/>
                  </a:cubicBezTo>
                  <a:cubicBezTo>
                    <a:pt x="1579" y="56"/>
                    <a:pt x="1559" y="60"/>
                    <a:pt x="1558" y="51"/>
                  </a:cubicBezTo>
                  <a:cubicBezTo>
                    <a:pt x="1556" y="43"/>
                    <a:pt x="1551" y="36"/>
                    <a:pt x="1533" y="33"/>
                  </a:cubicBezTo>
                  <a:cubicBezTo>
                    <a:pt x="1516" y="30"/>
                    <a:pt x="1512" y="39"/>
                    <a:pt x="1508" y="56"/>
                  </a:cubicBezTo>
                  <a:cubicBezTo>
                    <a:pt x="1503" y="73"/>
                    <a:pt x="1506" y="77"/>
                    <a:pt x="1487" y="74"/>
                  </a:cubicBezTo>
                  <a:cubicBezTo>
                    <a:pt x="1469" y="72"/>
                    <a:pt x="1487" y="57"/>
                    <a:pt x="1480" y="57"/>
                  </a:cubicBezTo>
                  <a:cubicBezTo>
                    <a:pt x="1473" y="57"/>
                    <a:pt x="1469" y="33"/>
                    <a:pt x="1485" y="31"/>
                  </a:cubicBezTo>
                  <a:cubicBezTo>
                    <a:pt x="1500" y="30"/>
                    <a:pt x="1495" y="14"/>
                    <a:pt x="1487" y="7"/>
                  </a:cubicBezTo>
                  <a:cubicBezTo>
                    <a:pt x="1480" y="0"/>
                    <a:pt x="1449" y="8"/>
                    <a:pt x="1430" y="13"/>
                  </a:cubicBezTo>
                  <a:cubicBezTo>
                    <a:pt x="1412" y="17"/>
                    <a:pt x="1419" y="27"/>
                    <a:pt x="1426" y="30"/>
                  </a:cubicBezTo>
                  <a:cubicBezTo>
                    <a:pt x="1433" y="33"/>
                    <a:pt x="1434" y="44"/>
                    <a:pt x="1424" y="49"/>
                  </a:cubicBezTo>
                  <a:cubicBezTo>
                    <a:pt x="1414" y="53"/>
                    <a:pt x="1406" y="60"/>
                    <a:pt x="1400" y="74"/>
                  </a:cubicBezTo>
                  <a:cubicBezTo>
                    <a:pt x="1394" y="89"/>
                    <a:pt x="1383" y="86"/>
                    <a:pt x="1383" y="67"/>
                  </a:cubicBezTo>
                  <a:cubicBezTo>
                    <a:pt x="1383" y="49"/>
                    <a:pt x="1381" y="54"/>
                    <a:pt x="1389" y="41"/>
                  </a:cubicBezTo>
                  <a:cubicBezTo>
                    <a:pt x="1396" y="29"/>
                    <a:pt x="1387" y="21"/>
                    <a:pt x="1374" y="26"/>
                  </a:cubicBezTo>
                  <a:cubicBezTo>
                    <a:pt x="1361" y="30"/>
                    <a:pt x="1357" y="44"/>
                    <a:pt x="1344" y="54"/>
                  </a:cubicBezTo>
                  <a:cubicBezTo>
                    <a:pt x="1331" y="64"/>
                    <a:pt x="1330" y="63"/>
                    <a:pt x="1318" y="89"/>
                  </a:cubicBezTo>
                  <a:cubicBezTo>
                    <a:pt x="1307" y="115"/>
                    <a:pt x="1305" y="109"/>
                    <a:pt x="1288" y="112"/>
                  </a:cubicBezTo>
                  <a:cubicBezTo>
                    <a:pt x="1271" y="115"/>
                    <a:pt x="1285" y="92"/>
                    <a:pt x="1290" y="82"/>
                  </a:cubicBezTo>
                  <a:cubicBezTo>
                    <a:pt x="1294" y="72"/>
                    <a:pt x="1297" y="60"/>
                    <a:pt x="1317" y="54"/>
                  </a:cubicBezTo>
                  <a:cubicBezTo>
                    <a:pt x="1337" y="49"/>
                    <a:pt x="1321" y="34"/>
                    <a:pt x="1333" y="27"/>
                  </a:cubicBezTo>
                  <a:cubicBezTo>
                    <a:pt x="1344" y="20"/>
                    <a:pt x="1354" y="14"/>
                    <a:pt x="1348" y="7"/>
                  </a:cubicBezTo>
                  <a:cubicBezTo>
                    <a:pt x="1343" y="0"/>
                    <a:pt x="1324" y="0"/>
                    <a:pt x="1314" y="0"/>
                  </a:cubicBezTo>
                  <a:cubicBezTo>
                    <a:pt x="1304" y="0"/>
                    <a:pt x="1308" y="10"/>
                    <a:pt x="1313" y="23"/>
                  </a:cubicBezTo>
                  <a:cubicBezTo>
                    <a:pt x="1317" y="36"/>
                    <a:pt x="1305" y="24"/>
                    <a:pt x="1290" y="26"/>
                  </a:cubicBezTo>
                  <a:cubicBezTo>
                    <a:pt x="1274" y="27"/>
                    <a:pt x="1275" y="8"/>
                    <a:pt x="1260" y="7"/>
                  </a:cubicBezTo>
                  <a:cubicBezTo>
                    <a:pt x="1244" y="6"/>
                    <a:pt x="1254" y="17"/>
                    <a:pt x="1255" y="33"/>
                  </a:cubicBezTo>
                  <a:cubicBezTo>
                    <a:pt x="1257" y="49"/>
                    <a:pt x="1247" y="34"/>
                    <a:pt x="1240" y="29"/>
                  </a:cubicBezTo>
                  <a:cubicBezTo>
                    <a:pt x="1232" y="23"/>
                    <a:pt x="1232" y="39"/>
                    <a:pt x="1244" y="44"/>
                  </a:cubicBezTo>
                  <a:cubicBezTo>
                    <a:pt x="1255" y="50"/>
                    <a:pt x="1240" y="51"/>
                    <a:pt x="1232" y="56"/>
                  </a:cubicBezTo>
                  <a:cubicBezTo>
                    <a:pt x="1225" y="60"/>
                    <a:pt x="1215" y="62"/>
                    <a:pt x="1215" y="54"/>
                  </a:cubicBezTo>
                  <a:cubicBezTo>
                    <a:pt x="1215" y="47"/>
                    <a:pt x="1197" y="37"/>
                    <a:pt x="1186" y="53"/>
                  </a:cubicBezTo>
                  <a:cubicBezTo>
                    <a:pt x="1176" y="69"/>
                    <a:pt x="1182" y="66"/>
                    <a:pt x="1165" y="70"/>
                  </a:cubicBezTo>
                  <a:cubicBezTo>
                    <a:pt x="1148" y="74"/>
                    <a:pt x="1155" y="86"/>
                    <a:pt x="1162" y="92"/>
                  </a:cubicBezTo>
                  <a:cubicBezTo>
                    <a:pt x="1169" y="97"/>
                    <a:pt x="1178" y="97"/>
                    <a:pt x="1176" y="110"/>
                  </a:cubicBezTo>
                  <a:cubicBezTo>
                    <a:pt x="1175" y="123"/>
                    <a:pt x="1172" y="130"/>
                    <a:pt x="1161" y="129"/>
                  </a:cubicBezTo>
                  <a:cubicBezTo>
                    <a:pt x="1149" y="127"/>
                    <a:pt x="1148" y="107"/>
                    <a:pt x="1143" y="92"/>
                  </a:cubicBezTo>
                  <a:cubicBezTo>
                    <a:pt x="1139" y="76"/>
                    <a:pt x="1128" y="83"/>
                    <a:pt x="1126" y="73"/>
                  </a:cubicBezTo>
                  <a:cubicBezTo>
                    <a:pt x="1125" y="63"/>
                    <a:pt x="1151" y="62"/>
                    <a:pt x="1162" y="57"/>
                  </a:cubicBezTo>
                  <a:cubicBezTo>
                    <a:pt x="1174" y="53"/>
                    <a:pt x="1178" y="40"/>
                    <a:pt x="1171" y="39"/>
                  </a:cubicBezTo>
                  <a:cubicBezTo>
                    <a:pt x="1164" y="37"/>
                    <a:pt x="1154" y="39"/>
                    <a:pt x="1151" y="49"/>
                  </a:cubicBezTo>
                  <a:cubicBezTo>
                    <a:pt x="1148" y="59"/>
                    <a:pt x="1138" y="59"/>
                    <a:pt x="1131" y="47"/>
                  </a:cubicBezTo>
                  <a:cubicBezTo>
                    <a:pt x="1123" y="36"/>
                    <a:pt x="1121" y="54"/>
                    <a:pt x="1098" y="62"/>
                  </a:cubicBezTo>
                  <a:cubicBezTo>
                    <a:pt x="1075" y="69"/>
                    <a:pt x="1102" y="72"/>
                    <a:pt x="1109" y="77"/>
                  </a:cubicBezTo>
                  <a:cubicBezTo>
                    <a:pt x="1116" y="83"/>
                    <a:pt x="1119" y="89"/>
                    <a:pt x="1118" y="100"/>
                  </a:cubicBezTo>
                  <a:cubicBezTo>
                    <a:pt x="1116" y="112"/>
                    <a:pt x="1100" y="106"/>
                    <a:pt x="1092" y="93"/>
                  </a:cubicBezTo>
                  <a:cubicBezTo>
                    <a:pt x="1083" y="80"/>
                    <a:pt x="1063" y="93"/>
                    <a:pt x="1049" y="99"/>
                  </a:cubicBezTo>
                  <a:cubicBezTo>
                    <a:pt x="1035" y="105"/>
                    <a:pt x="1029" y="109"/>
                    <a:pt x="1040" y="109"/>
                  </a:cubicBezTo>
                  <a:cubicBezTo>
                    <a:pt x="1052" y="109"/>
                    <a:pt x="1055" y="122"/>
                    <a:pt x="1068" y="122"/>
                  </a:cubicBezTo>
                  <a:cubicBezTo>
                    <a:pt x="1080" y="122"/>
                    <a:pt x="1083" y="135"/>
                    <a:pt x="1079" y="142"/>
                  </a:cubicBezTo>
                  <a:cubicBezTo>
                    <a:pt x="1075" y="149"/>
                    <a:pt x="1065" y="143"/>
                    <a:pt x="1062" y="133"/>
                  </a:cubicBezTo>
                  <a:cubicBezTo>
                    <a:pt x="1059" y="123"/>
                    <a:pt x="1043" y="130"/>
                    <a:pt x="1036" y="132"/>
                  </a:cubicBezTo>
                  <a:cubicBezTo>
                    <a:pt x="1029" y="133"/>
                    <a:pt x="1019" y="122"/>
                    <a:pt x="1013" y="106"/>
                  </a:cubicBezTo>
                  <a:cubicBezTo>
                    <a:pt x="1007" y="90"/>
                    <a:pt x="990" y="107"/>
                    <a:pt x="990" y="116"/>
                  </a:cubicBezTo>
                  <a:cubicBezTo>
                    <a:pt x="990" y="125"/>
                    <a:pt x="997" y="132"/>
                    <a:pt x="1010" y="133"/>
                  </a:cubicBezTo>
                  <a:cubicBezTo>
                    <a:pt x="1023" y="135"/>
                    <a:pt x="1017" y="149"/>
                    <a:pt x="1013" y="149"/>
                  </a:cubicBezTo>
                  <a:cubicBezTo>
                    <a:pt x="1009" y="149"/>
                    <a:pt x="999" y="152"/>
                    <a:pt x="1004" y="175"/>
                  </a:cubicBezTo>
                  <a:cubicBezTo>
                    <a:pt x="1010" y="198"/>
                    <a:pt x="996" y="188"/>
                    <a:pt x="983" y="185"/>
                  </a:cubicBezTo>
                  <a:cubicBezTo>
                    <a:pt x="970" y="182"/>
                    <a:pt x="984" y="162"/>
                    <a:pt x="987" y="153"/>
                  </a:cubicBezTo>
                  <a:cubicBezTo>
                    <a:pt x="990" y="145"/>
                    <a:pt x="979" y="130"/>
                    <a:pt x="977" y="136"/>
                  </a:cubicBezTo>
                  <a:cubicBezTo>
                    <a:pt x="976" y="142"/>
                    <a:pt x="967" y="137"/>
                    <a:pt x="961" y="149"/>
                  </a:cubicBezTo>
                  <a:cubicBezTo>
                    <a:pt x="956" y="160"/>
                    <a:pt x="953" y="162"/>
                    <a:pt x="943" y="158"/>
                  </a:cubicBezTo>
                  <a:cubicBezTo>
                    <a:pt x="933" y="153"/>
                    <a:pt x="947" y="139"/>
                    <a:pt x="957" y="136"/>
                  </a:cubicBezTo>
                  <a:cubicBezTo>
                    <a:pt x="967" y="133"/>
                    <a:pt x="957" y="113"/>
                    <a:pt x="950" y="105"/>
                  </a:cubicBezTo>
                  <a:cubicBezTo>
                    <a:pt x="943" y="96"/>
                    <a:pt x="923" y="97"/>
                    <a:pt x="936" y="107"/>
                  </a:cubicBezTo>
                  <a:cubicBezTo>
                    <a:pt x="949" y="117"/>
                    <a:pt x="940" y="120"/>
                    <a:pt x="939" y="127"/>
                  </a:cubicBezTo>
                  <a:cubicBezTo>
                    <a:pt x="937" y="135"/>
                    <a:pt x="924" y="127"/>
                    <a:pt x="923" y="120"/>
                  </a:cubicBezTo>
                  <a:cubicBezTo>
                    <a:pt x="921" y="113"/>
                    <a:pt x="914" y="107"/>
                    <a:pt x="907" y="119"/>
                  </a:cubicBezTo>
                  <a:cubicBezTo>
                    <a:pt x="900" y="130"/>
                    <a:pt x="888" y="113"/>
                    <a:pt x="881" y="115"/>
                  </a:cubicBezTo>
                  <a:cubicBezTo>
                    <a:pt x="874" y="116"/>
                    <a:pt x="875" y="135"/>
                    <a:pt x="888" y="142"/>
                  </a:cubicBezTo>
                  <a:cubicBezTo>
                    <a:pt x="901" y="149"/>
                    <a:pt x="890" y="160"/>
                    <a:pt x="901" y="168"/>
                  </a:cubicBezTo>
                  <a:cubicBezTo>
                    <a:pt x="913" y="175"/>
                    <a:pt x="901" y="185"/>
                    <a:pt x="894" y="189"/>
                  </a:cubicBezTo>
                  <a:cubicBezTo>
                    <a:pt x="887" y="193"/>
                    <a:pt x="883" y="191"/>
                    <a:pt x="883" y="175"/>
                  </a:cubicBezTo>
                  <a:cubicBezTo>
                    <a:pt x="883" y="159"/>
                    <a:pt x="881" y="153"/>
                    <a:pt x="881" y="153"/>
                  </a:cubicBezTo>
                  <a:cubicBezTo>
                    <a:pt x="881" y="153"/>
                    <a:pt x="874" y="153"/>
                    <a:pt x="864" y="155"/>
                  </a:cubicBezTo>
                  <a:cubicBezTo>
                    <a:pt x="854" y="156"/>
                    <a:pt x="863" y="172"/>
                    <a:pt x="868" y="188"/>
                  </a:cubicBezTo>
                  <a:cubicBezTo>
                    <a:pt x="874" y="203"/>
                    <a:pt x="864" y="216"/>
                    <a:pt x="860" y="203"/>
                  </a:cubicBezTo>
                  <a:cubicBezTo>
                    <a:pt x="855" y="191"/>
                    <a:pt x="848" y="165"/>
                    <a:pt x="847" y="180"/>
                  </a:cubicBezTo>
                  <a:cubicBezTo>
                    <a:pt x="845" y="196"/>
                    <a:pt x="835" y="192"/>
                    <a:pt x="832" y="185"/>
                  </a:cubicBezTo>
                  <a:cubicBezTo>
                    <a:pt x="830" y="178"/>
                    <a:pt x="824" y="176"/>
                    <a:pt x="812" y="176"/>
                  </a:cubicBezTo>
                  <a:cubicBezTo>
                    <a:pt x="801" y="176"/>
                    <a:pt x="784" y="180"/>
                    <a:pt x="784" y="188"/>
                  </a:cubicBezTo>
                  <a:cubicBezTo>
                    <a:pt x="784" y="195"/>
                    <a:pt x="765" y="191"/>
                    <a:pt x="759" y="201"/>
                  </a:cubicBezTo>
                  <a:cubicBezTo>
                    <a:pt x="754" y="211"/>
                    <a:pt x="774" y="208"/>
                    <a:pt x="778" y="216"/>
                  </a:cubicBezTo>
                  <a:cubicBezTo>
                    <a:pt x="782" y="225"/>
                    <a:pt x="777" y="223"/>
                    <a:pt x="761" y="223"/>
                  </a:cubicBezTo>
                  <a:cubicBezTo>
                    <a:pt x="745" y="223"/>
                    <a:pt x="762" y="235"/>
                    <a:pt x="771" y="241"/>
                  </a:cubicBezTo>
                  <a:cubicBezTo>
                    <a:pt x="779" y="246"/>
                    <a:pt x="789" y="245"/>
                    <a:pt x="792" y="234"/>
                  </a:cubicBezTo>
                  <a:cubicBezTo>
                    <a:pt x="795" y="222"/>
                    <a:pt x="808" y="221"/>
                    <a:pt x="815" y="226"/>
                  </a:cubicBezTo>
                  <a:cubicBezTo>
                    <a:pt x="822" y="232"/>
                    <a:pt x="814" y="234"/>
                    <a:pt x="802" y="239"/>
                  </a:cubicBezTo>
                  <a:cubicBezTo>
                    <a:pt x="791" y="245"/>
                    <a:pt x="802" y="259"/>
                    <a:pt x="801" y="264"/>
                  </a:cubicBezTo>
                  <a:cubicBezTo>
                    <a:pt x="799" y="268"/>
                    <a:pt x="778" y="256"/>
                    <a:pt x="778" y="256"/>
                  </a:cubicBezTo>
                  <a:cubicBezTo>
                    <a:pt x="778" y="256"/>
                    <a:pt x="767" y="261"/>
                    <a:pt x="764" y="269"/>
                  </a:cubicBezTo>
                  <a:cubicBezTo>
                    <a:pt x="761" y="278"/>
                    <a:pt x="752" y="269"/>
                    <a:pt x="746" y="269"/>
                  </a:cubicBezTo>
                  <a:cubicBezTo>
                    <a:pt x="741" y="269"/>
                    <a:pt x="738" y="261"/>
                    <a:pt x="738" y="248"/>
                  </a:cubicBezTo>
                  <a:cubicBezTo>
                    <a:pt x="738" y="235"/>
                    <a:pt x="722" y="242"/>
                    <a:pt x="722" y="255"/>
                  </a:cubicBezTo>
                  <a:cubicBezTo>
                    <a:pt x="722" y="268"/>
                    <a:pt x="719" y="268"/>
                    <a:pt x="708" y="269"/>
                  </a:cubicBezTo>
                  <a:cubicBezTo>
                    <a:pt x="696" y="271"/>
                    <a:pt x="701" y="262"/>
                    <a:pt x="698" y="248"/>
                  </a:cubicBezTo>
                  <a:cubicBezTo>
                    <a:pt x="695" y="234"/>
                    <a:pt x="715" y="229"/>
                    <a:pt x="716" y="216"/>
                  </a:cubicBezTo>
                  <a:cubicBezTo>
                    <a:pt x="718" y="203"/>
                    <a:pt x="698" y="218"/>
                    <a:pt x="682" y="231"/>
                  </a:cubicBezTo>
                  <a:cubicBezTo>
                    <a:pt x="666" y="244"/>
                    <a:pt x="675" y="241"/>
                    <a:pt x="685" y="258"/>
                  </a:cubicBezTo>
                  <a:cubicBezTo>
                    <a:pt x="695" y="275"/>
                    <a:pt x="663" y="262"/>
                    <a:pt x="659" y="252"/>
                  </a:cubicBezTo>
                  <a:cubicBezTo>
                    <a:pt x="655" y="242"/>
                    <a:pt x="652" y="256"/>
                    <a:pt x="643" y="256"/>
                  </a:cubicBezTo>
                  <a:cubicBezTo>
                    <a:pt x="635" y="256"/>
                    <a:pt x="623" y="258"/>
                    <a:pt x="612" y="274"/>
                  </a:cubicBezTo>
                  <a:cubicBezTo>
                    <a:pt x="600" y="289"/>
                    <a:pt x="625" y="278"/>
                    <a:pt x="638" y="278"/>
                  </a:cubicBezTo>
                  <a:cubicBezTo>
                    <a:pt x="650" y="278"/>
                    <a:pt x="660" y="291"/>
                    <a:pt x="660" y="297"/>
                  </a:cubicBezTo>
                  <a:cubicBezTo>
                    <a:pt x="660" y="302"/>
                    <a:pt x="646" y="301"/>
                    <a:pt x="635" y="295"/>
                  </a:cubicBezTo>
                  <a:cubicBezTo>
                    <a:pt x="623" y="289"/>
                    <a:pt x="617" y="294"/>
                    <a:pt x="612" y="308"/>
                  </a:cubicBezTo>
                  <a:cubicBezTo>
                    <a:pt x="606" y="322"/>
                    <a:pt x="587" y="315"/>
                    <a:pt x="566" y="318"/>
                  </a:cubicBezTo>
                  <a:cubicBezTo>
                    <a:pt x="544" y="321"/>
                    <a:pt x="552" y="334"/>
                    <a:pt x="559" y="341"/>
                  </a:cubicBezTo>
                  <a:cubicBezTo>
                    <a:pt x="566" y="348"/>
                    <a:pt x="583" y="338"/>
                    <a:pt x="589" y="334"/>
                  </a:cubicBezTo>
                  <a:cubicBezTo>
                    <a:pt x="595" y="330"/>
                    <a:pt x="597" y="325"/>
                    <a:pt x="612" y="331"/>
                  </a:cubicBezTo>
                  <a:cubicBezTo>
                    <a:pt x="626" y="337"/>
                    <a:pt x="636" y="324"/>
                    <a:pt x="646" y="318"/>
                  </a:cubicBezTo>
                  <a:cubicBezTo>
                    <a:pt x="656" y="312"/>
                    <a:pt x="665" y="309"/>
                    <a:pt x="678" y="314"/>
                  </a:cubicBezTo>
                  <a:cubicBezTo>
                    <a:pt x="691" y="318"/>
                    <a:pt x="705" y="308"/>
                    <a:pt x="715" y="307"/>
                  </a:cubicBezTo>
                  <a:cubicBezTo>
                    <a:pt x="725" y="305"/>
                    <a:pt x="732" y="294"/>
                    <a:pt x="739" y="294"/>
                  </a:cubicBezTo>
                  <a:cubicBezTo>
                    <a:pt x="746" y="294"/>
                    <a:pt x="768" y="304"/>
                    <a:pt x="768" y="312"/>
                  </a:cubicBezTo>
                  <a:cubicBezTo>
                    <a:pt x="768" y="321"/>
                    <a:pt x="754" y="314"/>
                    <a:pt x="745" y="309"/>
                  </a:cubicBezTo>
                  <a:cubicBezTo>
                    <a:pt x="736" y="305"/>
                    <a:pt x="728" y="305"/>
                    <a:pt x="732" y="321"/>
                  </a:cubicBezTo>
                  <a:cubicBezTo>
                    <a:pt x="736" y="337"/>
                    <a:pt x="744" y="350"/>
                    <a:pt x="734" y="354"/>
                  </a:cubicBezTo>
                  <a:cubicBezTo>
                    <a:pt x="724" y="358"/>
                    <a:pt x="716" y="351"/>
                    <a:pt x="716" y="341"/>
                  </a:cubicBezTo>
                  <a:cubicBezTo>
                    <a:pt x="716" y="331"/>
                    <a:pt x="708" y="324"/>
                    <a:pt x="706" y="340"/>
                  </a:cubicBezTo>
                  <a:cubicBezTo>
                    <a:pt x="705" y="355"/>
                    <a:pt x="693" y="351"/>
                    <a:pt x="692" y="338"/>
                  </a:cubicBezTo>
                  <a:cubicBezTo>
                    <a:pt x="691" y="325"/>
                    <a:pt x="669" y="332"/>
                    <a:pt x="669" y="344"/>
                  </a:cubicBezTo>
                  <a:cubicBezTo>
                    <a:pt x="669" y="355"/>
                    <a:pt x="660" y="360"/>
                    <a:pt x="652" y="358"/>
                  </a:cubicBezTo>
                  <a:cubicBezTo>
                    <a:pt x="643" y="357"/>
                    <a:pt x="636" y="368"/>
                    <a:pt x="636" y="377"/>
                  </a:cubicBezTo>
                  <a:cubicBezTo>
                    <a:pt x="636" y="385"/>
                    <a:pt x="643" y="388"/>
                    <a:pt x="653" y="383"/>
                  </a:cubicBezTo>
                  <a:cubicBezTo>
                    <a:pt x="663" y="377"/>
                    <a:pt x="672" y="385"/>
                    <a:pt x="670" y="395"/>
                  </a:cubicBezTo>
                  <a:cubicBezTo>
                    <a:pt x="669" y="406"/>
                    <a:pt x="652" y="395"/>
                    <a:pt x="636" y="395"/>
                  </a:cubicBezTo>
                  <a:cubicBezTo>
                    <a:pt x="620" y="395"/>
                    <a:pt x="629" y="413"/>
                    <a:pt x="623" y="413"/>
                  </a:cubicBezTo>
                  <a:cubicBezTo>
                    <a:pt x="617" y="413"/>
                    <a:pt x="612" y="418"/>
                    <a:pt x="613" y="434"/>
                  </a:cubicBezTo>
                  <a:cubicBezTo>
                    <a:pt x="615" y="450"/>
                    <a:pt x="597" y="444"/>
                    <a:pt x="596" y="434"/>
                  </a:cubicBezTo>
                  <a:cubicBezTo>
                    <a:pt x="595" y="424"/>
                    <a:pt x="579" y="441"/>
                    <a:pt x="577" y="457"/>
                  </a:cubicBezTo>
                  <a:cubicBezTo>
                    <a:pt x="576" y="473"/>
                    <a:pt x="569" y="470"/>
                    <a:pt x="556" y="471"/>
                  </a:cubicBezTo>
                  <a:cubicBezTo>
                    <a:pt x="543" y="473"/>
                    <a:pt x="550" y="484"/>
                    <a:pt x="536" y="493"/>
                  </a:cubicBezTo>
                  <a:cubicBezTo>
                    <a:pt x="521" y="502"/>
                    <a:pt x="520" y="509"/>
                    <a:pt x="519" y="526"/>
                  </a:cubicBezTo>
                  <a:cubicBezTo>
                    <a:pt x="517" y="543"/>
                    <a:pt x="531" y="530"/>
                    <a:pt x="541" y="539"/>
                  </a:cubicBezTo>
                  <a:cubicBezTo>
                    <a:pt x="552" y="547"/>
                    <a:pt x="536" y="549"/>
                    <a:pt x="529" y="549"/>
                  </a:cubicBezTo>
                  <a:cubicBezTo>
                    <a:pt x="521" y="549"/>
                    <a:pt x="510" y="550"/>
                    <a:pt x="510" y="555"/>
                  </a:cubicBezTo>
                  <a:cubicBezTo>
                    <a:pt x="510" y="559"/>
                    <a:pt x="496" y="550"/>
                    <a:pt x="481" y="550"/>
                  </a:cubicBezTo>
                  <a:cubicBezTo>
                    <a:pt x="467" y="550"/>
                    <a:pt x="470" y="559"/>
                    <a:pt x="486" y="563"/>
                  </a:cubicBezTo>
                  <a:cubicBezTo>
                    <a:pt x="501" y="567"/>
                    <a:pt x="474" y="566"/>
                    <a:pt x="471" y="576"/>
                  </a:cubicBezTo>
                  <a:cubicBezTo>
                    <a:pt x="468" y="586"/>
                    <a:pt x="491" y="576"/>
                    <a:pt x="493" y="589"/>
                  </a:cubicBezTo>
                  <a:cubicBezTo>
                    <a:pt x="494" y="602"/>
                    <a:pt x="487" y="598"/>
                    <a:pt x="477" y="602"/>
                  </a:cubicBezTo>
                  <a:cubicBezTo>
                    <a:pt x="467" y="606"/>
                    <a:pt x="464" y="603"/>
                    <a:pt x="476" y="610"/>
                  </a:cubicBezTo>
                  <a:cubicBezTo>
                    <a:pt x="487" y="618"/>
                    <a:pt x="470" y="632"/>
                    <a:pt x="463" y="635"/>
                  </a:cubicBezTo>
                  <a:cubicBezTo>
                    <a:pt x="455" y="638"/>
                    <a:pt x="455" y="645"/>
                    <a:pt x="461" y="656"/>
                  </a:cubicBezTo>
                  <a:cubicBezTo>
                    <a:pt x="467" y="668"/>
                    <a:pt x="455" y="669"/>
                    <a:pt x="445" y="661"/>
                  </a:cubicBezTo>
                  <a:cubicBezTo>
                    <a:pt x="435" y="652"/>
                    <a:pt x="425" y="661"/>
                    <a:pt x="425" y="674"/>
                  </a:cubicBezTo>
                  <a:cubicBezTo>
                    <a:pt x="425" y="686"/>
                    <a:pt x="415" y="684"/>
                    <a:pt x="414" y="676"/>
                  </a:cubicBezTo>
                  <a:cubicBezTo>
                    <a:pt x="412" y="669"/>
                    <a:pt x="401" y="675"/>
                    <a:pt x="385" y="676"/>
                  </a:cubicBezTo>
                  <a:cubicBezTo>
                    <a:pt x="369" y="678"/>
                    <a:pt x="359" y="685"/>
                    <a:pt x="361" y="694"/>
                  </a:cubicBezTo>
                  <a:cubicBezTo>
                    <a:pt x="362" y="702"/>
                    <a:pt x="387" y="686"/>
                    <a:pt x="395" y="686"/>
                  </a:cubicBezTo>
                  <a:cubicBezTo>
                    <a:pt x="404" y="686"/>
                    <a:pt x="408" y="696"/>
                    <a:pt x="420" y="705"/>
                  </a:cubicBezTo>
                  <a:cubicBezTo>
                    <a:pt x="431" y="714"/>
                    <a:pt x="427" y="724"/>
                    <a:pt x="423" y="732"/>
                  </a:cubicBezTo>
                  <a:cubicBezTo>
                    <a:pt x="418" y="741"/>
                    <a:pt x="395" y="724"/>
                    <a:pt x="387" y="721"/>
                  </a:cubicBezTo>
                  <a:cubicBezTo>
                    <a:pt x="378" y="718"/>
                    <a:pt x="380" y="729"/>
                    <a:pt x="361" y="732"/>
                  </a:cubicBezTo>
                  <a:cubicBezTo>
                    <a:pt x="342" y="735"/>
                    <a:pt x="351" y="752"/>
                    <a:pt x="339" y="757"/>
                  </a:cubicBezTo>
                  <a:cubicBezTo>
                    <a:pt x="328" y="761"/>
                    <a:pt x="335" y="788"/>
                    <a:pt x="314" y="797"/>
                  </a:cubicBezTo>
                  <a:cubicBezTo>
                    <a:pt x="292" y="805"/>
                    <a:pt x="295" y="814"/>
                    <a:pt x="286" y="830"/>
                  </a:cubicBezTo>
                  <a:cubicBezTo>
                    <a:pt x="278" y="846"/>
                    <a:pt x="279" y="843"/>
                    <a:pt x="266" y="841"/>
                  </a:cubicBezTo>
                  <a:cubicBezTo>
                    <a:pt x="253" y="840"/>
                    <a:pt x="261" y="830"/>
                    <a:pt x="268" y="823"/>
                  </a:cubicBezTo>
                  <a:cubicBezTo>
                    <a:pt x="275" y="815"/>
                    <a:pt x="253" y="803"/>
                    <a:pt x="245" y="800"/>
                  </a:cubicBezTo>
                  <a:cubicBezTo>
                    <a:pt x="236" y="797"/>
                    <a:pt x="236" y="805"/>
                    <a:pt x="239" y="818"/>
                  </a:cubicBezTo>
                  <a:cubicBezTo>
                    <a:pt x="242" y="831"/>
                    <a:pt x="232" y="821"/>
                    <a:pt x="226" y="828"/>
                  </a:cubicBezTo>
                  <a:cubicBezTo>
                    <a:pt x="220" y="836"/>
                    <a:pt x="228" y="838"/>
                    <a:pt x="238" y="841"/>
                  </a:cubicBezTo>
                  <a:cubicBezTo>
                    <a:pt x="248" y="844"/>
                    <a:pt x="243" y="854"/>
                    <a:pt x="230" y="850"/>
                  </a:cubicBezTo>
                  <a:cubicBezTo>
                    <a:pt x="218" y="846"/>
                    <a:pt x="222" y="848"/>
                    <a:pt x="218" y="837"/>
                  </a:cubicBezTo>
                  <a:cubicBezTo>
                    <a:pt x="213" y="826"/>
                    <a:pt x="196" y="827"/>
                    <a:pt x="195" y="837"/>
                  </a:cubicBezTo>
                  <a:cubicBezTo>
                    <a:pt x="193" y="847"/>
                    <a:pt x="212" y="841"/>
                    <a:pt x="218" y="850"/>
                  </a:cubicBezTo>
                  <a:cubicBezTo>
                    <a:pt x="223" y="858"/>
                    <a:pt x="218" y="871"/>
                    <a:pt x="216" y="867"/>
                  </a:cubicBezTo>
                  <a:cubicBezTo>
                    <a:pt x="215" y="863"/>
                    <a:pt x="205" y="858"/>
                    <a:pt x="190" y="856"/>
                  </a:cubicBezTo>
                  <a:cubicBezTo>
                    <a:pt x="176" y="853"/>
                    <a:pt x="193" y="864"/>
                    <a:pt x="199" y="866"/>
                  </a:cubicBezTo>
                  <a:cubicBezTo>
                    <a:pt x="205" y="867"/>
                    <a:pt x="216" y="880"/>
                    <a:pt x="220" y="891"/>
                  </a:cubicBezTo>
                  <a:cubicBezTo>
                    <a:pt x="225" y="903"/>
                    <a:pt x="212" y="900"/>
                    <a:pt x="206" y="889"/>
                  </a:cubicBezTo>
                  <a:cubicBezTo>
                    <a:pt x="200" y="877"/>
                    <a:pt x="197" y="874"/>
                    <a:pt x="189" y="874"/>
                  </a:cubicBezTo>
                  <a:cubicBezTo>
                    <a:pt x="180" y="874"/>
                    <a:pt x="190" y="881"/>
                    <a:pt x="199" y="894"/>
                  </a:cubicBezTo>
                  <a:cubicBezTo>
                    <a:pt x="208" y="907"/>
                    <a:pt x="193" y="907"/>
                    <a:pt x="187" y="894"/>
                  </a:cubicBezTo>
                  <a:cubicBezTo>
                    <a:pt x="182" y="881"/>
                    <a:pt x="167" y="880"/>
                    <a:pt x="159" y="873"/>
                  </a:cubicBezTo>
                  <a:cubicBezTo>
                    <a:pt x="150" y="866"/>
                    <a:pt x="137" y="870"/>
                    <a:pt x="136" y="884"/>
                  </a:cubicBezTo>
                  <a:cubicBezTo>
                    <a:pt x="134" y="899"/>
                    <a:pt x="139" y="900"/>
                    <a:pt x="152" y="900"/>
                  </a:cubicBezTo>
                  <a:cubicBezTo>
                    <a:pt x="165" y="900"/>
                    <a:pt x="172" y="910"/>
                    <a:pt x="170" y="919"/>
                  </a:cubicBezTo>
                  <a:cubicBezTo>
                    <a:pt x="169" y="927"/>
                    <a:pt x="156" y="923"/>
                    <a:pt x="153" y="919"/>
                  </a:cubicBezTo>
                  <a:cubicBezTo>
                    <a:pt x="150" y="914"/>
                    <a:pt x="134" y="916"/>
                    <a:pt x="117" y="911"/>
                  </a:cubicBezTo>
                  <a:cubicBezTo>
                    <a:pt x="100" y="907"/>
                    <a:pt x="91" y="907"/>
                    <a:pt x="90" y="911"/>
                  </a:cubicBezTo>
                  <a:cubicBezTo>
                    <a:pt x="89" y="916"/>
                    <a:pt x="87" y="927"/>
                    <a:pt x="77" y="927"/>
                  </a:cubicBezTo>
                  <a:cubicBezTo>
                    <a:pt x="67" y="927"/>
                    <a:pt x="70" y="930"/>
                    <a:pt x="74" y="944"/>
                  </a:cubicBezTo>
                  <a:cubicBezTo>
                    <a:pt x="79" y="959"/>
                    <a:pt x="84" y="962"/>
                    <a:pt x="70" y="960"/>
                  </a:cubicBezTo>
                  <a:cubicBezTo>
                    <a:pt x="56" y="959"/>
                    <a:pt x="63" y="954"/>
                    <a:pt x="60" y="946"/>
                  </a:cubicBezTo>
                  <a:cubicBezTo>
                    <a:pt x="57" y="937"/>
                    <a:pt x="47" y="944"/>
                    <a:pt x="48" y="959"/>
                  </a:cubicBezTo>
                  <a:cubicBezTo>
                    <a:pt x="50" y="973"/>
                    <a:pt x="34" y="959"/>
                    <a:pt x="24" y="960"/>
                  </a:cubicBezTo>
                  <a:cubicBezTo>
                    <a:pt x="14" y="962"/>
                    <a:pt x="23" y="975"/>
                    <a:pt x="11" y="980"/>
                  </a:cubicBezTo>
                  <a:cubicBezTo>
                    <a:pt x="0" y="986"/>
                    <a:pt x="11" y="999"/>
                    <a:pt x="17" y="1013"/>
                  </a:cubicBezTo>
                  <a:cubicBezTo>
                    <a:pt x="23" y="1028"/>
                    <a:pt x="11" y="1029"/>
                    <a:pt x="7" y="1038"/>
                  </a:cubicBezTo>
                  <a:cubicBezTo>
                    <a:pt x="3" y="1046"/>
                    <a:pt x="21" y="1049"/>
                    <a:pt x="25" y="1056"/>
                  </a:cubicBezTo>
                  <a:cubicBezTo>
                    <a:pt x="30" y="1063"/>
                    <a:pt x="27" y="1071"/>
                    <a:pt x="17" y="1076"/>
                  </a:cubicBezTo>
                  <a:cubicBezTo>
                    <a:pt x="7" y="1082"/>
                    <a:pt x="8" y="1086"/>
                    <a:pt x="15" y="1094"/>
                  </a:cubicBezTo>
                  <a:cubicBezTo>
                    <a:pt x="23" y="1101"/>
                    <a:pt x="13" y="1106"/>
                    <a:pt x="21" y="1114"/>
                  </a:cubicBezTo>
                  <a:cubicBezTo>
                    <a:pt x="30" y="1121"/>
                    <a:pt x="25" y="1128"/>
                    <a:pt x="18" y="1126"/>
                  </a:cubicBezTo>
                  <a:cubicBezTo>
                    <a:pt x="11" y="1125"/>
                    <a:pt x="5" y="1131"/>
                    <a:pt x="5" y="1144"/>
                  </a:cubicBezTo>
                  <a:cubicBezTo>
                    <a:pt x="5" y="1157"/>
                    <a:pt x="33" y="1149"/>
                    <a:pt x="43" y="1149"/>
                  </a:cubicBezTo>
                  <a:cubicBezTo>
                    <a:pt x="53" y="1149"/>
                    <a:pt x="50" y="1155"/>
                    <a:pt x="50" y="1168"/>
                  </a:cubicBezTo>
                  <a:cubicBezTo>
                    <a:pt x="50" y="1181"/>
                    <a:pt x="50" y="1182"/>
                    <a:pt x="61" y="1192"/>
                  </a:cubicBezTo>
                  <a:cubicBezTo>
                    <a:pt x="73" y="1202"/>
                    <a:pt x="58" y="1202"/>
                    <a:pt x="47" y="1202"/>
                  </a:cubicBezTo>
                  <a:cubicBezTo>
                    <a:pt x="36" y="1202"/>
                    <a:pt x="37" y="1192"/>
                    <a:pt x="37" y="1184"/>
                  </a:cubicBezTo>
                  <a:cubicBezTo>
                    <a:pt x="37" y="1175"/>
                    <a:pt x="28" y="1177"/>
                    <a:pt x="20" y="1185"/>
                  </a:cubicBezTo>
                  <a:cubicBezTo>
                    <a:pt x="11" y="1194"/>
                    <a:pt x="15" y="1200"/>
                    <a:pt x="21" y="1201"/>
                  </a:cubicBezTo>
                  <a:cubicBezTo>
                    <a:pt x="27" y="1202"/>
                    <a:pt x="25" y="1205"/>
                    <a:pt x="28" y="1215"/>
                  </a:cubicBezTo>
                  <a:cubicBezTo>
                    <a:pt x="31" y="1225"/>
                    <a:pt x="14" y="1225"/>
                    <a:pt x="13" y="1238"/>
                  </a:cubicBezTo>
                  <a:cubicBezTo>
                    <a:pt x="11" y="1251"/>
                    <a:pt x="24" y="1251"/>
                    <a:pt x="24" y="1245"/>
                  </a:cubicBezTo>
                  <a:cubicBezTo>
                    <a:pt x="24" y="1240"/>
                    <a:pt x="37" y="1240"/>
                    <a:pt x="47" y="1237"/>
                  </a:cubicBezTo>
                  <a:cubicBezTo>
                    <a:pt x="57" y="1234"/>
                    <a:pt x="60" y="1223"/>
                    <a:pt x="64" y="1220"/>
                  </a:cubicBezTo>
                  <a:cubicBezTo>
                    <a:pt x="68" y="1217"/>
                    <a:pt x="81" y="1217"/>
                    <a:pt x="83" y="1233"/>
                  </a:cubicBezTo>
                  <a:cubicBezTo>
                    <a:pt x="84" y="1248"/>
                    <a:pt x="70" y="1240"/>
                    <a:pt x="70" y="1254"/>
                  </a:cubicBezTo>
                  <a:cubicBezTo>
                    <a:pt x="70" y="1268"/>
                    <a:pt x="60" y="1267"/>
                    <a:pt x="51" y="1267"/>
                  </a:cubicBezTo>
                  <a:cubicBezTo>
                    <a:pt x="43" y="1267"/>
                    <a:pt x="37" y="1276"/>
                    <a:pt x="37" y="1291"/>
                  </a:cubicBezTo>
                  <a:cubicBezTo>
                    <a:pt x="37" y="1307"/>
                    <a:pt x="48" y="1316"/>
                    <a:pt x="70" y="1317"/>
                  </a:cubicBezTo>
                  <a:cubicBezTo>
                    <a:pt x="91" y="1319"/>
                    <a:pt x="94" y="1339"/>
                    <a:pt x="110" y="1341"/>
                  </a:cubicBezTo>
                  <a:cubicBezTo>
                    <a:pt x="126" y="1344"/>
                    <a:pt x="140" y="1352"/>
                    <a:pt x="163" y="1359"/>
                  </a:cubicBezTo>
                  <a:cubicBezTo>
                    <a:pt x="186" y="1366"/>
                    <a:pt x="192" y="1350"/>
                    <a:pt x="203" y="1347"/>
                  </a:cubicBezTo>
                  <a:cubicBezTo>
                    <a:pt x="215" y="1344"/>
                    <a:pt x="255" y="1304"/>
                    <a:pt x="255" y="1304"/>
                  </a:cubicBezTo>
                  <a:cubicBezTo>
                    <a:pt x="276" y="1293"/>
                    <a:pt x="284" y="1294"/>
                    <a:pt x="292" y="1277"/>
                  </a:cubicBezTo>
                  <a:cubicBezTo>
                    <a:pt x="301" y="1260"/>
                    <a:pt x="324" y="1264"/>
                    <a:pt x="338" y="1255"/>
                  </a:cubicBezTo>
                  <a:cubicBezTo>
                    <a:pt x="352" y="1247"/>
                    <a:pt x="349" y="1235"/>
                    <a:pt x="347" y="1217"/>
                  </a:cubicBezTo>
                  <a:cubicBezTo>
                    <a:pt x="344" y="1198"/>
                    <a:pt x="367" y="1207"/>
                    <a:pt x="370" y="1223"/>
                  </a:cubicBezTo>
                  <a:cubicBezTo>
                    <a:pt x="372" y="1238"/>
                    <a:pt x="371" y="1243"/>
                    <a:pt x="382" y="1250"/>
                  </a:cubicBezTo>
                  <a:cubicBezTo>
                    <a:pt x="386" y="1252"/>
                    <a:pt x="389" y="1255"/>
                    <a:pt x="392" y="1260"/>
                  </a:cubicBezTo>
                  <a:cubicBezTo>
                    <a:pt x="395" y="1256"/>
                    <a:pt x="399" y="1254"/>
                    <a:pt x="404" y="1261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191" name="Freeform 25264"/>
            <p:cNvSpPr>
              <a:spLocks/>
            </p:cNvSpPr>
            <p:nvPr/>
          </p:nvSpPr>
          <p:spPr bwMode="auto">
            <a:xfrm>
              <a:off x="4539170" y="1322868"/>
              <a:ext cx="336344" cy="184193"/>
            </a:xfrm>
            <a:custGeom>
              <a:avLst/>
              <a:gdLst>
                <a:gd name="T0" fmla="*/ 23 w 902"/>
                <a:gd name="T1" fmla="*/ 66 h 494"/>
                <a:gd name="T2" fmla="*/ 13 w 902"/>
                <a:gd name="T3" fmla="*/ 106 h 494"/>
                <a:gd name="T4" fmla="*/ 80 w 902"/>
                <a:gd name="T5" fmla="*/ 111 h 494"/>
                <a:gd name="T6" fmla="*/ 87 w 902"/>
                <a:gd name="T7" fmla="*/ 166 h 494"/>
                <a:gd name="T8" fmla="*/ 34 w 902"/>
                <a:gd name="T9" fmla="*/ 169 h 494"/>
                <a:gd name="T10" fmla="*/ 111 w 902"/>
                <a:gd name="T11" fmla="*/ 243 h 494"/>
                <a:gd name="T12" fmla="*/ 227 w 902"/>
                <a:gd name="T13" fmla="*/ 251 h 494"/>
                <a:gd name="T14" fmla="*/ 266 w 902"/>
                <a:gd name="T15" fmla="*/ 212 h 494"/>
                <a:gd name="T16" fmla="*/ 290 w 902"/>
                <a:gd name="T17" fmla="*/ 226 h 494"/>
                <a:gd name="T18" fmla="*/ 367 w 902"/>
                <a:gd name="T19" fmla="*/ 210 h 494"/>
                <a:gd name="T20" fmla="*/ 307 w 902"/>
                <a:gd name="T21" fmla="*/ 256 h 494"/>
                <a:gd name="T22" fmla="*/ 177 w 902"/>
                <a:gd name="T23" fmla="*/ 297 h 494"/>
                <a:gd name="T24" fmla="*/ 275 w 902"/>
                <a:gd name="T25" fmla="*/ 323 h 494"/>
                <a:gd name="T26" fmla="*/ 389 w 902"/>
                <a:gd name="T27" fmla="*/ 311 h 494"/>
                <a:gd name="T28" fmla="*/ 267 w 902"/>
                <a:gd name="T29" fmla="*/ 344 h 494"/>
                <a:gd name="T30" fmla="*/ 254 w 902"/>
                <a:gd name="T31" fmla="*/ 366 h 494"/>
                <a:gd name="T32" fmla="*/ 251 w 902"/>
                <a:gd name="T33" fmla="*/ 412 h 494"/>
                <a:gd name="T34" fmla="*/ 311 w 902"/>
                <a:gd name="T35" fmla="*/ 441 h 494"/>
                <a:gd name="T36" fmla="*/ 372 w 902"/>
                <a:gd name="T37" fmla="*/ 493 h 494"/>
                <a:gd name="T38" fmla="*/ 435 w 902"/>
                <a:gd name="T39" fmla="*/ 402 h 494"/>
                <a:gd name="T40" fmla="*/ 514 w 902"/>
                <a:gd name="T41" fmla="*/ 296 h 494"/>
                <a:gd name="T42" fmla="*/ 571 w 902"/>
                <a:gd name="T43" fmla="*/ 218 h 494"/>
                <a:gd name="T44" fmla="*/ 635 w 902"/>
                <a:gd name="T45" fmla="*/ 224 h 494"/>
                <a:gd name="T46" fmla="*/ 663 w 902"/>
                <a:gd name="T47" fmla="*/ 298 h 494"/>
                <a:gd name="T48" fmla="*/ 652 w 902"/>
                <a:gd name="T49" fmla="*/ 376 h 494"/>
                <a:gd name="T50" fmla="*/ 756 w 902"/>
                <a:gd name="T51" fmla="*/ 370 h 494"/>
                <a:gd name="T52" fmla="*/ 809 w 902"/>
                <a:gd name="T53" fmla="*/ 383 h 494"/>
                <a:gd name="T54" fmla="*/ 887 w 902"/>
                <a:gd name="T55" fmla="*/ 325 h 494"/>
                <a:gd name="T56" fmla="*/ 794 w 902"/>
                <a:gd name="T57" fmla="*/ 293 h 494"/>
                <a:gd name="T58" fmla="*/ 732 w 902"/>
                <a:gd name="T59" fmla="*/ 265 h 494"/>
                <a:gd name="T60" fmla="*/ 687 w 902"/>
                <a:gd name="T61" fmla="*/ 203 h 494"/>
                <a:gd name="T62" fmla="*/ 635 w 902"/>
                <a:gd name="T63" fmla="*/ 142 h 494"/>
                <a:gd name="T64" fmla="*/ 560 w 902"/>
                <a:gd name="T65" fmla="*/ 136 h 494"/>
                <a:gd name="T66" fmla="*/ 473 w 902"/>
                <a:gd name="T67" fmla="*/ 79 h 494"/>
                <a:gd name="T68" fmla="*/ 463 w 902"/>
                <a:gd name="T69" fmla="*/ 54 h 494"/>
                <a:gd name="T70" fmla="*/ 376 w 902"/>
                <a:gd name="T71" fmla="*/ 26 h 494"/>
                <a:gd name="T72" fmla="*/ 343 w 902"/>
                <a:gd name="T73" fmla="*/ 32 h 494"/>
                <a:gd name="T74" fmla="*/ 368 w 902"/>
                <a:gd name="T75" fmla="*/ 157 h 494"/>
                <a:gd name="T76" fmla="*/ 253 w 902"/>
                <a:gd name="T77" fmla="*/ 39 h 494"/>
                <a:gd name="T78" fmla="*/ 223 w 902"/>
                <a:gd name="T79" fmla="*/ 108 h 494"/>
                <a:gd name="T80" fmla="*/ 149 w 902"/>
                <a:gd name="T81" fmla="*/ 63 h 494"/>
                <a:gd name="T82" fmla="*/ 137 w 902"/>
                <a:gd name="T83" fmla="*/ 46 h 494"/>
                <a:gd name="T84" fmla="*/ 59 w 902"/>
                <a:gd name="T85" fmla="*/ 39 h 4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02" h="494">
                  <a:moveTo>
                    <a:pt x="59" y="39"/>
                  </a:moveTo>
                  <a:cubicBezTo>
                    <a:pt x="59" y="39"/>
                    <a:pt x="48" y="46"/>
                    <a:pt x="43" y="54"/>
                  </a:cubicBezTo>
                  <a:cubicBezTo>
                    <a:pt x="39" y="61"/>
                    <a:pt x="31" y="80"/>
                    <a:pt x="23" y="66"/>
                  </a:cubicBezTo>
                  <a:cubicBezTo>
                    <a:pt x="16" y="51"/>
                    <a:pt x="17" y="42"/>
                    <a:pt x="11" y="50"/>
                  </a:cubicBezTo>
                  <a:cubicBezTo>
                    <a:pt x="4" y="57"/>
                    <a:pt x="0" y="65"/>
                    <a:pt x="5" y="72"/>
                  </a:cubicBezTo>
                  <a:cubicBezTo>
                    <a:pt x="9" y="78"/>
                    <a:pt x="4" y="98"/>
                    <a:pt x="13" y="106"/>
                  </a:cubicBezTo>
                  <a:cubicBezTo>
                    <a:pt x="21" y="113"/>
                    <a:pt x="19" y="138"/>
                    <a:pt x="35" y="142"/>
                  </a:cubicBezTo>
                  <a:cubicBezTo>
                    <a:pt x="50" y="145"/>
                    <a:pt x="61" y="146"/>
                    <a:pt x="63" y="133"/>
                  </a:cubicBezTo>
                  <a:cubicBezTo>
                    <a:pt x="65" y="120"/>
                    <a:pt x="70" y="110"/>
                    <a:pt x="80" y="111"/>
                  </a:cubicBezTo>
                  <a:cubicBezTo>
                    <a:pt x="90" y="112"/>
                    <a:pt x="101" y="124"/>
                    <a:pt x="91" y="129"/>
                  </a:cubicBezTo>
                  <a:cubicBezTo>
                    <a:pt x="81" y="134"/>
                    <a:pt x="74" y="144"/>
                    <a:pt x="75" y="150"/>
                  </a:cubicBezTo>
                  <a:cubicBezTo>
                    <a:pt x="75" y="157"/>
                    <a:pt x="95" y="162"/>
                    <a:pt x="87" y="166"/>
                  </a:cubicBezTo>
                  <a:cubicBezTo>
                    <a:pt x="79" y="170"/>
                    <a:pt x="79" y="173"/>
                    <a:pt x="67" y="165"/>
                  </a:cubicBezTo>
                  <a:cubicBezTo>
                    <a:pt x="54" y="157"/>
                    <a:pt x="45" y="158"/>
                    <a:pt x="37" y="156"/>
                  </a:cubicBezTo>
                  <a:cubicBezTo>
                    <a:pt x="29" y="154"/>
                    <a:pt x="22" y="164"/>
                    <a:pt x="34" y="169"/>
                  </a:cubicBezTo>
                  <a:cubicBezTo>
                    <a:pt x="46" y="174"/>
                    <a:pt x="49" y="180"/>
                    <a:pt x="50" y="188"/>
                  </a:cubicBezTo>
                  <a:cubicBezTo>
                    <a:pt x="51" y="196"/>
                    <a:pt x="63" y="204"/>
                    <a:pt x="77" y="212"/>
                  </a:cubicBezTo>
                  <a:cubicBezTo>
                    <a:pt x="90" y="221"/>
                    <a:pt x="105" y="236"/>
                    <a:pt x="111" y="243"/>
                  </a:cubicBezTo>
                  <a:cubicBezTo>
                    <a:pt x="117" y="250"/>
                    <a:pt x="132" y="267"/>
                    <a:pt x="145" y="267"/>
                  </a:cubicBezTo>
                  <a:cubicBezTo>
                    <a:pt x="159" y="267"/>
                    <a:pt x="184" y="274"/>
                    <a:pt x="199" y="268"/>
                  </a:cubicBezTo>
                  <a:cubicBezTo>
                    <a:pt x="213" y="263"/>
                    <a:pt x="214" y="252"/>
                    <a:pt x="227" y="251"/>
                  </a:cubicBezTo>
                  <a:cubicBezTo>
                    <a:pt x="239" y="250"/>
                    <a:pt x="245" y="252"/>
                    <a:pt x="241" y="238"/>
                  </a:cubicBezTo>
                  <a:cubicBezTo>
                    <a:pt x="236" y="224"/>
                    <a:pt x="228" y="209"/>
                    <a:pt x="238" y="205"/>
                  </a:cubicBezTo>
                  <a:cubicBezTo>
                    <a:pt x="248" y="201"/>
                    <a:pt x="254" y="213"/>
                    <a:pt x="266" y="212"/>
                  </a:cubicBezTo>
                  <a:cubicBezTo>
                    <a:pt x="278" y="210"/>
                    <a:pt x="275" y="202"/>
                    <a:pt x="282" y="195"/>
                  </a:cubicBezTo>
                  <a:cubicBezTo>
                    <a:pt x="289" y="188"/>
                    <a:pt x="305" y="188"/>
                    <a:pt x="303" y="200"/>
                  </a:cubicBezTo>
                  <a:cubicBezTo>
                    <a:pt x="301" y="211"/>
                    <a:pt x="281" y="217"/>
                    <a:pt x="290" y="226"/>
                  </a:cubicBezTo>
                  <a:cubicBezTo>
                    <a:pt x="299" y="234"/>
                    <a:pt x="312" y="242"/>
                    <a:pt x="324" y="236"/>
                  </a:cubicBezTo>
                  <a:cubicBezTo>
                    <a:pt x="336" y="231"/>
                    <a:pt x="342" y="228"/>
                    <a:pt x="349" y="220"/>
                  </a:cubicBezTo>
                  <a:cubicBezTo>
                    <a:pt x="357" y="211"/>
                    <a:pt x="369" y="196"/>
                    <a:pt x="367" y="210"/>
                  </a:cubicBezTo>
                  <a:cubicBezTo>
                    <a:pt x="365" y="224"/>
                    <a:pt x="351" y="231"/>
                    <a:pt x="360" y="236"/>
                  </a:cubicBezTo>
                  <a:cubicBezTo>
                    <a:pt x="369" y="240"/>
                    <a:pt x="381" y="255"/>
                    <a:pt x="363" y="252"/>
                  </a:cubicBezTo>
                  <a:cubicBezTo>
                    <a:pt x="345" y="250"/>
                    <a:pt x="314" y="246"/>
                    <a:pt x="307" y="256"/>
                  </a:cubicBezTo>
                  <a:cubicBezTo>
                    <a:pt x="299" y="266"/>
                    <a:pt x="287" y="272"/>
                    <a:pt x="273" y="276"/>
                  </a:cubicBezTo>
                  <a:cubicBezTo>
                    <a:pt x="259" y="279"/>
                    <a:pt x="232" y="286"/>
                    <a:pt x="213" y="286"/>
                  </a:cubicBezTo>
                  <a:cubicBezTo>
                    <a:pt x="195" y="286"/>
                    <a:pt x="177" y="289"/>
                    <a:pt x="177" y="297"/>
                  </a:cubicBezTo>
                  <a:cubicBezTo>
                    <a:pt x="176" y="305"/>
                    <a:pt x="183" y="332"/>
                    <a:pt x="196" y="332"/>
                  </a:cubicBezTo>
                  <a:cubicBezTo>
                    <a:pt x="209" y="332"/>
                    <a:pt x="220" y="337"/>
                    <a:pt x="230" y="332"/>
                  </a:cubicBezTo>
                  <a:cubicBezTo>
                    <a:pt x="240" y="326"/>
                    <a:pt x="263" y="323"/>
                    <a:pt x="275" y="323"/>
                  </a:cubicBezTo>
                  <a:cubicBezTo>
                    <a:pt x="286" y="323"/>
                    <a:pt x="302" y="324"/>
                    <a:pt x="320" y="322"/>
                  </a:cubicBezTo>
                  <a:cubicBezTo>
                    <a:pt x="338" y="320"/>
                    <a:pt x="357" y="324"/>
                    <a:pt x="363" y="318"/>
                  </a:cubicBezTo>
                  <a:cubicBezTo>
                    <a:pt x="370" y="312"/>
                    <a:pt x="386" y="306"/>
                    <a:pt x="389" y="311"/>
                  </a:cubicBezTo>
                  <a:cubicBezTo>
                    <a:pt x="391" y="316"/>
                    <a:pt x="390" y="324"/>
                    <a:pt x="375" y="326"/>
                  </a:cubicBezTo>
                  <a:cubicBezTo>
                    <a:pt x="359" y="327"/>
                    <a:pt x="329" y="331"/>
                    <a:pt x="315" y="332"/>
                  </a:cubicBezTo>
                  <a:cubicBezTo>
                    <a:pt x="300" y="332"/>
                    <a:pt x="275" y="340"/>
                    <a:pt x="267" y="344"/>
                  </a:cubicBezTo>
                  <a:cubicBezTo>
                    <a:pt x="260" y="347"/>
                    <a:pt x="268" y="353"/>
                    <a:pt x="287" y="353"/>
                  </a:cubicBezTo>
                  <a:cubicBezTo>
                    <a:pt x="305" y="353"/>
                    <a:pt x="319" y="359"/>
                    <a:pt x="304" y="364"/>
                  </a:cubicBezTo>
                  <a:cubicBezTo>
                    <a:pt x="289" y="368"/>
                    <a:pt x="263" y="370"/>
                    <a:pt x="254" y="366"/>
                  </a:cubicBezTo>
                  <a:cubicBezTo>
                    <a:pt x="245" y="362"/>
                    <a:pt x="232" y="354"/>
                    <a:pt x="222" y="354"/>
                  </a:cubicBezTo>
                  <a:cubicBezTo>
                    <a:pt x="212" y="354"/>
                    <a:pt x="185" y="356"/>
                    <a:pt x="200" y="377"/>
                  </a:cubicBezTo>
                  <a:cubicBezTo>
                    <a:pt x="215" y="398"/>
                    <a:pt x="234" y="412"/>
                    <a:pt x="251" y="412"/>
                  </a:cubicBezTo>
                  <a:cubicBezTo>
                    <a:pt x="269" y="412"/>
                    <a:pt x="273" y="420"/>
                    <a:pt x="278" y="424"/>
                  </a:cubicBezTo>
                  <a:cubicBezTo>
                    <a:pt x="283" y="428"/>
                    <a:pt x="289" y="432"/>
                    <a:pt x="297" y="432"/>
                  </a:cubicBezTo>
                  <a:cubicBezTo>
                    <a:pt x="305" y="432"/>
                    <a:pt x="309" y="432"/>
                    <a:pt x="311" y="441"/>
                  </a:cubicBezTo>
                  <a:cubicBezTo>
                    <a:pt x="312" y="450"/>
                    <a:pt x="315" y="452"/>
                    <a:pt x="322" y="459"/>
                  </a:cubicBezTo>
                  <a:cubicBezTo>
                    <a:pt x="329" y="466"/>
                    <a:pt x="346" y="474"/>
                    <a:pt x="351" y="481"/>
                  </a:cubicBezTo>
                  <a:cubicBezTo>
                    <a:pt x="355" y="488"/>
                    <a:pt x="357" y="492"/>
                    <a:pt x="372" y="493"/>
                  </a:cubicBezTo>
                  <a:cubicBezTo>
                    <a:pt x="387" y="494"/>
                    <a:pt x="412" y="493"/>
                    <a:pt x="408" y="476"/>
                  </a:cubicBezTo>
                  <a:cubicBezTo>
                    <a:pt x="404" y="458"/>
                    <a:pt x="409" y="446"/>
                    <a:pt x="417" y="437"/>
                  </a:cubicBezTo>
                  <a:cubicBezTo>
                    <a:pt x="425" y="428"/>
                    <a:pt x="431" y="417"/>
                    <a:pt x="435" y="402"/>
                  </a:cubicBezTo>
                  <a:cubicBezTo>
                    <a:pt x="438" y="386"/>
                    <a:pt x="444" y="372"/>
                    <a:pt x="458" y="366"/>
                  </a:cubicBezTo>
                  <a:cubicBezTo>
                    <a:pt x="472" y="361"/>
                    <a:pt x="486" y="362"/>
                    <a:pt x="489" y="340"/>
                  </a:cubicBezTo>
                  <a:cubicBezTo>
                    <a:pt x="491" y="318"/>
                    <a:pt x="495" y="299"/>
                    <a:pt x="514" y="296"/>
                  </a:cubicBezTo>
                  <a:cubicBezTo>
                    <a:pt x="533" y="294"/>
                    <a:pt x="532" y="282"/>
                    <a:pt x="534" y="261"/>
                  </a:cubicBezTo>
                  <a:cubicBezTo>
                    <a:pt x="536" y="240"/>
                    <a:pt x="526" y="236"/>
                    <a:pt x="542" y="235"/>
                  </a:cubicBezTo>
                  <a:cubicBezTo>
                    <a:pt x="558" y="234"/>
                    <a:pt x="555" y="220"/>
                    <a:pt x="571" y="218"/>
                  </a:cubicBezTo>
                  <a:cubicBezTo>
                    <a:pt x="587" y="216"/>
                    <a:pt x="591" y="211"/>
                    <a:pt x="611" y="210"/>
                  </a:cubicBezTo>
                  <a:cubicBezTo>
                    <a:pt x="631" y="210"/>
                    <a:pt x="653" y="201"/>
                    <a:pt x="654" y="208"/>
                  </a:cubicBezTo>
                  <a:cubicBezTo>
                    <a:pt x="655" y="216"/>
                    <a:pt x="654" y="226"/>
                    <a:pt x="635" y="224"/>
                  </a:cubicBezTo>
                  <a:cubicBezTo>
                    <a:pt x="617" y="223"/>
                    <a:pt x="601" y="232"/>
                    <a:pt x="619" y="248"/>
                  </a:cubicBezTo>
                  <a:cubicBezTo>
                    <a:pt x="636" y="263"/>
                    <a:pt x="635" y="273"/>
                    <a:pt x="647" y="274"/>
                  </a:cubicBezTo>
                  <a:cubicBezTo>
                    <a:pt x="659" y="274"/>
                    <a:pt x="649" y="294"/>
                    <a:pt x="663" y="298"/>
                  </a:cubicBezTo>
                  <a:cubicBezTo>
                    <a:pt x="676" y="302"/>
                    <a:pt x="696" y="301"/>
                    <a:pt x="689" y="316"/>
                  </a:cubicBezTo>
                  <a:cubicBezTo>
                    <a:pt x="683" y="332"/>
                    <a:pt x="676" y="336"/>
                    <a:pt x="667" y="343"/>
                  </a:cubicBezTo>
                  <a:cubicBezTo>
                    <a:pt x="659" y="350"/>
                    <a:pt x="634" y="371"/>
                    <a:pt x="652" y="376"/>
                  </a:cubicBezTo>
                  <a:cubicBezTo>
                    <a:pt x="670" y="382"/>
                    <a:pt x="685" y="379"/>
                    <a:pt x="692" y="372"/>
                  </a:cubicBezTo>
                  <a:cubicBezTo>
                    <a:pt x="699" y="366"/>
                    <a:pt x="727" y="374"/>
                    <a:pt x="730" y="364"/>
                  </a:cubicBezTo>
                  <a:cubicBezTo>
                    <a:pt x="733" y="354"/>
                    <a:pt x="763" y="357"/>
                    <a:pt x="756" y="370"/>
                  </a:cubicBezTo>
                  <a:cubicBezTo>
                    <a:pt x="749" y="384"/>
                    <a:pt x="742" y="394"/>
                    <a:pt x="753" y="398"/>
                  </a:cubicBezTo>
                  <a:cubicBezTo>
                    <a:pt x="765" y="402"/>
                    <a:pt x="775" y="400"/>
                    <a:pt x="779" y="390"/>
                  </a:cubicBezTo>
                  <a:cubicBezTo>
                    <a:pt x="783" y="380"/>
                    <a:pt x="798" y="386"/>
                    <a:pt x="809" y="383"/>
                  </a:cubicBezTo>
                  <a:cubicBezTo>
                    <a:pt x="821" y="380"/>
                    <a:pt x="826" y="378"/>
                    <a:pt x="834" y="367"/>
                  </a:cubicBezTo>
                  <a:cubicBezTo>
                    <a:pt x="842" y="356"/>
                    <a:pt x="857" y="349"/>
                    <a:pt x="873" y="344"/>
                  </a:cubicBezTo>
                  <a:cubicBezTo>
                    <a:pt x="889" y="340"/>
                    <a:pt x="902" y="334"/>
                    <a:pt x="887" y="325"/>
                  </a:cubicBezTo>
                  <a:cubicBezTo>
                    <a:pt x="873" y="316"/>
                    <a:pt x="863" y="308"/>
                    <a:pt x="850" y="314"/>
                  </a:cubicBezTo>
                  <a:cubicBezTo>
                    <a:pt x="837" y="320"/>
                    <a:pt x="840" y="324"/>
                    <a:pt x="823" y="314"/>
                  </a:cubicBezTo>
                  <a:cubicBezTo>
                    <a:pt x="807" y="304"/>
                    <a:pt x="790" y="310"/>
                    <a:pt x="794" y="293"/>
                  </a:cubicBezTo>
                  <a:cubicBezTo>
                    <a:pt x="798" y="276"/>
                    <a:pt x="818" y="275"/>
                    <a:pt x="803" y="268"/>
                  </a:cubicBezTo>
                  <a:cubicBezTo>
                    <a:pt x="789" y="260"/>
                    <a:pt x="774" y="261"/>
                    <a:pt x="765" y="268"/>
                  </a:cubicBezTo>
                  <a:cubicBezTo>
                    <a:pt x="757" y="274"/>
                    <a:pt x="737" y="276"/>
                    <a:pt x="732" y="265"/>
                  </a:cubicBezTo>
                  <a:cubicBezTo>
                    <a:pt x="727" y="254"/>
                    <a:pt x="756" y="256"/>
                    <a:pt x="732" y="235"/>
                  </a:cubicBezTo>
                  <a:cubicBezTo>
                    <a:pt x="708" y="214"/>
                    <a:pt x="696" y="214"/>
                    <a:pt x="689" y="214"/>
                  </a:cubicBezTo>
                  <a:cubicBezTo>
                    <a:pt x="683" y="214"/>
                    <a:pt x="678" y="205"/>
                    <a:pt x="687" y="203"/>
                  </a:cubicBezTo>
                  <a:cubicBezTo>
                    <a:pt x="695" y="201"/>
                    <a:pt x="679" y="174"/>
                    <a:pt x="659" y="172"/>
                  </a:cubicBezTo>
                  <a:cubicBezTo>
                    <a:pt x="639" y="171"/>
                    <a:pt x="626" y="173"/>
                    <a:pt x="626" y="163"/>
                  </a:cubicBezTo>
                  <a:cubicBezTo>
                    <a:pt x="626" y="153"/>
                    <a:pt x="651" y="148"/>
                    <a:pt x="635" y="142"/>
                  </a:cubicBezTo>
                  <a:cubicBezTo>
                    <a:pt x="618" y="135"/>
                    <a:pt x="607" y="133"/>
                    <a:pt x="603" y="142"/>
                  </a:cubicBezTo>
                  <a:cubicBezTo>
                    <a:pt x="600" y="152"/>
                    <a:pt x="603" y="163"/>
                    <a:pt x="591" y="156"/>
                  </a:cubicBezTo>
                  <a:cubicBezTo>
                    <a:pt x="579" y="148"/>
                    <a:pt x="572" y="136"/>
                    <a:pt x="560" y="136"/>
                  </a:cubicBezTo>
                  <a:cubicBezTo>
                    <a:pt x="548" y="136"/>
                    <a:pt x="529" y="150"/>
                    <a:pt x="523" y="131"/>
                  </a:cubicBezTo>
                  <a:cubicBezTo>
                    <a:pt x="518" y="112"/>
                    <a:pt x="519" y="86"/>
                    <a:pt x="504" y="77"/>
                  </a:cubicBezTo>
                  <a:cubicBezTo>
                    <a:pt x="489" y="68"/>
                    <a:pt x="475" y="70"/>
                    <a:pt x="473" y="79"/>
                  </a:cubicBezTo>
                  <a:cubicBezTo>
                    <a:pt x="471" y="88"/>
                    <a:pt x="468" y="98"/>
                    <a:pt x="455" y="97"/>
                  </a:cubicBezTo>
                  <a:cubicBezTo>
                    <a:pt x="443" y="96"/>
                    <a:pt x="436" y="77"/>
                    <a:pt x="445" y="70"/>
                  </a:cubicBezTo>
                  <a:cubicBezTo>
                    <a:pt x="455" y="64"/>
                    <a:pt x="475" y="71"/>
                    <a:pt x="463" y="54"/>
                  </a:cubicBezTo>
                  <a:cubicBezTo>
                    <a:pt x="450" y="38"/>
                    <a:pt x="439" y="32"/>
                    <a:pt x="420" y="25"/>
                  </a:cubicBezTo>
                  <a:cubicBezTo>
                    <a:pt x="401" y="18"/>
                    <a:pt x="395" y="18"/>
                    <a:pt x="394" y="28"/>
                  </a:cubicBezTo>
                  <a:cubicBezTo>
                    <a:pt x="393" y="39"/>
                    <a:pt x="381" y="38"/>
                    <a:pt x="376" y="26"/>
                  </a:cubicBezTo>
                  <a:cubicBezTo>
                    <a:pt x="371" y="14"/>
                    <a:pt x="367" y="9"/>
                    <a:pt x="359" y="8"/>
                  </a:cubicBezTo>
                  <a:cubicBezTo>
                    <a:pt x="352" y="8"/>
                    <a:pt x="333" y="0"/>
                    <a:pt x="339" y="10"/>
                  </a:cubicBezTo>
                  <a:cubicBezTo>
                    <a:pt x="346" y="19"/>
                    <a:pt x="359" y="24"/>
                    <a:pt x="343" y="32"/>
                  </a:cubicBezTo>
                  <a:cubicBezTo>
                    <a:pt x="327" y="39"/>
                    <a:pt x="325" y="59"/>
                    <a:pt x="334" y="70"/>
                  </a:cubicBezTo>
                  <a:cubicBezTo>
                    <a:pt x="343" y="80"/>
                    <a:pt x="350" y="101"/>
                    <a:pt x="357" y="118"/>
                  </a:cubicBezTo>
                  <a:cubicBezTo>
                    <a:pt x="365" y="136"/>
                    <a:pt x="376" y="152"/>
                    <a:pt x="368" y="157"/>
                  </a:cubicBezTo>
                  <a:cubicBezTo>
                    <a:pt x="360" y="162"/>
                    <a:pt x="353" y="159"/>
                    <a:pt x="340" y="135"/>
                  </a:cubicBezTo>
                  <a:cubicBezTo>
                    <a:pt x="327" y="111"/>
                    <a:pt x="317" y="100"/>
                    <a:pt x="303" y="78"/>
                  </a:cubicBezTo>
                  <a:cubicBezTo>
                    <a:pt x="289" y="56"/>
                    <a:pt x="257" y="39"/>
                    <a:pt x="253" y="39"/>
                  </a:cubicBezTo>
                  <a:cubicBezTo>
                    <a:pt x="249" y="39"/>
                    <a:pt x="241" y="67"/>
                    <a:pt x="231" y="72"/>
                  </a:cubicBezTo>
                  <a:cubicBezTo>
                    <a:pt x="220" y="76"/>
                    <a:pt x="213" y="84"/>
                    <a:pt x="221" y="90"/>
                  </a:cubicBezTo>
                  <a:cubicBezTo>
                    <a:pt x="228" y="96"/>
                    <a:pt x="235" y="102"/>
                    <a:pt x="223" y="108"/>
                  </a:cubicBezTo>
                  <a:cubicBezTo>
                    <a:pt x="212" y="113"/>
                    <a:pt x="199" y="104"/>
                    <a:pt x="192" y="98"/>
                  </a:cubicBezTo>
                  <a:cubicBezTo>
                    <a:pt x="185" y="91"/>
                    <a:pt x="167" y="71"/>
                    <a:pt x="161" y="74"/>
                  </a:cubicBezTo>
                  <a:cubicBezTo>
                    <a:pt x="154" y="78"/>
                    <a:pt x="129" y="67"/>
                    <a:pt x="149" y="63"/>
                  </a:cubicBezTo>
                  <a:cubicBezTo>
                    <a:pt x="169" y="59"/>
                    <a:pt x="219" y="60"/>
                    <a:pt x="212" y="40"/>
                  </a:cubicBezTo>
                  <a:cubicBezTo>
                    <a:pt x="205" y="20"/>
                    <a:pt x="201" y="30"/>
                    <a:pt x="180" y="32"/>
                  </a:cubicBezTo>
                  <a:cubicBezTo>
                    <a:pt x="159" y="35"/>
                    <a:pt x="153" y="53"/>
                    <a:pt x="137" y="46"/>
                  </a:cubicBezTo>
                  <a:cubicBezTo>
                    <a:pt x="121" y="38"/>
                    <a:pt x="107" y="31"/>
                    <a:pt x="104" y="41"/>
                  </a:cubicBezTo>
                  <a:cubicBezTo>
                    <a:pt x="101" y="51"/>
                    <a:pt x="95" y="67"/>
                    <a:pt x="86" y="54"/>
                  </a:cubicBezTo>
                  <a:cubicBezTo>
                    <a:pt x="77" y="42"/>
                    <a:pt x="69" y="26"/>
                    <a:pt x="59" y="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192" name="Freeform 25265"/>
            <p:cNvSpPr>
              <a:spLocks/>
            </p:cNvSpPr>
            <p:nvPr/>
          </p:nvSpPr>
          <p:spPr bwMode="auto">
            <a:xfrm>
              <a:off x="4536961" y="1387423"/>
              <a:ext cx="39143" cy="36933"/>
            </a:xfrm>
            <a:custGeom>
              <a:avLst/>
              <a:gdLst>
                <a:gd name="T0" fmla="*/ 5 w 105"/>
                <a:gd name="T1" fmla="*/ 6 h 99"/>
                <a:gd name="T2" fmla="*/ 15 w 105"/>
                <a:gd name="T3" fmla="*/ 33 h 99"/>
                <a:gd name="T4" fmla="*/ 44 w 105"/>
                <a:gd name="T5" fmla="*/ 65 h 99"/>
                <a:gd name="T6" fmla="*/ 74 w 105"/>
                <a:gd name="T7" fmla="*/ 81 h 99"/>
                <a:gd name="T8" fmla="*/ 100 w 105"/>
                <a:gd name="T9" fmla="*/ 97 h 99"/>
                <a:gd name="T10" fmla="*/ 92 w 105"/>
                <a:gd name="T11" fmla="*/ 76 h 99"/>
                <a:gd name="T12" fmla="*/ 49 w 105"/>
                <a:gd name="T13" fmla="*/ 41 h 99"/>
                <a:gd name="T14" fmla="*/ 19 w 105"/>
                <a:gd name="T15" fmla="*/ 1 h 99"/>
                <a:gd name="T16" fmla="*/ 5 w 105"/>
                <a:gd name="T17" fmla="*/ 6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5" h="99">
                  <a:moveTo>
                    <a:pt x="5" y="6"/>
                  </a:moveTo>
                  <a:cubicBezTo>
                    <a:pt x="5" y="6"/>
                    <a:pt x="0" y="21"/>
                    <a:pt x="15" y="33"/>
                  </a:cubicBezTo>
                  <a:cubicBezTo>
                    <a:pt x="31" y="46"/>
                    <a:pt x="29" y="61"/>
                    <a:pt x="44" y="65"/>
                  </a:cubicBezTo>
                  <a:cubicBezTo>
                    <a:pt x="59" y="68"/>
                    <a:pt x="64" y="73"/>
                    <a:pt x="74" y="81"/>
                  </a:cubicBezTo>
                  <a:cubicBezTo>
                    <a:pt x="84" y="89"/>
                    <a:pt x="95" y="99"/>
                    <a:pt x="100" y="97"/>
                  </a:cubicBezTo>
                  <a:cubicBezTo>
                    <a:pt x="105" y="94"/>
                    <a:pt x="104" y="87"/>
                    <a:pt x="92" y="76"/>
                  </a:cubicBezTo>
                  <a:cubicBezTo>
                    <a:pt x="80" y="65"/>
                    <a:pt x="59" y="62"/>
                    <a:pt x="49" y="41"/>
                  </a:cubicBezTo>
                  <a:cubicBezTo>
                    <a:pt x="38" y="19"/>
                    <a:pt x="27" y="1"/>
                    <a:pt x="19" y="1"/>
                  </a:cubicBezTo>
                  <a:cubicBezTo>
                    <a:pt x="10" y="0"/>
                    <a:pt x="6" y="1"/>
                    <a:pt x="5" y="6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193" name="Freeform 25266"/>
            <p:cNvSpPr>
              <a:spLocks/>
            </p:cNvSpPr>
            <p:nvPr/>
          </p:nvSpPr>
          <p:spPr bwMode="auto">
            <a:xfrm>
              <a:off x="4699214" y="1298247"/>
              <a:ext cx="234857" cy="78286"/>
            </a:xfrm>
            <a:custGeom>
              <a:avLst/>
              <a:gdLst>
                <a:gd name="T0" fmla="*/ 86 w 630"/>
                <a:gd name="T1" fmla="*/ 53 h 210"/>
                <a:gd name="T2" fmla="*/ 70 w 630"/>
                <a:gd name="T3" fmla="*/ 30 h 210"/>
                <a:gd name="T4" fmla="*/ 48 w 630"/>
                <a:gd name="T5" fmla="*/ 32 h 210"/>
                <a:gd name="T6" fmla="*/ 58 w 630"/>
                <a:gd name="T7" fmla="*/ 51 h 210"/>
                <a:gd name="T8" fmla="*/ 30 w 630"/>
                <a:gd name="T9" fmla="*/ 65 h 210"/>
                <a:gd name="T10" fmla="*/ 64 w 630"/>
                <a:gd name="T11" fmla="*/ 85 h 210"/>
                <a:gd name="T12" fmla="*/ 71 w 630"/>
                <a:gd name="T13" fmla="*/ 114 h 210"/>
                <a:gd name="T14" fmla="*/ 138 w 630"/>
                <a:gd name="T15" fmla="*/ 126 h 210"/>
                <a:gd name="T16" fmla="*/ 174 w 630"/>
                <a:gd name="T17" fmla="*/ 114 h 210"/>
                <a:gd name="T18" fmla="*/ 216 w 630"/>
                <a:gd name="T19" fmla="*/ 108 h 210"/>
                <a:gd name="T20" fmla="*/ 281 w 630"/>
                <a:gd name="T21" fmla="*/ 117 h 210"/>
                <a:gd name="T22" fmla="*/ 218 w 630"/>
                <a:gd name="T23" fmla="*/ 121 h 210"/>
                <a:gd name="T24" fmla="*/ 191 w 630"/>
                <a:gd name="T25" fmla="*/ 138 h 210"/>
                <a:gd name="T26" fmla="*/ 156 w 630"/>
                <a:gd name="T27" fmla="*/ 135 h 210"/>
                <a:gd name="T28" fmla="*/ 161 w 630"/>
                <a:gd name="T29" fmla="*/ 156 h 210"/>
                <a:gd name="T30" fmla="*/ 212 w 630"/>
                <a:gd name="T31" fmla="*/ 170 h 210"/>
                <a:gd name="T32" fmla="*/ 258 w 630"/>
                <a:gd name="T33" fmla="*/ 171 h 210"/>
                <a:gd name="T34" fmla="*/ 331 w 630"/>
                <a:gd name="T35" fmla="*/ 178 h 210"/>
                <a:gd name="T36" fmla="*/ 355 w 630"/>
                <a:gd name="T37" fmla="*/ 198 h 210"/>
                <a:gd name="T38" fmla="*/ 432 w 630"/>
                <a:gd name="T39" fmla="*/ 195 h 210"/>
                <a:gd name="T40" fmla="*/ 464 w 630"/>
                <a:gd name="T41" fmla="*/ 175 h 210"/>
                <a:gd name="T42" fmla="*/ 539 w 630"/>
                <a:gd name="T43" fmla="*/ 159 h 210"/>
                <a:gd name="T44" fmla="*/ 571 w 630"/>
                <a:gd name="T45" fmla="*/ 127 h 210"/>
                <a:gd name="T46" fmla="*/ 622 w 630"/>
                <a:gd name="T47" fmla="*/ 100 h 210"/>
                <a:gd name="T48" fmla="*/ 618 w 630"/>
                <a:gd name="T49" fmla="*/ 70 h 210"/>
                <a:gd name="T50" fmla="*/ 588 w 630"/>
                <a:gd name="T51" fmla="*/ 55 h 210"/>
                <a:gd name="T52" fmla="*/ 512 w 630"/>
                <a:gd name="T53" fmla="*/ 49 h 210"/>
                <a:gd name="T54" fmla="*/ 478 w 630"/>
                <a:gd name="T55" fmla="*/ 38 h 210"/>
                <a:gd name="T56" fmla="*/ 468 w 630"/>
                <a:gd name="T57" fmla="*/ 33 h 210"/>
                <a:gd name="T58" fmla="*/ 451 w 630"/>
                <a:gd name="T59" fmla="*/ 35 h 210"/>
                <a:gd name="T60" fmla="*/ 429 w 630"/>
                <a:gd name="T61" fmla="*/ 30 h 210"/>
                <a:gd name="T62" fmla="*/ 409 w 630"/>
                <a:gd name="T63" fmla="*/ 38 h 210"/>
                <a:gd name="T64" fmla="*/ 393 w 630"/>
                <a:gd name="T65" fmla="*/ 63 h 210"/>
                <a:gd name="T66" fmla="*/ 369 w 630"/>
                <a:gd name="T67" fmla="*/ 56 h 210"/>
                <a:gd name="T68" fmla="*/ 378 w 630"/>
                <a:gd name="T69" fmla="*/ 33 h 210"/>
                <a:gd name="T70" fmla="*/ 366 w 630"/>
                <a:gd name="T71" fmla="*/ 11 h 210"/>
                <a:gd name="T72" fmla="*/ 344 w 630"/>
                <a:gd name="T73" fmla="*/ 10 h 210"/>
                <a:gd name="T74" fmla="*/ 326 w 630"/>
                <a:gd name="T75" fmla="*/ 16 h 210"/>
                <a:gd name="T76" fmla="*/ 313 w 630"/>
                <a:gd name="T77" fmla="*/ 37 h 210"/>
                <a:gd name="T78" fmla="*/ 324 w 630"/>
                <a:gd name="T79" fmla="*/ 47 h 210"/>
                <a:gd name="T80" fmla="*/ 316 w 630"/>
                <a:gd name="T81" fmla="*/ 62 h 210"/>
                <a:gd name="T82" fmla="*/ 308 w 630"/>
                <a:gd name="T83" fmla="*/ 81 h 210"/>
                <a:gd name="T84" fmla="*/ 288 w 630"/>
                <a:gd name="T85" fmla="*/ 61 h 210"/>
                <a:gd name="T86" fmla="*/ 271 w 630"/>
                <a:gd name="T87" fmla="*/ 38 h 210"/>
                <a:gd name="T88" fmla="*/ 240 w 630"/>
                <a:gd name="T89" fmla="*/ 45 h 210"/>
                <a:gd name="T90" fmla="*/ 224 w 630"/>
                <a:gd name="T91" fmla="*/ 48 h 210"/>
                <a:gd name="T92" fmla="*/ 194 w 630"/>
                <a:gd name="T93" fmla="*/ 31 h 210"/>
                <a:gd name="T94" fmla="*/ 170 w 630"/>
                <a:gd name="T95" fmla="*/ 14 h 210"/>
                <a:gd name="T96" fmla="*/ 143 w 630"/>
                <a:gd name="T97" fmla="*/ 7 h 210"/>
                <a:gd name="T98" fmla="*/ 139 w 630"/>
                <a:gd name="T99" fmla="*/ 23 h 210"/>
                <a:gd name="T100" fmla="*/ 154 w 630"/>
                <a:gd name="T101" fmla="*/ 41 h 210"/>
                <a:gd name="T102" fmla="*/ 122 w 630"/>
                <a:gd name="T103" fmla="*/ 34 h 210"/>
                <a:gd name="T104" fmla="*/ 111 w 630"/>
                <a:gd name="T105" fmla="*/ 44 h 210"/>
                <a:gd name="T106" fmla="*/ 121 w 630"/>
                <a:gd name="T107" fmla="*/ 62 h 210"/>
                <a:gd name="T108" fmla="*/ 86 w 630"/>
                <a:gd name="T109" fmla="*/ 53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630" h="210">
                  <a:moveTo>
                    <a:pt x="86" y="53"/>
                  </a:moveTo>
                  <a:cubicBezTo>
                    <a:pt x="86" y="53"/>
                    <a:pt x="70" y="34"/>
                    <a:pt x="70" y="30"/>
                  </a:cubicBezTo>
                  <a:cubicBezTo>
                    <a:pt x="70" y="26"/>
                    <a:pt x="44" y="19"/>
                    <a:pt x="48" y="32"/>
                  </a:cubicBezTo>
                  <a:cubicBezTo>
                    <a:pt x="52" y="45"/>
                    <a:pt x="77" y="49"/>
                    <a:pt x="58" y="51"/>
                  </a:cubicBezTo>
                  <a:cubicBezTo>
                    <a:pt x="38" y="52"/>
                    <a:pt x="0" y="63"/>
                    <a:pt x="30" y="65"/>
                  </a:cubicBezTo>
                  <a:cubicBezTo>
                    <a:pt x="60" y="66"/>
                    <a:pt x="71" y="82"/>
                    <a:pt x="64" y="85"/>
                  </a:cubicBezTo>
                  <a:cubicBezTo>
                    <a:pt x="58" y="88"/>
                    <a:pt x="44" y="111"/>
                    <a:pt x="71" y="114"/>
                  </a:cubicBezTo>
                  <a:cubicBezTo>
                    <a:pt x="98" y="117"/>
                    <a:pt x="122" y="136"/>
                    <a:pt x="138" y="126"/>
                  </a:cubicBezTo>
                  <a:cubicBezTo>
                    <a:pt x="153" y="116"/>
                    <a:pt x="162" y="125"/>
                    <a:pt x="174" y="114"/>
                  </a:cubicBezTo>
                  <a:cubicBezTo>
                    <a:pt x="186" y="103"/>
                    <a:pt x="187" y="105"/>
                    <a:pt x="216" y="108"/>
                  </a:cubicBezTo>
                  <a:cubicBezTo>
                    <a:pt x="245" y="110"/>
                    <a:pt x="297" y="110"/>
                    <a:pt x="281" y="117"/>
                  </a:cubicBezTo>
                  <a:cubicBezTo>
                    <a:pt x="265" y="125"/>
                    <a:pt x="230" y="115"/>
                    <a:pt x="218" y="121"/>
                  </a:cubicBezTo>
                  <a:cubicBezTo>
                    <a:pt x="206" y="126"/>
                    <a:pt x="206" y="141"/>
                    <a:pt x="191" y="138"/>
                  </a:cubicBezTo>
                  <a:cubicBezTo>
                    <a:pt x="176" y="135"/>
                    <a:pt x="162" y="131"/>
                    <a:pt x="156" y="135"/>
                  </a:cubicBezTo>
                  <a:cubicBezTo>
                    <a:pt x="149" y="138"/>
                    <a:pt x="144" y="152"/>
                    <a:pt x="161" y="156"/>
                  </a:cubicBezTo>
                  <a:cubicBezTo>
                    <a:pt x="178" y="160"/>
                    <a:pt x="201" y="161"/>
                    <a:pt x="212" y="170"/>
                  </a:cubicBezTo>
                  <a:cubicBezTo>
                    <a:pt x="223" y="179"/>
                    <a:pt x="236" y="170"/>
                    <a:pt x="258" y="171"/>
                  </a:cubicBezTo>
                  <a:cubicBezTo>
                    <a:pt x="281" y="172"/>
                    <a:pt x="330" y="165"/>
                    <a:pt x="331" y="178"/>
                  </a:cubicBezTo>
                  <a:cubicBezTo>
                    <a:pt x="333" y="191"/>
                    <a:pt x="330" y="189"/>
                    <a:pt x="355" y="198"/>
                  </a:cubicBezTo>
                  <a:cubicBezTo>
                    <a:pt x="380" y="207"/>
                    <a:pt x="423" y="210"/>
                    <a:pt x="432" y="195"/>
                  </a:cubicBezTo>
                  <a:cubicBezTo>
                    <a:pt x="440" y="180"/>
                    <a:pt x="449" y="174"/>
                    <a:pt x="464" y="175"/>
                  </a:cubicBezTo>
                  <a:cubicBezTo>
                    <a:pt x="479" y="177"/>
                    <a:pt x="538" y="180"/>
                    <a:pt x="539" y="159"/>
                  </a:cubicBezTo>
                  <a:cubicBezTo>
                    <a:pt x="540" y="139"/>
                    <a:pt x="552" y="130"/>
                    <a:pt x="571" y="127"/>
                  </a:cubicBezTo>
                  <a:cubicBezTo>
                    <a:pt x="589" y="124"/>
                    <a:pt x="620" y="121"/>
                    <a:pt x="622" y="100"/>
                  </a:cubicBezTo>
                  <a:cubicBezTo>
                    <a:pt x="624" y="80"/>
                    <a:pt x="630" y="73"/>
                    <a:pt x="618" y="70"/>
                  </a:cubicBezTo>
                  <a:cubicBezTo>
                    <a:pt x="606" y="67"/>
                    <a:pt x="608" y="55"/>
                    <a:pt x="588" y="55"/>
                  </a:cubicBezTo>
                  <a:cubicBezTo>
                    <a:pt x="567" y="55"/>
                    <a:pt x="527" y="55"/>
                    <a:pt x="512" y="49"/>
                  </a:cubicBezTo>
                  <a:cubicBezTo>
                    <a:pt x="497" y="44"/>
                    <a:pt x="481" y="47"/>
                    <a:pt x="478" y="38"/>
                  </a:cubicBezTo>
                  <a:cubicBezTo>
                    <a:pt x="475" y="28"/>
                    <a:pt x="470" y="26"/>
                    <a:pt x="468" y="33"/>
                  </a:cubicBezTo>
                  <a:cubicBezTo>
                    <a:pt x="466" y="41"/>
                    <a:pt x="454" y="43"/>
                    <a:pt x="451" y="35"/>
                  </a:cubicBezTo>
                  <a:cubicBezTo>
                    <a:pt x="448" y="28"/>
                    <a:pt x="440" y="24"/>
                    <a:pt x="429" y="30"/>
                  </a:cubicBezTo>
                  <a:cubicBezTo>
                    <a:pt x="419" y="37"/>
                    <a:pt x="420" y="39"/>
                    <a:pt x="409" y="38"/>
                  </a:cubicBezTo>
                  <a:cubicBezTo>
                    <a:pt x="398" y="37"/>
                    <a:pt x="409" y="58"/>
                    <a:pt x="393" y="63"/>
                  </a:cubicBezTo>
                  <a:cubicBezTo>
                    <a:pt x="377" y="69"/>
                    <a:pt x="369" y="68"/>
                    <a:pt x="369" y="56"/>
                  </a:cubicBezTo>
                  <a:cubicBezTo>
                    <a:pt x="369" y="44"/>
                    <a:pt x="379" y="47"/>
                    <a:pt x="378" y="33"/>
                  </a:cubicBezTo>
                  <a:cubicBezTo>
                    <a:pt x="377" y="19"/>
                    <a:pt x="375" y="12"/>
                    <a:pt x="366" y="11"/>
                  </a:cubicBezTo>
                  <a:cubicBezTo>
                    <a:pt x="357" y="10"/>
                    <a:pt x="347" y="0"/>
                    <a:pt x="344" y="10"/>
                  </a:cubicBezTo>
                  <a:cubicBezTo>
                    <a:pt x="342" y="19"/>
                    <a:pt x="334" y="16"/>
                    <a:pt x="326" y="16"/>
                  </a:cubicBezTo>
                  <a:cubicBezTo>
                    <a:pt x="319" y="16"/>
                    <a:pt x="302" y="33"/>
                    <a:pt x="313" y="37"/>
                  </a:cubicBezTo>
                  <a:cubicBezTo>
                    <a:pt x="324" y="40"/>
                    <a:pt x="329" y="43"/>
                    <a:pt x="324" y="47"/>
                  </a:cubicBezTo>
                  <a:cubicBezTo>
                    <a:pt x="319" y="52"/>
                    <a:pt x="315" y="55"/>
                    <a:pt x="316" y="62"/>
                  </a:cubicBezTo>
                  <a:cubicBezTo>
                    <a:pt x="317" y="70"/>
                    <a:pt x="315" y="88"/>
                    <a:pt x="308" y="81"/>
                  </a:cubicBezTo>
                  <a:cubicBezTo>
                    <a:pt x="300" y="73"/>
                    <a:pt x="296" y="65"/>
                    <a:pt x="288" y="61"/>
                  </a:cubicBezTo>
                  <a:cubicBezTo>
                    <a:pt x="281" y="58"/>
                    <a:pt x="285" y="40"/>
                    <a:pt x="271" y="38"/>
                  </a:cubicBezTo>
                  <a:cubicBezTo>
                    <a:pt x="257" y="35"/>
                    <a:pt x="240" y="38"/>
                    <a:pt x="240" y="45"/>
                  </a:cubicBezTo>
                  <a:cubicBezTo>
                    <a:pt x="240" y="53"/>
                    <a:pt x="234" y="54"/>
                    <a:pt x="224" y="48"/>
                  </a:cubicBezTo>
                  <a:cubicBezTo>
                    <a:pt x="213" y="43"/>
                    <a:pt x="203" y="42"/>
                    <a:pt x="194" y="31"/>
                  </a:cubicBezTo>
                  <a:cubicBezTo>
                    <a:pt x="184" y="20"/>
                    <a:pt x="177" y="18"/>
                    <a:pt x="170" y="14"/>
                  </a:cubicBezTo>
                  <a:cubicBezTo>
                    <a:pt x="162" y="10"/>
                    <a:pt x="148" y="11"/>
                    <a:pt x="143" y="7"/>
                  </a:cubicBezTo>
                  <a:cubicBezTo>
                    <a:pt x="138" y="4"/>
                    <a:pt x="116" y="13"/>
                    <a:pt x="139" y="23"/>
                  </a:cubicBezTo>
                  <a:cubicBezTo>
                    <a:pt x="161" y="32"/>
                    <a:pt x="160" y="37"/>
                    <a:pt x="154" y="41"/>
                  </a:cubicBezTo>
                  <a:cubicBezTo>
                    <a:pt x="147" y="45"/>
                    <a:pt x="129" y="42"/>
                    <a:pt x="122" y="34"/>
                  </a:cubicBezTo>
                  <a:cubicBezTo>
                    <a:pt x="116" y="27"/>
                    <a:pt x="92" y="33"/>
                    <a:pt x="111" y="44"/>
                  </a:cubicBezTo>
                  <a:cubicBezTo>
                    <a:pt x="129" y="55"/>
                    <a:pt x="129" y="59"/>
                    <a:pt x="121" y="62"/>
                  </a:cubicBezTo>
                  <a:cubicBezTo>
                    <a:pt x="114" y="66"/>
                    <a:pt x="106" y="72"/>
                    <a:pt x="86" y="53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194" name="Freeform 25267"/>
            <p:cNvSpPr>
              <a:spLocks/>
            </p:cNvSpPr>
            <p:nvPr/>
          </p:nvSpPr>
          <p:spPr bwMode="auto">
            <a:xfrm>
              <a:off x="4746880" y="1360906"/>
              <a:ext cx="18309" cy="7418"/>
            </a:xfrm>
            <a:custGeom>
              <a:avLst/>
              <a:gdLst>
                <a:gd name="T0" fmla="*/ 13 w 49"/>
                <a:gd name="T1" fmla="*/ 4 h 20"/>
                <a:gd name="T2" fmla="*/ 18 w 49"/>
                <a:gd name="T3" fmla="*/ 15 h 20"/>
                <a:gd name="T4" fmla="*/ 44 w 49"/>
                <a:gd name="T5" fmla="*/ 10 h 20"/>
                <a:gd name="T6" fmla="*/ 13 w 49"/>
                <a:gd name="T7" fmla="*/ 4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9" h="20">
                  <a:moveTo>
                    <a:pt x="13" y="4"/>
                  </a:moveTo>
                  <a:cubicBezTo>
                    <a:pt x="13" y="4"/>
                    <a:pt x="0" y="14"/>
                    <a:pt x="18" y="15"/>
                  </a:cubicBezTo>
                  <a:cubicBezTo>
                    <a:pt x="36" y="16"/>
                    <a:pt x="49" y="20"/>
                    <a:pt x="44" y="10"/>
                  </a:cubicBezTo>
                  <a:cubicBezTo>
                    <a:pt x="39" y="0"/>
                    <a:pt x="34" y="6"/>
                    <a:pt x="13" y="4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195" name="Freeform 25268"/>
            <p:cNvSpPr>
              <a:spLocks/>
            </p:cNvSpPr>
            <p:nvPr/>
          </p:nvSpPr>
          <p:spPr bwMode="auto">
            <a:xfrm>
              <a:off x="4770082" y="1286725"/>
              <a:ext cx="12942" cy="9943"/>
            </a:xfrm>
            <a:custGeom>
              <a:avLst/>
              <a:gdLst>
                <a:gd name="T0" fmla="*/ 16 w 35"/>
                <a:gd name="T1" fmla="*/ 1 h 27"/>
                <a:gd name="T2" fmla="*/ 8 w 35"/>
                <a:gd name="T3" fmla="*/ 17 h 27"/>
                <a:gd name="T4" fmla="*/ 27 w 35"/>
                <a:gd name="T5" fmla="*/ 19 h 27"/>
                <a:gd name="T6" fmla="*/ 16 w 35"/>
                <a:gd name="T7" fmla="*/ 1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5" h="27">
                  <a:moveTo>
                    <a:pt x="16" y="1"/>
                  </a:moveTo>
                  <a:cubicBezTo>
                    <a:pt x="16" y="1"/>
                    <a:pt x="0" y="10"/>
                    <a:pt x="8" y="17"/>
                  </a:cubicBezTo>
                  <a:cubicBezTo>
                    <a:pt x="16" y="24"/>
                    <a:pt x="26" y="27"/>
                    <a:pt x="27" y="19"/>
                  </a:cubicBezTo>
                  <a:cubicBezTo>
                    <a:pt x="28" y="11"/>
                    <a:pt x="35" y="0"/>
                    <a:pt x="16" y="1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196" name="Freeform 25269"/>
            <p:cNvSpPr>
              <a:spLocks/>
            </p:cNvSpPr>
            <p:nvPr/>
          </p:nvSpPr>
          <p:spPr bwMode="auto">
            <a:xfrm>
              <a:off x="4909449" y="1392158"/>
              <a:ext cx="15626" cy="11996"/>
            </a:xfrm>
            <a:custGeom>
              <a:avLst/>
              <a:gdLst>
                <a:gd name="T0" fmla="*/ 31 w 42"/>
                <a:gd name="T1" fmla="*/ 3 h 32"/>
                <a:gd name="T2" fmla="*/ 10 w 42"/>
                <a:gd name="T3" fmla="*/ 2 h 32"/>
                <a:gd name="T4" fmla="*/ 15 w 42"/>
                <a:gd name="T5" fmla="*/ 11 h 32"/>
                <a:gd name="T6" fmla="*/ 36 w 42"/>
                <a:gd name="T7" fmla="*/ 17 h 32"/>
                <a:gd name="T8" fmla="*/ 31 w 42"/>
                <a:gd name="T9" fmla="*/ 3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32">
                  <a:moveTo>
                    <a:pt x="31" y="3"/>
                  </a:moveTo>
                  <a:cubicBezTo>
                    <a:pt x="31" y="3"/>
                    <a:pt x="20" y="0"/>
                    <a:pt x="10" y="2"/>
                  </a:cubicBezTo>
                  <a:cubicBezTo>
                    <a:pt x="0" y="4"/>
                    <a:pt x="7" y="3"/>
                    <a:pt x="15" y="11"/>
                  </a:cubicBezTo>
                  <a:cubicBezTo>
                    <a:pt x="23" y="19"/>
                    <a:pt x="34" y="32"/>
                    <a:pt x="36" y="17"/>
                  </a:cubicBezTo>
                  <a:cubicBezTo>
                    <a:pt x="38" y="2"/>
                    <a:pt x="42" y="7"/>
                    <a:pt x="31" y="3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197" name="Freeform 25270"/>
            <p:cNvSpPr>
              <a:spLocks/>
            </p:cNvSpPr>
            <p:nvPr/>
          </p:nvSpPr>
          <p:spPr bwMode="auto">
            <a:xfrm>
              <a:off x="4947487" y="1382214"/>
              <a:ext cx="50823" cy="12627"/>
            </a:xfrm>
            <a:custGeom>
              <a:avLst/>
              <a:gdLst>
                <a:gd name="T0" fmla="*/ 50 w 136"/>
                <a:gd name="T1" fmla="*/ 2 h 34"/>
                <a:gd name="T2" fmla="*/ 21 w 136"/>
                <a:gd name="T3" fmla="*/ 10 h 34"/>
                <a:gd name="T4" fmla="*/ 12 w 136"/>
                <a:gd name="T5" fmla="*/ 28 h 34"/>
                <a:gd name="T6" fmla="*/ 35 w 136"/>
                <a:gd name="T7" fmla="*/ 25 h 34"/>
                <a:gd name="T8" fmla="*/ 70 w 136"/>
                <a:gd name="T9" fmla="*/ 23 h 34"/>
                <a:gd name="T10" fmla="*/ 99 w 136"/>
                <a:gd name="T11" fmla="*/ 27 h 34"/>
                <a:gd name="T12" fmla="*/ 115 w 136"/>
                <a:gd name="T13" fmla="*/ 10 h 34"/>
                <a:gd name="T14" fmla="*/ 72 w 136"/>
                <a:gd name="T15" fmla="*/ 9 h 34"/>
                <a:gd name="T16" fmla="*/ 50 w 136"/>
                <a:gd name="T17" fmla="*/ 2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6" h="34">
                  <a:moveTo>
                    <a:pt x="50" y="2"/>
                  </a:moveTo>
                  <a:cubicBezTo>
                    <a:pt x="50" y="2"/>
                    <a:pt x="35" y="3"/>
                    <a:pt x="21" y="10"/>
                  </a:cubicBezTo>
                  <a:cubicBezTo>
                    <a:pt x="7" y="17"/>
                    <a:pt x="0" y="28"/>
                    <a:pt x="12" y="28"/>
                  </a:cubicBezTo>
                  <a:cubicBezTo>
                    <a:pt x="24" y="28"/>
                    <a:pt x="25" y="34"/>
                    <a:pt x="35" y="25"/>
                  </a:cubicBezTo>
                  <a:cubicBezTo>
                    <a:pt x="45" y="16"/>
                    <a:pt x="58" y="18"/>
                    <a:pt x="70" y="23"/>
                  </a:cubicBezTo>
                  <a:cubicBezTo>
                    <a:pt x="82" y="28"/>
                    <a:pt x="90" y="30"/>
                    <a:pt x="99" y="27"/>
                  </a:cubicBezTo>
                  <a:cubicBezTo>
                    <a:pt x="108" y="24"/>
                    <a:pt x="136" y="8"/>
                    <a:pt x="115" y="10"/>
                  </a:cubicBezTo>
                  <a:cubicBezTo>
                    <a:pt x="94" y="12"/>
                    <a:pt x="80" y="18"/>
                    <a:pt x="72" y="9"/>
                  </a:cubicBezTo>
                  <a:cubicBezTo>
                    <a:pt x="64" y="0"/>
                    <a:pt x="57" y="4"/>
                    <a:pt x="50" y="2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198" name="Freeform 25271"/>
            <p:cNvSpPr>
              <a:spLocks/>
            </p:cNvSpPr>
            <p:nvPr/>
          </p:nvSpPr>
          <p:spPr bwMode="auto">
            <a:xfrm>
              <a:off x="5034454" y="1314188"/>
              <a:ext cx="53663" cy="12784"/>
            </a:xfrm>
            <a:custGeom>
              <a:avLst/>
              <a:gdLst>
                <a:gd name="T0" fmla="*/ 48 w 144"/>
                <a:gd name="T1" fmla="*/ 11 h 34"/>
                <a:gd name="T2" fmla="*/ 11 w 144"/>
                <a:gd name="T3" fmla="*/ 21 h 34"/>
                <a:gd name="T4" fmla="*/ 30 w 144"/>
                <a:gd name="T5" fmla="*/ 33 h 34"/>
                <a:gd name="T6" fmla="*/ 87 w 144"/>
                <a:gd name="T7" fmla="*/ 24 h 34"/>
                <a:gd name="T8" fmla="*/ 128 w 144"/>
                <a:gd name="T9" fmla="*/ 7 h 34"/>
                <a:gd name="T10" fmla="*/ 88 w 144"/>
                <a:gd name="T11" fmla="*/ 8 h 34"/>
                <a:gd name="T12" fmla="*/ 48 w 144"/>
                <a:gd name="T13" fmla="*/ 11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4" h="34">
                  <a:moveTo>
                    <a:pt x="48" y="11"/>
                  </a:moveTo>
                  <a:cubicBezTo>
                    <a:pt x="48" y="11"/>
                    <a:pt x="22" y="16"/>
                    <a:pt x="11" y="21"/>
                  </a:cubicBezTo>
                  <a:cubicBezTo>
                    <a:pt x="0" y="26"/>
                    <a:pt x="3" y="34"/>
                    <a:pt x="30" y="33"/>
                  </a:cubicBezTo>
                  <a:cubicBezTo>
                    <a:pt x="57" y="32"/>
                    <a:pt x="65" y="32"/>
                    <a:pt x="87" y="24"/>
                  </a:cubicBezTo>
                  <a:cubicBezTo>
                    <a:pt x="109" y="16"/>
                    <a:pt x="144" y="14"/>
                    <a:pt x="128" y="7"/>
                  </a:cubicBezTo>
                  <a:cubicBezTo>
                    <a:pt x="112" y="0"/>
                    <a:pt x="106" y="5"/>
                    <a:pt x="88" y="8"/>
                  </a:cubicBezTo>
                  <a:cubicBezTo>
                    <a:pt x="70" y="11"/>
                    <a:pt x="78" y="10"/>
                    <a:pt x="48" y="11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199" name="Freeform 25272"/>
            <p:cNvSpPr>
              <a:spLocks/>
            </p:cNvSpPr>
            <p:nvPr/>
          </p:nvSpPr>
          <p:spPr bwMode="auto">
            <a:xfrm>
              <a:off x="4852471" y="1299667"/>
              <a:ext cx="14521" cy="7576"/>
            </a:xfrm>
            <a:custGeom>
              <a:avLst/>
              <a:gdLst>
                <a:gd name="T0" fmla="*/ 11 w 39"/>
                <a:gd name="T1" fmla="*/ 1 h 20"/>
                <a:gd name="T2" fmla="*/ 11 w 39"/>
                <a:gd name="T3" fmla="*/ 12 h 20"/>
                <a:gd name="T4" fmla="*/ 39 w 39"/>
                <a:gd name="T5" fmla="*/ 10 h 20"/>
                <a:gd name="T6" fmla="*/ 11 w 39"/>
                <a:gd name="T7" fmla="*/ 1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" h="20">
                  <a:moveTo>
                    <a:pt x="11" y="1"/>
                  </a:moveTo>
                  <a:cubicBezTo>
                    <a:pt x="11" y="1"/>
                    <a:pt x="0" y="12"/>
                    <a:pt x="11" y="12"/>
                  </a:cubicBezTo>
                  <a:cubicBezTo>
                    <a:pt x="22" y="12"/>
                    <a:pt x="39" y="20"/>
                    <a:pt x="39" y="10"/>
                  </a:cubicBezTo>
                  <a:cubicBezTo>
                    <a:pt x="39" y="0"/>
                    <a:pt x="31" y="2"/>
                    <a:pt x="11" y="1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200" name="Freeform 25274"/>
            <p:cNvSpPr>
              <a:spLocks/>
            </p:cNvSpPr>
            <p:nvPr/>
          </p:nvSpPr>
          <p:spPr bwMode="auto">
            <a:xfrm>
              <a:off x="4875515" y="1495539"/>
              <a:ext cx="16099" cy="16415"/>
            </a:xfrm>
            <a:custGeom>
              <a:avLst/>
              <a:gdLst>
                <a:gd name="T0" fmla="*/ 38 w 43"/>
                <a:gd name="T1" fmla="*/ 5 h 44"/>
                <a:gd name="T2" fmla="*/ 27 w 43"/>
                <a:gd name="T3" fmla="*/ 19 h 44"/>
                <a:gd name="T4" fmla="*/ 14 w 43"/>
                <a:gd name="T5" fmla="*/ 32 h 44"/>
                <a:gd name="T6" fmla="*/ 8 w 43"/>
                <a:gd name="T7" fmla="*/ 44 h 44"/>
                <a:gd name="T8" fmla="*/ 25 w 43"/>
                <a:gd name="T9" fmla="*/ 38 h 44"/>
                <a:gd name="T10" fmla="*/ 35 w 43"/>
                <a:gd name="T11" fmla="*/ 28 h 44"/>
                <a:gd name="T12" fmla="*/ 43 w 43"/>
                <a:gd name="T13" fmla="*/ 15 h 44"/>
                <a:gd name="T14" fmla="*/ 38 w 43"/>
                <a:gd name="T15" fmla="*/ 5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3" h="44">
                  <a:moveTo>
                    <a:pt x="38" y="5"/>
                  </a:moveTo>
                  <a:cubicBezTo>
                    <a:pt x="38" y="5"/>
                    <a:pt x="32" y="13"/>
                    <a:pt x="27" y="19"/>
                  </a:cubicBezTo>
                  <a:cubicBezTo>
                    <a:pt x="22" y="25"/>
                    <a:pt x="19" y="30"/>
                    <a:pt x="14" y="32"/>
                  </a:cubicBezTo>
                  <a:cubicBezTo>
                    <a:pt x="8" y="35"/>
                    <a:pt x="0" y="43"/>
                    <a:pt x="8" y="44"/>
                  </a:cubicBezTo>
                  <a:cubicBezTo>
                    <a:pt x="17" y="44"/>
                    <a:pt x="21" y="43"/>
                    <a:pt x="25" y="38"/>
                  </a:cubicBezTo>
                  <a:cubicBezTo>
                    <a:pt x="29" y="33"/>
                    <a:pt x="28" y="34"/>
                    <a:pt x="35" y="28"/>
                  </a:cubicBezTo>
                  <a:cubicBezTo>
                    <a:pt x="43" y="22"/>
                    <a:pt x="43" y="22"/>
                    <a:pt x="43" y="15"/>
                  </a:cubicBezTo>
                  <a:cubicBezTo>
                    <a:pt x="43" y="8"/>
                    <a:pt x="42" y="0"/>
                    <a:pt x="38" y="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201" name="Freeform 25278"/>
            <p:cNvSpPr>
              <a:spLocks/>
            </p:cNvSpPr>
            <p:nvPr/>
          </p:nvSpPr>
          <p:spPr bwMode="auto">
            <a:xfrm>
              <a:off x="4779394" y="1802052"/>
              <a:ext cx="258058" cy="398688"/>
            </a:xfrm>
            <a:custGeom>
              <a:avLst/>
              <a:gdLst>
                <a:gd name="T0" fmla="*/ 497 w 692"/>
                <a:gd name="T1" fmla="*/ 962 h 1069"/>
                <a:gd name="T2" fmla="*/ 673 w 692"/>
                <a:gd name="T3" fmla="*/ 796 h 1069"/>
                <a:gd name="T4" fmla="*/ 655 w 692"/>
                <a:gd name="T5" fmla="*/ 742 h 1069"/>
                <a:gd name="T6" fmla="*/ 612 w 692"/>
                <a:gd name="T7" fmla="*/ 668 h 1069"/>
                <a:gd name="T8" fmla="*/ 604 w 692"/>
                <a:gd name="T9" fmla="*/ 636 h 1069"/>
                <a:gd name="T10" fmla="*/ 588 w 692"/>
                <a:gd name="T11" fmla="*/ 605 h 1069"/>
                <a:gd name="T12" fmla="*/ 570 w 692"/>
                <a:gd name="T13" fmla="*/ 584 h 1069"/>
                <a:gd name="T14" fmla="*/ 570 w 692"/>
                <a:gd name="T15" fmla="*/ 546 h 1069"/>
                <a:gd name="T16" fmla="*/ 568 w 692"/>
                <a:gd name="T17" fmla="*/ 505 h 1069"/>
                <a:gd name="T18" fmla="*/ 583 w 692"/>
                <a:gd name="T19" fmla="*/ 459 h 1069"/>
                <a:gd name="T20" fmla="*/ 550 w 692"/>
                <a:gd name="T21" fmla="*/ 397 h 1069"/>
                <a:gd name="T22" fmla="*/ 525 w 692"/>
                <a:gd name="T23" fmla="*/ 356 h 1069"/>
                <a:gd name="T24" fmla="*/ 576 w 692"/>
                <a:gd name="T25" fmla="*/ 294 h 1069"/>
                <a:gd name="T26" fmla="*/ 550 w 692"/>
                <a:gd name="T27" fmla="*/ 244 h 1069"/>
                <a:gd name="T28" fmla="*/ 496 w 692"/>
                <a:gd name="T29" fmla="*/ 208 h 1069"/>
                <a:gd name="T30" fmla="*/ 494 w 692"/>
                <a:gd name="T31" fmla="*/ 170 h 1069"/>
                <a:gd name="T32" fmla="*/ 492 w 692"/>
                <a:gd name="T33" fmla="*/ 147 h 1069"/>
                <a:gd name="T34" fmla="*/ 507 w 692"/>
                <a:gd name="T35" fmla="*/ 135 h 1069"/>
                <a:gd name="T36" fmla="*/ 514 w 692"/>
                <a:gd name="T37" fmla="*/ 123 h 1069"/>
                <a:gd name="T38" fmla="*/ 530 w 692"/>
                <a:gd name="T39" fmla="*/ 58 h 1069"/>
                <a:gd name="T40" fmla="*/ 447 w 692"/>
                <a:gd name="T41" fmla="*/ 11 h 1069"/>
                <a:gd name="T42" fmla="*/ 383 w 692"/>
                <a:gd name="T43" fmla="*/ 28 h 1069"/>
                <a:gd name="T44" fmla="*/ 319 w 692"/>
                <a:gd name="T45" fmla="*/ 78 h 1069"/>
                <a:gd name="T46" fmla="*/ 290 w 692"/>
                <a:gd name="T47" fmla="*/ 144 h 1069"/>
                <a:gd name="T48" fmla="*/ 257 w 692"/>
                <a:gd name="T49" fmla="*/ 174 h 1069"/>
                <a:gd name="T50" fmla="*/ 205 w 692"/>
                <a:gd name="T51" fmla="*/ 153 h 1069"/>
                <a:gd name="T52" fmla="*/ 133 w 692"/>
                <a:gd name="T53" fmla="*/ 166 h 1069"/>
                <a:gd name="T54" fmla="*/ 57 w 692"/>
                <a:gd name="T55" fmla="*/ 102 h 1069"/>
                <a:gd name="T56" fmla="*/ 0 w 692"/>
                <a:gd name="T57" fmla="*/ 124 h 1069"/>
                <a:gd name="T58" fmla="*/ 55 w 692"/>
                <a:gd name="T59" fmla="*/ 171 h 1069"/>
                <a:gd name="T60" fmla="*/ 118 w 692"/>
                <a:gd name="T61" fmla="*/ 195 h 1069"/>
                <a:gd name="T62" fmla="*/ 175 w 692"/>
                <a:gd name="T63" fmla="*/ 248 h 1069"/>
                <a:gd name="T64" fmla="*/ 177 w 692"/>
                <a:gd name="T65" fmla="*/ 293 h 1069"/>
                <a:gd name="T66" fmla="*/ 185 w 692"/>
                <a:gd name="T67" fmla="*/ 345 h 1069"/>
                <a:gd name="T68" fmla="*/ 189 w 692"/>
                <a:gd name="T69" fmla="*/ 402 h 1069"/>
                <a:gd name="T70" fmla="*/ 211 w 692"/>
                <a:gd name="T71" fmla="*/ 459 h 1069"/>
                <a:gd name="T72" fmla="*/ 246 w 692"/>
                <a:gd name="T73" fmla="*/ 484 h 1069"/>
                <a:gd name="T74" fmla="*/ 287 w 692"/>
                <a:gd name="T75" fmla="*/ 557 h 1069"/>
                <a:gd name="T76" fmla="*/ 218 w 692"/>
                <a:gd name="T77" fmla="*/ 607 h 1069"/>
                <a:gd name="T78" fmla="*/ 137 w 692"/>
                <a:gd name="T79" fmla="*/ 679 h 1069"/>
                <a:gd name="T80" fmla="*/ 57 w 692"/>
                <a:gd name="T81" fmla="*/ 733 h 1069"/>
                <a:gd name="T82" fmla="*/ 31 w 692"/>
                <a:gd name="T83" fmla="*/ 822 h 1069"/>
                <a:gd name="T84" fmla="*/ 36 w 692"/>
                <a:gd name="T85" fmla="*/ 872 h 1069"/>
                <a:gd name="T86" fmla="*/ 35 w 692"/>
                <a:gd name="T87" fmla="*/ 990 h 1069"/>
                <a:gd name="T88" fmla="*/ 130 w 692"/>
                <a:gd name="T89" fmla="*/ 1053 h 1069"/>
                <a:gd name="T90" fmla="*/ 280 w 692"/>
                <a:gd name="T91" fmla="*/ 1033 h 1069"/>
                <a:gd name="T92" fmla="*/ 436 w 692"/>
                <a:gd name="T93" fmla="*/ 1004 h 1069"/>
                <a:gd name="T94" fmla="*/ 467 w 692"/>
                <a:gd name="T95" fmla="*/ 985 h 10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692" h="1069">
                  <a:moveTo>
                    <a:pt x="467" y="985"/>
                  </a:moveTo>
                  <a:cubicBezTo>
                    <a:pt x="472" y="981"/>
                    <a:pt x="485" y="968"/>
                    <a:pt x="497" y="962"/>
                  </a:cubicBezTo>
                  <a:cubicBezTo>
                    <a:pt x="510" y="957"/>
                    <a:pt x="556" y="918"/>
                    <a:pt x="572" y="903"/>
                  </a:cubicBezTo>
                  <a:cubicBezTo>
                    <a:pt x="587" y="889"/>
                    <a:pt x="654" y="816"/>
                    <a:pt x="673" y="796"/>
                  </a:cubicBezTo>
                  <a:cubicBezTo>
                    <a:pt x="692" y="775"/>
                    <a:pt x="676" y="763"/>
                    <a:pt x="671" y="758"/>
                  </a:cubicBezTo>
                  <a:cubicBezTo>
                    <a:pt x="666" y="752"/>
                    <a:pt x="665" y="748"/>
                    <a:pt x="655" y="742"/>
                  </a:cubicBezTo>
                  <a:cubicBezTo>
                    <a:pt x="645" y="735"/>
                    <a:pt x="620" y="714"/>
                    <a:pt x="596" y="702"/>
                  </a:cubicBezTo>
                  <a:cubicBezTo>
                    <a:pt x="571" y="690"/>
                    <a:pt x="602" y="672"/>
                    <a:pt x="612" y="668"/>
                  </a:cubicBezTo>
                  <a:cubicBezTo>
                    <a:pt x="622" y="665"/>
                    <a:pt x="622" y="655"/>
                    <a:pt x="622" y="649"/>
                  </a:cubicBezTo>
                  <a:cubicBezTo>
                    <a:pt x="622" y="642"/>
                    <a:pt x="613" y="637"/>
                    <a:pt x="604" y="636"/>
                  </a:cubicBezTo>
                  <a:cubicBezTo>
                    <a:pt x="596" y="634"/>
                    <a:pt x="596" y="629"/>
                    <a:pt x="589" y="624"/>
                  </a:cubicBezTo>
                  <a:cubicBezTo>
                    <a:pt x="582" y="619"/>
                    <a:pt x="581" y="608"/>
                    <a:pt x="588" y="605"/>
                  </a:cubicBezTo>
                  <a:cubicBezTo>
                    <a:pt x="596" y="603"/>
                    <a:pt x="600" y="598"/>
                    <a:pt x="593" y="591"/>
                  </a:cubicBezTo>
                  <a:cubicBezTo>
                    <a:pt x="586" y="584"/>
                    <a:pt x="577" y="585"/>
                    <a:pt x="570" y="584"/>
                  </a:cubicBezTo>
                  <a:cubicBezTo>
                    <a:pt x="564" y="584"/>
                    <a:pt x="561" y="573"/>
                    <a:pt x="561" y="564"/>
                  </a:cubicBezTo>
                  <a:cubicBezTo>
                    <a:pt x="561" y="556"/>
                    <a:pt x="565" y="551"/>
                    <a:pt x="570" y="546"/>
                  </a:cubicBezTo>
                  <a:cubicBezTo>
                    <a:pt x="575" y="541"/>
                    <a:pt x="564" y="531"/>
                    <a:pt x="562" y="525"/>
                  </a:cubicBezTo>
                  <a:cubicBezTo>
                    <a:pt x="560" y="519"/>
                    <a:pt x="568" y="512"/>
                    <a:pt x="568" y="505"/>
                  </a:cubicBezTo>
                  <a:cubicBezTo>
                    <a:pt x="568" y="499"/>
                    <a:pt x="575" y="494"/>
                    <a:pt x="586" y="491"/>
                  </a:cubicBezTo>
                  <a:cubicBezTo>
                    <a:pt x="597" y="489"/>
                    <a:pt x="585" y="464"/>
                    <a:pt x="583" y="459"/>
                  </a:cubicBezTo>
                  <a:cubicBezTo>
                    <a:pt x="581" y="454"/>
                    <a:pt x="575" y="445"/>
                    <a:pt x="569" y="438"/>
                  </a:cubicBezTo>
                  <a:cubicBezTo>
                    <a:pt x="563" y="431"/>
                    <a:pt x="556" y="404"/>
                    <a:pt x="550" y="397"/>
                  </a:cubicBezTo>
                  <a:cubicBezTo>
                    <a:pt x="544" y="390"/>
                    <a:pt x="544" y="386"/>
                    <a:pt x="532" y="380"/>
                  </a:cubicBezTo>
                  <a:cubicBezTo>
                    <a:pt x="519" y="375"/>
                    <a:pt x="527" y="364"/>
                    <a:pt x="525" y="356"/>
                  </a:cubicBezTo>
                  <a:cubicBezTo>
                    <a:pt x="523" y="349"/>
                    <a:pt x="538" y="338"/>
                    <a:pt x="545" y="330"/>
                  </a:cubicBezTo>
                  <a:cubicBezTo>
                    <a:pt x="551" y="322"/>
                    <a:pt x="566" y="304"/>
                    <a:pt x="576" y="294"/>
                  </a:cubicBezTo>
                  <a:cubicBezTo>
                    <a:pt x="586" y="284"/>
                    <a:pt x="584" y="273"/>
                    <a:pt x="578" y="269"/>
                  </a:cubicBezTo>
                  <a:cubicBezTo>
                    <a:pt x="572" y="265"/>
                    <a:pt x="562" y="261"/>
                    <a:pt x="550" y="244"/>
                  </a:cubicBezTo>
                  <a:cubicBezTo>
                    <a:pt x="537" y="228"/>
                    <a:pt x="534" y="228"/>
                    <a:pt x="521" y="227"/>
                  </a:cubicBezTo>
                  <a:cubicBezTo>
                    <a:pt x="509" y="227"/>
                    <a:pt x="506" y="214"/>
                    <a:pt x="496" y="208"/>
                  </a:cubicBezTo>
                  <a:cubicBezTo>
                    <a:pt x="486" y="202"/>
                    <a:pt x="489" y="196"/>
                    <a:pt x="489" y="188"/>
                  </a:cubicBezTo>
                  <a:cubicBezTo>
                    <a:pt x="489" y="180"/>
                    <a:pt x="488" y="174"/>
                    <a:pt x="494" y="170"/>
                  </a:cubicBezTo>
                  <a:cubicBezTo>
                    <a:pt x="499" y="167"/>
                    <a:pt x="503" y="162"/>
                    <a:pt x="504" y="156"/>
                  </a:cubicBezTo>
                  <a:cubicBezTo>
                    <a:pt x="505" y="151"/>
                    <a:pt x="499" y="147"/>
                    <a:pt x="492" y="147"/>
                  </a:cubicBezTo>
                  <a:cubicBezTo>
                    <a:pt x="485" y="147"/>
                    <a:pt x="486" y="143"/>
                    <a:pt x="487" y="139"/>
                  </a:cubicBezTo>
                  <a:cubicBezTo>
                    <a:pt x="488" y="135"/>
                    <a:pt x="498" y="136"/>
                    <a:pt x="507" y="135"/>
                  </a:cubicBezTo>
                  <a:cubicBezTo>
                    <a:pt x="511" y="134"/>
                    <a:pt x="515" y="130"/>
                    <a:pt x="518" y="127"/>
                  </a:cubicBezTo>
                  <a:cubicBezTo>
                    <a:pt x="516" y="126"/>
                    <a:pt x="515" y="124"/>
                    <a:pt x="514" y="123"/>
                  </a:cubicBezTo>
                  <a:cubicBezTo>
                    <a:pt x="509" y="114"/>
                    <a:pt x="531" y="91"/>
                    <a:pt x="535" y="84"/>
                  </a:cubicBezTo>
                  <a:cubicBezTo>
                    <a:pt x="540" y="77"/>
                    <a:pt x="536" y="68"/>
                    <a:pt x="530" y="58"/>
                  </a:cubicBezTo>
                  <a:cubicBezTo>
                    <a:pt x="523" y="47"/>
                    <a:pt x="513" y="47"/>
                    <a:pt x="498" y="47"/>
                  </a:cubicBezTo>
                  <a:cubicBezTo>
                    <a:pt x="482" y="47"/>
                    <a:pt x="462" y="22"/>
                    <a:pt x="447" y="11"/>
                  </a:cubicBezTo>
                  <a:cubicBezTo>
                    <a:pt x="432" y="0"/>
                    <a:pt x="421" y="14"/>
                    <a:pt x="416" y="22"/>
                  </a:cubicBezTo>
                  <a:cubicBezTo>
                    <a:pt x="411" y="31"/>
                    <a:pt x="402" y="31"/>
                    <a:pt x="383" y="28"/>
                  </a:cubicBezTo>
                  <a:cubicBezTo>
                    <a:pt x="363" y="26"/>
                    <a:pt x="353" y="40"/>
                    <a:pt x="337" y="49"/>
                  </a:cubicBezTo>
                  <a:cubicBezTo>
                    <a:pt x="321" y="57"/>
                    <a:pt x="329" y="70"/>
                    <a:pt x="319" y="78"/>
                  </a:cubicBezTo>
                  <a:cubicBezTo>
                    <a:pt x="309" y="86"/>
                    <a:pt x="318" y="110"/>
                    <a:pt x="315" y="130"/>
                  </a:cubicBezTo>
                  <a:cubicBezTo>
                    <a:pt x="313" y="150"/>
                    <a:pt x="301" y="142"/>
                    <a:pt x="290" y="144"/>
                  </a:cubicBezTo>
                  <a:cubicBezTo>
                    <a:pt x="279" y="146"/>
                    <a:pt x="278" y="153"/>
                    <a:pt x="275" y="163"/>
                  </a:cubicBezTo>
                  <a:cubicBezTo>
                    <a:pt x="272" y="174"/>
                    <a:pt x="270" y="177"/>
                    <a:pt x="257" y="174"/>
                  </a:cubicBezTo>
                  <a:cubicBezTo>
                    <a:pt x="245" y="172"/>
                    <a:pt x="239" y="162"/>
                    <a:pt x="229" y="162"/>
                  </a:cubicBezTo>
                  <a:cubicBezTo>
                    <a:pt x="220" y="162"/>
                    <a:pt x="212" y="158"/>
                    <a:pt x="205" y="153"/>
                  </a:cubicBezTo>
                  <a:cubicBezTo>
                    <a:pt x="198" y="148"/>
                    <a:pt x="192" y="149"/>
                    <a:pt x="183" y="160"/>
                  </a:cubicBezTo>
                  <a:cubicBezTo>
                    <a:pt x="175" y="171"/>
                    <a:pt x="144" y="166"/>
                    <a:pt x="133" y="166"/>
                  </a:cubicBezTo>
                  <a:cubicBezTo>
                    <a:pt x="123" y="166"/>
                    <a:pt x="113" y="163"/>
                    <a:pt x="103" y="157"/>
                  </a:cubicBezTo>
                  <a:cubicBezTo>
                    <a:pt x="94" y="151"/>
                    <a:pt x="70" y="123"/>
                    <a:pt x="57" y="102"/>
                  </a:cubicBezTo>
                  <a:cubicBezTo>
                    <a:pt x="43" y="81"/>
                    <a:pt x="24" y="101"/>
                    <a:pt x="12" y="116"/>
                  </a:cubicBezTo>
                  <a:cubicBezTo>
                    <a:pt x="8" y="121"/>
                    <a:pt x="4" y="123"/>
                    <a:pt x="0" y="124"/>
                  </a:cubicBezTo>
                  <a:cubicBezTo>
                    <a:pt x="0" y="131"/>
                    <a:pt x="2" y="141"/>
                    <a:pt x="10" y="143"/>
                  </a:cubicBezTo>
                  <a:cubicBezTo>
                    <a:pt x="24" y="148"/>
                    <a:pt x="49" y="165"/>
                    <a:pt x="55" y="171"/>
                  </a:cubicBezTo>
                  <a:cubicBezTo>
                    <a:pt x="61" y="178"/>
                    <a:pt x="73" y="188"/>
                    <a:pt x="83" y="188"/>
                  </a:cubicBezTo>
                  <a:cubicBezTo>
                    <a:pt x="92" y="188"/>
                    <a:pt x="108" y="189"/>
                    <a:pt x="118" y="195"/>
                  </a:cubicBezTo>
                  <a:cubicBezTo>
                    <a:pt x="128" y="201"/>
                    <a:pt x="135" y="203"/>
                    <a:pt x="147" y="211"/>
                  </a:cubicBezTo>
                  <a:cubicBezTo>
                    <a:pt x="159" y="220"/>
                    <a:pt x="180" y="237"/>
                    <a:pt x="175" y="248"/>
                  </a:cubicBezTo>
                  <a:cubicBezTo>
                    <a:pt x="169" y="259"/>
                    <a:pt x="167" y="266"/>
                    <a:pt x="170" y="273"/>
                  </a:cubicBezTo>
                  <a:cubicBezTo>
                    <a:pt x="173" y="281"/>
                    <a:pt x="171" y="288"/>
                    <a:pt x="177" y="293"/>
                  </a:cubicBezTo>
                  <a:cubicBezTo>
                    <a:pt x="182" y="297"/>
                    <a:pt x="195" y="310"/>
                    <a:pt x="185" y="319"/>
                  </a:cubicBezTo>
                  <a:cubicBezTo>
                    <a:pt x="175" y="327"/>
                    <a:pt x="175" y="337"/>
                    <a:pt x="185" y="345"/>
                  </a:cubicBezTo>
                  <a:cubicBezTo>
                    <a:pt x="195" y="354"/>
                    <a:pt x="205" y="365"/>
                    <a:pt x="200" y="379"/>
                  </a:cubicBezTo>
                  <a:cubicBezTo>
                    <a:pt x="195" y="393"/>
                    <a:pt x="195" y="397"/>
                    <a:pt x="189" y="402"/>
                  </a:cubicBezTo>
                  <a:cubicBezTo>
                    <a:pt x="182" y="407"/>
                    <a:pt x="178" y="427"/>
                    <a:pt x="187" y="433"/>
                  </a:cubicBezTo>
                  <a:cubicBezTo>
                    <a:pt x="195" y="440"/>
                    <a:pt x="208" y="451"/>
                    <a:pt x="211" y="459"/>
                  </a:cubicBezTo>
                  <a:cubicBezTo>
                    <a:pt x="213" y="465"/>
                    <a:pt x="215" y="473"/>
                    <a:pt x="216" y="481"/>
                  </a:cubicBezTo>
                  <a:cubicBezTo>
                    <a:pt x="229" y="479"/>
                    <a:pt x="240" y="475"/>
                    <a:pt x="246" y="484"/>
                  </a:cubicBezTo>
                  <a:cubicBezTo>
                    <a:pt x="254" y="497"/>
                    <a:pt x="261" y="492"/>
                    <a:pt x="280" y="507"/>
                  </a:cubicBezTo>
                  <a:cubicBezTo>
                    <a:pt x="299" y="521"/>
                    <a:pt x="286" y="531"/>
                    <a:pt x="287" y="557"/>
                  </a:cubicBezTo>
                  <a:cubicBezTo>
                    <a:pt x="289" y="583"/>
                    <a:pt x="272" y="570"/>
                    <a:pt x="250" y="577"/>
                  </a:cubicBezTo>
                  <a:cubicBezTo>
                    <a:pt x="229" y="584"/>
                    <a:pt x="237" y="589"/>
                    <a:pt x="218" y="607"/>
                  </a:cubicBezTo>
                  <a:cubicBezTo>
                    <a:pt x="200" y="626"/>
                    <a:pt x="210" y="617"/>
                    <a:pt x="191" y="640"/>
                  </a:cubicBezTo>
                  <a:cubicBezTo>
                    <a:pt x="173" y="663"/>
                    <a:pt x="154" y="673"/>
                    <a:pt x="137" y="679"/>
                  </a:cubicBezTo>
                  <a:cubicBezTo>
                    <a:pt x="120" y="685"/>
                    <a:pt x="110" y="695"/>
                    <a:pt x="102" y="722"/>
                  </a:cubicBezTo>
                  <a:cubicBezTo>
                    <a:pt x="95" y="749"/>
                    <a:pt x="78" y="742"/>
                    <a:pt x="57" y="733"/>
                  </a:cubicBezTo>
                  <a:cubicBezTo>
                    <a:pt x="35" y="725"/>
                    <a:pt x="42" y="765"/>
                    <a:pt x="29" y="779"/>
                  </a:cubicBezTo>
                  <a:cubicBezTo>
                    <a:pt x="16" y="794"/>
                    <a:pt x="21" y="808"/>
                    <a:pt x="31" y="822"/>
                  </a:cubicBezTo>
                  <a:cubicBezTo>
                    <a:pt x="41" y="837"/>
                    <a:pt x="41" y="826"/>
                    <a:pt x="35" y="844"/>
                  </a:cubicBezTo>
                  <a:cubicBezTo>
                    <a:pt x="29" y="861"/>
                    <a:pt x="28" y="858"/>
                    <a:pt x="36" y="872"/>
                  </a:cubicBezTo>
                  <a:cubicBezTo>
                    <a:pt x="45" y="887"/>
                    <a:pt x="45" y="897"/>
                    <a:pt x="51" y="925"/>
                  </a:cubicBezTo>
                  <a:cubicBezTo>
                    <a:pt x="57" y="954"/>
                    <a:pt x="38" y="973"/>
                    <a:pt x="35" y="990"/>
                  </a:cubicBezTo>
                  <a:cubicBezTo>
                    <a:pt x="32" y="1007"/>
                    <a:pt x="68" y="1013"/>
                    <a:pt x="85" y="1017"/>
                  </a:cubicBezTo>
                  <a:cubicBezTo>
                    <a:pt x="102" y="1021"/>
                    <a:pt x="117" y="1037"/>
                    <a:pt x="130" y="1053"/>
                  </a:cubicBezTo>
                  <a:cubicBezTo>
                    <a:pt x="143" y="1069"/>
                    <a:pt x="171" y="1056"/>
                    <a:pt x="203" y="1056"/>
                  </a:cubicBezTo>
                  <a:cubicBezTo>
                    <a:pt x="234" y="1056"/>
                    <a:pt x="241" y="1044"/>
                    <a:pt x="280" y="1033"/>
                  </a:cubicBezTo>
                  <a:cubicBezTo>
                    <a:pt x="319" y="1021"/>
                    <a:pt x="340" y="1020"/>
                    <a:pt x="362" y="1016"/>
                  </a:cubicBezTo>
                  <a:cubicBezTo>
                    <a:pt x="383" y="1011"/>
                    <a:pt x="413" y="1004"/>
                    <a:pt x="436" y="1004"/>
                  </a:cubicBezTo>
                  <a:cubicBezTo>
                    <a:pt x="440" y="1004"/>
                    <a:pt x="444" y="1004"/>
                    <a:pt x="448" y="1004"/>
                  </a:cubicBezTo>
                  <a:cubicBezTo>
                    <a:pt x="455" y="995"/>
                    <a:pt x="463" y="987"/>
                    <a:pt x="467" y="98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202" name="Freeform 25281"/>
            <p:cNvSpPr>
              <a:spLocks/>
            </p:cNvSpPr>
            <p:nvPr/>
          </p:nvSpPr>
          <p:spPr bwMode="auto">
            <a:xfrm>
              <a:off x="4619350" y="2370729"/>
              <a:ext cx="237540" cy="188454"/>
            </a:xfrm>
            <a:custGeom>
              <a:avLst/>
              <a:gdLst>
                <a:gd name="T0" fmla="*/ 610 w 637"/>
                <a:gd name="T1" fmla="*/ 315 h 505"/>
                <a:gd name="T2" fmla="*/ 606 w 637"/>
                <a:gd name="T3" fmla="*/ 260 h 505"/>
                <a:gd name="T4" fmla="*/ 576 w 637"/>
                <a:gd name="T5" fmla="*/ 231 h 505"/>
                <a:gd name="T6" fmla="*/ 622 w 637"/>
                <a:gd name="T7" fmla="*/ 187 h 505"/>
                <a:gd name="T8" fmla="*/ 605 w 637"/>
                <a:gd name="T9" fmla="*/ 107 h 505"/>
                <a:gd name="T10" fmla="*/ 592 w 637"/>
                <a:gd name="T11" fmla="*/ 69 h 505"/>
                <a:gd name="T12" fmla="*/ 550 w 637"/>
                <a:gd name="T13" fmla="*/ 46 h 505"/>
                <a:gd name="T14" fmla="*/ 465 w 637"/>
                <a:gd name="T15" fmla="*/ 57 h 505"/>
                <a:gd name="T16" fmla="*/ 403 w 637"/>
                <a:gd name="T17" fmla="*/ 52 h 505"/>
                <a:gd name="T18" fmla="*/ 365 w 637"/>
                <a:gd name="T19" fmla="*/ 23 h 505"/>
                <a:gd name="T20" fmla="*/ 325 w 637"/>
                <a:gd name="T21" fmla="*/ 47 h 505"/>
                <a:gd name="T22" fmla="*/ 260 w 637"/>
                <a:gd name="T23" fmla="*/ 7 h 505"/>
                <a:gd name="T24" fmla="*/ 137 w 637"/>
                <a:gd name="T25" fmla="*/ 48 h 505"/>
                <a:gd name="T26" fmla="*/ 30 w 637"/>
                <a:gd name="T27" fmla="*/ 78 h 505"/>
                <a:gd name="T28" fmla="*/ 7 w 637"/>
                <a:gd name="T29" fmla="*/ 103 h 505"/>
                <a:gd name="T30" fmla="*/ 20 w 637"/>
                <a:gd name="T31" fmla="*/ 151 h 505"/>
                <a:gd name="T32" fmla="*/ 14 w 637"/>
                <a:gd name="T33" fmla="*/ 185 h 505"/>
                <a:gd name="T34" fmla="*/ 38 w 637"/>
                <a:gd name="T35" fmla="*/ 242 h 505"/>
                <a:gd name="T36" fmla="*/ 34 w 637"/>
                <a:gd name="T37" fmla="*/ 278 h 505"/>
                <a:gd name="T38" fmla="*/ 52 w 637"/>
                <a:gd name="T39" fmla="*/ 319 h 505"/>
                <a:gd name="T40" fmla="*/ 74 w 637"/>
                <a:gd name="T41" fmla="*/ 347 h 505"/>
                <a:gd name="T42" fmla="*/ 112 w 637"/>
                <a:gd name="T43" fmla="*/ 364 h 505"/>
                <a:gd name="T44" fmla="*/ 144 w 637"/>
                <a:gd name="T45" fmla="*/ 389 h 505"/>
                <a:gd name="T46" fmla="*/ 175 w 637"/>
                <a:gd name="T47" fmla="*/ 407 h 505"/>
                <a:gd name="T48" fmla="*/ 186 w 637"/>
                <a:gd name="T49" fmla="*/ 386 h 505"/>
                <a:gd name="T50" fmla="*/ 210 w 637"/>
                <a:gd name="T51" fmla="*/ 398 h 505"/>
                <a:gd name="T52" fmla="*/ 246 w 637"/>
                <a:gd name="T53" fmla="*/ 423 h 505"/>
                <a:gd name="T54" fmla="*/ 297 w 637"/>
                <a:gd name="T55" fmla="*/ 460 h 505"/>
                <a:gd name="T56" fmla="*/ 323 w 637"/>
                <a:gd name="T57" fmla="*/ 469 h 505"/>
                <a:gd name="T58" fmla="*/ 350 w 637"/>
                <a:gd name="T59" fmla="*/ 463 h 505"/>
                <a:gd name="T60" fmla="*/ 389 w 637"/>
                <a:gd name="T61" fmla="*/ 477 h 505"/>
                <a:gd name="T62" fmla="*/ 437 w 637"/>
                <a:gd name="T63" fmla="*/ 479 h 505"/>
                <a:gd name="T64" fmla="*/ 491 w 637"/>
                <a:gd name="T65" fmla="*/ 474 h 505"/>
                <a:gd name="T66" fmla="*/ 527 w 637"/>
                <a:gd name="T67" fmla="*/ 498 h 505"/>
                <a:gd name="T68" fmla="*/ 544 w 637"/>
                <a:gd name="T69" fmla="*/ 500 h 505"/>
                <a:gd name="T70" fmla="*/ 561 w 637"/>
                <a:gd name="T71" fmla="*/ 442 h 505"/>
                <a:gd name="T72" fmla="*/ 633 w 637"/>
                <a:gd name="T73" fmla="*/ 375 h 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37" h="505">
                  <a:moveTo>
                    <a:pt x="628" y="340"/>
                  </a:moveTo>
                  <a:cubicBezTo>
                    <a:pt x="619" y="333"/>
                    <a:pt x="611" y="325"/>
                    <a:pt x="610" y="315"/>
                  </a:cubicBezTo>
                  <a:cubicBezTo>
                    <a:pt x="609" y="305"/>
                    <a:pt x="598" y="300"/>
                    <a:pt x="601" y="287"/>
                  </a:cubicBezTo>
                  <a:cubicBezTo>
                    <a:pt x="603" y="274"/>
                    <a:pt x="603" y="266"/>
                    <a:pt x="606" y="260"/>
                  </a:cubicBezTo>
                  <a:cubicBezTo>
                    <a:pt x="610" y="253"/>
                    <a:pt x="602" y="245"/>
                    <a:pt x="595" y="242"/>
                  </a:cubicBezTo>
                  <a:cubicBezTo>
                    <a:pt x="589" y="240"/>
                    <a:pt x="576" y="237"/>
                    <a:pt x="576" y="231"/>
                  </a:cubicBezTo>
                  <a:cubicBezTo>
                    <a:pt x="576" y="224"/>
                    <a:pt x="582" y="217"/>
                    <a:pt x="593" y="211"/>
                  </a:cubicBezTo>
                  <a:cubicBezTo>
                    <a:pt x="604" y="205"/>
                    <a:pt x="620" y="205"/>
                    <a:pt x="622" y="187"/>
                  </a:cubicBezTo>
                  <a:cubicBezTo>
                    <a:pt x="623" y="170"/>
                    <a:pt x="627" y="156"/>
                    <a:pt x="616" y="143"/>
                  </a:cubicBezTo>
                  <a:cubicBezTo>
                    <a:pt x="606" y="130"/>
                    <a:pt x="604" y="119"/>
                    <a:pt x="605" y="107"/>
                  </a:cubicBezTo>
                  <a:cubicBezTo>
                    <a:pt x="605" y="100"/>
                    <a:pt x="603" y="95"/>
                    <a:pt x="605" y="92"/>
                  </a:cubicBezTo>
                  <a:cubicBezTo>
                    <a:pt x="596" y="85"/>
                    <a:pt x="594" y="74"/>
                    <a:pt x="592" y="69"/>
                  </a:cubicBezTo>
                  <a:cubicBezTo>
                    <a:pt x="591" y="62"/>
                    <a:pt x="583" y="60"/>
                    <a:pt x="576" y="53"/>
                  </a:cubicBezTo>
                  <a:cubicBezTo>
                    <a:pt x="569" y="46"/>
                    <a:pt x="558" y="50"/>
                    <a:pt x="550" y="46"/>
                  </a:cubicBezTo>
                  <a:cubicBezTo>
                    <a:pt x="536" y="51"/>
                    <a:pt x="515" y="50"/>
                    <a:pt x="504" y="50"/>
                  </a:cubicBezTo>
                  <a:cubicBezTo>
                    <a:pt x="488" y="51"/>
                    <a:pt x="473" y="55"/>
                    <a:pt x="465" y="57"/>
                  </a:cubicBezTo>
                  <a:cubicBezTo>
                    <a:pt x="458" y="59"/>
                    <a:pt x="450" y="58"/>
                    <a:pt x="438" y="51"/>
                  </a:cubicBezTo>
                  <a:cubicBezTo>
                    <a:pt x="425" y="44"/>
                    <a:pt x="413" y="53"/>
                    <a:pt x="403" y="52"/>
                  </a:cubicBezTo>
                  <a:cubicBezTo>
                    <a:pt x="392" y="51"/>
                    <a:pt x="385" y="50"/>
                    <a:pt x="380" y="37"/>
                  </a:cubicBezTo>
                  <a:cubicBezTo>
                    <a:pt x="377" y="29"/>
                    <a:pt x="370" y="25"/>
                    <a:pt x="365" y="23"/>
                  </a:cubicBezTo>
                  <a:cubicBezTo>
                    <a:pt x="364" y="26"/>
                    <a:pt x="363" y="29"/>
                    <a:pt x="361" y="31"/>
                  </a:cubicBezTo>
                  <a:cubicBezTo>
                    <a:pt x="349" y="45"/>
                    <a:pt x="339" y="45"/>
                    <a:pt x="325" y="47"/>
                  </a:cubicBezTo>
                  <a:cubicBezTo>
                    <a:pt x="311" y="48"/>
                    <a:pt x="296" y="44"/>
                    <a:pt x="298" y="30"/>
                  </a:cubicBezTo>
                  <a:cubicBezTo>
                    <a:pt x="299" y="15"/>
                    <a:pt x="288" y="14"/>
                    <a:pt x="260" y="7"/>
                  </a:cubicBezTo>
                  <a:cubicBezTo>
                    <a:pt x="233" y="0"/>
                    <a:pt x="213" y="14"/>
                    <a:pt x="190" y="18"/>
                  </a:cubicBezTo>
                  <a:cubicBezTo>
                    <a:pt x="167" y="22"/>
                    <a:pt x="157" y="30"/>
                    <a:pt x="137" y="48"/>
                  </a:cubicBezTo>
                  <a:cubicBezTo>
                    <a:pt x="117" y="67"/>
                    <a:pt x="84" y="68"/>
                    <a:pt x="71" y="68"/>
                  </a:cubicBezTo>
                  <a:cubicBezTo>
                    <a:pt x="58" y="68"/>
                    <a:pt x="43" y="70"/>
                    <a:pt x="30" y="78"/>
                  </a:cubicBezTo>
                  <a:cubicBezTo>
                    <a:pt x="23" y="83"/>
                    <a:pt x="16" y="82"/>
                    <a:pt x="9" y="79"/>
                  </a:cubicBezTo>
                  <a:cubicBezTo>
                    <a:pt x="8" y="86"/>
                    <a:pt x="7" y="97"/>
                    <a:pt x="7" y="103"/>
                  </a:cubicBezTo>
                  <a:cubicBezTo>
                    <a:pt x="8" y="112"/>
                    <a:pt x="4" y="118"/>
                    <a:pt x="14" y="126"/>
                  </a:cubicBezTo>
                  <a:cubicBezTo>
                    <a:pt x="23" y="134"/>
                    <a:pt x="23" y="138"/>
                    <a:pt x="20" y="151"/>
                  </a:cubicBezTo>
                  <a:cubicBezTo>
                    <a:pt x="16" y="164"/>
                    <a:pt x="10" y="165"/>
                    <a:pt x="5" y="169"/>
                  </a:cubicBezTo>
                  <a:cubicBezTo>
                    <a:pt x="0" y="173"/>
                    <a:pt x="4" y="177"/>
                    <a:pt x="14" y="185"/>
                  </a:cubicBezTo>
                  <a:cubicBezTo>
                    <a:pt x="25" y="193"/>
                    <a:pt x="29" y="206"/>
                    <a:pt x="29" y="220"/>
                  </a:cubicBezTo>
                  <a:cubicBezTo>
                    <a:pt x="29" y="234"/>
                    <a:pt x="33" y="235"/>
                    <a:pt x="38" y="242"/>
                  </a:cubicBezTo>
                  <a:cubicBezTo>
                    <a:pt x="42" y="248"/>
                    <a:pt x="42" y="257"/>
                    <a:pt x="38" y="261"/>
                  </a:cubicBezTo>
                  <a:cubicBezTo>
                    <a:pt x="34" y="265"/>
                    <a:pt x="36" y="267"/>
                    <a:pt x="34" y="278"/>
                  </a:cubicBezTo>
                  <a:cubicBezTo>
                    <a:pt x="32" y="290"/>
                    <a:pt x="34" y="298"/>
                    <a:pt x="42" y="299"/>
                  </a:cubicBezTo>
                  <a:cubicBezTo>
                    <a:pt x="50" y="300"/>
                    <a:pt x="52" y="308"/>
                    <a:pt x="52" y="319"/>
                  </a:cubicBezTo>
                  <a:cubicBezTo>
                    <a:pt x="51" y="330"/>
                    <a:pt x="52" y="339"/>
                    <a:pt x="60" y="340"/>
                  </a:cubicBezTo>
                  <a:cubicBezTo>
                    <a:pt x="67" y="340"/>
                    <a:pt x="72" y="339"/>
                    <a:pt x="74" y="347"/>
                  </a:cubicBezTo>
                  <a:cubicBezTo>
                    <a:pt x="76" y="355"/>
                    <a:pt x="82" y="359"/>
                    <a:pt x="88" y="359"/>
                  </a:cubicBezTo>
                  <a:cubicBezTo>
                    <a:pt x="94" y="359"/>
                    <a:pt x="104" y="361"/>
                    <a:pt x="112" y="364"/>
                  </a:cubicBezTo>
                  <a:cubicBezTo>
                    <a:pt x="121" y="368"/>
                    <a:pt x="125" y="368"/>
                    <a:pt x="130" y="374"/>
                  </a:cubicBezTo>
                  <a:cubicBezTo>
                    <a:pt x="136" y="379"/>
                    <a:pt x="141" y="383"/>
                    <a:pt x="144" y="389"/>
                  </a:cubicBezTo>
                  <a:cubicBezTo>
                    <a:pt x="146" y="395"/>
                    <a:pt x="144" y="398"/>
                    <a:pt x="154" y="403"/>
                  </a:cubicBezTo>
                  <a:cubicBezTo>
                    <a:pt x="163" y="408"/>
                    <a:pt x="172" y="414"/>
                    <a:pt x="175" y="407"/>
                  </a:cubicBezTo>
                  <a:cubicBezTo>
                    <a:pt x="178" y="400"/>
                    <a:pt x="184" y="402"/>
                    <a:pt x="181" y="397"/>
                  </a:cubicBezTo>
                  <a:cubicBezTo>
                    <a:pt x="178" y="392"/>
                    <a:pt x="178" y="386"/>
                    <a:pt x="186" y="386"/>
                  </a:cubicBezTo>
                  <a:cubicBezTo>
                    <a:pt x="193" y="386"/>
                    <a:pt x="194" y="390"/>
                    <a:pt x="197" y="393"/>
                  </a:cubicBezTo>
                  <a:cubicBezTo>
                    <a:pt x="200" y="396"/>
                    <a:pt x="202" y="396"/>
                    <a:pt x="210" y="398"/>
                  </a:cubicBezTo>
                  <a:cubicBezTo>
                    <a:pt x="219" y="399"/>
                    <a:pt x="225" y="402"/>
                    <a:pt x="228" y="410"/>
                  </a:cubicBezTo>
                  <a:cubicBezTo>
                    <a:pt x="230" y="418"/>
                    <a:pt x="237" y="423"/>
                    <a:pt x="246" y="423"/>
                  </a:cubicBezTo>
                  <a:cubicBezTo>
                    <a:pt x="256" y="423"/>
                    <a:pt x="272" y="422"/>
                    <a:pt x="276" y="430"/>
                  </a:cubicBezTo>
                  <a:cubicBezTo>
                    <a:pt x="281" y="438"/>
                    <a:pt x="292" y="444"/>
                    <a:pt x="297" y="460"/>
                  </a:cubicBezTo>
                  <a:cubicBezTo>
                    <a:pt x="299" y="459"/>
                    <a:pt x="301" y="460"/>
                    <a:pt x="303" y="462"/>
                  </a:cubicBezTo>
                  <a:cubicBezTo>
                    <a:pt x="311" y="469"/>
                    <a:pt x="315" y="471"/>
                    <a:pt x="323" y="469"/>
                  </a:cubicBezTo>
                  <a:cubicBezTo>
                    <a:pt x="332" y="467"/>
                    <a:pt x="331" y="459"/>
                    <a:pt x="337" y="459"/>
                  </a:cubicBezTo>
                  <a:cubicBezTo>
                    <a:pt x="342" y="458"/>
                    <a:pt x="348" y="455"/>
                    <a:pt x="350" y="463"/>
                  </a:cubicBezTo>
                  <a:cubicBezTo>
                    <a:pt x="351" y="471"/>
                    <a:pt x="356" y="473"/>
                    <a:pt x="359" y="474"/>
                  </a:cubicBezTo>
                  <a:cubicBezTo>
                    <a:pt x="363" y="475"/>
                    <a:pt x="379" y="482"/>
                    <a:pt x="389" y="477"/>
                  </a:cubicBezTo>
                  <a:cubicBezTo>
                    <a:pt x="398" y="471"/>
                    <a:pt x="409" y="469"/>
                    <a:pt x="415" y="470"/>
                  </a:cubicBezTo>
                  <a:cubicBezTo>
                    <a:pt x="420" y="472"/>
                    <a:pt x="432" y="482"/>
                    <a:pt x="437" y="479"/>
                  </a:cubicBezTo>
                  <a:cubicBezTo>
                    <a:pt x="442" y="476"/>
                    <a:pt x="448" y="468"/>
                    <a:pt x="454" y="468"/>
                  </a:cubicBezTo>
                  <a:cubicBezTo>
                    <a:pt x="460" y="468"/>
                    <a:pt x="486" y="465"/>
                    <a:pt x="491" y="474"/>
                  </a:cubicBezTo>
                  <a:cubicBezTo>
                    <a:pt x="497" y="482"/>
                    <a:pt x="499" y="486"/>
                    <a:pt x="508" y="488"/>
                  </a:cubicBezTo>
                  <a:cubicBezTo>
                    <a:pt x="518" y="490"/>
                    <a:pt x="525" y="496"/>
                    <a:pt x="527" y="498"/>
                  </a:cubicBezTo>
                  <a:cubicBezTo>
                    <a:pt x="528" y="499"/>
                    <a:pt x="531" y="502"/>
                    <a:pt x="533" y="505"/>
                  </a:cubicBezTo>
                  <a:cubicBezTo>
                    <a:pt x="535" y="502"/>
                    <a:pt x="539" y="501"/>
                    <a:pt x="544" y="500"/>
                  </a:cubicBezTo>
                  <a:cubicBezTo>
                    <a:pt x="552" y="498"/>
                    <a:pt x="550" y="500"/>
                    <a:pt x="549" y="483"/>
                  </a:cubicBezTo>
                  <a:cubicBezTo>
                    <a:pt x="547" y="467"/>
                    <a:pt x="544" y="453"/>
                    <a:pt x="561" y="442"/>
                  </a:cubicBezTo>
                  <a:cubicBezTo>
                    <a:pt x="578" y="432"/>
                    <a:pt x="594" y="406"/>
                    <a:pt x="607" y="400"/>
                  </a:cubicBezTo>
                  <a:cubicBezTo>
                    <a:pt x="619" y="394"/>
                    <a:pt x="631" y="388"/>
                    <a:pt x="633" y="375"/>
                  </a:cubicBezTo>
                  <a:cubicBezTo>
                    <a:pt x="635" y="362"/>
                    <a:pt x="637" y="347"/>
                    <a:pt x="628" y="34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203" name="Freeform 25282"/>
            <p:cNvSpPr>
              <a:spLocks/>
            </p:cNvSpPr>
            <p:nvPr/>
          </p:nvSpPr>
          <p:spPr bwMode="auto">
            <a:xfrm>
              <a:off x="4063459" y="2710545"/>
              <a:ext cx="299727" cy="223335"/>
            </a:xfrm>
            <a:custGeom>
              <a:avLst/>
              <a:gdLst>
                <a:gd name="T0" fmla="*/ 737 w 804"/>
                <a:gd name="T1" fmla="*/ 115 h 599"/>
                <a:gd name="T2" fmla="*/ 682 w 804"/>
                <a:gd name="T3" fmla="*/ 96 h 599"/>
                <a:gd name="T4" fmla="*/ 638 w 804"/>
                <a:gd name="T5" fmla="*/ 90 h 599"/>
                <a:gd name="T6" fmla="*/ 583 w 804"/>
                <a:gd name="T7" fmla="*/ 88 h 599"/>
                <a:gd name="T8" fmla="*/ 516 w 804"/>
                <a:gd name="T9" fmla="*/ 67 h 599"/>
                <a:gd name="T10" fmla="*/ 473 w 804"/>
                <a:gd name="T11" fmla="*/ 42 h 599"/>
                <a:gd name="T12" fmla="*/ 410 w 804"/>
                <a:gd name="T13" fmla="*/ 34 h 599"/>
                <a:gd name="T14" fmla="*/ 327 w 804"/>
                <a:gd name="T15" fmla="*/ 34 h 599"/>
                <a:gd name="T16" fmla="*/ 159 w 804"/>
                <a:gd name="T17" fmla="*/ 22 h 599"/>
                <a:gd name="T18" fmla="*/ 60 w 804"/>
                <a:gd name="T19" fmla="*/ 30 h 599"/>
                <a:gd name="T20" fmla="*/ 24 w 804"/>
                <a:gd name="T21" fmla="*/ 85 h 599"/>
                <a:gd name="T22" fmla="*/ 25 w 804"/>
                <a:gd name="T23" fmla="*/ 151 h 599"/>
                <a:gd name="T24" fmla="*/ 50 w 804"/>
                <a:gd name="T25" fmla="*/ 137 h 599"/>
                <a:gd name="T26" fmla="*/ 73 w 804"/>
                <a:gd name="T27" fmla="*/ 164 h 599"/>
                <a:gd name="T28" fmla="*/ 127 w 804"/>
                <a:gd name="T29" fmla="*/ 162 h 599"/>
                <a:gd name="T30" fmla="*/ 160 w 804"/>
                <a:gd name="T31" fmla="*/ 151 h 599"/>
                <a:gd name="T32" fmla="*/ 186 w 804"/>
                <a:gd name="T33" fmla="*/ 171 h 599"/>
                <a:gd name="T34" fmla="*/ 180 w 804"/>
                <a:gd name="T35" fmla="*/ 199 h 599"/>
                <a:gd name="T36" fmla="*/ 156 w 804"/>
                <a:gd name="T37" fmla="*/ 216 h 599"/>
                <a:gd name="T38" fmla="*/ 156 w 804"/>
                <a:gd name="T39" fmla="*/ 251 h 599"/>
                <a:gd name="T40" fmla="*/ 149 w 804"/>
                <a:gd name="T41" fmla="*/ 287 h 599"/>
                <a:gd name="T42" fmla="*/ 142 w 804"/>
                <a:gd name="T43" fmla="*/ 322 h 599"/>
                <a:gd name="T44" fmla="*/ 117 w 804"/>
                <a:gd name="T45" fmla="*/ 335 h 599"/>
                <a:gd name="T46" fmla="*/ 136 w 804"/>
                <a:gd name="T47" fmla="*/ 361 h 599"/>
                <a:gd name="T48" fmla="*/ 134 w 804"/>
                <a:gd name="T49" fmla="*/ 391 h 599"/>
                <a:gd name="T50" fmla="*/ 125 w 804"/>
                <a:gd name="T51" fmla="*/ 420 h 599"/>
                <a:gd name="T52" fmla="*/ 135 w 804"/>
                <a:gd name="T53" fmla="*/ 449 h 599"/>
                <a:gd name="T54" fmla="*/ 113 w 804"/>
                <a:gd name="T55" fmla="*/ 488 h 599"/>
                <a:gd name="T56" fmla="*/ 142 w 804"/>
                <a:gd name="T57" fmla="*/ 505 h 599"/>
                <a:gd name="T58" fmla="*/ 195 w 804"/>
                <a:gd name="T59" fmla="*/ 563 h 599"/>
                <a:gd name="T60" fmla="*/ 268 w 804"/>
                <a:gd name="T61" fmla="*/ 572 h 599"/>
                <a:gd name="T62" fmla="*/ 370 w 804"/>
                <a:gd name="T63" fmla="*/ 538 h 599"/>
                <a:gd name="T64" fmla="*/ 446 w 804"/>
                <a:gd name="T65" fmla="*/ 539 h 599"/>
                <a:gd name="T66" fmla="*/ 530 w 804"/>
                <a:gd name="T67" fmla="*/ 475 h 599"/>
                <a:gd name="T68" fmla="*/ 595 w 804"/>
                <a:gd name="T69" fmla="*/ 401 h 599"/>
                <a:gd name="T70" fmla="*/ 580 w 804"/>
                <a:gd name="T71" fmla="*/ 344 h 599"/>
                <a:gd name="T72" fmla="*/ 632 w 804"/>
                <a:gd name="T73" fmla="*/ 255 h 599"/>
                <a:gd name="T74" fmla="*/ 718 w 804"/>
                <a:gd name="T75" fmla="*/ 202 h 599"/>
                <a:gd name="T76" fmla="*/ 803 w 804"/>
                <a:gd name="T77" fmla="*/ 120 h 599"/>
                <a:gd name="T78" fmla="*/ 784 w 804"/>
                <a:gd name="T79" fmla="*/ 113 h 5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804" h="599">
                  <a:moveTo>
                    <a:pt x="765" y="121"/>
                  </a:moveTo>
                  <a:cubicBezTo>
                    <a:pt x="759" y="124"/>
                    <a:pt x="746" y="124"/>
                    <a:pt x="737" y="115"/>
                  </a:cubicBezTo>
                  <a:cubicBezTo>
                    <a:pt x="728" y="107"/>
                    <a:pt x="709" y="116"/>
                    <a:pt x="698" y="114"/>
                  </a:cubicBezTo>
                  <a:cubicBezTo>
                    <a:pt x="688" y="112"/>
                    <a:pt x="684" y="104"/>
                    <a:pt x="682" y="96"/>
                  </a:cubicBezTo>
                  <a:cubicBezTo>
                    <a:pt x="680" y="89"/>
                    <a:pt x="664" y="89"/>
                    <a:pt x="658" y="85"/>
                  </a:cubicBezTo>
                  <a:cubicBezTo>
                    <a:pt x="652" y="82"/>
                    <a:pt x="642" y="85"/>
                    <a:pt x="638" y="90"/>
                  </a:cubicBezTo>
                  <a:cubicBezTo>
                    <a:pt x="634" y="96"/>
                    <a:pt x="625" y="95"/>
                    <a:pt x="619" y="96"/>
                  </a:cubicBezTo>
                  <a:cubicBezTo>
                    <a:pt x="613" y="96"/>
                    <a:pt x="594" y="95"/>
                    <a:pt x="583" y="88"/>
                  </a:cubicBezTo>
                  <a:cubicBezTo>
                    <a:pt x="572" y="82"/>
                    <a:pt x="558" y="86"/>
                    <a:pt x="551" y="82"/>
                  </a:cubicBezTo>
                  <a:cubicBezTo>
                    <a:pt x="543" y="77"/>
                    <a:pt x="523" y="69"/>
                    <a:pt x="516" y="67"/>
                  </a:cubicBezTo>
                  <a:cubicBezTo>
                    <a:pt x="508" y="65"/>
                    <a:pt x="498" y="54"/>
                    <a:pt x="489" y="49"/>
                  </a:cubicBezTo>
                  <a:cubicBezTo>
                    <a:pt x="484" y="46"/>
                    <a:pt x="478" y="44"/>
                    <a:pt x="473" y="42"/>
                  </a:cubicBezTo>
                  <a:cubicBezTo>
                    <a:pt x="463" y="50"/>
                    <a:pt x="452" y="43"/>
                    <a:pt x="441" y="37"/>
                  </a:cubicBezTo>
                  <a:cubicBezTo>
                    <a:pt x="429" y="30"/>
                    <a:pt x="419" y="29"/>
                    <a:pt x="410" y="34"/>
                  </a:cubicBezTo>
                  <a:cubicBezTo>
                    <a:pt x="401" y="40"/>
                    <a:pt x="388" y="40"/>
                    <a:pt x="378" y="33"/>
                  </a:cubicBezTo>
                  <a:cubicBezTo>
                    <a:pt x="368" y="26"/>
                    <a:pt x="351" y="29"/>
                    <a:pt x="327" y="34"/>
                  </a:cubicBezTo>
                  <a:cubicBezTo>
                    <a:pt x="302" y="40"/>
                    <a:pt x="258" y="26"/>
                    <a:pt x="249" y="19"/>
                  </a:cubicBezTo>
                  <a:cubicBezTo>
                    <a:pt x="241" y="12"/>
                    <a:pt x="188" y="17"/>
                    <a:pt x="159" y="22"/>
                  </a:cubicBezTo>
                  <a:cubicBezTo>
                    <a:pt x="130" y="26"/>
                    <a:pt x="122" y="17"/>
                    <a:pt x="107" y="9"/>
                  </a:cubicBezTo>
                  <a:cubicBezTo>
                    <a:pt x="93" y="0"/>
                    <a:pt x="67" y="19"/>
                    <a:pt x="60" y="30"/>
                  </a:cubicBezTo>
                  <a:cubicBezTo>
                    <a:pt x="53" y="42"/>
                    <a:pt x="40" y="43"/>
                    <a:pt x="20" y="50"/>
                  </a:cubicBezTo>
                  <a:cubicBezTo>
                    <a:pt x="0" y="57"/>
                    <a:pt x="10" y="80"/>
                    <a:pt x="24" y="85"/>
                  </a:cubicBezTo>
                  <a:cubicBezTo>
                    <a:pt x="39" y="89"/>
                    <a:pt x="29" y="126"/>
                    <a:pt x="26" y="146"/>
                  </a:cubicBezTo>
                  <a:cubicBezTo>
                    <a:pt x="25" y="148"/>
                    <a:pt x="25" y="150"/>
                    <a:pt x="25" y="151"/>
                  </a:cubicBezTo>
                  <a:cubicBezTo>
                    <a:pt x="30" y="152"/>
                    <a:pt x="38" y="152"/>
                    <a:pt x="39" y="148"/>
                  </a:cubicBezTo>
                  <a:cubicBezTo>
                    <a:pt x="41" y="143"/>
                    <a:pt x="42" y="137"/>
                    <a:pt x="50" y="137"/>
                  </a:cubicBezTo>
                  <a:cubicBezTo>
                    <a:pt x="58" y="137"/>
                    <a:pt x="73" y="136"/>
                    <a:pt x="72" y="146"/>
                  </a:cubicBezTo>
                  <a:cubicBezTo>
                    <a:pt x="71" y="155"/>
                    <a:pt x="63" y="163"/>
                    <a:pt x="73" y="164"/>
                  </a:cubicBezTo>
                  <a:cubicBezTo>
                    <a:pt x="83" y="166"/>
                    <a:pt x="88" y="155"/>
                    <a:pt x="100" y="157"/>
                  </a:cubicBezTo>
                  <a:cubicBezTo>
                    <a:pt x="112" y="159"/>
                    <a:pt x="122" y="166"/>
                    <a:pt x="127" y="162"/>
                  </a:cubicBezTo>
                  <a:cubicBezTo>
                    <a:pt x="131" y="157"/>
                    <a:pt x="133" y="153"/>
                    <a:pt x="141" y="153"/>
                  </a:cubicBezTo>
                  <a:cubicBezTo>
                    <a:pt x="149" y="152"/>
                    <a:pt x="149" y="147"/>
                    <a:pt x="160" y="151"/>
                  </a:cubicBezTo>
                  <a:cubicBezTo>
                    <a:pt x="171" y="155"/>
                    <a:pt x="174" y="154"/>
                    <a:pt x="177" y="160"/>
                  </a:cubicBezTo>
                  <a:cubicBezTo>
                    <a:pt x="180" y="167"/>
                    <a:pt x="180" y="169"/>
                    <a:pt x="186" y="171"/>
                  </a:cubicBezTo>
                  <a:cubicBezTo>
                    <a:pt x="192" y="174"/>
                    <a:pt x="197" y="183"/>
                    <a:pt x="194" y="187"/>
                  </a:cubicBezTo>
                  <a:cubicBezTo>
                    <a:pt x="192" y="191"/>
                    <a:pt x="188" y="198"/>
                    <a:pt x="180" y="199"/>
                  </a:cubicBezTo>
                  <a:cubicBezTo>
                    <a:pt x="172" y="200"/>
                    <a:pt x="167" y="201"/>
                    <a:pt x="165" y="205"/>
                  </a:cubicBezTo>
                  <a:cubicBezTo>
                    <a:pt x="163" y="208"/>
                    <a:pt x="159" y="215"/>
                    <a:pt x="156" y="216"/>
                  </a:cubicBezTo>
                  <a:cubicBezTo>
                    <a:pt x="153" y="217"/>
                    <a:pt x="147" y="220"/>
                    <a:pt x="151" y="225"/>
                  </a:cubicBezTo>
                  <a:cubicBezTo>
                    <a:pt x="155" y="231"/>
                    <a:pt x="157" y="244"/>
                    <a:pt x="156" y="251"/>
                  </a:cubicBezTo>
                  <a:cubicBezTo>
                    <a:pt x="156" y="259"/>
                    <a:pt x="158" y="269"/>
                    <a:pt x="154" y="273"/>
                  </a:cubicBezTo>
                  <a:cubicBezTo>
                    <a:pt x="151" y="277"/>
                    <a:pt x="149" y="279"/>
                    <a:pt x="149" y="287"/>
                  </a:cubicBezTo>
                  <a:cubicBezTo>
                    <a:pt x="150" y="295"/>
                    <a:pt x="150" y="302"/>
                    <a:pt x="149" y="307"/>
                  </a:cubicBezTo>
                  <a:cubicBezTo>
                    <a:pt x="148" y="312"/>
                    <a:pt x="151" y="319"/>
                    <a:pt x="142" y="322"/>
                  </a:cubicBezTo>
                  <a:cubicBezTo>
                    <a:pt x="133" y="325"/>
                    <a:pt x="115" y="323"/>
                    <a:pt x="110" y="322"/>
                  </a:cubicBezTo>
                  <a:cubicBezTo>
                    <a:pt x="105" y="321"/>
                    <a:pt x="107" y="330"/>
                    <a:pt x="117" y="335"/>
                  </a:cubicBezTo>
                  <a:cubicBezTo>
                    <a:pt x="127" y="340"/>
                    <a:pt x="128" y="347"/>
                    <a:pt x="129" y="351"/>
                  </a:cubicBezTo>
                  <a:cubicBezTo>
                    <a:pt x="130" y="355"/>
                    <a:pt x="132" y="359"/>
                    <a:pt x="136" y="361"/>
                  </a:cubicBezTo>
                  <a:cubicBezTo>
                    <a:pt x="140" y="363"/>
                    <a:pt x="145" y="369"/>
                    <a:pt x="145" y="374"/>
                  </a:cubicBezTo>
                  <a:cubicBezTo>
                    <a:pt x="146" y="379"/>
                    <a:pt x="141" y="387"/>
                    <a:pt x="134" y="391"/>
                  </a:cubicBezTo>
                  <a:cubicBezTo>
                    <a:pt x="128" y="395"/>
                    <a:pt x="127" y="400"/>
                    <a:pt x="126" y="405"/>
                  </a:cubicBezTo>
                  <a:cubicBezTo>
                    <a:pt x="124" y="410"/>
                    <a:pt x="120" y="415"/>
                    <a:pt x="125" y="420"/>
                  </a:cubicBezTo>
                  <a:cubicBezTo>
                    <a:pt x="130" y="424"/>
                    <a:pt x="137" y="426"/>
                    <a:pt x="139" y="432"/>
                  </a:cubicBezTo>
                  <a:cubicBezTo>
                    <a:pt x="141" y="437"/>
                    <a:pt x="142" y="444"/>
                    <a:pt x="135" y="449"/>
                  </a:cubicBezTo>
                  <a:cubicBezTo>
                    <a:pt x="127" y="454"/>
                    <a:pt x="119" y="458"/>
                    <a:pt x="117" y="467"/>
                  </a:cubicBezTo>
                  <a:cubicBezTo>
                    <a:pt x="115" y="476"/>
                    <a:pt x="110" y="481"/>
                    <a:pt x="113" y="488"/>
                  </a:cubicBezTo>
                  <a:cubicBezTo>
                    <a:pt x="115" y="494"/>
                    <a:pt x="119" y="499"/>
                    <a:pt x="122" y="506"/>
                  </a:cubicBezTo>
                  <a:cubicBezTo>
                    <a:pt x="126" y="505"/>
                    <a:pt x="133" y="505"/>
                    <a:pt x="142" y="505"/>
                  </a:cubicBezTo>
                  <a:cubicBezTo>
                    <a:pt x="162" y="505"/>
                    <a:pt x="158" y="520"/>
                    <a:pt x="175" y="520"/>
                  </a:cubicBezTo>
                  <a:cubicBezTo>
                    <a:pt x="192" y="520"/>
                    <a:pt x="189" y="553"/>
                    <a:pt x="195" y="563"/>
                  </a:cubicBezTo>
                  <a:cubicBezTo>
                    <a:pt x="201" y="573"/>
                    <a:pt x="202" y="579"/>
                    <a:pt x="226" y="589"/>
                  </a:cubicBezTo>
                  <a:cubicBezTo>
                    <a:pt x="251" y="599"/>
                    <a:pt x="257" y="583"/>
                    <a:pt x="268" y="572"/>
                  </a:cubicBezTo>
                  <a:cubicBezTo>
                    <a:pt x="279" y="561"/>
                    <a:pt x="292" y="562"/>
                    <a:pt x="308" y="550"/>
                  </a:cubicBezTo>
                  <a:cubicBezTo>
                    <a:pt x="324" y="539"/>
                    <a:pt x="357" y="539"/>
                    <a:pt x="370" y="538"/>
                  </a:cubicBezTo>
                  <a:cubicBezTo>
                    <a:pt x="383" y="536"/>
                    <a:pt x="407" y="545"/>
                    <a:pt x="416" y="549"/>
                  </a:cubicBezTo>
                  <a:cubicBezTo>
                    <a:pt x="424" y="553"/>
                    <a:pt x="429" y="536"/>
                    <a:pt x="446" y="539"/>
                  </a:cubicBezTo>
                  <a:cubicBezTo>
                    <a:pt x="463" y="542"/>
                    <a:pt x="470" y="530"/>
                    <a:pt x="474" y="510"/>
                  </a:cubicBezTo>
                  <a:cubicBezTo>
                    <a:pt x="479" y="490"/>
                    <a:pt x="507" y="477"/>
                    <a:pt x="530" y="475"/>
                  </a:cubicBezTo>
                  <a:cubicBezTo>
                    <a:pt x="553" y="472"/>
                    <a:pt x="552" y="449"/>
                    <a:pt x="560" y="427"/>
                  </a:cubicBezTo>
                  <a:cubicBezTo>
                    <a:pt x="569" y="406"/>
                    <a:pt x="578" y="407"/>
                    <a:pt x="595" y="401"/>
                  </a:cubicBezTo>
                  <a:cubicBezTo>
                    <a:pt x="612" y="396"/>
                    <a:pt x="601" y="383"/>
                    <a:pt x="589" y="373"/>
                  </a:cubicBezTo>
                  <a:cubicBezTo>
                    <a:pt x="578" y="363"/>
                    <a:pt x="580" y="358"/>
                    <a:pt x="580" y="344"/>
                  </a:cubicBezTo>
                  <a:cubicBezTo>
                    <a:pt x="580" y="330"/>
                    <a:pt x="596" y="305"/>
                    <a:pt x="606" y="291"/>
                  </a:cubicBezTo>
                  <a:cubicBezTo>
                    <a:pt x="616" y="277"/>
                    <a:pt x="612" y="264"/>
                    <a:pt x="632" y="255"/>
                  </a:cubicBezTo>
                  <a:cubicBezTo>
                    <a:pt x="652" y="247"/>
                    <a:pt x="648" y="244"/>
                    <a:pt x="655" y="225"/>
                  </a:cubicBezTo>
                  <a:cubicBezTo>
                    <a:pt x="662" y="206"/>
                    <a:pt x="688" y="209"/>
                    <a:pt x="718" y="202"/>
                  </a:cubicBezTo>
                  <a:cubicBezTo>
                    <a:pt x="748" y="195"/>
                    <a:pt x="752" y="186"/>
                    <a:pt x="775" y="168"/>
                  </a:cubicBezTo>
                  <a:cubicBezTo>
                    <a:pt x="798" y="149"/>
                    <a:pt x="804" y="141"/>
                    <a:pt x="803" y="120"/>
                  </a:cubicBezTo>
                  <a:cubicBezTo>
                    <a:pt x="802" y="116"/>
                    <a:pt x="801" y="112"/>
                    <a:pt x="800" y="109"/>
                  </a:cubicBezTo>
                  <a:cubicBezTo>
                    <a:pt x="791" y="109"/>
                    <a:pt x="790" y="113"/>
                    <a:pt x="784" y="113"/>
                  </a:cubicBezTo>
                  <a:cubicBezTo>
                    <a:pt x="775" y="113"/>
                    <a:pt x="771" y="119"/>
                    <a:pt x="765" y="121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204" name="Freeform 25283"/>
            <p:cNvSpPr>
              <a:spLocks/>
            </p:cNvSpPr>
            <p:nvPr/>
          </p:nvSpPr>
          <p:spPr bwMode="auto">
            <a:xfrm>
              <a:off x="4374707" y="2818030"/>
              <a:ext cx="13101" cy="9628"/>
            </a:xfrm>
            <a:custGeom>
              <a:avLst/>
              <a:gdLst>
                <a:gd name="T0" fmla="*/ 23 w 35"/>
                <a:gd name="T1" fmla="*/ 9 h 26"/>
                <a:gd name="T2" fmla="*/ 18 w 35"/>
                <a:gd name="T3" fmla="*/ 4 h 26"/>
                <a:gd name="T4" fmla="*/ 9 w 35"/>
                <a:gd name="T5" fmla="*/ 2 h 26"/>
                <a:gd name="T6" fmla="*/ 1 w 35"/>
                <a:gd name="T7" fmla="*/ 11 h 26"/>
                <a:gd name="T8" fmla="*/ 6 w 35"/>
                <a:gd name="T9" fmla="*/ 18 h 26"/>
                <a:gd name="T10" fmla="*/ 16 w 35"/>
                <a:gd name="T11" fmla="*/ 22 h 26"/>
                <a:gd name="T12" fmla="*/ 26 w 35"/>
                <a:gd name="T13" fmla="*/ 26 h 26"/>
                <a:gd name="T14" fmla="*/ 33 w 35"/>
                <a:gd name="T15" fmla="*/ 22 h 26"/>
                <a:gd name="T16" fmla="*/ 29 w 35"/>
                <a:gd name="T17" fmla="*/ 11 h 26"/>
                <a:gd name="T18" fmla="*/ 23 w 35"/>
                <a:gd name="T19" fmla="*/ 9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" h="26">
                  <a:moveTo>
                    <a:pt x="23" y="9"/>
                  </a:moveTo>
                  <a:cubicBezTo>
                    <a:pt x="23" y="9"/>
                    <a:pt x="18" y="7"/>
                    <a:pt x="18" y="4"/>
                  </a:cubicBezTo>
                  <a:cubicBezTo>
                    <a:pt x="18" y="1"/>
                    <a:pt x="15" y="0"/>
                    <a:pt x="9" y="2"/>
                  </a:cubicBezTo>
                  <a:cubicBezTo>
                    <a:pt x="4" y="3"/>
                    <a:pt x="0" y="5"/>
                    <a:pt x="1" y="11"/>
                  </a:cubicBezTo>
                  <a:cubicBezTo>
                    <a:pt x="1" y="16"/>
                    <a:pt x="0" y="18"/>
                    <a:pt x="6" y="18"/>
                  </a:cubicBezTo>
                  <a:cubicBezTo>
                    <a:pt x="12" y="18"/>
                    <a:pt x="16" y="18"/>
                    <a:pt x="16" y="22"/>
                  </a:cubicBezTo>
                  <a:cubicBezTo>
                    <a:pt x="16" y="25"/>
                    <a:pt x="23" y="26"/>
                    <a:pt x="26" y="26"/>
                  </a:cubicBezTo>
                  <a:cubicBezTo>
                    <a:pt x="29" y="26"/>
                    <a:pt x="32" y="26"/>
                    <a:pt x="33" y="22"/>
                  </a:cubicBezTo>
                  <a:cubicBezTo>
                    <a:pt x="34" y="18"/>
                    <a:pt x="35" y="10"/>
                    <a:pt x="29" y="11"/>
                  </a:cubicBezTo>
                  <a:cubicBezTo>
                    <a:pt x="23" y="11"/>
                    <a:pt x="25" y="10"/>
                    <a:pt x="23" y="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205" name="Freeform 25284"/>
            <p:cNvSpPr>
              <a:spLocks/>
            </p:cNvSpPr>
            <p:nvPr/>
          </p:nvSpPr>
          <p:spPr bwMode="auto">
            <a:xfrm>
              <a:off x="4340458" y="2821345"/>
              <a:ext cx="25727" cy="22412"/>
            </a:xfrm>
            <a:custGeom>
              <a:avLst/>
              <a:gdLst>
                <a:gd name="T0" fmla="*/ 41 w 69"/>
                <a:gd name="T1" fmla="*/ 4 h 60"/>
                <a:gd name="T2" fmla="*/ 33 w 69"/>
                <a:gd name="T3" fmla="*/ 10 h 60"/>
                <a:gd name="T4" fmla="*/ 21 w 69"/>
                <a:gd name="T5" fmla="*/ 17 h 60"/>
                <a:gd name="T6" fmla="*/ 10 w 69"/>
                <a:gd name="T7" fmla="*/ 22 h 60"/>
                <a:gd name="T8" fmla="*/ 4 w 69"/>
                <a:gd name="T9" fmla="*/ 26 h 60"/>
                <a:gd name="T10" fmla="*/ 6 w 69"/>
                <a:gd name="T11" fmla="*/ 36 h 60"/>
                <a:gd name="T12" fmla="*/ 14 w 69"/>
                <a:gd name="T13" fmla="*/ 44 h 60"/>
                <a:gd name="T14" fmla="*/ 26 w 69"/>
                <a:gd name="T15" fmla="*/ 47 h 60"/>
                <a:gd name="T16" fmla="*/ 35 w 69"/>
                <a:gd name="T17" fmla="*/ 52 h 60"/>
                <a:gd name="T18" fmla="*/ 45 w 69"/>
                <a:gd name="T19" fmla="*/ 59 h 60"/>
                <a:gd name="T20" fmla="*/ 52 w 69"/>
                <a:gd name="T21" fmla="*/ 57 h 60"/>
                <a:gd name="T22" fmla="*/ 56 w 69"/>
                <a:gd name="T23" fmla="*/ 51 h 60"/>
                <a:gd name="T24" fmla="*/ 67 w 69"/>
                <a:gd name="T25" fmla="*/ 46 h 60"/>
                <a:gd name="T26" fmla="*/ 68 w 69"/>
                <a:gd name="T27" fmla="*/ 26 h 60"/>
                <a:gd name="T28" fmla="*/ 66 w 69"/>
                <a:gd name="T29" fmla="*/ 18 h 60"/>
                <a:gd name="T30" fmla="*/ 61 w 69"/>
                <a:gd name="T31" fmla="*/ 11 h 60"/>
                <a:gd name="T32" fmla="*/ 54 w 69"/>
                <a:gd name="T33" fmla="*/ 1 h 60"/>
                <a:gd name="T34" fmla="*/ 41 w 69"/>
                <a:gd name="T35" fmla="*/ 4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9" h="60">
                  <a:moveTo>
                    <a:pt x="41" y="4"/>
                  </a:moveTo>
                  <a:cubicBezTo>
                    <a:pt x="41" y="4"/>
                    <a:pt x="36" y="10"/>
                    <a:pt x="33" y="10"/>
                  </a:cubicBezTo>
                  <a:cubicBezTo>
                    <a:pt x="29" y="10"/>
                    <a:pt x="26" y="17"/>
                    <a:pt x="21" y="17"/>
                  </a:cubicBezTo>
                  <a:cubicBezTo>
                    <a:pt x="15" y="18"/>
                    <a:pt x="11" y="19"/>
                    <a:pt x="10" y="22"/>
                  </a:cubicBezTo>
                  <a:cubicBezTo>
                    <a:pt x="9" y="26"/>
                    <a:pt x="8" y="26"/>
                    <a:pt x="4" y="26"/>
                  </a:cubicBezTo>
                  <a:cubicBezTo>
                    <a:pt x="0" y="26"/>
                    <a:pt x="2" y="36"/>
                    <a:pt x="6" y="36"/>
                  </a:cubicBezTo>
                  <a:cubicBezTo>
                    <a:pt x="10" y="36"/>
                    <a:pt x="7" y="44"/>
                    <a:pt x="14" y="44"/>
                  </a:cubicBezTo>
                  <a:cubicBezTo>
                    <a:pt x="21" y="43"/>
                    <a:pt x="25" y="42"/>
                    <a:pt x="26" y="47"/>
                  </a:cubicBezTo>
                  <a:cubicBezTo>
                    <a:pt x="27" y="52"/>
                    <a:pt x="31" y="52"/>
                    <a:pt x="35" y="52"/>
                  </a:cubicBezTo>
                  <a:cubicBezTo>
                    <a:pt x="39" y="53"/>
                    <a:pt x="40" y="59"/>
                    <a:pt x="45" y="59"/>
                  </a:cubicBezTo>
                  <a:cubicBezTo>
                    <a:pt x="50" y="59"/>
                    <a:pt x="51" y="60"/>
                    <a:pt x="52" y="57"/>
                  </a:cubicBezTo>
                  <a:cubicBezTo>
                    <a:pt x="52" y="54"/>
                    <a:pt x="52" y="52"/>
                    <a:pt x="56" y="51"/>
                  </a:cubicBezTo>
                  <a:cubicBezTo>
                    <a:pt x="60" y="50"/>
                    <a:pt x="66" y="51"/>
                    <a:pt x="67" y="46"/>
                  </a:cubicBezTo>
                  <a:cubicBezTo>
                    <a:pt x="68" y="40"/>
                    <a:pt x="68" y="29"/>
                    <a:pt x="68" y="26"/>
                  </a:cubicBezTo>
                  <a:cubicBezTo>
                    <a:pt x="68" y="22"/>
                    <a:pt x="69" y="20"/>
                    <a:pt x="66" y="18"/>
                  </a:cubicBezTo>
                  <a:cubicBezTo>
                    <a:pt x="64" y="17"/>
                    <a:pt x="62" y="18"/>
                    <a:pt x="61" y="11"/>
                  </a:cubicBezTo>
                  <a:cubicBezTo>
                    <a:pt x="60" y="5"/>
                    <a:pt x="57" y="2"/>
                    <a:pt x="54" y="1"/>
                  </a:cubicBezTo>
                  <a:cubicBezTo>
                    <a:pt x="51" y="0"/>
                    <a:pt x="44" y="0"/>
                    <a:pt x="41" y="4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206" name="Freeform 25285"/>
            <p:cNvSpPr>
              <a:spLocks/>
            </p:cNvSpPr>
            <p:nvPr/>
          </p:nvSpPr>
          <p:spPr bwMode="auto">
            <a:xfrm>
              <a:off x="4315520" y="2844862"/>
              <a:ext cx="7418" cy="9628"/>
            </a:xfrm>
            <a:custGeom>
              <a:avLst/>
              <a:gdLst>
                <a:gd name="T0" fmla="*/ 3 w 20"/>
                <a:gd name="T1" fmla="*/ 4 h 26"/>
                <a:gd name="T2" fmla="*/ 2 w 20"/>
                <a:gd name="T3" fmla="*/ 12 h 26"/>
                <a:gd name="T4" fmla="*/ 4 w 20"/>
                <a:gd name="T5" fmla="*/ 25 h 26"/>
                <a:gd name="T6" fmla="*/ 10 w 20"/>
                <a:gd name="T7" fmla="*/ 22 h 26"/>
                <a:gd name="T8" fmla="*/ 18 w 20"/>
                <a:gd name="T9" fmla="*/ 18 h 26"/>
                <a:gd name="T10" fmla="*/ 15 w 20"/>
                <a:gd name="T11" fmla="*/ 7 h 26"/>
                <a:gd name="T12" fmla="*/ 3 w 20"/>
                <a:gd name="T13" fmla="*/ 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26">
                  <a:moveTo>
                    <a:pt x="3" y="4"/>
                  </a:moveTo>
                  <a:cubicBezTo>
                    <a:pt x="3" y="4"/>
                    <a:pt x="2" y="7"/>
                    <a:pt x="2" y="12"/>
                  </a:cubicBezTo>
                  <a:cubicBezTo>
                    <a:pt x="2" y="18"/>
                    <a:pt x="0" y="24"/>
                    <a:pt x="4" y="25"/>
                  </a:cubicBezTo>
                  <a:cubicBezTo>
                    <a:pt x="9" y="26"/>
                    <a:pt x="9" y="26"/>
                    <a:pt x="10" y="22"/>
                  </a:cubicBezTo>
                  <a:cubicBezTo>
                    <a:pt x="11" y="19"/>
                    <a:pt x="18" y="22"/>
                    <a:pt x="18" y="18"/>
                  </a:cubicBezTo>
                  <a:cubicBezTo>
                    <a:pt x="18" y="13"/>
                    <a:pt x="20" y="9"/>
                    <a:pt x="15" y="7"/>
                  </a:cubicBezTo>
                  <a:cubicBezTo>
                    <a:pt x="11" y="5"/>
                    <a:pt x="4" y="0"/>
                    <a:pt x="3" y="4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207" name="Freeform 25292"/>
            <p:cNvSpPr>
              <a:spLocks/>
            </p:cNvSpPr>
            <p:nvPr/>
          </p:nvSpPr>
          <p:spPr bwMode="auto">
            <a:xfrm>
              <a:off x="7627035" y="2662090"/>
              <a:ext cx="6313" cy="9312"/>
            </a:xfrm>
            <a:custGeom>
              <a:avLst/>
              <a:gdLst>
                <a:gd name="T0" fmla="*/ 5 w 17"/>
                <a:gd name="T1" fmla="*/ 6 h 25"/>
                <a:gd name="T2" fmla="*/ 5 w 17"/>
                <a:gd name="T3" fmla="*/ 22 h 25"/>
                <a:gd name="T4" fmla="*/ 5 w 17"/>
                <a:gd name="T5" fmla="*/ 6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7" h="25">
                  <a:moveTo>
                    <a:pt x="5" y="6"/>
                  </a:moveTo>
                  <a:cubicBezTo>
                    <a:pt x="5" y="6"/>
                    <a:pt x="0" y="18"/>
                    <a:pt x="5" y="22"/>
                  </a:cubicBezTo>
                  <a:cubicBezTo>
                    <a:pt x="9" y="25"/>
                    <a:pt x="17" y="0"/>
                    <a:pt x="5" y="6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208" name="Freeform 25293"/>
            <p:cNvSpPr>
              <a:spLocks/>
            </p:cNvSpPr>
            <p:nvPr/>
          </p:nvSpPr>
          <p:spPr bwMode="auto">
            <a:xfrm>
              <a:off x="7601307" y="2656408"/>
              <a:ext cx="136053" cy="129108"/>
            </a:xfrm>
            <a:custGeom>
              <a:avLst/>
              <a:gdLst>
                <a:gd name="T0" fmla="*/ 356 w 365"/>
                <a:gd name="T1" fmla="*/ 196 h 346"/>
                <a:gd name="T2" fmla="*/ 346 w 365"/>
                <a:gd name="T3" fmla="*/ 170 h 346"/>
                <a:gd name="T4" fmla="*/ 348 w 365"/>
                <a:gd name="T5" fmla="*/ 139 h 346"/>
                <a:gd name="T6" fmla="*/ 349 w 365"/>
                <a:gd name="T7" fmla="*/ 114 h 346"/>
                <a:gd name="T8" fmla="*/ 339 w 365"/>
                <a:gd name="T9" fmla="*/ 130 h 346"/>
                <a:gd name="T10" fmla="*/ 313 w 365"/>
                <a:gd name="T11" fmla="*/ 147 h 346"/>
                <a:gd name="T12" fmla="*/ 290 w 365"/>
                <a:gd name="T13" fmla="*/ 139 h 346"/>
                <a:gd name="T14" fmla="*/ 264 w 365"/>
                <a:gd name="T15" fmla="*/ 130 h 346"/>
                <a:gd name="T16" fmla="*/ 220 w 365"/>
                <a:gd name="T17" fmla="*/ 110 h 346"/>
                <a:gd name="T18" fmla="*/ 176 w 365"/>
                <a:gd name="T19" fmla="*/ 64 h 346"/>
                <a:gd name="T20" fmla="*/ 114 w 365"/>
                <a:gd name="T21" fmla="*/ 41 h 346"/>
                <a:gd name="T22" fmla="*/ 117 w 365"/>
                <a:gd name="T23" fmla="*/ 60 h 346"/>
                <a:gd name="T24" fmla="*/ 127 w 365"/>
                <a:gd name="T25" fmla="*/ 80 h 346"/>
                <a:gd name="T26" fmla="*/ 126 w 365"/>
                <a:gd name="T27" fmla="*/ 116 h 346"/>
                <a:gd name="T28" fmla="*/ 114 w 365"/>
                <a:gd name="T29" fmla="*/ 138 h 346"/>
                <a:gd name="T30" fmla="*/ 110 w 365"/>
                <a:gd name="T31" fmla="*/ 159 h 346"/>
                <a:gd name="T32" fmla="*/ 100 w 365"/>
                <a:gd name="T33" fmla="*/ 179 h 346"/>
                <a:gd name="T34" fmla="*/ 93 w 365"/>
                <a:gd name="T35" fmla="*/ 205 h 346"/>
                <a:gd name="T36" fmla="*/ 70 w 365"/>
                <a:gd name="T37" fmla="*/ 200 h 346"/>
                <a:gd name="T38" fmla="*/ 54 w 365"/>
                <a:gd name="T39" fmla="*/ 190 h 346"/>
                <a:gd name="T40" fmla="*/ 37 w 365"/>
                <a:gd name="T41" fmla="*/ 197 h 346"/>
                <a:gd name="T42" fmla="*/ 38 w 365"/>
                <a:gd name="T43" fmla="*/ 214 h 346"/>
                <a:gd name="T44" fmla="*/ 35 w 365"/>
                <a:gd name="T45" fmla="*/ 230 h 346"/>
                <a:gd name="T46" fmla="*/ 8 w 365"/>
                <a:gd name="T47" fmla="*/ 247 h 346"/>
                <a:gd name="T48" fmla="*/ 3 w 365"/>
                <a:gd name="T49" fmla="*/ 274 h 346"/>
                <a:gd name="T50" fmla="*/ 12 w 365"/>
                <a:gd name="T51" fmla="*/ 292 h 346"/>
                <a:gd name="T52" fmla="*/ 21 w 365"/>
                <a:gd name="T53" fmla="*/ 308 h 346"/>
                <a:gd name="T54" fmla="*/ 18 w 365"/>
                <a:gd name="T55" fmla="*/ 333 h 346"/>
                <a:gd name="T56" fmla="*/ 32 w 365"/>
                <a:gd name="T57" fmla="*/ 338 h 346"/>
                <a:gd name="T58" fmla="*/ 48 w 365"/>
                <a:gd name="T59" fmla="*/ 324 h 346"/>
                <a:gd name="T60" fmla="*/ 60 w 365"/>
                <a:gd name="T61" fmla="*/ 315 h 346"/>
                <a:gd name="T62" fmla="*/ 81 w 365"/>
                <a:gd name="T63" fmla="*/ 309 h 346"/>
                <a:gd name="T64" fmla="*/ 64 w 365"/>
                <a:gd name="T65" fmla="*/ 293 h 346"/>
                <a:gd name="T66" fmla="*/ 45 w 365"/>
                <a:gd name="T67" fmla="*/ 284 h 346"/>
                <a:gd name="T68" fmla="*/ 40 w 365"/>
                <a:gd name="T69" fmla="*/ 265 h 346"/>
                <a:gd name="T70" fmla="*/ 64 w 365"/>
                <a:gd name="T71" fmla="*/ 262 h 346"/>
                <a:gd name="T72" fmla="*/ 86 w 365"/>
                <a:gd name="T73" fmla="*/ 266 h 346"/>
                <a:gd name="T74" fmla="*/ 110 w 365"/>
                <a:gd name="T75" fmla="*/ 255 h 346"/>
                <a:gd name="T76" fmla="*/ 140 w 365"/>
                <a:gd name="T77" fmla="*/ 254 h 346"/>
                <a:gd name="T78" fmla="*/ 162 w 365"/>
                <a:gd name="T79" fmla="*/ 275 h 346"/>
                <a:gd name="T80" fmla="*/ 200 w 365"/>
                <a:gd name="T81" fmla="*/ 289 h 346"/>
                <a:gd name="T82" fmla="*/ 230 w 365"/>
                <a:gd name="T83" fmla="*/ 292 h 346"/>
                <a:gd name="T84" fmla="*/ 247 w 365"/>
                <a:gd name="T85" fmla="*/ 253 h 346"/>
                <a:gd name="T86" fmla="*/ 282 w 365"/>
                <a:gd name="T87" fmla="*/ 226 h 346"/>
                <a:gd name="T88" fmla="*/ 331 w 365"/>
                <a:gd name="T89" fmla="*/ 222 h 346"/>
                <a:gd name="T90" fmla="*/ 358 w 365"/>
                <a:gd name="T91" fmla="*/ 210 h 346"/>
                <a:gd name="T92" fmla="*/ 356 w 365"/>
                <a:gd name="T93" fmla="*/ 196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65" h="346">
                  <a:moveTo>
                    <a:pt x="356" y="196"/>
                  </a:moveTo>
                  <a:cubicBezTo>
                    <a:pt x="348" y="192"/>
                    <a:pt x="358" y="180"/>
                    <a:pt x="346" y="170"/>
                  </a:cubicBezTo>
                  <a:cubicBezTo>
                    <a:pt x="335" y="161"/>
                    <a:pt x="342" y="152"/>
                    <a:pt x="348" y="139"/>
                  </a:cubicBezTo>
                  <a:cubicBezTo>
                    <a:pt x="353" y="126"/>
                    <a:pt x="357" y="115"/>
                    <a:pt x="349" y="114"/>
                  </a:cubicBezTo>
                  <a:cubicBezTo>
                    <a:pt x="340" y="113"/>
                    <a:pt x="349" y="119"/>
                    <a:pt x="339" y="130"/>
                  </a:cubicBezTo>
                  <a:cubicBezTo>
                    <a:pt x="329" y="140"/>
                    <a:pt x="329" y="147"/>
                    <a:pt x="313" y="147"/>
                  </a:cubicBezTo>
                  <a:cubicBezTo>
                    <a:pt x="297" y="147"/>
                    <a:pt x="295" y="146"/>
                    <a:pt x="290" y="139"/>
                  </a:cubicBezTo>
                  <a:cubicBezTo>
                    <a:pt x="284" y="133"/>
                    <a:pt x="288" y="130"/>
                    <a:pt x="264" y="130"/>
                  </a:cubicBezTo>
                  <a:cubicBezTo>
                    <a:pt x="240" y="130"/>
                    <a:pt x="232" y="122"/>
                    <a:pt x="220" y="110"/>
                  </a:cubicBezTo>
                  <a:cubicBezTo>
                    <a:pt x="208" y="99"/>
                    <a:pt x="183" y="78"/>
                    <a:pt x="176" y="64"/>
                  </a:cubicBezTo>
                  <a:cubicBezTo>
                    <a:pt x="170" y="51"/>
                    <a:pt x="107" y="0"/>
                    <a:pt x="114" y="41"/>
                  </a:cubicBezTo>
                  <a:cubicBezTo>
                    <a:pt x="114" y="41"/>
                    <a:pt x="105" y="58"/>
                    <a:pt x="117" y="60"/>
                  </a:cubicBezTo>
                  <a:cubicBezTo>
                    <a:pt x="130" y="62"/>
                    <a:pt x="127" y="68"/>
                    <a:pt x="127" y="80"/>
                  </a:cubicBezTo>
                  <a:cubicBezTo>
                    <a:pt x="127" y="93"/>
                    <a:pt x="135" y="108"/>
                    <a:pt x="126" y="116"/>
                  </a:cubicBezTo>
                  <a:cubicBezTo>
                    <a:pt x="117" y="123"/>
                    <a:pt x="114" y="130"/>
                    <a:pt x="114" y="138"/>
                  </a:cubicBezTo>
                  <a:cubicBezTo>
                    <a:pt x="114" y="147"/>
                    <a:pt x="117" y="151"/>
                    <a:pt x="110" y="159"/>
                  </a:cubicBezTo>
                  <a:cubicBezTo>
                    <a:pt x="102" y="166"/>
                    <a:pt x="98" y="174"/>
                    <a:pt x="100" y="179"/>
                  </a:cubicBezTo>
                  <a:cubicBezTo>
                    <a:pt x="102" y="184"/>
                    <a:pt x="108" y="202"/>
                    <a:pt x="93" y="205"/>
                  </a:cubicBezTo>
                  <a:cubicBezTo>
                    <a:pt x="78" y="207"/>
                    <a:pt x="77" y="210"/>
                    <a:pt x="70" y="200"/>
                  </a:cubicBezTo>
                  <a:cubicBezTo>
                    <a:pt x="64" y="191"/>
                    <a:pt x="59" y="195"/>
                    <a:pt x="54" y="190"/>
                  </a:cubicBezTo>
                  <a:cubicBezTo>
                    <a:pt x="50" y="184"/>
                    <a:pt x="44" y="190"/>
                    <a:pt x="37" y="197"/>
                  </a:cubicBezTo>
                  <a:cubicBezTo>
                    <a:pt x="31" y="205"/>
                    <a:pt x="36" y="208"/>
                    <a:pt x="38" y="214"/>
                  </a:cubicBezTo>
                  <a:cubicBezTo>
                    <a:pt x="40" y="221"/>
                    <a:pt x="47" y="226"/>
                    <a:pt x="35" y="230"/>
                  </a:cubicBezTo>
                  <a:cubicBezTo>
                    <a:pt x="23" y="235"/>
                    <a:pt x="13" y="236"/>
                    <a:pt x="8" y="247"/>
                  </a:cubicBezTo>
                  <a:cubicBezTo>
                    <a:pt x="4" y="259"/>
                    <a:pt x="0" y="267"/>
                    <a:pt x="3" y="274"/>
                  </a:cubicBezTo>
                  <a:cubicBezTo>
                    <a:pt x="6" y="282"/>
                    <a:pt x="2" y="288"/>
                    <a:pt x="12" y="292"/>
                  </a:cubicBezTo>
                  <a:cubicBezTo>
                    <a:pt x="21" y="297"/>
                    <a:pt x="24" y="303"/>
                    <a:pt x="21" y="308"/>
                  </a:cubicBezTo>
                  <a:cubicBezTo>
                    <a:pt x="18" y="314"/>
                    <a:pt x="15" y="326"/>
                    <a:pt x="18" y="333"/>
                  </a:cubicBezTo>
                  <a:cubicBezTo>
                    <a:pt x="21" y="341"/>
                    <a:pt x="29" y="346"/>
                    <a:pt x="32" y="338"/>
                  </a:cubicBezTo>
                  <a:cubicBezTo>
                    <a:pt x="35" y="331"/>
                    <a:pt x="49" y="337"/>
                    <a:pt x="48" y="324"/>
                  </a:cubicBezTo>
                  <a:cubicBezTo>
                    <a:pt x="47" y="312"/>
                    <a:pt x="41" y="312"/>
                    <a:pt x="60" y="315"/>
                  </a:cubicBezTo>
                  <a:cubicBezTo>
                    <a:pt x="78" y="318"/>
                    <a:pt x="81" y="319"/>
                    <a:pt x="81" y="309"/>
                  </a:cubicBezTo>
                  <a:cubicBezTo>
                    <a:pt x="81" y="300"/>
                    <a:pt x="76" y="296"/>
                    <a:pt x="64" y="293"/>
                  </a:cubicBezTo>
                  <a:cubicBezTo>
                    <a:pt x="52" y="291"/>
                    <a:pt x="51" y="290"/>
                    <a:pt x="45" y="284"/>
                  </a:cubicBezTo>
                  <a:cubicBezTo>
                    <a:pt x="38" y="277"/>
                    <a:pt x="32" y="272"/>
                    <a:pt x="40" y="265"/>
                  </a:cubicBezTo>
                  <a:cubicBezTo>
                    <a:pt x="49" y="257"/>
                    <a:pt x="60" y="255"/>
                    <a:pt x="64" y="262"/>
                  </a:cubicBezTo>
                  <a:cubicBezTo>
                    <a:pt x="68" y="270"/>
                    <a:pt x="80" y="271"/>
                    <a:pt x="86" y="266"/>
                  </a:cubicBezTo>
                  <a:cubicBezTo>
                    <a:pt x="93" y="260"/>
                    <a:pt x="106" y="266"/>
                    <a:pt x="110" y="255"/>
                  </a:cubicBezTo>
                  <a:cubicBezTo>
                    <a:pt x="114" y="244"/>
                    <a:pt x="135" y="245"/>
                    <a:pt x="140" y="254"/>
                  </a:cubicBezTo>
                  <a:cubicBezTo>
                    <a:pt x="145" y="262"/>
                    <a:pt x="148" y="272"/>
                    <a:pt x="162" y="275"/>
                  </a:cubicBezTo>
                  <a:cubicBezTo>
                    <a:pt x="176" y="278"/>
                    <a:pt x="198" y="286"/>
                    <a:pt x="200" y="289"/>
                  </a:cubicBezTo>
                  <a:cubicBezTo>
                    <a:pt x="202" y="292"/>
                    <a:pt x="230" y="315"/>
                    <a:pt x="230" y="292"/>
                  </a:cubicBezTo>
                  <a:cubicBezTo>
                    <a:pt x="230" y="270"/>
                    <a:pt x="236" y="267"/>
                    <a:pt x="247" y="253"/>
                  </a:cubicBezTo>
                  <a:cubicBezTo>
                    <a:pt x="258" y="239"/>
                    <a:pt x="265" y="226"/>
                    <a:pt x="282" y="226"/>
                  </a:cubicBezTo>
                  <a:cubicBezTo>
                    <a:pt x="299" y="226"/>
                    <a:pt x="324" y="231"/>
                    <a:pt x="331" y="222"/>
                  </a:cubicBezTo>
                  <a:cubicBezTo>
                    <a:pt x="339" y="212"/>
                    <a:pt x="353" y="216"/>
                    <a:pt x="358" y="210"/>
                  </a:cubicBezTo>
                  <a:cubicBezTo>
                    <a:pt x="364" y="204"/>
                    <a:pt x="365" y="200"/>
                    <a:pt x="356" y="196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209" name="Freeform 25294"/>
            <p:cNvSpPr>
              <a:spLocks/>
            </p:cNvSpPr>
            <p:nvPr/>
          </p:nvSpPr>
          <p:spPr bwMode="auto">
            <a:xfrm>
              <a:off x="7590417" y="2757106"/>
              <a:ext cx="5682" cy="9786"/>
            </a:xfrm>
            <a:custGeom>
              <a:avLst/>
              <a:gdLst>
                <a:gd name="T0" fmla="*/ 12 w 15"/>
                <a:gd name="T1" fmla="*/ 14 h 26"/>
                <a:gd name="T2" fmla="*/ 3 w 15"/>
                <a:gd name="T3" fmla="*/ 11 h 26"/>
                <a:gd name="T4" fmla="*/ 7 w 15"/>
                <a:gd name="T5" fmla="*/ 23 h 26"/>
                <a:gd name="T6" fmla="*/ 12 w 15"/>
                <a:gd name="T7" fmla="*/ 1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26">
                  <a:moveTo>
                    <a:pt x="12" y="14"/>
                  </a:moveTo>
                  <a:cubicBezTo>
                    <a:pt x="12" y="7"/>
                    <a:pt x="4" y="0"/>
                    <a:pt x="3" y="11"/>
                  </a:cubicBezTo>
                  <a:cubicBezTo>
                    <a:pt x="3" y="11"/>
                    <a:pt x="0" y="21"/>
                    <a:pt x="7" y="23"/>
                  </a:cubicBezTo>
                  <a:cubicBezTo>
                    <a:pt x="15" y="26"/>
                    <a:pt x="12" y="20"/>
                    <a:pt x="12" y="14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210" name="Freeform 25295"/>
            <p:cNvSpPr>
              <a:spLocks/>
            </p:cNvSpPr>
            <p:nvPr/>
          </p:nvSpPr>
          <p:spPr bwMode="auto">
            <a:xfrm>
              <a:off x="7389811" y="2781413"/>
              <a:ext cx="268476" cy="226808"/>
            </a:xfrm>
            <a:custGeom>
              <a:avLst/>
              <a:gdLst>
                <a:gd name="T0" fmla="*/ 672 w 720"/>
                <a:gd name="T1" fmla="*/ 46 h 608"/>
                <a:gd name="T2" fmla="*/ 638 w 720"/>
                <a:gd name="T3" fmla="*/ 16 h 608"/>
                <a:gd name="T4" fmla="*/ 631 w 720"/>
                <a:gd name="T5" fmla="*/ 42 h 608"/>
                <a:gd name="T6" fmla="*/ 599 w 720"/>
                <a:gd name="T7" fmla="*/ 40 h 608"/>
                <a:gd name="T8" fmla="*/ 571 w 720"/>
                <a:gd name="T9" fmla="*/ 69 h 608"/>
                <a:gd name="T10" fmla="*/ 575 w 720"/>
                <a:gd name="T11" fmla="*/ 114 h 608"/>
                <a:gd name="T12" fmla="*/ 576 w 720"/>
                <a:gd name="T13" fmla="*/ 185 h 608"/>
                <a:gd name="T14" fmla="*/ 544 w 720"/>
                <a:gd name="T15" fmla="*/ 253 h 608"/>
                <a:gd name="T16" fmla="*/ 476 w 720"/>
                <a:gd name="T17" fmla="*/ 338 h 608"/>
                <a:gd name="T18" fmla="*/ 418 w 720"/>
                <a:gd name="T19" fmla="*/ 343 h 608"/>
                <a:gd name="T20" fmla="*/ 362 w 720"/>
                <a:gd name="T21" fmla="*/ 378 h 608"/>
                <a:gd name="T22" fmla="*/ 329 w 720"/>
                <a:gd name="T23" fmla="*/ 410 h 608"/>
                <a:gd name="T24" fmla="*/ 301 w 720"/>
                <a:gd name="T25" fmla="*/ 445 h 608"/>
                <a:gd name="T26" fmla="*/ 272 w 720"/>
                <a:gd name="T27" fmla="*/ 428 h 608"/>
                <a:gd name="T28" fmla="*/ 195 w 720"/>
                <a:gd name="T29" fmla="*/ 447 h 608"/>
                <a:gd name="T30" fmla="*/ 78 w 720"/>
                <a:gd name="T31" fmla="*/ 491 h 608"/>
                <a:gd name="T32" fmla="*/ 27 w 720"/>
                <a:gd name="T33" fmla="*/ 518 h 608"/>
                <a:gd name="T34" fmla="*/ 11 w 720"/>
                <a:gd name="T35" fmla="*/ 557 h 608"/>
                <a:gd name="T36" fmla="*/ 65 w 720"/>
                <a:gd name="T37" fmla="*/ 559 h 608"/>
                <a:gd name="T38" fmla="*/ 92 w 720"/>
                <a:gd name="T39" fmla="*/ 559 h 608"/>
                <a:gd name="T40" fmla="*/ 104 w 720"/>
                <a:gd name="T41" fmla="*/ 538 h 608"/>
                <a:gd name="T42" fmla="*/ 134 w 720"/>
                <a:gd name="T43" fmla="*/ 535 h 608"/>
                <a:gd name="T44" fmla="*/ 184 w 720"/>
                <a:gd name="T45" fmla="*/ 522 h 608"/>
                <a:gd name="T46" fmla="*/ 240 w 720"/>
                <a:gd name="T47" fmla="*/ 504 h 608"/>
                <a:gd name="T48" fmla="*/ 276 w 720"/>
                <a:gd name="T49" fmla="*/ 535 h 608"/>
                <a:gd name="T50" fmla="*/ 285 w 720"/>
                <a:gd name="T51" fmla="*/ 576 h 608"/>
                <a:gd name="T52" fmla="*/ 355 w 720"/>
                <a:gd name="T53" fmla="*/ 545 h 608"/>
                <a:gd name="T54" fmla="*/ 372 w 720"/>
                <a:gd name="T55" fmla="*/ 518 h 608"/>
                <a:gd name="T56" fmla="*/ 393 w 720"/>
                <a:gd name="T57" fmla="*/ 498 h 608"/>
                <a:gd name="T58" fmla="*/ 477 w 720"/>
                <a:gd name="T59" fmla="*/ 498 h 608"/>
                <a:gd name="T60" fmla="*/ 531 w 720"/>
                <a:gd name="T61" fmla="*/ 472 h 608"/>
                <a:gd name="T62" fmla="*/ 573 w 720"/>
                <a:gd name="T63" fmla="*/ 472 h 608"/>
                <a:gd name="T64" fmla="*/ 614 w 720"/>
                <a:gd name="T65" fmla="*/ 467 h 608"/>
                <a:gd name="T66" fmla="*/ 633 w 720"/>
                <a:gd name="T67" fmla="*/ 419 h 608"/>
                <a:gd name="T68" fmla="*/ 633 w 720"/>
                <a:gd name="T69" fmla="*/ 354 h 608"/>
                <a:gd name="T70" fmla="*/ 644 w 720"/>
                <a:gd name="T71" fmla="*/ 275 h 608"/>
                <a:gd name="T72" fmla="*/ 680 w 720"/>
                <a:gd name="T73" fmla="*/ 230 h 608"/>
                <a:gd name="T74" fmla="*/ 710 w 720"/>
                <a:gd name="T75" fmla="*/ 168 h 608"/>
                <a:gd name="T76" fmla="*/ 683 w 720"/>
                <a:gd name="T77" fmla="*/ 77 h 6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720" h="608">
                  <a:moveTo>
                    <a:pt x="683" y="77"/>
                  </a:moveTo>
                  <a:cubicBezTo>
                    <a:pt x="673" y="68"/>
                    <a:pt x="672" y="61"/>
                    <a:pt x="672" y="46"/>
                  </a:cubicBezTo>
                  <a:cubicBezTo>
                    <a:pt x="672" y="31"/>
                    <a:pt x="680" y="13"/>
                    <a:pt x="664" y="7"/>
                  </a:cubicBezTo>
                  <a:cubicBezTo>
                    <a:pt x="648" y="0"/>
                    <a:pt x="619" y="9"/>
                    <a:pt x="638" y="16"/>
                  </a:cubicBezTo>
                  <a:cubicBezTo>
                    <a:pt x="658" y="24"/>
                    <a:pt x="662" y="22"/>
                    <a:pt x="654" y="29"/>
                  </a:cubicBezTo>
                  <a:cubicBezTo>
                    <a:pt x="647" y="37"/>
                    <a:pt x="642" y="47"/>
                    <a:pt x="631" y="42"/>
                  </a:cubicBezTo>
                  <a:cubicBezTo>
                    <a:pt x="620" y="37"/>
                    <a:pt x="624" y="20"/>
                    <a:pt x="612" y="22"/>
                  </a:cubicBezTo>
                  <a:cubicBezTo>
                    <a:pt x="599" y="23"/>
                    <a:pt x="598" y="29"/>
                    <a:pt x="599" y="40"/>
                  </a:cubicBezTo>
                  <a:cubicBezTo>
                    <a:pt x="600" y="50"/>
                    <a:pt x="599" y="57"/>
                    <a:pt x="589" y="57"/>
                  </a:cubicBezTo>
                  <a:cubicBezTo>
                    <a:pt x="580" y="57"/>
                    <a:pt x="570" y="59"/>
                    <a:pt x="571" y="69"/>
                  </a:cubicBezTo>
                  <a:cubicBezTo>
                    <a:pt x="572" y="78"/>
                    <a:pt x="583" y="80"/>
                    <a:pt x="583" y="93"/>
                  </a:cubicBezTo>
                  <a:cubicBezTo>
                    <a:pt x="583" y="106"/>
                    <a:pt x="581" y="104"/>
                    <a:pt x="575" y="114"/>
                  </a:cubicBezTo>
                  <a:cubicBezTo>
                    <a:pt x="570" y="123"/>
                    <a:pt x="567" y="121"/>
                    <a:pt x="585" y="146"/>
                  </a:cubicBezTo>
                  <a:cubicBezTo>
                    <a:pt x="585" y="146"/>
                    <a:pt x="584" y="177"/>
                    <a:pt x="576" y="185"/>
                  </a:cubicBezTo>
                  <a:cubicBezTo>
                    <a:pt x="569" y="194"/>
                    <a:pt x="562" y="196"/>
                    <a:pt x="561" y="210"/>
                  </a:cubicBezTo>
                  <a:cubicBezTo>
                    <a:pt x="560" y="224"/>
                    <a:pt x="552" y="242"/>
                    <a:pt x="544" y="253"/>
                  </a:cubicBezTo>
                  <a:cubicBezTo>
                    <a:pt x="537" y="263"/>
                    <a:pt x="506" y="272"/>
                    <a:pt x="501" y="283"/>
                  </a:cubicBezTo>
                  <a:cubicBezTo>
                    <a:pt x="497" y="293"/>
                    <a:pt x="489" y="336"/>
                    <a:pt x="476" y="338"/>
                  </a:cubicBezTo>
                  <a:cubicBezTo>
                    <a:pt x="463" y="340"/>
                    <a:pt x="461" y="323"/>
                    <a:pt x="451" y="323"/>
                  </a:cubicBezTo>
                  <a:cubicBezTo>
                    <a:pt x="442" y="323"/>
                    <a:pt x="425" y="331"/>
                    <a:pt x="418" y="343"/>
                  </a:cubicBezTo>
                  <a:cubicBezTo>
                    <a:pt x="410" y="354"/>
                    <a:pt x="404" y="358"/>
                    <a:pt x="385" y="358"/>
                  </a:cubicBezTo>
                  <a:cubicBezTo>
                    <a:pt x="366" y="358"/>
                    <a:pt x="366" y="369"/>
                    <a:pt x="362" y="378"/>
                  </a:cubicBezTo>
                  <a:cubicBezTo>
                    <a:pt x="359" y="386"/>
                    <a:pt x="353" y="388"/>
                    <a:pt x="342" y="394"/>
                  </a:cubicBezTo>
                  <a:cubicBezTo>
                    <a:pt x="331" y="400"/>
                    <a:pt x="329" y="402"/>
                    <a:pt x="329" y="410"/>
                  </a:cubicBezTo>
                  <a:cubicBezTo>
                    <a:pt x="329" y="417"/>
                    <a:pt x="338" y="439"/>
                    <a:pt x="325" y="442"/>
                  </a:cubicBezTo>
                  <a:cubicBezTo>
                    <a:pt x="312" y="445"/>
                    <a:pt x="307" y="439"/>
                    <a:pt x="301" y="445"/>
                  </a:cubicBezTo>
                  <a:cubicBezTo>
                    <a:pt x="296" y="452"/>
                    <a:pt x="285" y="452"/>
                    <a:pt x="285" y="445"/>
                  </a:cubicBezTo>
                  <a:cubicBezTo>
                    <a:pt x="285" y="439"/>
                    <a:pt x="283" y="427"/>
                    <a:pt x="272" y="428"/>
                  </a:cubicBezTo>
                  <a:cubicBezTo>
                    <a:pt x="262" y="429"/>
                    <a:pt x="244" y="435"/>
                    <a:pt x="230" y="437"/>
                  </a:cubicBezTo>
                  <a:cubicBezTo>
                    <a:pt x="216" y="439"/>
                    <a:pt x="223" y="449"/>
                    <a:pt x="195" y="447"/>
                  </a:cubicBezTo>
                  <a:cubicBezTo>
                    <a:pt x="168" y="446"/>
                    <a:pt x="123" y="442"/>
                    <a:pt x="114" y="457"/>
                  </a:cubicBezTo>
                  <a:cubicBezTo>
                    <a:pt x="106" y="472"/>
                    <a:pt x="88" y="488"/>
                    <a:pt x="78" y="491"/>
                  </a:cubicBezTo>
                  <a:cubicBezTo>
                    <a:pt x="67" y="495"/>
                    <a:pt x="53" y="505"/>
                    <a:pt x="50" y="512"/>
                  </a:cubicBezTo>
                  <a:cubicBezTo>
                    <a:pt x="47" y="518"/>
                    <a:pt x="45" y="516"/>
                    <a:pt x="27" y="518"/>
                  </a:cubicBezTo>
                  <a:cubicBezTo>
                    <a:pt x="10" y="520"/>
                    <a:pt x="4" y="528"/>
                    <a:pt x="4" y="535"/>
                  </a:cubicBezTo>
                  <a:cubicBezTo>
                    <a:pt x="4" y="543"/>
                    <a:pt x="0" y="557"/>
                    <a:pt x="11" y="557"/>
                  </a:cubicBezTo>
                  <a:cubicBezTo>
                    <a:pt x="23" y="557"/>
                    <a:pt x="19" y="551"/>
                    <a:pt x="37" y="552"/>
                  </a:cubicBezTo>
                  <a:cubicBezTo>
                    <a:pt x="55" y="553"/>
                    <a:pt x="63" y="554"/>
                    <a:pt x="65" y="559"/>
                  </a:cubicBezTo>
                  <a:cubicBezTo>
                    <a:pt x="67" y="563"/>
                    <a:pt x="80" y="570"/>
                    <a:pt x="86" y="570"/>
                  </a:cubicBezTo>
                  <a:cubicBezTo>
                    <a:pt x="93" y="570"/>
                    <a:pt x="98" y="562"/>
                    <a:pt x="92" y="559"/>
                  </a:cubicBezTo>
                  <a:cubicBezTo>
                    <a:pt x="85" y="556"/>
                    <a:pt x="83" y="546"/>
                    <a:pt x="91" y="542"/>
                  </a:cubicBezTo>
                  <a:cubicBezTo>
                    <a:pt x="98" y="537"/>
                    <a:pt x="102" y="533"/>
                    <a:pt x="104" y="538"/>
                  </a:cubicBezTo>
                  <a:cubicBezTo>
                    <a:pt x="107" y="544"/>
                    <a:pt x="119" y="553"/>
                    <a:pt x="122" y="545"/>
                  </a:cubicBezTo>
                  <a:cubicBezTo>
                    <a:pt x="124" y="536"/>
                    <a:pt x="130" y="535"/>
                    <a:pt x="134" y="535"/>
                  </a:cubicBezTo>
                  <a:cubicBezTo>
                    <a:pt x="139" y="535"/>
                    <a:pt x="150" y="537"/>
                    <a:pt x="154" y="530"/>
                  </a:cubicBezTo>
                  <a:cubicBezTo>
                    <a:pt x="157" y="522"/>
                    <a:pt x="168" y="524"/>
                    <a:pt x="184" y="522"/>
                  </a:cubicBezTo>
                  <a:cubicBezTo>
                    <a:pt x="200" y="520"/>
                    <a:pt x="210" y="520"/>
                    <a:pt x="216" y="513"/>
                  </a:cubicBezTo>
                  <a:cubicBezTo>
                    <a:pt x="221" y="505"/>
                    <a:pt x="233" y="504"/>
                    <a:pt x="240" y="504"/>
                  </a:cubicBezTo>
                  <a:cubicBezTo>
                    <a:pt x="248" y="504"/>
                    <a:pt x="276" y="501"/>
                    <a:pt x="280" y="511"/>
                  </a:cubicBezTo>
                  <a:cubicBezTo>
                    <a:pt x="284" y="520"/>
                    <a:pt x="290" y="532"/>
                    <a:pt x="276" y="535"/>
                  </a:cubicBezTo>
                  <a:cubicBezTo>
                    <a:pt x="262" y="538"/>
                    <a:pt x="256" y="551"/>
                    <a:pt x="265" y="558"/>
                  </a:cubicBezTo>
                  <a:cubicBezTo>
                    <a:pt x="273" y="564"/>
                    <a:pt x="279" y="566"/>
                    <a:pt x="285" y="576"/>
                  </a:cubicBezTo>
                  <a:cubicBezTo>
                    <a:pt x="292" y="585"/>
                    <a:pt x="306" y="608"/>
                    <a:pt x="317" y="592"/>
                  </a:cubicBezTo>
                  <a:cubicBezTo>
                    <a:pt x="329" y="576"/>
                    <a:pt x="340" y="550"/>
                    <a:pt x="355" y="545"/>
                  </a:cubicBezTo>
                  <a:cubicBezTo>
                    <a:pt x="370" y="539"/>
                    <a:pt x="383" y="542"/>
                    <a:pt x="383" y="532"/>
                  </a:cubicBezTo>
                  <a:cubicBezTo>
                    <a:pt x="383" y="522"/>
                    <a:pt x="384" y="524"/>
                    <a:pt x="372" y="518"/>
                  </a:cubicBezTo>
                  <a:cubicBezTo>
                    <a:pt x="360" y="512"/>
                    <a:pt x="361" y="497"/>
                    <a:pt x="370" y="492"/>
                  </a:cubicBezTo>
                  <a:cubicBezTo>
                    <a:pt x="378" y="488"/>
                    <a:pt x="387" y="490"/>
                    <a:pt x="393" y="498"/>
                  </a:cubicBezTo>
                  <a:cubicBezTo>
                    <a:pt x="400" y="505"/>
                    <a:pt x="422" y="512"/>
                    <a:pt x="435" y="511"/>
                  </a:cubicBezTo>
                  <a:cubicBezTo>
                    <a:pt x="448" y="510"/>
                    <a:pt x="466" y="512"/>
                    <a:pt x="477" y="498"/>
                  </a:cubicBezTo>
                  <a:cubicBezTo>
                    <a:pt x="488" y="484"/>
                    <a:pt x="506" y="492"/>
                    <a:pt x="515" y="490"/>
                  </a:cubicBezTo>
                  <a:cubicBezTo>
                    <a:pt x="525" y="488"/>
                    <a:pt x="516" y="472"/>
                    <a:pt x="531" y="472"/>
                  </a:cubicBezTo>
                  <a:cubicBezTo>
                    <a:pt x="546" y="472"/>
                    <a:pt x="554" y="455"/>
                    <a:pt x="559" y="463"/>
                  </a:cubicBezTo>
                  <a:cubicBezTo>
                    <a:pt x="565" y="472"/>
                    <a:pt x="581" y="454"/>
                    <a:pt x="573" y="472"/>
                  </a:cubicBezTo>
                  <a:cubicBezTo>
                    <a:pt x="566" y="490"/>
                    <a:pt x="568" y="498"/>
                    <a:pt x="577" y="491"/>
                  </a:cubicBezTo>
                  <a:cubicBezTo>
                    <a:pt x="587" y="485"/>
                    <a:pt x="612" y="485"/>
                    <a:pt x="614" y="467"/>
                  </a:cubicBezTo>
                  <a:cubicBezTo>
                    <a:pt x="616" y="449"/>
                    <a:pt x="606" y="447"/>
                    <a:pt x="624" y="443"/>
                  </a:cubicBezTo>
                  <a:cubicBezTo>
                    <a:pt x="643" y="439"/>
                    <a:pt x="644" y="428"/>
                    <a:pt x="633" y="419"/>
                  </a:cubicBezTo>
                  <a:cubicBezTo>
                    <a:pt x="622" y="409"/>
                    <a:pt x="624" y="406"/>
                    <a:pt x="624" y="388"/>
                  </a:cubicBezTo>
                  <a:cubicBezTo>
                    <a:pt x="624" y="369"/>
                    <a:pt x="617" y="360"/>
                    <a:pt x="633" y="354"/>
                  </a:cubicBezTo>
                  <a:cubicBezTo>
                    <a:pt x="649" y="349"/>
                    <a:pt x="660" y="352"/>
                    <a:pt x="656" y="334"/>
                  </a:cubicBezTo>
                  <a:cubicBezTo>
                    <a:pt x="651" y="316"/>
                    <a:pt x="644" y="295"/>
                    <a:pt x="644" y="275"/>
                  </a:cubicBezTo>
                  <a:cubicBezTo>
                    <a:pt x="644" y="255"/>
                    <a:pt x="637" y="245"/>
                    <a:pt x="653" y="242"/>
                  </a:cubicBezTo>
                  <a:cubicBezTo>
                    <a:pt x="669" y="239"/>
                    <a:pt x="678" y="256"/>
                    <a:pt x="680" y="230"/>
                  </a:cubicBezTo>
                  <a:cubicBezTo>
                    <a:pt x="682" y="205"/>
                    <a:pt x="682" y="202"/>
                    <a:pt x="691" y="193"/>
                  </a:cubicBezTo>
                  <a:cubicBezTo>
                    <a:pt x="699" y="183"/>
                    <a:pt x="709" y="184"/>
                    <a:pt x="710" y="168"/>
                  </a:cubicBezTo>
                  <a:cubicBezTo>
                    <a:pt x="711" y="152"/>
                    <a:pt x="720" y="155"/>
                    <a:pt x="714" y="131"/>
                  </a:cubicBezTo>
                  <a:cubicBezTo>
                    <a:pt x="709" y="106"/>
                    <a:pt x="694" y="87"/>
                    <a:pt x="683" y="77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211" name="Freeform 25296"/>
            <p:cNvSpPr>
              <a:spLocks/>
            </p:cNvSpPr>
            <p:nvPr/>
          </p:nvSpPr>
          <p:spPr bwMode="auto">
            <a:xfrm>
              <a:off x="7564375" y="2863802"/>
              <a:ext cx="9312" cy="23833"/>
            </a:xfrm>
            <a:custGeom>
              <a:avLst/>
              <a:gdLst>
                <a:gd name="T0" fmla="*/ 8 w 25"/>
                <a:gd name="T1" fmla="*/ 24 h 64"/>
                <a:gd name="T2" fmla="*/ 5 w 25"/>
                <a:gd name="T3" fmla="*/ 54 h 64"/>
                <a:gd name="T4" fmla="*/ 23 w 25"/>
                <a:gd name="T5" fmla="*/ 52 h 64"/>
                <a:gd name="T6" fmla="*/ 21 w 25"/>
                <a:gd name="T7" fmla="*/ 30 h 64"/>
                <a:gd name="T8" fmla="*/ 8 w 25"/>
                <a:gd name="T9" fmla="*/ 2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64">
                  <a:moveTo>
                    <a:pt x="8" y="24"/>
                  </a:moveTo>
                  <a:cubicBezTo>
                    <a:pt x="8" y="24"/>
                    <a:pt x="0" y="45"/>
                    <a:pt x="5" y="54"/>
                  </a:cubicBezTo>
                  <a:cubicBezTo>
                    <a:pt x="9" y="64"/>
                    <a:pt x="22" y="60"/>
                    <a:pt x="23" y="52"/>
                  </a:cubicBezTo>
                  <a:cubicBezTo>
                    <a:pt x="24" y="45"/>
                    <a:pt x="16" y="38"/>
                    <a:pt x="21" y="30"/>
                  </a:cubicBezTo>
                  <a:cubicBezTo>
                    <a:pt x="25" y="21"/>
                    <a:pt x="18" y="0"/>
                    <a:pt x="8" y="24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212" name="Freeform 25297"/>
            <p:cNvSpPr>
              <a:spLocks/>
            </p:cNvSpPr>
            <p:nvPr/>
          </p:nvSpPr>
          <p:spPr bwMode="auto">
            <a:xfrm>
              <a:off x="7421535" y="2975706"/>
              <a:ext cx="64870" cy="51138"/>
            </a:xfrm>
            <a:custGeom>
              <a:avLst/>
              <a:gdLst>
                <a:gd name="T0" fmla="*/ 132 w 174"/>
                <a:gd name="T1" fmla="*/ 79 h 137"/>
                <a:gd name="T2" fmla="*/ 147 w 174"/>
                <a:gd name="T3" fmla="*/ 59 h 137"/>
                <a:gd name="T4" fmla="*/ 157 w 174"/>
                <a:gd name="T5" fmla="*/ 42 h 137"/>
                <a:gd name="T6" fmla="*/ 153 w 174"/>
                <a:gd name="T7" fmla="*/ 16 h 137"/>
                <a:gd name="T8" fmla="*/ 122 w 174"/>
                <a:gd name="T9" fmla="*/ 8 h 137"/>
                <a:gd name="T10" fmla="*/ 96 w 174"/>
                <a:gd name="T11" fmla="*/ 25 h 137"/>
                <a:gd name="T12" fmla="*/ 84 w 174"/>
                <a:gd name="T13" fmla="*/ 38 h 137"/>
                <a:gd name="T14" fmla="*/ 65 w 174"/>
                <a:gd name="T15" fmla="*/ 46 h 137"/>
                <a:gd name="T16" fmla="*/ 46 w 174"/>
                <a:gd name="T17" fmla="*/ 31 h 137"/>
                <a:gd name="T18" fmla="*/ 28 w 174"/>
                <a:gd name="T19" fmla="*/ 57 h 137"/>
                <a:gd name="T20" fmla="*/ 6 w 174"/>
                <a:gd name="T21" fmla="*/ 73 h 137"/>
                <a:gd name="T22" fmla="*/ 13 w 174"/>
                <a:gd name="T23" fmla="*/ 83 h 137"/>
                <a:gd name="T24" fmla="*/ 23 w 174"/>
                <a:gd name="T25" fmla="*/ 94 h 137"/>
                <a:gd name="T26" fmla="*/ 32 w 174"/>
                <a:gd name="T27" fmla="*/ 119 h 137"/>
                <a:gd name="T28" fmla="*/ 50 w 174"/>
                <a:gd name="T29" fmla="*/ 119 h 137"/>
                <a:gd name="T30" fmla="*/ 70 w 174"/>
                <a:gd name="T31" fmla="*/ 90 h 137"/>
                <a:gd name="T32" fmla="*/ 92 w 174"/>
                <a:gd name="T33" fmla="*/ 73 h 137"/>
                <a:gd name="T34" fmla="*/ 110 w 174"/>
                <a:gd name="T35" fmla="*/ 78 h 137"/>
                <a:gd name="T36" fmla="*/ 132 w 174"/>
                <a:gd name="T37" fmla="*/ 79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74" h="137">
                  <a:moveTo>
                    <a:pt x="132" y="79"/>
                  </a:moveTo>
                  <a:cubicBezTo>
                    <a:pt x="137" y="70"/>
                    <a:pt x="137" y="61"/>
                    <a:pt x="147" y="59"/>
                  </a:cubicBezTo>
                  <a:cubicBezTo>
                    <a:pt x="156" y="57"/>
                    <a:pt x="157" y="53"/>
                    <a:pt x="157" y="42"/>
                  </a:cubicBezTo>
                  <a:cubicBezTo>
                    <a:pt x="157" y="31"/>
                    <a:pt x="174" y="20"/>
                    <a:pt x="153" y="16"/>
                  </a:cubicBezTo>
                  <a:cubicBezTo>
                    <a:pt x="133" y="13"/>
                    <a:pt x="138" y="0"/>
                    <a:pt x="122" y="8"/>
                  </a:cubicBezTo>
                  <a:cubicBezTo>
                    <a:pt x="106" y="15"/>
                    <a:pt x="96" y="6"/>
                    <a:pt x="96" y="25"/>
                  </a:cubicBezTo>
                  <a:cubicBezTo>
                    <a:pt x="96" y="25"/>
                    <a:pt x="92" y="38"/>
                    <a:pt x="84" y="38"/>
                  </a:cubicBezTo>
                  <a:cubicBezTo>
                    <a:pt x="75" y="38"/>
                    <a:pt x="73" y="55"/>
                    <a:pt x="65" y="46"/>
                  </a:cubicBezTo>
                  <a:cubicBezTo>
                    <a:pt x="58" y="38"/>
                    <a:pt x="58" y="24"/>
                    <a:pt x="46" y="31"/>
                  </a:cubicBezTo>
                  <a:cubicBezTo>
                    <a:pt x="34" y="39"/>
                    <a:pt x="40" y="47"/>
                    <a:pt x="28" y="57"/>
                  </a:cubicBezTo>
                  <a:cubicBezTo>
                    <a:pt x="16" y="67"/>
                    <a:pt x="11" y="70"/>
                    <a:pt x="6" y="73"/>
                  </a:cubicBezTo>
                  <a:cubicBezTo>
                    <a:pt x="0" y="76"/>
                    <a:pt x="4" y="83"/>
                    <a:pt x="13" y="83"/>
                  </a:cubicBezTo>
                  <a:cubicBezTo>
                    <a:pt x="22" y="83"/>
                    <a:pt x="23" y="81"/>
                    <a:pt x="23" y="94"/>
                  </a:cubicBezTo>
                  <a:cubicBezTo>
                    <a:pt x="23" y="108"/>
                    <a:pt x="28" y="119"/>
                    <a:pt x="32" y="119"/>
                  </a:cubicBezTo>
                  <a:cubicBezTo>
                    <a:pt x="37" y="119"/>
                    <a:pt x="40" y="137"/>
                    <a:pt x="50" y="119"/>
                  </a:cubicBezTo>
                  <a:cubicBezTo>
                    <a:pt x="61" y="101"/>
                    <a:pt x="57" y="101"/>
                    <a:pt x="70" y="90"/>
                  </a:cubicBezTo>
                  <a:cubicBezTo>
                    <a:pt x="83" y="79"/>
                    <a:pt x="80" y="73"/>
                    <a:pt x="92" y="73"/>
                  </a:cubicBezTo>
                  <a:cubicBezTo>
                    <a:pt x="104" y="73"/>
                    <a:pt x="107" y="74"/>
                    <a:pt x="110" y="78"/>
                  </a:cubicBezTo>
                  <a:cubicBezTo>
                    <a:pt x="114" y="83"/>
                    <a:pt x="126" y="89"/>
                    <a:pt x="132" y="7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213" name="Freeform 25298"/>
            <p:cNvSpPr>
              <a:spLocks/>
            </p:cNvSpPr>
            <p:nvPr/>
          </p:nvSpPr>
          <p:spPr bwMode="auto">
            <a:xfrm>
              <a:off x="7359348" y="2989438"/>
              <a:ext cx="59188" cy="78443"/>
            </a:xfrm>
            <a:custGeom>
              <a:avLst/>
              <a:gdLst>
                <a:gd name="T0" fmla="*/ 145 w 159"/>
                <a:gd name="T1" fmla="*/ 51 h 210"/>
                <a:gd name="T2" fmla="*/ 135 w 159"/>
                <a:gd name="T3" fmla="*/ 35 h 210"/>
                <a:gd name="T4" fmla="*/ 122 w 159"/>
                <a:gd name="T5" fmla="*/ 20 h 210"/>
                <a:gd name="T6" fmla="*/ 105 w 159"/>
                <a:gd name="T7" fmla="*/ 25 h 210"/>
                <a:gd name="T8" fmla="*/ 90 w 159"/>
                <a:gd name="T9" fmla="*/ 9 h 210"/>
                <a:gd name="T10" fmla="*/ 53 w 159"/>
                <a:gd name="T11" fmla="*/ 15 h 210"/>
                <a:gd name="T12" fmla="*/ 33 w 159"/>
                <a:gd name="T13" fmla="*/ 31 h 210"/>
                <a:gd name="T14" fmla="*/ 8 w 159"/>
                <a:gd name="T15" fmla="*/ 47 h 210"/>
                <a:gd name="T16" fmla="*/ 11 w 159"/>
                <a:gd name="T17" fmla="*/ 63 h 210"/>
                <a:gd name="T18" fmla="*/ 25 w 159"/>
                <a:gd name="T19" fmla="*/ 70 h 210"/>
                <a:gd name="T20" fmla="*/ 42 w 159"/>
                <a:gd name="T21" fmla="*/ 70 h 210"/>
                <a:gd name="T22" fmla="*/ 23 w 159"/>
                <a:gd name="T23" fmla="*/ 80 h 210"/>
                <a:gd name="T24" fmla="*/ 10 w 159"/>
                <a:gd name="T25" fmla="*/ 88 h 210"/>
                <a:gd name="T26" fmla="*/ 25 w 159"/>
                <a:gd name="T27" fmla="*/ 96 h 210"/>
                <a:gd name="T28" fmla="*/ 39 w 159"/>
                <a:gd name="T29" fmla="*/ 85 h 210"/>
                <a:gd name="T30" fmla="*/ 49 w 159"/>
                <a:gd name="T31" fmla="*/ 79 h 210"/>
                <a:gd name="T32" fmla="*/ 56 w 159"/>
                <a:gd name="T33" fmla="*/ 72 h 210"/>
                <a:gd name="T34" fmla="*/ 63 w 159"/>
                <a:gd name="T35" fmla="*/ 85 h 210"/>
                <a:gd name="T36" fmla="*/ 58 w 159"/>
                <a:gd name="T37" fmla="*/ 98 h 210"/>
                <a:gd name="T38" fmla="*/ 33 w 159"/>
                <a:gd name="T39" fmla="*/ 105 h 210"/>
                <a:gd name="T40" fmla="*/ 26 w 159"/>
                <a:gd name="T41" fmla="*/ 121 h 210"/>
                <a:gd name="T42" fmla="*/ 41 w 159"/>
                <a:gd name="T43" fmla="*/ 123 h 210"/>
                <a:gd name="T44" fmla="*/ 51 w 159"/>
                <a:gd name="T45" fmla="*/ 109 h 210"/>
                <a:gd name="T46" fmla="*/ 60 w 159"/>
                <a:gd name="T47" fmla="*/ 115 h 210"/>
                <a:gd name="T48" fmla="*/ 52 w 159"/>
                <a:gd name="T49" fmla="*/ 129 h 210"/>
                <a:gd name="T50" fmla="*/ 38 w 159"/>
                <a:gd name="T51" fmla="*/ 155 h 210"/>
                <a:gd name="T52" fmla="*/ 46 w 159"/>
                <a:gd name="T53" fmla="*/ 172 h 210"/>
                <a:gd name="T54" fmla="*/ 40 w 159"/>
                <a:gd name="T55" fmla="*/ 193 h 210"/>
                <a:gd name="T56" fmla="*/ 62 w 159"/>
                <a:gd name="T57" fmla="*/ 195 h 210"/>
                <a:gd name="T58" fmla="*/ 79 w 159"/>
                <a:gd name="T59" fmla="*/ 186 h 210"/>
                <a:gd name="T60" fmla="*/ 74 w 159"/>
                <a:gd name="T61" fmla="*/ 206 h 210"/>
                <a:gd name="T62" fmla="*/ 94 w 159"/>
                <a:gd name="T63" fmla="*/ 201 h 210"/>
                <a:gd name="T64" fmla="*/ 104 w 159"/>
                <a:gd name="T65" fmla="*/ 187 h 210"/>
                <a:gd name="T66" fmla="*/ 125 w 159"/>
                <a:gd name="T67" fmla="*/ 171 h 210"/>
                <a:gd name="T68" fmla="*/ 129 w 159"/>
                <a:gd name="T69" fmla="*/ 139 h 210"/>
                <a:gd name="T70" fmla="*/ 139 w 159"/>
                <a:gd name="T71" fmla="*/ 117 h 210"/>
                <a:gd name="T72" fmla="*/ 149 w 159"/>
                <a:gd name="T73" fmla="*/ 92 h 210"/>
                <a:gd name="T74" fmla="*/ 154 w 159"/>
                <a:gd name="T75" fmla="*/ 67 h 210"/>
                <a:gd name="T76" fmla="*/ 145 w 159"/>
                <a:gd name="T77" fmla="*/ 51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59" h="210">
                  <a:moveTo>
                    <a:pt x="145" y="51"/>
                  </a:moveTo>
                  <a:cubicBezTo>
                    <a:pt x="135" y="52"/>
                    <a:pt x="138" y="46"/>
                    <a:pt x="135" y="35"/>
                  </a:cubicBezTo>
                  <a:cubicBezTo>
                    <a:pt x="132" y="24"/>
                    <a:pt x="136" y="19"/>
                    <a:pt x="122" y="20"/>
                  </a:cubicBezTo>
                  <a:cubicBezTo>
                    <a:pt x="108" y="21"/>
                    <a:pt x="124" y="30"/>
                    <a:pt x="105" y="25"/>
                  </a:cubicBezTo>
                  <a:cubicBezTo>
                    <a:pt x="86" y="21"/>
                    <a:pt x="95" y="15"/>
                    <a:pt x="90" y="9"/>
                  </a:cubicBezTo>
                  <a:cubicBezTo>
                    <a:pt x="85" y="4"/>
                    <a:pt x="60" y="0"/>
                    <a:pt x="53" y="15"/>
                  </a:cubicBezTo>
                  <a:cubicBezTo>
                    <a:pt x="53" y="15"/>
                    <a:pt x="47" y="26"/>
                    <a:pt x="33" y="31"/>
                  </a:cubicBezTo>
                  <a:cubicBezTo>
                    <a:pt x="19" y="35"/>
                    <a:pt x="9" y="39"/>
                    <a:pt x="8" y="47"/>
                  </a:cubicBezTo>
                  <a:cubicBezTo>
                    <a:pt x="7" y="54"/>
                    <a:pt x="0" y="61"/>
                    <a:pt x="11" y="63"/>
                  </a:cubicBezTo>
                  <a:cubicBezTo>
                    <a:pt x="22" y="65"/>
                    <a:pt x="19" y="77"/>
                    <a:pt x="25" y="70"/>
                  </a:cubicBezTo>
                  <a:cubicBezTo>
                    <a:pt x="30" y="64"/>
                    <a:pt x="43" y="64"/>
                    <a:pt x="42" y="70"/>
                  </a:cubicBezTo>
                  <a:cubicBezTo>
                    <a:pt x="41" y="77"/>
                    <a:pt x="30" y="80"/>
                    <a:pt x="23" y="80"/>
                  </a:cubicBezTo>
                  <a:cubicBezTo>
                    <a:pt x="15" y="80"/>
                    <a:pt x="8" y="83"/>
                    <a:pt x="10" y="88"/>
                  </a:cubicBezTo>
                  <a:cubicBezTo>
                    <a:pt x="12" y="94"/>
                    <a:pt x="19" y="102"/>
                    <a:pt x="25" y="96"/>
                  </a:cubicBezTo>
                  <a:cubicBezTo>
                    <a:pt x="30" y="90"/>
                    <a:pt x="30" y="85"/>
                    <a:pt x="39" y="85"/>
                  </a:cubicBezTo>
                  <a:cubicBezTo>
                    <a:pt x="47" y="85"/>
                    <a:pt x="51" y="86"/>
                    <a:pt x="49" y="79"/>
                  </a:cubicBezTo>
                  <a:cubicBezTo>
                    <a:pt x="48" y="71"/>
                    <a:pt x="53" y="70"/>
                    <a:pt x="56" y="72"/>
                  </a:cubicBezTo>
                  <a:cubicBezTo>
                    <a:pt x="59" y="75"/>
                    <a:pt x="63" y="80"/>
                    <a:pt x="63" y="85"/>
                  </a:cubicBezTo>
                  <a:cubicBezTo>
                    <a:pt x="63" y="91"/>
                    <a:pt x="69" y="96"/>
                    <a:pt x="58" y="98"/>
                  </a:cubicBezTo>
                  <a:cubicBezTo>
                    <a:pt x="47" y="100"/>
                    <a:pt x="39" y="102"/>
                    <a:pt x="33" y="105"/>
                  </a:cubicBezTo>
                  <a:cubicBezTo>
                    <a:pt x="28" y="107"/>
                    <a:pt x="26" y="114"/>
                    <a:pt x="26" y="121"/>
                  </a:cubicBezTo>
                  <a:cubicBezTo>
                    <a:pt x="26" y="127"/>
                    <a:pt x="39" y="134"/>
                    <a:pt x="41" y="123"/>
                  </a:cubicBezTo>
                  <a:cubicBezTo>
                    <a:pt x="43" y="111"/>
                    <a:pt x="42" y="111"/>
                    <a:pt x="51" y="109"/>
                  </a:cubicBezTo>
                  <a:cubicBezTo>
                    <a:pt x="59" y="107"/>
                    <a:pt x="62" y="112"/>
                    <a:pt x="60" y="115"/>
                  </a:cubicBezTo>
                  <a:cubicBezTo>
                    <a:pt x="58" y="118"/>
                    <a:pt x="61" y="123"/>
                    <a:pt x="52" y="129"/>
                  </a:cubicBezTo>
                  <a:cubicBezTo>
                    <a:pt x="42" y="136"/>
                    <a:pt x="37" y="149"/>
                    <a:pt x="38" y="155"/>
                  </a:cubicBezTo>
                  <a:cubicBezTo>
                    <a:pt x="39" y="160"/>
                    <a:pt x="43" y="159"/>
                    <a:pt x="46" y="172"/>
                  </a:cubicBezTo>
                  <a:cubicBezTo>
                    <a:pt x="49" y="185"/>
                    <a:pt x="30" y="193"/>
                    <a:pt x="40" y="193"/>
                  </a:cubicBezTo>
                  <a:cubicBezTo>
                    <a:pt x="49" y="193"/>
                    <a:pt x="58" y="202"/>
                    <a:pt x="62" y="195"/>
                  </a:cubicBezTo>
                  <a:cubicBezTo>
                    <a:pt x="67" y="189"/>
                    <a:pt x="76" y="180"/>
                    <a:pt x="79" y="186"/>
                  </a:cubicBezTo>
                  <a:cubicBezTo>
                    <a:pt x="83" y="191"/>
                    <a:pt x="65" y="204"/>
                    <a:pt x="74" y="206"/>
                  </a:cubicBezTo>
                  <a:cubicBezTo>
                    <a:pt x="83" y="208"/>
                    <a:pt x="94" y="210"/>
                    <a:pt x="94" y="201"/>
                  </a:cubicBezTo>
                  <a:cubicBezTo>
                    <a:pt x="94" y="191"/>
                    <a:pt x="98" y="187"/>
                    <a:pt x="104" y="187"/>
                  </a:cubicBezTo>
                  <a:cubicBezTo>
                    <a:pt x="110" y="187"/>
                    <a:pt x="126" y="191"/>
                    <a:pt x="125" y="171"/>
                  </a:cubicBezTo>
                  <a:cubicBezTo>
                    <a:pt x="124" y="151"/>
                    <a:pt x="134" y="152"/>
                    <a:pt x="129" y="139"/>
                  </a:cubicBezTo>
                  <a:cubicBezTo>
                    <a:pt x="123" y="126"/>
                    <a:pt x="139" y="133"/>
                    <a:pt x="139" y="117"/>
                  </a:cubicBezTo>
                  <a:cubicBezTo>
                    <a:pt x="139" y="101"/>
                    <a:pt x="139" y="98"/>
                    <a:pt x="149" y="92"/>
                  </a:cubicBezTo>
                  <a:cubicBezTo>
                    <a:pt x="159" y="85"/>
                    <a:pt x="153" y="81"/>
                    <a:pt x="154" y="67"/>
                  </a:cubicBezTo>
                  <a:cubicBezTo>
                    <a:pt x="155" y="53"/>
                    <a:pt x="154" y="50"/>
                    <a:pt x="145" y="51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214" name="Freeform 25299"/>
            <p:cNvSpPr>
              <a:spLocks/>
            </p:cNvSpPr>
            <p:nvPr/>
          </p:nvSpPr>
          <p:spPr bwMode="auto">
            <a:xfrm>
              <a:off x="7335831" y="3010430"/>
              <a:ext cx="14836" cy="19729"/>
            </a:xfrm>
            <a:custGeom>
              <a:avLst/>
              <a:gdLst>
                <a:gd name="T0" fmla="*/ 16 w 40"/>
                <a:gd name="T1" fmla="*/ 28 h 53"/>
                <a:gd name="T2" fmla="*/ 3 w 40"/>
                <a:gd name="T3" fmla="*/ 46 h 53"/>
                <a:gd name="T4" fmla="*/ 14 w 40"/>
                <a:gd name="T5" fmla="*/ 40 h 53"/>
                <a:gd name="T6" fmla="*/ 38 w 40"/>
                <a:gd name="T7" fmla="*/ 13 h 53"/>
                <a:gd name="T8" fmla="*/ 28 w 40"/>
                <a:gd name="T9" fmla="*/ 9 h 53"/>
                <a:gd name="T10" fmla="*/ 16 w 40"/>
                <a:gd name="T11" fmla="*/ 28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0" h="53">
                  <a:moveTo>
                    <a:pt x="16" y="28"/>
                  </a:moveTo>
                  <a:cubicBezTo>
                    <a:pt x="0" y="35"/>
                    <a:pt x="0" y="40"/>
                    <a:pt x="3" y="46"/>
                  </a:cubicBezTo>
                  <a:cubicBezTo>
                    <a:pt x="7" y="53"/>
                    <a:pt x="1" y="42"/>
                    <a:pt x="14" y="40"/>
                  </a:cubicBezTo>
                  <a:cubicBezTo>
                    <a:pt x="27" y="38"/>
                    <a:pt x="40" y="26"/>
                    <a:pt x="38" y="13"/>
                  </a:cubicBezTo>
                  <a:cubicBezTo>
                    <a:pt x="35" y="0"/>
                    <a:pt x="31" y="0"/>
                    <a:pt x="28" y="9"/>
                  </a:cubicBezTo>
                  <a:cubicBezTo>
                    <a:pt x="28" y="9"/>
                    <a:pt x="32" y="22"/>
                    <a:pt x="16" y="28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215" name="Freeform 25300"/>
            <p:cNvSpPr>
              <a:spLocks/>
            </p:cNvSpPr>
            <p:nvPr/>
          </p:nvSpPr>
          <p:spPr bwMode="auto">
            <a:xfrm>
              <a:off x="7388074" y="3067407"/>
              <a:ext cx="10417" cy="18625"/>
            </a:xfrm>
            <a:custGeom>
              <a:avLst/>
              <a:gdLst>
                <a:gd name="T0" fmla="*/ 10 w 28"/>
                <a:gd name="T1" fmla="*/ 14 h 50"/>
                <a:gd name="T2" fmla="*/ 11 w 28"/>
                <a:gd name="T3" fmla="*/ 50 h 50"/>
                <a:gd name="T4" fmla="*/ 21 w 28"/>
                <a:gd name="T5" fmla="*/ 40 h 50"/>
                <a:gd name="T6" fmla="*/ 28 w 28"/>
                <a:gd name="T7" fmla="*/ 28 h 50"/>
                <a:gd name="T8" fmla="*/ 10 w 28"/>
                <a:gd name="T9" fmla="*/ 14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50">
                  <a:moveTo>
                    <a:pt x="10" y="14"/>
                  </a:moveTo>
                  <a:cubicBezTo>
                    <a:pt x="10" y="14"/>
                    <a:pt x="0" y="50"/>
                    <a:pt x="11" y="50"/>
                  </a:cubicBezTo>
                  <a:cubicBezTo>
                    <a:pt x="22" y="50"/>
                    <a:pt x="20" y="47"/>
                    <a:pt x="21" y="40"/>
                  </a:cubicBezTo>
                  <a:cubicBezTo>
                    <a:pt x="22" y="32"/>
                    <a:pt x="28" y="38"/>
                    <a:pt x="28" y="28"/>
                  </a:cubicBezTo>
                  <a:cubicBezTo>
                    <a:pt x="28" y="19"/>
                    <a:pt x="12" y="0"/>
                    <a:pt x="10" y="14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216" name="Freeform 25301"/>
            <p:cNvSpPr>
              <a:spLocks/>
            </p:cNvSpPr>
            <p:nvPr/>
          </p:nvSpPr>
          <p:spPr bwMode="auto">
            <a:xfrm>
              <a:off x="7379393" y="3080508"/>
              <a:ext cx="5998" cy="8997"/>
            </a:xfrm>
            <a:custGeom>
              <a:avLst/>
              <a:gdLst>
                <a:gd name="T0" fmla="*/ 1 w 16"/>
                <a:gd name="T1" fmla="*/ 9 h 24"/>
                <a:gd name="T2" fmla="*/ 4 w 16"/>
                <a:gd name="T3" fmla="*/ 23 h 24"/>
                <a:gd name="T4" fmla="*/ 16 w 16"/>
                <a:gd name="T5" fmla="*/ 17 h 24"/>
                <a:gd name="T6" fmla="*/ 1 w 16"/>
                <a:gd name="T7" fmla="*/ 9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24">
                  <a:moveTo>
                    <a:pt x="1" y="9"/>
                  </a:moveTo>
                  <a:cubicBezTo>
                    <a:pt x="1" y="9"/>
                    <a:pt x="0" y="22"/>
                    <a:pt x="4" y="23"/>
                  </a:cubicBezTo>
                  <a:cubicBezTo>
                    <a:pt x="8" y="24"/>
                    <a:pt x="16" y="24"/>
                    <a:pt x="16" y="17"/>
                  </a:cubicBezTo>
                  <a:cubicBezTo>
                    <a:pt x="16" y="9"/>
                    <a:pt x="3" y="0"/>
                    <a:pt x="1" y="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217" name="Freeform 25302"/>
            <p:cNvSpPr>
              <a:spLocks/>
            </p:cNvSpPr>
            <p:nvPr/>
          </p:nvSpPr>
          <p:spPr bwMode="auto">
            <a:xfrm>
              <a:off x="7348931" y="3132751"/>
              <a:ext cx="17520" cy="11206"/>
            </a:xfrm>
            <a:custGeom>
              <a:avLst/>
              <a:gdLst>
                <a:gd name="T0" fmla="*/ 1 w 47"/>
                <a:gd name="T1" fmla="*/ 21 h 30"/>
                <a:gd name="T2" fmla="*/ 16 w 47"/>
                <a:gd name="T3" fmla="*/ 28 h 30"/>
                <a:gd name="T4" fmla="*/ 31 w 47"/>
                <a:gd name="T5" fmla="*/ 17 h 30"/>
                <a:gd name="T6" fmla="*/ 40 w 47"/>
                <a:gd name="T7" fmla="*/ 0 h 30"/>
                <a:gd name="T8" fmla="*/ 21 w 47"/>
                <a:gd name="T9" fmla="*/ 11 h 30"/>
                <a:gd name="T10" fmla="*/ 1 w 47"/>
                <a:gd name="T11" fmla="*/ 21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" h="30">
                  <a:moveTo>
                    <a:pt x="1" y="21"/>
                  </a:moveTo>
                  <a:cubicBezTo>
                    <a:pt x="3" y="28"/>
                    <a:pt x="6" y="30"/>
                    <a:pt x="16" y="28"/>
                  </a:cubicBezTo>
                  <a:cubicBezTo>
                    <a:pt x="27" y="25"/>
                    <a:pt x="28" y="22"/>
                    <a:pt x="31" y="17"/>
                  </a:cubicBezTo>
                  <a:cubicBezTo>
                    <a:pt x="35" y="12"/>
                    <a:pt x="47" y="0"/>
                    <a:pt x="40" y="0"/>
                  </a:cubicBezTo>
                  <a:cubicBezTo>
                    <a:pt x="33" y="0"/>
                    <a:pt x="36" y="4"/>
                    <a:pt x="21" y="11"/>
                  </a:cubicBezTo>
                  <a:cubicBezTo>
                    <a:pt x="21" y="11"/>
                    <a:pt x="0" y="15"/>
                    <a:pt x="1" y="21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218" name="Freeform 25303"/>
            <p:cNvSpPr>
              <a:spLocks/>
            </p:cNvSpPr>
            <p:nvPr/>
          </p:nvSpPr>
          <p:spPr bwMode="auto">
            <a:xfrm>
              <a:off x="7310104" y="3173788"/>
              <a:ext cx="20834" cy="22728"/>
            </a:xfrm>
            <a:custGeom>
              <a:avLst/>
              <a:gdLst>
                <a:gd name="T0" fmla="*/ 34 w 56"/>
                <a:gd name="T1" fmla="*/ 14 h 61"/>
                <a:gd name="T2" fmla="*/ 21 w 56"/>
                <a:gd name="T3" fmla="*/ 32 h 61"/>
                <a:gd name="T4" fmla="*/ 10 w 56"/>
                <a:gd name="T5" fmla="*/ 55 h 61"/>
                <a:gd name="T6" fmla="*/ 25 w 56"/>
                <a:gd name="T7" fmla="*/ 44 h 61"/>
                <a:gd name="T8" fmla="*/ 41 w 56"/>
                <a:gd name="T9" fmla="*/ 29 h 61"/>
                <a:gd name="T10" fmla="*/ 56 w 56"/>
                <a:gd name="T11" fmla="*/ 16 h 61"/>
                <a:gd name="T12" fmla="*/ 34 w 56"/>
                <a:gd name="T13" fmla="*/ 14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6" h="61">
                  <a:moveTo>
                    <a:pt x="34" y="14"/>
                  </a:moveTo>
                  <a:cubicBezTo>
                    <a:pt x="34" y="14"/>
                    <a:pt x="21" y="21"/>
                    <a:pt x="21" y="32"/>
                  </a:cubicBezTo>
                  <a:cubicBezTo>
                    <a:pt x="21" y="43"/>
                    <a:pt x="0" y="48"/>
                    <a:pt x="10" y="55"/>
                  </a:cubicBezTo>
                  <a:cubicBezTo>
                    <a:pt x="21" y="61"/>
                    <a:pt x="19" y="52"/>
                    <a:pt x="25" y="44"/>
                  </a:cubicBezTo>
                  <a:cubicBezTo>
                    <a:pt x="32" y="35"/>
                    <a:pt x="29" y="31"/>
                    <a:pt x="41" y="29"/>
                  </a:cubicBezTo>
                  <a:cubicBezTo>
                    <a:pt x="53" y="27"/>
                    <a:pt x="56" y="21"/>
                    <a:pt x="56" y="16"/>
                  </a:cubicBezTo>
                  <a:cubicBezTo>
                    <a:pt x="56" y="11"/>
                    <a:pt x="42" y="0"/>
                    <a:pt x="34" y="14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219" name="Freeform 25304"/>
            <p:cNvSpPr>
              <a:spLocks/>
            </p:cNvSpPr>
            <p:nvPr/>
          </p:nvSpPr>
          <p:spPr bwMode="auto">
            <a:xfrm>
              <a:off x="5519477" y="3222243"/>
              <a:ext cx="190506" cy="209604"/>
            </a:xfrm>
            <a:custGeom>
              <a:avLst/>
              <a:gdLst>
                <a:gd name="T0" fmla="*/ 211 w 511"/>
                <a:gd name="T1" fmla="*/ 137 h 562"/>
                <a:gd name="T2" fmla="*/ 210 w 511"/>
                <a:gd name="T3" fmla="*/ 141 h 562"/>
                <a:gd name="T4" fmla="*/ 209 w 511"/>
                <a:gd name="T5" fmla="*/ 142 h 562"/>
                <a:gd name="T6" fmla="*/ 209 w 511"/>
                <a:gd name="T7" fmla="*/ 145 h 562"/>
                <a:gd name="T8" fmla="*/ 208 w 511"/>
                <a:gd name="T9" fmla="*/ 146 h 562"/>
                <a:gd name="T10" fmla="*/ 208 w 511"/>
                <a:gd name="T11" fmla="*/ 149 h 562"/>
                <a:gd name="T12" fmla="*/ 208 w 511"/>
                <a:gd name="T13" fmla="*/ 150 h 562"/>
                <a:gd name="T14" fmla="*/ 207 w 511"/>
                <a:gd name="T15" fmla="*/ 152 h 562"/>
                <a:gd name="T16" fmla="*/ 207 w 511"/>
                <a:gd name="T17" fmla="*/ 153 h 562"/>
                <a:gd name="T18" fmla="*/ 207 w 511"/>
                <a:gd name="T19" fmla="*/ 155 h 562"/>
                <a:gd name="T20" fmla="*/ 207 w 511"/>
                <a:gd name="T21" fmla="*/ 156 h 562"/>
                <a:gd name="T22" fmla="*/ 207 w 511"/>
                <a:gd name="T23" fmla="*/ 158 h 562"/>
                <a:gd name="T24" fmla="*/ 207 w 511"/>
                <a:gd name="T25" fmla="*/ 159 h 562"/>
                <a:gd name="T26" fmla="*/ 207 w 511"/>
                <a:gd name="T27" fmla="*/ 161 h 562"/>
                <a:gd name="T28" fmla="*/ 207 w 511"/>
                <a:gd name="T29" fmla="*/ 161 h 562"/>
                <a:gd name="T30" fmla="*/ 207 w 511"/>
                <a:gd name="T31" fmla="*/ 164 h 562"/>
                <a:gd name="T32" fmla="*/ 207 w 511"/>
                <a:gd name="T33" fmla="*/ 164 h 562"/>
                <a:gd name="T34" fmla="*/ 208 w 511"/>
                <a:gd name="T35" fmla="*/ 167 h 562"/>
                <a:gd name="T36" fmla="*/ 208 w 511"/>
                <a:gd name="T37" fmla="*/ 167 h 562"/>
                <a:gd name="T38" fmla="*/ 208 w 511"/>
                <a:gd name="T39" fmla="*/ 170 h 562"/>
                <a:gd name="T40" fmla="*/ 208 w 511"/>
                <a:gd name="T41" fmla="*/ 170 h 562"/>
                <a:gd name="T42" fmla="*/ 209 w 511"/>
                <a:gd name="T43" fmla="*/ 173 h 562"/>
                <a:gd name="T44" fmla="*/ 210 w 511"/>
                <a:gd name="T45" fmla="*/ 175 h 562"/>
                <a:gd name="T46" fmla="*/ 232 w 511"/>
                <a:gd name="T47" fmla="*/ 207 h 562"/>
                <a:gd name="T48" fmla="*/ 223 w 511"/>
                <a:gd name="T49" fmla="*/ 243 h 562"/>
                <a:gd name="T50" fmla="*/ 209 w 511"/>
                <a:gd name="T51" fmla="*/ 287 h 562"/>
                <a:gd name="T52" fmla="*/ 194 w 511"/>
                <a:gd name="T53" fmla="*/ 330 h 562"/>
                <a:gd name="T54" fmla="*/ 104 w 511"/>
                <a:gd name="T55" fmla="*/ 373 h 562"/>
                <a:gd name="T56" fmla="*/ 0 w 511"/>
                <a:gd name="T57" fmla="*/ 411 h 562"/>
                <a:gd name="T58" fmla="*/ 71 w 511"/>
                <a:gd name="T59" fmla="*/ 562 h 562"/>
                <a:gd name="T60" fmla="*/ 91 w 511"/>
                <a:gd name="T61" fmla="*/ 555 h 562"/>
                <a:gd name="T62" fmla="*/ 133 w 511"/>
                <a:gd name="T63" fmla="*/ 537 h 562"/>
                <a:gd name="T64" fmla="*/ 180 w 511"/>
                <a:gd name="T65" fmla="*/ 543 h 562"/>
                <a:gd name="T66" fmla="*/ 210 w 511"/>
                <a:gd name="T67" fmla="*/ 506 h 562"/>
                <a:gd name="T68" fmla="*/ 250 w 511"/>
                <a:gd name="T69" fmla="*/ 480 h 562"/>
                <a:gd name="T70" fmla="*/ 287 w 511"/>
                <a:gd name="T71" fmla="*/ 451 h 562"/>
                <a:gd name="T72" fmla="*/ 315 w 511"/>
                <a:gd name="T73" fmla="*/ 418 h 562"/>
                <a:gd name="T74" fmla="*/ 369 w 511"/>
                <a:gd name="T75" fmla="*/ 410 h 562"/>
                <a:gd name="T76" fmla="*/ 366 w 511"/>
                <a:gd name="T77" fmla="*/ 368 h 562"/>
                <a:gd name="T78" fmla="*/ 369 w 511"/>
                <a:gd name="T79" fmla="*/ 342 h 562"/>
                <a:gd name="T80" fmla="*/ 401 w 511"/>
                <a:gd name="T81" fmla="*/ 324 h 562"/>
                <a:gd name="T82" fmla="*/ 425 w 511"/>
                <a:gd name="T83" fmla="*/ 297 h 562"/>
                <a:gd name="T84" fmla="*/ 451 w 511"/>
                <a:gd name="T85" fmla="*/ 266 h 562"/>
                <a:gd name="T86" fmla="*/ 482 w 511"/>
                <a:gd name="T87" fmla="*/ 218 h 562"/>
                <a:gd name="T88" fmla="*/ 500 w 511"/>
                <a:gd name="T89" fmla="*/ 175 h 562"/>
                <a:gd name="T90" fmla="*/ 452 w 511"/>
                <a:gd name="T91" fmla="*/ 125 h 562"/>
                <a:gd name="T92" fmla="*/ 391 w 511"/>
                <a:gd name="T93" fmla="*/ 96 h 562"/>
                <a:gd name="T94" fmla="*/ 340 w 511"/>
                <a:gd name="T95" fmla="*/ 80 h 562"/>
                <a:gd name="T96" fmla="*/ 293 w 511"/>
                <a:gd name="T97" fmla="*/ 56 h 562"/>
                <a:gd name="T98" fmla="*/ 286 w 511"/>
                <a:gd name="T99" fmla="*/ 11 h 562"/>
                <a:gd name="T100" fmla="*/ 282 w 511"/>
                <a:gd name="T101" fmla="*/ 0 h 562"/>
                <a:gd name="T102" fmla="*/ 270 w 511"/>
                <a:gd name="T103" fmla="*/ 9 h 562"/>
                <a:gd name="T104" fmla="*/ 211 w 511"/>
                <a:gd name="T105" fmla="*/ 137 h 5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11" h="562">
                  <a:moveTo>
                    <a:pt x="211" y="137"/>
                  </a:moveTo>
                  <a:cubicBezTo>
                    <a:pt x="211" y="138"/>
                    <a:pt x="210" y="140"/>
                    <a:pt x="210" y="141"/>
                  </a:cubicBezTo>
                  <a:cubicBezTo>
                    <a:pt x="210" y="141"/>
                    <a:pt x="209" y="142"/>
                    <a:pt x="209" y="142"/>
                  </a:cubicBezTo>
                  <a:cubicBezTo>
                    <a:pt x="209" y="143"/>
                    <a:pt x="209" y="144"/>
                    <a:pt x="209" y="145"/>
                  </a:cubicBezTo>
                  <a:cubicBezTo>
                    <a:pt x="209" y="145"/>
                    <a:pt x="208" y="146"/>
                    <a:pt x="208" y="146"/>
                  </a:cubicBezTo>
                  <a:cubicBezTo>
                    <a:pt x="208" y="147"/>
                    <a:pt x="208" y="148"/>
                    <a:pt x="208" y="149"/>
                  </a:cubicBezTo>
                  <a:cubicBezTo>
                    <a:pt x="208" y="149"/>
                    <a:pt x="208" y="149"/>
                    <a:pt x="208" y="150"/>
                  </a:cubicBezTo>
                  <a:cubicBezTo>
                    <a:pt x="207" y="151"/>
                    <a:pt x="207" y="151"/>
                    <a:pt x="207" y="152"/>
                  </a:cubicBezTo>
                  <a:cubicBezTo>
                    <a:pt x="207" y="152"/>
                    <a:pt x="207" y="153"/>
                    <a:pt x="207" y="153"/>
                  </a:cubicBezTo>
                  <a:cubicBezTo>
                    <a:pt x="207" y="154"/>
                    <a:pt x="207" y="154"/>
                    <a:pt x="207" y="155"/>
                  </a:cubicBezTo>
                  <a:cubicBezTo>
                    <a:pt x="207" y="155"/>
                    <a:pt x="207" y="156"/>
                    <a:pt x="207" y="156"/>
                  </a:cubicBezTo>
                  <a:cubicBezTo>
                    <a:pt x="207" y="157"/>
                    <a:pt x="207" y="157"/>
                    <a:pt x="207" y="158"/>
                  </a:cubicBezTo>
                  <a:cubicBezTo>
                    <a:pt x="207" y="158"/>
                    <a:pt x="207" y="159"/>
                    <a:pt x="207" y="159"/>
                  </a:cubicBezTo>
                  <a:cubicBezTo>
                    <a:pt x="207" y="160"/>
                    <a:pt x="207" y="161"/>
                    <a:pt x="207" y="161"/>
                  </a:cubicBezTo>
                  <a:cubicBezTo>
                    <a:pt x="207" y="161"/>
                    <a:pt x="207" y="161"/>
                    <a:pt x="207" y="161"/>
                  </a:cubicBezTo>
                  <a:cubicBezTo>
                    <a:pt x="207" y="162"/>
                    <a:pt x="207" y="163"/>
                    <a:pt x="207" y="164"/>
                  </a:cubicBezTo>
                  <a:cubicBezTo>
                    <a:pt x="207" y="164"/>
                    <a:pt x="207" y="164"/>
                    <a:pt x="207" y="164"/>
                  </a:cubicBezTo>
                  <a:cubicBezTo>
                    <a:pt x="207" y="165"/>
                    <a:pt x="207" y="166"/>
                    <a:pt x="208" y="167"/>
                  </a:cubicBezTo>
                  <a:cubicBezTo>
                    <a:pt x="208" y="167"/>
                    <a:pt x="208" y="167"/>
                    <a:pt x="208" y="167"/>
                  </a:cubicBezTo>
                  <a:cubicBezTo>
                    <a:pt x="208" y="168"/>
                    <a:pt x="208" y="169"/>
                    <a:pt x="208" y="170"/>
                  </a:cubicBezTo>
                  <a:cubicBezTo>
                    <a:pt x="208" y="170"/>
                    <a:pt x="208" y="170"/>
                    <a:pt x="208" y="170"/>
                  </a:cubicBezTo>
                  <a:cubicBezTo>
                    <a:pt x="209" y="171"/>
                    <a:pt x="209" y="172"/>
                    <a:pt x="209" y="173"/>
                  </a:cubicBezTo>
                  <a:cubicBezTo>
                    <a:pt x="209" y="174"/>
                    <a:pt x="209" y="175"/>
                    <a:pt x="210" y="175"/>
                  </a:cubicBezTo>
                  <a:cubicBezTo>
                    <a:pt x="212" y="183"/>
                    <a:pt x="230" y="199"/>
                    <a:pt x="232" y="207"/>
                  </a:cubicBezTo>
                  <a:cubicBezTo>
                    <a:pt x="234" y="216"/>
                    <a:pt x="232" y="236"/>
                    <a:pt x="223" y="243"/>
                  </a:cubicBezTo>
                  <a:cubicBezTo>
                    <a:pt x="214" y="249"/>
                    <a:pt x="215" y="280"/>
                    <a:pt x="209" y="287"/>
                  </a:cubicBezTo>
                  <a:cubicBezTo>
                    <a:pt x="203" y="293"/>
                    <a:pt x="200" y="311"/>
                    <a:pt x="194" y="330"/>
                  </a:cubicBezTo>
                  <a:cubicBezTo>
                    <a:pt x="189" y="349"/>
                    <a:pt x="118" y="369"/>
                    <a:pt x="104" y="373"/>
                  </a:cubicBezTo>
                  <a:cubicBezTo>
                    <a:pt x="89" y="376"/>
                    <a:pt x="0" y="411"/>
                    <a:pt x="0" y="411"/>
                  </a:cubicBezTo>
                  <a:cubicBezTo>
                    <a:pt x="71" y="562"/>
                    <a:pt x="71" y="562"/>
                    <a:pt x="71" y="562"/>
                  </a:cubicBezTo>
                  <a:cubicBezTo>
                    <a:pt x="78" y="560"/>
                    <a:pt x="84" y="559"/>
                    <a:pt x="91" y="555"/>
                  </a:cubicBezTo>
                  <a:cubicBezTo>
                    <a:pt x="105" y="546"/>
                    <a:pt x="120" y="552"/>
                    <a:pt x="133" y="537"/>
                  </a:cubicBezTo>
                  <a:cubicBezTo>
                    <a:pt x="146" y="523"/>
                    <a:pt x="163" y="540"/>
                    <a:pt x="180" y="543"/>
                  </a:cubicBezTo>
                  <a:cubicBezTo>
                    <a:pt x="197" y="546"/>
                    <a:pt x="209" y="526"/>
                    <a:pt x="210" y="506"/>
                  </a:cubicBezTo>
                  <a:cubicBezTo>
                    <a:pt x="211" y="486"/>
                    <a:pt x="227" y="480"/>
                    <a:pt x="250" y="480"/>
                  </a:cubicBezTo>
                  <a:cubicBezTo>
                    <a:pt x="273" y="480"/>
                    <a:pt x="286" y="467"/>
                    <a:pt x="287" y="451"/>
                  </a:cubicBezTo>
                  <a:cubicBezTo>
                    <a:pt x="289" y="436"/>
                    <a:pt x="308" y="434"/>
                    <a:pt x="315" y="418"/>
                  </a:cubicBezTo>
                  <a:cubicBezTo>
                    <a:pt x="322" y="403"/>
                    <a:pt x="348" y="411"/>
                    <a:pt x="369" y="410"/>
                  </a:cubicBezTo>
                  <a:cubicBezTo>
                    <a:pt x="391" y="408"/>
                    <a:pt x="378" y="381"/>
                    <a:pt x="366" y="368"/>
                  </a:cubicBezTo>
                  <a:cubicBezTo>
                    <a:pt x="355" y="355"/>
                    <a:pt x="372" y="354"/>
                    <a:pt x="369" y="342"/>
                  </a:cubicBezTo>
                  <a:cubicBezTo>
                    <a:pt x="366" y="331"/>
                    <a:pt x="378" y="324"/>
                    <a:pt x="401" y="324"/>
                  </a:cubicBezTo>
                  <a:cubicBezTo>
                    <a:pt x="424" y="324"/>
                    <a:pt x="424" y="315"/>
                    <a:pt x="425" y="297"/>
                  </a:cubicBezTo>
                  <a:cubicBezTo>
                    <a:pt x="426" y="278"/>
                    <a:pt x="437" y="281"/>
                    <a:pt x="451" y="266"/>
                  </a:cubicBezTo>
                  <a:cubicBezTo>
                    <a:pt x="465" y="252"/>
                    <a:pt x="475" y="236"/>
                    <a:pt x="482" y="218"/>
                  </a:cubicBezTo>
                  <a:cubicBezTo>
                    <a:pt x="490" y="199"/>
                    <a:pt x="511" y="182"/>
                    <a:pt x="500" y="175"/>
                  </a:cubicBezTo>
                  <a:cubicBezTo>
                    <a:pt x="488" y="167"/>
                    <a:pt x="471" y="159"/>
                    <a:pt x="452" y="125"/>
                  </a:cubicBezTo>
                  <a:cubicBezTo>
                    <a:pt x="434" y="90"/>
                    <a:pt x="409" y="96"/>
                    <a:pt x="391" y="96"/>
                  </a:cubicBezTo>
                  <a:cubicBezTo>
                    <a:pt x="372" y="96"/>
                    <a:pt x="351" y="92"/>
                    <a:pt x="340" y="80"/>
                  </a:cubicBezTo>
                  <a:cubicBezTo>
                    <a:pt x="330" y="69"/>
                    <a:pt x="313" y="66"/>
                    <a:pt x="293" y="56"/>
                  </a:cubicBezTo>
                  <a:cubicBezTo>
                    <a:pt x="273" y="46"/>
                    <a:pt x="297" y="28"/>
                    <a:pt x="286" y="11"/>
                  </a:cubicBezTo>
                  <a:cubicBezTo>
                    <a:pt x="284" y="8"/>
                    <a:pt x="283" y="4"/>
                    <a:pt x="282" y="0"/>
                  </a:cubicBezTo>
                  <a:cubicBezTo>
                    <a:pt x="274" y="5"/>
                    <a:pt x="270" y="9"/>
                    <a:pt x="270" y="9"/>
                  </a:cubicBezTo>
                  <a:cubicBezTo>
                    <a:pt x="270" y="9"/>
                    <a:pt x="218" y="115"/>
                    <a:pt x="211" y="137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220" name="Freeform 25305"/>
            <p:cNvSpPr>
              <a:spLocks/>
            </p:cNvSpPr>
            <p:nvPr/>
          </p:nvSpPr>
          <p:spPr bwMode="auto">
            <a:xfrm>
              <a:off x="5613862" y="3184205"/>
              <a:ext cx="11206" cy="27148"/>
            </a:xfrm>
            <a:custGeom>
              <a:avLst/>
              <a:gdLst>
                <a:gd name="T0" fmla="*/ 28 w 30"/>
                <a:gd name="T1" fmla="*/ 64 h 73"/>
                <a:gd name="T2" fmla="*/ 29 w 30"/>
                <a:gd name="T3" fmla="*/ 27 h 73"/>
                <a:gd name="T4" fmla="*/ 1 w 30"/>
                <a:gd name="T5" fmla="*/ 30 h 73"/>
                <a:gd name="T6" fmla="*/ 0 w 30"/>
                <a:gd name="T7" fmla="*/ 36 h 73"/>
                <a:gd name="T8" fmla="*/ 9 w 30"/>
                <a:gd name="T9" fmla="*/ 51 h 73"/>
                <a:gd name="T10" fmla="*/ 28 w 30"/>
                <a:gd name="T11" fmla="*/ 64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73">
                  <a:moveTo>
                    <a:pt x="28" y="64"/>
                  </a:moveTo>
                  <a:cubicBezTo>
                    <a:pt x="29" y="51"/>
                    <a:pt x="30" y="38"/>
                    <a:pt x="29" y="27"/>
                  </a:cubicBezTo>
                  <a:cubicBezTo>
                    <a:pt x="26" y="0"/>
                    <a:pt x="6" y="9"/>
                    <a:pt x="1" y="30"/>
                  </a:cubicBezTo>
                  <a:cubicBezTo>
                    <a:pt x="1" y="32"/>
                    <a:pt x="1" y="34"/>
                    <a:pt x="0" y="36"/>
                  </a:cubicBezTo>
                  <a:cubicBezTo>
                    <a:pt x="2" y="41"/>
                    <a:pt x="5" y="46"/>
                    <a:pt x="9" y="51"/>
                  </a:cubicBezTo>
                  <a:cubicBezTo>
                    <a:pt x="19" y="61"/>
                    <a:pt x="17" y="73"/>
                    <a:pt x="28" y="64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221" name="Freeform 25306"/>
            <p:cNvSpPr>
              <a:spLocks/>
            </p:cNvSpPr>
            <p:nvPr/>
          </p:nvSpPr>
          <p:spPr bwMode="auto">
            <a:xfrm>
              <a:off x="5516479" y="3197621"/>
              <a:ext cx="108116" cy="85704"/>
            </a:xfrm>
            <a:custGeom>
              <a:avLst/>
              <a:gdLst>
                <a:gd name="T0" fmla="*/ 29 w 290"/>
                <a:gd name="T1" fmla="*/ 197 h 230"/>
                <a:gd name="T2" fmla="*/ 57 w 290"/>
                <a:gd name="T3" fmla="*/ 216 h 230"/>
                <a:gd name="T4" fmla="*/ 101 w 290"/>
                <a:gd name="T5" fmla="*/ 213 h 230"/>
                <a:gd name="T6" fmla="*/ 138 w 290"/>
                <a:gd name="T7" fmla="*/ 225 h 230"/>
                <a:gd name="T8" fmla="*/ 215 w 290"/>
                <a:gd name="T9" fmla="*/ 230 h 230"/>
                <a:gd name="T10" fmla="*/ 215 w 290"/>
                <a:gd name="T11" fmla="*/ 230 h 230"/>
                <a:gd name="T12" fmla="*/ 215 w 290"/>
                <a:gd name="T13" fmla="*/ 227 h 230"/>
                <a:gd name="T14" fmla="*/ 215 w 290"/>
                <a:gd name="T15" fmla="*/ 227 h 230"/>
                <a:gd name="T16" fmla="*/ 215 w 290"/>
                <a:gd name="T17" fmla="*/ 225 h 230"/>
                <a:gd name="T18" fmla="*/ 215 w 290"/>
                <a:gd name="T19" fmla="*/ 224 h 230"/>
                <a:gd name="T20" fmla="*/ 215 w 290"/>
                <a:gd name="T21" fmla="*/ 222 h 230"/>
                <a:gd name="T22" fmla="*/ 215 w 290"/>
                <a:gd name="T23" fmla="*/ 221 h 230"/>
                <a:gd name="T24" fmla="*/ 215 w 290"/>
                <a:gd name="T25" fmla="*/ 219 h 230"/>
                <a:gd name="T26" fmla="*/ 215 w 290"/>
                <a:gd name="T27" fmla="*/ 218 h 230"/>
                <a:gd name="T28" fmla="*/ 216 w 290"/>
                <a:gd name="T29" fmla="*/ 216 h 230"/>
                <a:gd name="T30" fmla="*/ 216 w 290"/>
                <a:gd name="T31" fmla="*/ 215 h 230"/>
                <a:gd name="T32" fmla="*/ 216 w 290"/>
                <a:gd name="T33" fmla="*/ 212 h 230"/>
                <a:gd name="T34" fmla="*/ 217 w 290"/>
                <a:gd name="T35" fmla="*/ 211 h 230"/>
                <a:gd name="T36" fmla="*/ 217 w 290"/>
                <a:gd name="T37" fmla="*/ 208 h 230"/>
                <a:gd name="T38" fmla="*/ 218 w 290"/>
                <a:gd name="T39" fmla="*/ 207 h 230"/>
                <a:gd name="T40" fmla="*/ 219 w 290"/>
                <a:gd name="T41" fmla="*/ 203 h 230"/>
                <a:gd name="T42" fmla="*/ 278 w 290"/>
                <a:gd name="T43" fmla="*/ 75 h 230"/>
                <a:gd name="T44" fmla="*/ 290 w 290"/>
                <a:gd name="T45" fmla="*/ 66 h 230"/>
                <a:gd name="T46" fmla="*/ 289 w 290"/>
                <a:gd name="T47" fmla="*/ 28 h 230"/>
                <a:gd name="T48" fmla="*/ 270 w 290"/>
                <a:gd name="T49" fmla="*/ 15 h 230"/>
                <a:gd name="T50" fmla="*/ 261 w 290"/>
                <a:gd name="T51" fmla="*/ 0 h 230"/>
                <a:gd name="T52" fmla="*/ 235 w 290"/>
                <a:gd name="T53" fmla="*/ 30 h 230"/>
                <a:gd name="T54" fmla="*/ 204 w 290"/>
                <a:gd name="T55" fmla="*/ 61 h 230"/>
                <a:gd name="T56" fmla="*/ 158 w 290"/>
                <a:gd name="T57" fmla="*/ 112 h 230"/>
                <a:gd name="T58" fmla="*/ 63 w 290"/>
                <a:gd name="T59" fmla="*/ 127 h 230"/>
                <a:gd name="T60" fmla="*/ 15 w 290"/>
                <a:gd name="T61" fmla="*/ 143 h 230"/>
                <a:gd name="T62" fmla="*/ 0 w 290"/>
                <a:gd name="T63" fmla="*/ 144 h 230"/>
                <a:gd name="T64" fmla="*/ 5 w 290"/>
                <a:gd name="T65" fmla="*/ 167 h 230"/>
                <a:gd name="T66" fmla="*/ 29 w 290"/>
                <a:gd name="T67" fmla="*/ 197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90" h="230">
                  <a:moveTo>
                    <a:pt x="29" y="197"/>
                  </a:moveTo>
                  <a:cubicBezTo>
                    <a:pt x="34" y="203"/>
                    <a:pt x="40" y="218"/>
                    <a:pt x="57" y="216"/>
                  </a:cubicBezTo>
                  <a:cubicBezTo>
                    <a:pt x="74" y="214"/>
                    <a:pt x="88" y="209"/>
                    <a:pt x="101" y="213"/>
                  </a:cubicBezTo>
                  <a:cubicBezTo>
                    <a:pt x="114" y="216"/>
                    <a:pt x="124" y="225"/>
                    <a:pt x="138" y="225"/>
                  </a:cubicBezTo>
                  <a:cubicBezTo>
                    <a:pt x="148" y="225"/>
                    <a:pt x="193" y="228"/>
                    <a:pt x="215" y="230"/>
                  </a:cubicBezTo>
                  <a:cubicBezTo>
                    <a:pt x="215" y="230"/>
                    <a:pt x="215" y="230"/>
                    <a:pt x="215" y="230"/>
                  </a:cubicBezTo>
                  <a:cubicBezTo>
                    <a:pt x="215" y="229"/>
                    <a:pt x="215" y="228"/>
                    <a:pt x="215" y="227"/>
                  </a:cubicBezTo>
                  <a:cubicBezTo>
                    <a:pt x="215" y="227"/>
                    <a:pt x="215" y="227"/>
                    <a:pt x="215" y="227"/>
                  </a:cubicBezTo>
                  <a:cubicBezTo>
                    <a:pt x="215" y="227"/>
                    <a:pt x="215" y="226"/>
                    <a:pt x="215" y="225"/>
                  </a:cubicBezTo>
                  <a:cubicBezTo>
                    <a:pt x="215" y="225"/>
                    <a:pt x="215" y="224"/>
                    <a:pt x="215" y="224"/>
                  </a:cubicBezTo>
                  <a:cubicBezTo>
                    <a:pt x="215" y="223"/>
                    <a:pt x="215" y="223"/>
                    <a:pt x="215" y="222"/>
                  </a:cubicBezTo>
                  <a:cubicBezTo>
                    <a:pt x="215" y="222"/>
                    <a:pt x="215" y="221"/>
                    <a:pt x="215" y="221"/>
                  </a:cubicBezTo>
                  <a:cubicBezTo>
                    <a:pt x="215" y="220"/>
                    <a:pt x="215" y="220"/>
                    <a:pt x="215" y="219"/>
                  </a:cubicBezTo>
                  <a:cubicBezTo>
                    <a:pt x="215" y="219"/>
                    <a:pt x="215" y="218"/>
                    <a:pt x="215" y="218"/>
                  </a:cubicBezTo>
                  <a:cubicBezTo>
                    <a:pt x="215" y="217"/>
                    <a:pt x="215" y="217"/>
                    <a:pt x="216" y="216"/>
                  </a:cubicBezTo>
                  <a:cubicBezTo>
                    <a:pt x="216" y="215"/>
                    <a:pt x="216" y="215"/>
                    <a:pt x="216" y="215"/>
                  </a:cubicBezTo>
                  <a:cubicBezTo>
                    <a:pt x="216" y="214"/>
                    <a:pt x="216" y="213"/>
                    <a:pt x="216" y="212"/>
                  </a:cubicBezTo>
                  <a:cubicBezTo>
                    <a:pt x="216" y="212"/>
                    <a:pt x="217" y="211"/>
                    <a:pt x="217" y="211"/>
                  </a:cubicBezTo>
                  <a:cubicBezTo>
                    <a:pt x="217" y="210"/>
                    <a:pt x="217" y="209"/>
                    <a:pt x="217" y="208"/>
                  </a:cubicBezTo>
                  <a:cubicBezTo>
                    <a:pt x="217" y="208"/>
                    <a:pt x="218" y="207"/>
                    <a:pt x="218" y="207"/>
                  </a:cubicBezTo>
                  <a:cubicBezTo>
                    <a:pt x="218" y="206"/>
                    <a:pt x="219" y="204"/>
                    <a:pt x="219" y="203"/>
                  </a:cubicBezTo>
                  <a:cubicBezTo>
                    <a:pt x="226" y="181"/>
                    <a:pt x="278" y="75"/>
                    <a:pt x="278" y="75"/>
                  </a:cubicBezTo>
                  <a:cubicBezTo>
                    <a:pt x="278" y="75"/>
                    <a:pt x="282" y="71"/>
                    <a:pt x="290" y="66"/>
                  </a:cubicBezTo>
                  <a:cubicBezTo>
                    <a:pt x="288" y="55"/>
                    <a:pt x="288" y="41"/>
                    <a:pt x="289" y="28"/>
                  </a:cubicBezTo>
                  <a:cubicBezTo>
                    <a:pt x="278" y="37"/>
                    <a:pt x="280" y="25"/>
                    <a:pt x="270" y="15"/>
                  </a:cubicBezTo>
                  <a:cubicBezTo>
                    <a:pt x="266" y="10"/>
                    <a:pt x="263" y="5"/>
                    <a:pt x="261" y="0"/>
                  </a:cubicBezTo>
                  <a:cubicBezTo>
                    <a:pt x="256" y="15"/>
                    <a:pt x="247" y="16"/>
                    <a:pt x="235" y="30"/>
                  </a:cubicBezTo>
                  <a:cubicBezTo>
                    <a:pt x="222" y="46"/>
                    <a:pt x="212" y="43"/>
                    <a:pt x="204" y="61"/>
                  </a:cubicBezTo>
                  <a:cubicBezTo>
                    <a:pt x="195" y="80"/>
                    <a:pt x="172" y="92"/>
                    <a:pt x="158" y="112"/>
                  </a:cubicBezTo>
                  <a:cubicBezTo>
                    <a:pt x="144" y="132"/>
                    <a:pt x="90" y="132"/>
                    <a:pt x="63" y="127"/>
                  </a:cubicBezTo>
                  <a:cubicBezTo>
                    <a:pt x="36" y="123"/>
                    <a:pt x="30" y="130"/>
                    <a:pt x="15" y="143"/>
                  </a:cubicBezTo>
                  <a:cubicBezTo>
                    <a:pt x="8" y="149"/>
                    <a:pt x="3" y="147"/>
                    <a:pt x="0" y="144"/>
                  </a:cubicBezTo>
                  <a:cubicBezTo>
                    <a:pt x="0" y="152"/>
                    <a:pt x="2" y="162"/>
                    <a:pt x="5" y="167"/>
                  </a:cubicBezTo>
                  <a:cubicBezTo>
                    <a:pt x="12" y="175"/>
                    <a:pt x="24" y="191"/>
                    <a:pt x="29" y="197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222" name="Freeform 25307"/>
            <p:cNvSpPr>
              <a:spLocks/>
            </p:cNvSpPr>
            <p:nvPr/>
          </p:nvSpPr>
          <p:spPr bwMode="auto">
            <a:xfrm>
              <a:off x="5389738" y="3092030"/>
              <a:ext cx="47350" cy="43246"/>
            </a:xfrm>
            <a:custGeom>
              <a:avLst/>
              <a:gdLst>
                <a:gd name="T0" fmla="*/ 64 w 127"/>
                <a:gd name="T1" fmla="*/ 2 h 116"/>
                <a:gd name="T2" fmla="*/ 34 w 127"/>
                <a:gd name="T3" fmla="*/ 20 h 116"/>
                <a:gd name="T4" fmla="*/ 14 w 127"/>
                <a:gd name="T5" fmla="*/ 50 h 116"/>
                <a:gd name="T6" fmla="*/ 0 w 127"/>
                <a:gd name="T7" fmla="*/ 73 h 116"/>
                <a:gd name="T8" fmla="*/ 1 w 127"/>
                <a:gd name="T9" fmla="*/ 73 h 116"/>
                <a:gd name="T10" fmla="*/ 2 w 127"/>
                <a:gd name="T11" fmla="*/ 73 h 116"/>
                <a:gd name="T12" fmla="*/ 5 w 127"/>
                <a:gd name="T13" fmla="*/ 73 h 116"/>
                <a:gd name="T14" fmla="*/ 6 w 127"/>
                <a:gd name="T15" fmla="*/ 73 h 116"/>
                <a:gd name="T16" fmla="*/ 7 w 127"/>
                <a:gd name="T17" fmla="*/ 73 h 116"/>
                <a:gd name="T18" fmla="*/ 9 w 127"/>
                <a:gd name="T19" fmla="*/ 73 h 116"/>
                <a:gd name="T20" fmla="*/ 12 w 127"/>
                <a:gd name="T21" fmla="*/ 73 h 116"/>
                <a:gd name="T22" fmla="*/ 66 w 127"/>
                <a:gd name="T23" fmla="*/ 96 h 116"/>
                <a:gd name="T24" fmla="*/ 101 w 127"/>
                <a:gd name="T25" fmla="*/ 114 h 116"/>
                <a:gd name="T26" fmla="*/ 127 w 127"/>
                <a:gd name="T27" fmla="*/ 107 h 116"/>
                <a:gd name="T28" fmla="*/ 118 w 127"/>
                <a:gd name="T29" fmla="*/ 91 h 116"/>
                <a:gd name="T30" fmla="*/ 99 w 127"/>
                <a:gd name="T31" fmla="*/ 64 h 116"/>
                <a:gd name="T32" fmla="*/ 99 w 127"/>
                <a:gd name="T33" fmla="*/ 19 h 116"/>
                <a:gd name="T34" fmla="*/ 102 w 127"/>
                <a:gd name="T35" fmla="*/ 14 h 116"/>
                <a:gd name="T36" fmla="*/ 92 w 127"/>
                <a:gd name="T37" fmla="*/ 8 h 116"/>
                <a:gd name="T38" fmla="*/ 64 w 127"/>
                <a:gd name="T39" fmla="*/ 2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27" h="116">
                  <a:moveTo>
                    <a:pt x="64" y="2"/>
                  </a:moveTo>
                  <a:cubicBezTo>
                    <a:pt x="50" y="0"/>
                    <a:pt x="40" y="6"/>
                    <a:pt x="34" y="20"/>
                  </a:cubicBezTo>
                  <a:cubicBezTo>
                    <a:pt x="28" y="35"/>
                    <a:pt x="22" y="46"/>
                    <a:pt x="14" y="50"/>
                  </a:cubicBezTo>
                  <a:cubicBezTo>
                    <a:pt x="8" y="53"/>
                    <a:pt x="3" y="65"/>
                    <a:pt x="0" y="73"/>
                  </a:cubicBezTo>
                  <a:cubicBezTo>
                    <a:pt x="0" y="73"/>
                    <a:pt x="1" y="73"/>
                    <a:pt x="1" y="73"/>
                  </a:cubicBezTo>
                  <a:cubicBezTo>
                    <a:pt x="1" y="73"/>
                    <a:pt x="2" y="73"/>
                    <a:pt x="2" y="73"/>
                  </a:cubicBezTo>
                  <a:cubicBezTo>
                    <a:pt x="3" y="73"/>
                    <a:pt x="4" y="73"/>
                    <a:pt x="5" y="73"/>
                  </a:cubicBezTo>
                  <a:cubicBezTo>
                    <a:pt x="5" y="73"/>
                    <a:pt x="6" y="73"/>
                    <a:pt x="6" y="73"/>
                  </a:cubicBezTo>
                  <a:cubicBezTo>
                    <a:pt x="7" y="73"/>
                    <a:pt x="7" y="73"/>
                    <a:pt x="7" y="73"/>
                  </a:cubicBezTo>
                  <a:cubicBezTo>
                    <a:pt x="8" y="73"/>
                    <a:pt x="8" y="73"/>
                    <a:pt x="9" y="73"/>
                  </a:cubicBezTo>
                  <a:cubicBezTo>
                    <a:pt x="10" y="73"/>
                    <a:pt x="11" y="73"/>
                    <a:pt x="12" y="73"/>
                  </a:cubicBezTo>
                  <a:cubicBezTo>
                    <a:pt x="29" y="73"/>
                    <a:pt x="62" y="76"/>
                    <a:pt x="66" y="96"/>
                  </a:cubicBezTo>
                  <a:cubicBezTo>
                    <a:pt x="70" y="116"/>
                    <a:pt x="85" y="114"/>
                    <a:pt x="101" y="114"/>
                  </a:cubicBezTo>
                  <a:cubicBezTo>
                    <a:pt x="113" y="114"/>
                    <a:pt x="122" y="114"/>
                    <a:pt x="127" y="107"/>
                  </a:cubicBezTo>
                  <a:cubicBezTo>
                    <a:pt x="122" y="102"/>
                    <a:pt x="118" y="99"/>
                    <a:pt x="118" y="91"/>
                  </a:cubicBezTo>
                  <a:cubicBezTo>
                    <a:pt x="118" y="76"/>
                    <a:pt x="117" y="76"/>
                    <a:pt x="99" y="64"/>
                  </a:cubicBezTo>
                  <a:cubicBezTo>
                    <a:pt x="82" y="51"/>
                    <a:pt x="99" y="29"/>
                    <a:pt x="99" y="19"/>
                  </a:cubicBezTo>
                  <a:cubicBezTo>
                    <a:pt x="99" y="17"/>
                    <a:pt x="100" y="15"/>
                    <a:pt x="102" y="14"/>
                  </a:cubicBezTo>
                  <a:cubicBezTo>
                    <a:pt x="99" y="12"/>
                    <a:pt x="94" y="10"/>
                    <a:pt x="92" y="8"/>
                  </a:cubicBezTo>
                  <a:cubicBezTo>
                    <a:pt x="86" y="3"/>
                    <a:pt x="77" y="4"/>
                    <a:pt x="64" y="2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223" name="Freeform 25308"/>
            <p:cNvSpPr>
              <a:spLocks/>
            </p:cNvSpPr>
            <p:nvPr/>
          </p:nvSpPr>
          <p:spPr bwMode="auto">
            <a:xfrm>
              <a:off x="5487121" y="3195411"/>
              <a:ext cx="23517" cy="40247"/>
            </a:xfrm>
            <a:custGeom>
              <a:avLst/>
              <a:gdLst>
                <a:gd name="T0" fmla="*/ 11 w 63"/>
                <a:gd name="T1" fmla="*/ 88 h 108"/>
                <a:gd name="T2" fmla="*/ 21 w 63"/>
                <a:gd name="T3" fmla="*/ 104 h 108"/>
                <a:gd name="T4" fmla="*/ 36 w 63"/>
                <a:gd name="T5" fmla="*/ 105 h 108"/>
                <a:gd name="T6" fmla="*/ 51 w 63"/>
                <a:gd name="T7" fmla="*/ 99 h 108"/>
                <a:gd name="T8" fmla="*/ 59 w 63"/>
                <a:gd name="T9" fmla="*/ 59 h 108"/>
                <a:gd name="T10" fmla="*/ 55 w 63"/>
                <a:gd name="T11" fmla="*/ 19 h 108"/>
                <a:gd name="T12" fmla="*/ 39 w 63"/>
                <a:gd name="T13" fmla="*/ 0 h 108"/>
                <a:gd name="T14" fmla="*/ 23 w 63"/>
                <a:gd name="T15" fmla="*/ 22 h 108"/>
                <a:gd name="T16" fmla="*/ 10 w 63"/>
                <a:gd name="T17" fmla="*/ 53 h 108"/>
                <a:gd name="T18" fmla="*/ 0 w 63"/>
                <a:gd name="T19" fmla="*/ 72 h 108"/>
                <a:gd name="T20" fmla="*/ 2 w 63"/>
                <a:gd name="T21" fmla="*/ 80 h 108"/>
                <a:gd name="T22" fmla="*/ 11 w 63"/>
                <a:gd name="T2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3" h="108">
                  <a:moveTo>
                    <a:pt x="11" y="88"/>
                  </a:moveTo>
                  <a:cubicBezTo>
                    <a:pt x="12" y="92"/>
                    <a:pt x="17" y="103"/>
                    <a:pt x="21" y="104"/>
                  </a:cubicBezTo>
                  <a:cubicBezTo>
                    <a:pt x="26" y="106"/>
                    <a:pt x="28" y="108"/>
                    <a:pt x="36" y="105"/>
                  </a:cubicBezTo>
                  <a:cubicBezTo>
                    <a:pt x="43" y="102"/>
                    <a:pt x="45" y="100"/>
                    <a:pt x="51" y="99"/>
                  </a:cubicBezTo>
                  <a:cubicBezTo>
                    <a:pt x="54" y="88"/>
                    <a:pt x="55" y="71"/>
                    <a:pt x="59" y="59"/>
                  </a:cubicBezTo>
                  <a:cubicBezTo>
                    <a:pt x="63" y="46"/>
                    <a:pt x="56" y="37"/>
                    <a:pt x="55" y="19"/>
                  </a:cubicBezTo>
                  <a:cubicBezTo>
                    <a:pt x="53" y="0"/>
                    <a:pt x="51" y="0"/>
                    <a:pt x="39" y="0"/>
                  </a:cubicBezTo>
                  <a:cubicBezTo>
                    <a:pt x="28" y="0"/>
                    <a:pt x="22" y="4"/>
                    <a:pt x="23" y="22"/>
                  </a:cubicBezTo>
                  <a:cubicBezTo>
                    <a:pt x="25" y="39"/>
                    <a:pt x="10" y="33"/>
                    <a:pt x="10" y="53"/>
                  </a:cubicBezTo>
                  <a:cubicBezTo>
                    <a:pt x="10" y="66"/>
                    <a:pt x="5" y="73"/>
                    <a:pt x="0" y="72"/>
                  </a:cubicBezTo>
                  <a:cubicBezTo>
                    <a:pt x="0" y="75"/>
                    <a:pt x="1" y="78"/>
                    <a:pt x="2" y="80"/>
                  </a:cubicBezTo>
                  <a:cubicBezTo>
                    <a:pt x="5" y="82"/>
                    <a:pt x="10" y="84"/>
                    <a:pt x="11" y="88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224" name="Freeform 25309"/>
            <p:cNvSpPr>
              <a:spLocks/>
            </p:cNvSpPr>
            <p:nvPr/>
          </p:nvSpPr>
          <p:spPr bwMode="auto">
            <a:xfrm>
              <a:off x="5114949" y="2968288"/>
              <a:ext cx="39932" cy="46876"/>
            </a:xfrm>
            <a:custGeom>
              <a:avLst/>
              <a:gdLst>
                <a:gd name="T0" fmla="*/ 34 w 107"/>
                <a:gd name="T1" fmla="*/ 125 h 126"/>
                <a:gd name="T2" fmla="*/ 35 w 107"/>
                <a:gd name="T3" fmla="*/ 125 h 126"/>
                <a:gd name="T4" fmla="*/ 35 w 107"/>
                <a:gd name="T5" fmla="*/ 125 h 126"/>
                <a:gd name="T6" fmla="*/ 36 w 107"/>
                <a:gd name="T7" fmla="*/ 125 h 126"/>
                <a:gd name="T8" fmla="*/ 36 w 107"/>
                <a:gd name="T9" fmla="*/ 124 h 126"/>
                <a:gd name="T10" fmla="*/ 36 w 107"/>
                <a:gd name="T11" fmla="*/ 124 h 126"/>
                <a:gd name="T12" fmla="*/ 37 w 107"/>
                <a:gd name="T13" fmla="*/ 123 h 126"/>
                <a:gd name="T14" fmla="*/ 38 w 107"/>
                <a:gd name="T15" fmla="*/ 121 h 126"/>
                <a:gd name="T16" fmla="*/ 38 w 107"/>
                <a:gd name="T17" fmla="*/ 121 h 126"/>
                <a:gd name="T18" fmla="*/ 39 w 107"/>
                <a:gd name="T19" fmla="*/ 116 h 126"/>
                <a:gd name="T20" fmla="*/ 40 w 107"/>
                <a:gd name="T21" fmla="*/ 115 h 126"/>
                <a:gd name="T22" fmla="*/ 40 w 107"/>
                <a:gd name="T23" fmla="*/ 114 h 126"/>
                <a:gd name="T24" fmla="*/ 40 w 107"/>
                <a:gd name="T25" fmla="*/ 113 h 126"/>
                <a:gd name="T26" fmla="*/ 40 w 107"/>
                <a:gd name="T27" fmla="*/ 112 h 126"/>
                <a:gd name="T28" fmla="*/ 41 w 107"/>
                <a:gd name="T29" fmla="*/ 111 h 126"/>
                <a:gd name="T30" fmla="*/ 41 w 107"/>
                <a:gd name="T31" fmla="*/ 111 h 126"/>
                <a:gd name="T32" fmla="*/ 43 w 107"/>
                <a:gd name="T33" fmla="*/ 110 h 126"/>
                <a:gd name="T34" fmla="*/ 43 w 107"/>
                <a:gd name="T35" fmla="*/ 110 h 126"/>
                <a:gd name="T36" fmla="*/ 45 w 107"/>
                <a:gd name="T37" fmla="*/ 110 h 126"/>
                <a:gd name="T38" fmla="*/ 60 w 107"/>
                <a:gd name="T39" fmla="*/ 99 h 126"/>
                <a:gd name="T40" fmla="*/ 64 w 107"/>
                <a:gd name="T41" fmla="*/ 78 h 126"/>
                <a:gd name="T42" fmla="*/ 82 w 107"/>
                <a:gd name="T43" fmla="*/ 71 h 126"/>
                <a:gd name="T44" fmla="*/ 96 w 107"/>
                <a:gd name="T45" fmla="*/ 49 h 126"/>
                <a:gd name="T46" fmla="*/ 96 w 107"/>
                <a:gd name="T47" fmla="*/ 23 h 126"/>
                <a:gd name="T48" fmla="*/ 77 w 107"/>
                <a:gd name="T49" fmla="*/ 9 h 126"/>
                <a:gd name="T50" fmla="*/ 56 w 107"/>
                <a:gd name="T51" fmla="*/ 0 h 126"/>
                <a:gd name="T52" fmla="*/ 49 w 107"/>
                <a:gd name="T53" fmla="*/ 17 h 126"/>
                <a:gd name="T54" fmla="*/ 27 w 107"/>
                <a:gd name="T55" fmla="*/ 66 h 126"/>
                <a:gd name="T56" fmla="*/ 11 w 107"/>
                <a:gd name="T57" fmla="*/ 107 h 126"/>
                <a:gd name="T58" fmla="*/ 0 w 107"/>
                <a:gd name="T59" fmla="*/ 119 h 126"/>
                <a:gd name="T60" fmla="*/ 33 w 107"/>
                <a:gd name="T61" fmla="*/ 126 h 126"/>
                <a:gd name="T62" fmla="*/ 34 w 107"/>
                <a:gd name="T63" fmla="*/ 125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7" h="126">
                  <a:moveTo>
                    <a:pt x="34" y="125"/>
                  </a:moveTo>
                  <a:cubicBezTo>
                    <a:pt x="34" y="125"/>
                    <a:pt x="35" y="125"/>
                    <a:pt x="35" y="125"/>
                  </a:cubicBezTo>
                  <a:cubicBezTo>
                    <a:pt x="35" y="125"/>
                    <a:pt x="35" y="125"/>
                    <a:pt x="35" y="125"/>
                  </a:cubicBezTo>
                  <a:cubicBezTo>
                    <a:pt x="36" y="125"/>
                    <a:pt x="36" y="125"/>
                    <a:pt x="36" y="125"/>
                  </a:cubicBezTo>
                  <a:cubicBezTo>
                    <a:pt x="36" y="124"/>
                    <a:pt x="36" y="124"/>
                    <a:pt x="36" y="124"/>
                  </a:cubicBezTo>
                  <a:cubicBezTo>
                    <a:pt x="36" y="124"/>
                    <a:pt x="36" y="124"/>
                    <a:pt x="36" y="124"/>
                  </a:cubicBezTo>
                  <a:cubicBezTo>
                    <a:pt x="37" y="124"/>
                    <a:pt x="37" y="123"/>
                    <a:pt x="37" y="123"/>
                  </a:cubicBezTo>
                  <a:cubicBezTo>
                    <a:pt x="37" y="122"/>
                    <a:pt x="38" y="122"/>
                    <a:pt x="38" y="121"/>
                  </a:cubicBezTo>
                  <a:cubicBezTo>
                    <a:pt x="38" y="121"/>
                    <a:pt x="38" y="121"/>
                    <a:pt x="38" y="121"/>
                  </a:cubicBezTo>
                  <a:cubicBezTo>
                    <a:pt x="38" y="119"/>
                    <a:pt x="39" y="118"/>
                    <a:pt x="39" y="116"/>
                  </a:cubicBezTo>
                  <a:cubicBezTo>
                    <a:pt x="39" y="116"/>
                    <a:pt x="39" y="115"/>
                    <a:pt x="40" y="115"/>
                  </a:cubicBezTo>
                  <a:cubicBezTo>
                    <a:pt x="40" y="115"/>
                    <a:pt x="40" y="114"/>
                    <a:pt x="40" y="114"/>
                  </a:cubicBezTo>
                  <a:cubicBezTo>
                    <a:pt x="40" y="114"/>
                    <a:pt x="40" y="113"/>
                    <a:pt x="40" y="113"/>
                  </a:cubicBezTo>
                  <a:cubicBezTo>
                    <a:pt x="40" y="113"/>
                    <a:pt x="40" y="113"/>
                    <a:pt x="40" y="112"/>
                  </a:cubicBezTo>
                  <a:cubicBezTo>
                    <a:pt x="41" y="112"/>
                    <a:pt x="41" y="111"/>
                    <a:pt x="41" y="111"/>
                  </a:cubicBezTo>
                  <a:cubicBezTo>
                    <a:pt x="41" y="111"/>
                    <a:pt x="41" y="111"/>
                    <a:pt x="41" y="111"/>
                  </a:cubicBezTo>
                  <a:cubicBezTo>
                    <a:pt x="42" y="111"/>
                    <a:pt x="42" y="110"/>
                    <a:pt x="43" y="110"/>
                  </a:cubicBezTo>
                  <a:cubicBezTo>
                    <a:pt x="43" y="110"/>
                    <a:pt x="43" y="110"/>
                    <a:pt x="43" y="110"/>
                  </a:cubicBezTo>
                  <a:cubicBezTo>
                    <a:pt x="44" y="110"/>
                    <a:pt x="44" y="110"/>
                    <a:pt x="45" y="110"/>
                  </a:cubicBezTo>
                  <a:cubicBezTo>
                    <a:pt x="54" y="110"/>
                    <a:pt x="58" y="104"/>
                    <a:pt x="60" y="99"/>
                  </a:cubicBezTo>
                  <a:cubicBezTo>
                    <a:pt x="63" y="93"/>
                    <a:pt x="62" y="82"/>
                    <a:pt x="64" y="78"/>
                  </a:cubicBezTo>
                  <a:cubicBezTo>
                    <a:pt x="65" y="74"/>
                    <a:pt x="72" y="72"/>
                    <a:pt x="82" y="71"/>
                  </a:cubicBezTo>
                  <a:cubicBezTo>
                    <a:pt x="91" y="69"/>
                    <a:pt x="85" y="60"/>
                    <a:pt x="96" y="49"/>
                  </a:cubicBezTo>
                  <a:cubicBezTo>
                    <a:pt x="107" y="39"/>
                    <a:pt x="99" y="28"/>
                    <a:pt x="96" y="23"/>
                  </a:cubicBezTo>
                  <a:cubicBezTo>
                    <a:pt x="92" y="19"/>
                    <a:pt x="84" y="16"/>
                    <a:pt x="77" y="9"/>
                  </a:cubicBezTo>
                  <a:cubicBezTo>
                    <a:pt x="73" y="4"/>
                    <a:pt x="62" y="2"/>
                    <a:pt x="56" y="0"/>
                  </a:cubicBezTo>
                  <a:cubicBezTo>
                    <a:pt x="54" y="4"/>
                    <a:pt x="52" y="9"/>
                    <a:pt x="49" y="17"/>
                  </a:cubicBezTo>
                  <a:cubicBezTo>
                    <a:pt x="44" y="37"/>
                    <a:pt x="34" y="44"/>
                    <a:pt x="27" y="66"/>
                  </a:cubicBezTo>
                  <a:cubicBezTo>
                    <a:pt x="19" y="87"/>
                    <a:pt x="29" y="96"/>
                    <a:pt x="11" y="107"/>
                  </a:cubicBezTo>
                  <a:cubicBezTo>
                    <a:pt x="5" y="111"/>
                    <a:pt x="2" y="115"/>
                    <a:pt x="0" y="119"/>
                  </a:cubicBezTo>
                  <a:cubicBezTo>
                    <a:pt x="13" y="124"/>
                    <a:pt x="27" y="126"/>
                    <a:pt x="33" y="126"/>
                  </a:cubicBezTo>
                  <a:cubicBezTo>
                    <a:pt x="34" y="126"/>
                    <a:pt x="34" y="125"/>
                    <a:pt x="34" y="12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225" name="Freeform 25310"/>
            <p:cNvSpPr>
              <a:spLocks/>
            </p:cNvSpPr>
            <p:nvPr/>
          </p:nvSpPr>
          <p:spPr bwMode="auto">
            <a:xfrm>
              <a:off x="5096640" y="3012639"/>
              <a:ext cx="33934" cy="91386"/>
            </a:xfrm>
            <a:custGeom>
              <a:avLst/>
              <a:gdLst>
                <a:gd name="T0" fmla="*/ 15 w 91"/>
                <a:gd name="T1" fmla="*/ 118 h 245"/>
                <a:gd name="T2" fmla="*/ 11 w 91"/>
                <a:gd name="T3" fmla="*/ 157 h 245"/>
                <a:gd name="T4" fmla="*/ 24 w 91"/>
                <a:gd name="T5" fmla="*/ 201 h 245"/>
                <a:gd name="T6" fmla="*/ 26 w 91"/>
                <a:gd name="T7" fmla="*/ 203 h 245"/>
                <a:gd name="T8" fmla="*/ 27 w 91"/>
                <a:gd name="T9" fmla="*/ 204 h 245"/>
                <a:gd name="T10" fmla="*/ 28 w 91"/>
                <a:gd name="T11" fmla="*/ 205 h 245"/>
                <a:gd name="T12" fmla="*/ 29 w 91"/>
                <a:gd name="T13" fmla="*/ 206 h 245"/>
                <a:gd name="T14" fmla="*/ 30 w 91"/>
                <a:gd name="T15" fmla="*/ 208 h 245"/>
                <a:gd name="T16" fmla="*/ 30 w 91"/>
                <a:gd name="T17" fmla="*/ 209 h 245"/>
                <a:gd name="T18" fmla="*/ 31 w 91"/>
                <a:gd name="T19" fmla="*/ 211 h 245"/>
                <a:gd name="T20" fmla="*/ 32 w 91"/>
                <a:gd name="T21" fmla="*/ 212 h 245"/>
                <a:gd name="T22" fmla="*/ 33 w 91"/>
                <a:gd name="T23" fmla="*/ 214 h 245"/>
                <a:gd name="T24" fmla="*/ 34 w 91"/>
                <a:gd name="T25" fmla="*/ 215 h 245"/>
                <a:gd name="T26" fmla="*/ 34 w 91"/>
                <a:gd name="T27" fmla="*/ 217 h 245"/>
                <a:gd name="T28" fmla="*/ 35 w 91"/>
                <a:gd name="T29" fmla="*/ 218 h 245"/>
                <a:gd name="T30" fmla="*/ 36 w 91"/>
                <a:gd name="T31" fmla="*/ 220 h 245"/>
                <a:gd name="T32" fmla="*/ 36 w 91"/>
                <a:gd name="T33" fmla="*/ 222 h 245"/>
                <a:gd name="T34" fmla="*/ 37 w 91"/>
                <a:gd name="T35" fmla="*/ 223 h 245"/>
                <a:gd name="T36" fmla="*/ 37 w 91"/>
                <a:gd name="T37" fmla="*/ 225 h 245"/>
                <a:gd name="T38" fmla="*/ 38 w 91"/>
                <a:gd name="T39" fmla="*/ 227 h 245"/>
                <a:gd name="T40" fmla="*/ 38 w 91"/>
                <a:gd name="T41" fmla="*/ 229 h 245"/>
                <a:gd name="T42" fmla="*/ 39 w 91"/>
                <a:gd name="T43" fmla="*/ 230 h 245"/>
                <a:gd name="T44" fmla="*/ 39 w 91"/>
                <a:gd name="T45" fmla="*/ 232 h 245"/>
                <a:gd name="T46" fmla="*/ 40 w 91"/>
                <a:gd name="T47" fmla="*/ 233 h 245"/>
                <a:gd name="T48" fmla="*/ 40 w 91"/>
                <a:gd name="T49" fmla="*/ 235 h 245"/>
                <a:gd name="T50" fmla="*/ 40 w 91"/>
                <a:gd name="T51" fmla="*/ 236 h 245"/>
                <a:gd name="T52" fmla="*/ 41 w 91"/>
                <a:gd name="T53" fmla="*/ 238 h 245"/>
                <a:gd name="T54" fmla="*/ 41 w 91"/>
                <a:gd name="T55" fmla="*/ 238 h 245"/>
                <a:gd name="T56" fmla="*/ 41 w 91"/>
                <a:gd name="T57" fmla="*/ 241 h 245"/>
                <a:gd name="T58" fmla="*/ 41 w 91"/>
                <a:gd name="T59" fmla="*/ 241 h 245"/>
                <a:gd name="T60" fmla="*/ 41 w 91"/>
                <a:gd name="T61" fmla="*/ 243 h 245"/>
                <a:gd name="T62" fmla="*/ 41 w 91"/>
                <a:gd name="T63" fmla="*/ 243 h 245"/>
                <a:gd name="T64" fmla="*/ 42 w 91"/>
                <a:gd name="T65" fmla="*/ 245 h 245"/>
                <a:gd name="T66" fmla="*/ 42 w 91"/>
                <a:gd name="T67" fmla="*/ 245 h 245"/>
                <a:gd name="T68" fmla="*/ 58 w 91"/>
                <a:gd name="T69" fmla="*/ 214 h 245"/>
                <a:gd name="T70" fmla="*/ 64 w 91"/>
                <a:gd name="T71" fmla="*/ 177 h 245"/>
                <a:gd name="T72" fmla="*/ 70 w 91"/>
                <a:gd name="T73" fmla="*/ 158 h 245"/>
                <a:gd name="T74" fmla="*/ 77 w 91"/>
                <a:gd name="T75" fmla="*/ 131 h 245"/>
                <a:gd name="T76" fmla="*/ 85 w 91"/>
                <a:gd name="T77" fmla="*/ 100 h 245"/>
                <a:gd name="T78" fmla="*/ 84 w 91"/>
                <a:gd name="T79" fmla="*/ 70 h 245"/>
                <a:gd name="T80" fmla="*/ 84 w 91"/>
                <a:gd name="T81" fmla="*/ 53 h 245"/>
                <a:gd name="T82" fmla="*/ 90 w 91"/>
                <a:gd name="T83" fmla="*/ 17 h 245"/>
                <a:gd name="T84" fmla="*/ 89 w 91"/>
                <a:gd name="T85" fmla="*/ 13 h 245"/>
                <a:gd name="T86" fmla="*/ 89 w 91"/>
                <a:gd name="T87" fmla="*/ 12 h 245"/>
                <a:gd name="T88" fmla="*/ 88 w 91"/>
                <a:gd name="T89" fmla="*/ 10 h 245"/>
                <a:gd name="T90" fmla="*/ 87 w 91"/>
                <a:gd name="T91" fmla="*/ 8 h 245"/>
                <a:gd name="T92" fmla="*/ 87 w 91"/>
                <a:gd name="T93" fmla="*/ 7 h 245"/>
                <a:gd name="T94" fmla="*/ 86 w 91"/>
                <a:gd name="T95" fmla="*/ 5 h 245"/>
                <a:gd name="T96" fmla="*/ 86 w 91"/>
                <a:gd name="T97" fmla="*/ 4 h 245"/>
                <a:gd name="T98" fmla="*/ 85 w 91"/>
                <a:gd name="T99" fmla="*/ 5 h 245"/>
                <a:gd name="T100" fmla="*/ 85 w 91"/>
                <a:gd name="T101" fmla="*/ 5 h 245"/>
                <a:gd name="T102" fmla="*/ 85 w 91"/>
                <a:gd name="T103" fmla="*/ 6 h 245"/>
                <a:gd name="T104" fmla="*/ 84 w 91"/>
                <a:gd name="T105" fmla="*/ 6 h 245"/>
                <a:gd name="T106" fmla="*/ 84 w 91"/>
                <a:gd name="T107" fmla="*/ 6 h 245"/>
                <a:gd name="T108" fmla="*/ 83 w 91"/>
                <a:gd name="T109" fmla="*/ 6 h 245"/>
                <a:gd name="T110" fmla="*/ 82 w 91"/>
                <a:gd name="T111" fmla="*/ 7 h 245"/>
                <a:gd name="T112" fmla="*/ 49 w 91"/>
                <a:gd name="T113" fmla="*/ 0 h 245"/>
                <a:gd name="T114" fmla="*/ 45 w 91"/>
                <a:gd name="T115" fmla="*/ 44 h 245"/>
                <a:gd name="T116" fmla="*/ 23 w 91"/>
                <a:gd name="T117" fmla="*/ 86 h 245"/>
                <a:gd name="T118" fmla="*/ 19 w 91"/>
                <a:gd name="T119" fmla="*/ 94 h 245"/>
                <a:gd name="T120" fmla="*/ 15 w 91"/>
                <a:gd name="T121" fmla="*/ 118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91" h="245">
                  <a:moveTo>
                    <a:pt x="15" y="118"/>
                  </a:moveTo>
                  <a:cubicBezTo>
                    <a:pt x="6" y="130"/>
                    <a:pt x="0" y="141"/>
                    <a:pt x="11" y="157"/>
                  </a:cubicBezTo>
                  <a:cubicBezTo>
                    <a:pt x="22" y="173"/>
                    <a:pt x="14" y="190"/>
                    <a:pt x="24" y="201"/>
                  </a:cubicBezTo>
                  <a:cubicBezTo>
                    <a:pt x="25" y="201"/>
                    <a:pt x="26" y="202"/>
                    <a:pt x="26" y="203"/>
                  </a:cubicBezTo>
                  <a:cubicBezTo>
                    <a:pt x="26" y="203"/>
                    <a:pt x="27" y="203"/>
                    <a:pt x="27" y="204"/>
                  </a:cubicBezTo>
                  <a:cubicBezTo>
                    <a:pt x="27" y="204"/>
                    <a:pt x="28" y="205"/>
                    <a:pt x="28" y="205"/>
                  </a:cubicBezTo>
                  <a:cubicBezTo>
                    <a:pt x="28" y="206"/>
                    <a:pt x="29" y="206"/>
                    <a:pt x="29" y="206"/>
                  </a:cubicBezTo>
                  <a:cubicBezTo>
                    <a:pt x="29" y="207"/>
                    <a:pt x="29" y="207"/>
                    <a:pt x="30" y="208"/>
                  </a:cubicBezTo>
                  <a:cubicBezTo>
                    <a:pt x="30" y="208"/>
                    <a:pt x="30" y="209"/>
                    <a:pt x="30" y="209"/>
                  </a:cubicBezTo>
                  <a:cubicBezTo>
                    <a:pt x="31" y="210"/>
                    <a:pt x="31" y="210"/>
                    <a:pt x="31" y="211"/>
                  </a:cubicBezTo>
                  <a:cubicBezTo>
                    <a:pt x="32" y="211"/>
                    <a:pt x="32" y="212"/>
                    <a:pt x="32" y="212"/>
                  </a:cubicBezTo>
                  <a:cubicBezTo>
                    <a:pt x="32" y="213"/>
                    <a:pt x="33" y="213"/>
                    <a:pt x="33" y="214"/>
                  </a:cubicBezTo>
                  <a:cubicBezTo>
                    <a:pt x="33" y="214"/>
                    <a:pt x="33" y="215"/>
                    <a:pt x="34" y="215"/>
                  </a:cubicBezTo>
                  <a:cubicBezTo>
                    <a:pt x="34" y="216"/>
                    <a:pt x="34" y="216"/>
                    <a:pt x="34" y="217"/>
                  </a:cubicBezTo>
                  <a:cubicBezTo>
                    <a:pt x="35" y="217"/>
                    <a:pt x="35" y="218"/>
                    <a:pt x="35" y="218"/>
                  </a:cubicBezTo>
                  <a:cubicBezTo>
                    <a:pt x="35" y="219"/>
                    <a:pt x="35" y="220"/>
                    <a:pt x="36" y="220"/>
                  </a:cubicBezTo>
                  <a:cubicBezTo>
                    <a:pt x="36" y="221"/>
                    <a:pt x="36" y="221"/>
                    <a:pt x="36" y="222"/>
                  </a:cubicBezTo>
                  <a:cubicBezTo>
                    <a:pt x="36" y="222"/>
                    <a:pt x="37" y="223"/>
                    <a:pt x="37" y="223"/>
                  </a:cubicBezTo>
                  <a:cubicBezTo>
                    <a:pt x="37" y="224"/>
                    <a:pt x="37" y="225"/>
                    <a:pt x="37" y="225"/>
                  </a:cubicBezTo>
                  <a:cubicBezTo>
                    <a:pt x="38" y="226"/>
                    <a:pt x="38" y="226"/>
                    <a:pt x="38" y="227"/>
                  </a:cubicBezTo>
                  <a:cubicBezTo>
                    <a:pt x="38" y="227"/>
                    <a:pt x="38" y="228"/>
                    <a:pt x="38" y="229"/>
                  </a:cubicBezTo>
                  <a:cubicBezTo>
                    <a:pt x="39" y="229"/>
                    <a:pt x="39" y="229"/>
                    <a:pt x="39" y="230"/>
                  </a:cubicBezTo>
                  <a:cubicBezTo>
                    <a:pt x="39" y="230"/>
                    <a:pt x="39" y="231"/>
                    <a:pt x="39" y="232"/>
                  </a:cubicBezTo>
                  <a:cubicBezTo>
                    <a:pt x="39" y="232"/>
                    <a:pt x="40" y="232"/>
                    <a:pt x="40" y="233"/>
                  </a:cubicBezTo>
                  <a:cubicBezTo>
                    <a:pt x="40" y="233"/>
                    <a:pt x="40" y="234"/>
                    <a:pt x="40" y="235"/>
                  </a:cubicBezTo>
                  <a:cubicBezTo>
                    <a:pt x="40" y="235"/>
                    <a:pt x="40" y="235"/>
                    <a:pt x="40" y="236"/>
                  </a:cubicBezTo>
                  <a:cubicBezTo>
                    <a:pt x="40" y="236"/>
                    <a:pt x="41" y="237"/>
                    <a:pt x="41" y="238"/>
                  </a:cubicBezTo>
                  <a:cubicBezTo>
                    <a:pt x="41" y="238"/>
                    <a:pt x="41" y="238"/>
                    <a:pt x="41" y="238"/>
                  </a:cubicBezTo>
                  <a:cubicBezTo>
                    <a:pt x="41" y="239"/>
                    <a:pt x="41" y="240"/>
                    <a:pt x="41" y="241"/>
                  </a:cubicBezTo>
                  <a:cubicBezTo>
                    <a:pt x="41" y="241"/>
                    <a:pt x="41" y="241"/>
                    <a:pt x="41" y="241"/>
                  </a:cubicBezTo>
                  <a:cubicBezTo>
                    <a:pt x="41" y="242"/>
                    <a:pt x="41" y="242"/>
                    <a:pt x="41" y="243"/>
                  </a:cubicBezTo>
                  <a:cubicBezTo>
                    <a:pt x="41" y="243"/>
                    <a:pt x="41" y="243"/>
                    <a:pt x="41" y="243"/>
                  </a:cubicBezTo>
                  <a:cubicBezTo>
                    <a:pt x="42" y="244"/>
                    <a:pt x="42" y="244"/>
                    <a:pt x="42" y="245"/>
                  </a:cubicBezTo>
                  <a:cubicBezTo>
                    <a:pt x="42" y="245"/>
                    <a:pt x="42" y="245"/>
                    <a:pt x="42" y="245"/>
                  </a:cubicBezTo>
                  <a:cubicBezTo>
                    <a:pt x="51" y="238"/>
                    <a:pt x="58" y="221"/>
                    <a:pt x="58" y="214"/>
                  </a:cubicBezTo>
                  <a:cubicBezTo>
                    <a:pt x="58" y="206"/>
                    <a:pt x="64" y="185"/>
                    <a:pt x="64" y="177"/>
                  </a:cubicBezTo>
                  <a:cubicBezTo>
                    <a:pt x="65" y="170"/>
                    <a:pt x="66" y="165"/>
                    <a:pt x="70" y="158"/>
                  </a:cubicBezTo>
                  <a:cubicBezTo>
                    <a:pt x="73" y="151"/>
                    <a:pt x="74" y="143"/>
                    <a:pt x="77" y="131"/>
                  </a:cubicBezTo>
                  <a:cubicBezTo>
                    <a:pt x="80" y="119"/>
                    <a:pt x="85" y="106"/>
                    <a:pt x="85" y="100"/>
                  </a:cubicBezTo>
                  <a:cubicBezTo>
                    <a:pt x="85" y="95"/>
                    <a:pt x="85" y="74"/>
                    <a:pt x="84" y="70"/>
                  </a:cubicBezTo>
                  <a:cubicBezTo>
                    <a:pt x="83" y="66"/>
                    <a:pt x="83" y="59"/>
                    <a:pt x="84" y="53"/>
                  </a:cubicBezTo>
                  <a:cubicBezTo>
                    <a:pt x="86" y="47"/>
                    <a:pt x="91" y="25"/>
                    <a:pt x="90" y="17"/>
                  </a:cubicBezTo>
                  <a:cubicBezTo>
                    <a:pt x="89" y="15"/>
                    <a:pt x="89" y="14"/>
                    <a:pt x="89" y="13"/>
                  </a:cubicBezTo>
                  <a:cubicBezTo>
                    <a:pt x="89" y="13"/>
                    <a:pt x="89" y="12"/>
                    <a:pt x="89" y="12"/>
                  </a:cubicBezTo>
                  <a:cubicBezTo>
                    <a:pt x="88" y="11"/>
                    <a:pt x="88" y="11"/>
                    <a:pt x="88" y="10"/>
                  </a:cubicBezTo>
                  <a:cubicBezTo>
                    <a:pt x="88" y="9"/>
                    <a:pt x="88" y="9"/>
                    <a:pt x="87" y="8"/>
                  </a:cubicBezTo>
                  <a:cubicBezTo>
                    <a:pt x="87" y="8"/>
                    <a:pt x="87" y="7"/>
                    <a:pt x="87" y="7"/>
                  </a:cubicBezTo>
                  <a:cubicBezTo>
                    <a:pt x="87" y="6"/>
                    <a:pt x="87" y="5"/>
                    <a:pt x="86" y="5"/>
                  </a:cubicBezTo>
                  <a:cubicBezTo>
                    <a:pt x="86" y="4"/>
                    <a:pt x="86" y="4"/>
                    <a:pt x="86" y="4"/>
                  </a:cubicBezTo>
                  <a:cubicBezTo>
                    <a:pt x="86" y="4"/>
                    <a:pt x="86" y="5"/>
                    <a:pt x="85" y="5"/>
                  </a:cubicBezTo>
                  <a:cubicBezTo>
                    <a:pt x="85" y="5"/>
                    <a:pt x="85" y="5"/>
                    <a:pt x="85" y="5"/>
                  </a:cubicBezTo>
                  <a:cubicBezTo>
                    <a:pt x="85" y="5"/>
                    <a:pt x="85" y="5"/>
                    <a:pt x="85" y="6"/>
                  </a:cubicBezTo>
                  <a:cubicBezTo>
                    <a:pt x="85" y="6"/>
                    <a:pt x="85" y="6"/>
                    <a:pt x="84" y="6"/>
                  </a:cubicBezTo>
                  <a:cubicBezTo>
                    <a:pt x="84" y="6"/>
                    <a:pt x="84" y="6"/>
                    <a:pt x="84" y="6"/>
                  </a:cubicBezTo>
                  <a:cubicBezTo>
                    <a:pt x="84" y="6"/>
                    <a:pt x="83" y="6"/>
                    <a:pt x="83" y="6"/>
                  </a:cubicBezTo>
                  <a:cubicBezTo>
                    <a:pt x="83" y="6"/>
                    <a:pt x="83" y="7"/>
                    <a:pt x="82" y="7"/>
                  </a:cubicBezTo>
                  <a:cubicBezTo>
                    <a:pt x="76" y="7"/>
                    <a:pt x="62" y="5"/>
                    <a:pt x="49" y="0"/>
                  </a:cubicBezTo>
                  <a:cubicBezTo>
                    <a:pt x="43" y="11"/>
                    <a:pt x="45" y="26"/>
                    <a:pt x="45" y="44"/>
                  </a:cubicBezTo>
                  <a:cubicBezTo>
                    <a:pt x="45" y="70"/>
                    <a:pt x="33" y="60"/>
                    <a:pt x="23" y="86"/>
                  </a:cubicBezTo>
                  <a:cubicBezTo>
                    <a:pt x="21" y="89"/>
                    <a:pt x="20" y="92"/>
                    <a:pt x="19" y="94"/>
                  </a:cubicBezTo>
                  <a:cubicBezTo>
                    <a:pt x="20" y="102"/>
                    <a:pt x="20" y="111"/>
                    <a:pt x="15" y="118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226" name="Freeform 25311"/>
            <p:cNvSpPr>
              <a:spLocks/>
            </p:cNvSpPr>
            <p:nvPr/>
          </p:nvSpPr>
          <p:spPr bwMode="auto">
            <a:xfrm>
              <a:off x="5112266" y="2896315"/>
              <a:ext cx="328611" cy="223020"/>
            </a:xfrm>
            <a:custGeom>
              <a:avLst/>
              <a:gdLst>
                <a:gd name="T0" fmla="*/ 837 w 881"/>
                <a:gd name="T1" fmla="*/ 482 h 598"/>
                <a:gd name="T2" fmla="*/ 828 w 881"/>
                <a:gd name="T3" fmla="*/ 413 h 598"/>
                <a:gd name="T4" fmla="*/ 740 w 881"/>
                <a:gd name="T5" fmla="*/ 330 h 598"/>
                <a:gd name="T6" fmla="*/ 682 w 881"/>
                <a:gd name="T7" fmla="*/ 264 h 598"/>
                <a:gd name="T8" fmla="*/ 705 w 881"/>
                <a:gd name="T9" fmla="*/ 175 h 598"/>
                <a:gd name="T10" fmla="*/ 722 w 881"/>
                <a:gd name="T11" fmla="*/ 131 h 598"/>
                <a:gd name="T12" fmla="*/ 664 w 881"/>
                <a:gd name="T13" fmla="*/ 93 h 598"/>
                <a:gd name="T14" fmla="*/ 630 w 881"/>
                <a:gd name="T15" fmla="*/ 8 h 598"/>
                <a:gd name="T16" fmla="*/ 588 w 881"/>
                <a:gd name="T17" fmla="*/ 12 h 598"/>
                <a:gd name="T18" fmla="*/ 515 w 881"/>
                <a:gd name="T19" fmla="*/ 0 h 598"/>
                <a:gd name="T20" fmla="*/ 483 w 881"/>
                <a:gd name="T21" fmla="*/ 25 h 598"/>
                <a:gd name="T22" fmla="*/ 477 w 881"/>
                <a:gd name="T23" fmla="*/ 29 h 598"/>
                <a:gd name="T24" fmla="*/ 473 w 881"/>
                <a:gd name="T25" fmla="*/ 32 h 598"/>
                <a:gd name="T26" fmla="*/ 468 w 881"/>
                <a:gd name="T27" fmla="*/ 35 h 598"/>
                <a:gd name="T28" fmla="*/ 464 w 881"/>
                <a:gd name="T29" fmla="*/ 39 h 598"/>
                <a:gd name="T30" fmla="*/ 458 w 881"/>
                <a:gd name="T31" fmla="*/ 45 h 598"/>
                <a:gd name="T32" fmla="*/ 413 w 881"/>
                <a:gd name="T33" fmla="*/ 127 h 598"/>
                <a:gd name="T34" fmla="*/ 351 w 881"/>
                <a:gd name="T35" fmla="*/ 244 h 598"/>
                <a:gd name="T36" fmla="*/ 96 w 881"/>
                <a:gd name="T37" fmla="*/ 364 h 598"/>
                <a:gd name="T38" fmla="*/ 44 w 881"/>
                <a:gd name="T39" fmla="*/ 316 h 598"/>
                <a:gd name="T40" fmla="*/ 45 w 881"/>
                <a:gd name="T41" fmla="*/ 320 h 598"/>
                <a:gd name="T42" fmla="*/ 47 w 881"/>
                <a:gd name="T43" fmla="*/ 325 h 598"/>
                <a:gd name="T44" fmla="*/ 42 w 881"/>
                <a:gd name="T45" fmla="*/ 382 h 598"/>
                <a:gd name="T46" fmla="*/ 28 w 881"/>
                <a:gd name="T47" fmla="*/ 470 h 598"/>
                <a:gd name="T48" fmla="*/ 0 w 881"/>
                <a:gd name="T49" fmla="*/ 557 h 598"/>
                <a:gd name="T50" fmla="*/ 0 w 881"/>
                <a:gd name="T51" fmla="*/ 560 h 598"/>
                <a:gd name="T52" fmla="*/ 2 w 881"/>
                <a:gd name="T53" fmla="*/ 576 h 598"/>
                <a:gd name="T54" fmla="*/ 81 w 881"/>
                <a:gd name="T55" fmla="*/ 586 h 598"/>
                <a:gd name="T56" fmla="*/ 188 w 881"/>
                <a:gd name="T57" fmla="*/ 505 h 598"/>
                <a:gd name="T58" fmla="*/ 162 w 881"/>
                <a:gd name="T59" fmla="*/ 441 h 598"/>
                <a:gd name="T60" fmla="*/ 293 w 881"/>
                <a:gd name="T61" fmla="*/ 387 h 598"/>
                <a:gd name="T62" fmla="*/ 502 w 881"/>
                <a:gd name="T63" fmla="*/ 493 h 598"/>
                <a:gd name="T64" fmla="*/ 653 w 881"/>
                <a:gd name="T65" fmla="*/ 595 h 598"/>
                <a:gd name="T66" fmla="*/ 659 w 881"/>
                <a:gd name="T67" fmla="*/ 595 h 598"/>
                <a:gd name="T68" fmla="*/ 670 w 881"/>
                <a:gd name="T69" fmla="*/ 596 h 598"/>
                <a:gd name="T70" fmla="*/ 678 w 881"/>
                <a:gd name="T71" fmla="*/ 596 h 598"/>
                <a:gd name="T72" fmla="*/ 690 w 881"/>
                <a:gd name="T73" fmla="*/ 597 h 598"/>
                <a:gd name="T74" fmla="*/ 698 w 881"/>
                <a:gd name="T75" fmla="*/ 597 h 598"/>
                <a:gd name="T76" fmla="*/ 710 w 881"/>
                <a:gd name="T77" fmla="*/ 598 h 598"/>
                <a:gd name="T78" fmla="*/ 717 w 881"/>
                <a:gd name="T79" fmla="*/ 598 h 598"/>
                <a:gd name="T80" fmla="*/ 734 w 881"/>
                <a:gd name="T81" fmla="*/ 598 h 598"/>
                <a:gd name="T82" fmla="*/ 740 w 881"/>
                <a:gd name="T83" fmla="*/ 598 h 598"/>
                <a:gd name="T84" fmla="*/ 758 w 881"/>
                <a:gd name="T85" fmla="*/ 575 h 598"/>
                <a:gd name="T86" fmla="*/ 836 w 881"/>
                <a:gd name="T87" fmla="*/ 533 h 598"/>
                <a:gd name="T88" fmla="*/ 869 w 881"/>
                <a:gd name="T89" fmla="*/ 525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881" h="598">
                  <a:moveTo>
                    <a:pt x="869" y="525"/>
                  </a:moveTo>
                  <a:cubicBezTo>
                    <a:pt x="861" y="519"/>
                    <a:pt x="864" y="511"/>
                    <a:pt x="848" y="505"/>
                  </a:cubicBezTo>
                  <a:cubicBezTo>
                    <a:pt x="833" y="498"/>
                    <a:pt x="835" y="489"/>
                    <a:pt x="837" y="482"/>
                  </a:cubicBezTo>
                  <a:cubicBezTo>
                    <a:pt x="839" y="475"/>
                    <a:pt x="841" y="467"/>
                    <a:pt x="827" y="463"/>
                  </a:cubicBezTo>
                  <a:cubicBezTo>
                    <a:pt x="813" y="458"/>
                    <a:pt x="810" y="427"/>
                    <a:pt x="818" y="426"/>
                  </a:cubicBezTo>
                  <a:cubicBezTo>
                    <a:pt x="825" y="425"/>
                    <a:pt x="828" y="424"/>
                    <a:pt x="828" y="413"/>
                  </a:cubicBezTo>
                  <a:cubicBezTo>
                    <a:pt x="827" y="403"/>
                    <a:pt x="826" y="396"/>
                    <a:pt x="814" y="389"/>
                  </a:cubicBezTo>
                  <a:cubicBezTo>
                    <a:pt x="801" y="383"/>
                    <a:pt x="800" y="363"/>
                    <a:pt x="780" y="355"/>
                  </a:cubicBezTo>
                  <a:cubicBezTo>
                    <a:pt x="760" y="348"/>
                    <a:pt x="754" y="333"/>
                    <a:pt x="740" y="330"/>
                  </a:cubicBezTo>
                  <a:cubicBezTo>
                    <a:pt x="726" y="327"/>
                    <a:pt x="712" y="329"/>
                    <a:pt x="714" y="317"/>
                  </a:cubicBezTo>
                  <a:cubicBezTo>
                    <a:pt x="716" y="304"/>
                    <a:pt x="726" y="299"/>
                    <a:pt x="707" y="288"/>
                  </a:cubicBezTo>
                  <a:cubicBezTo>
                    <a:pt x="688" y="277"/>
                    <a:pt x="686" y="273"/>
                    <a:pt x="682" y="264"/>
                  </a:cubicBezTo>
                  <a:cubicBezTo>
                    <a:pt x="678" y="255"/>
                    <a:pt x="669" y="258"/>
                    <a:pt x="676" y="243"/>
                  </a:cubicBezTo>
                  <a:cubicBezTo>
                    <a:pt x="682" y="227"/>
                    <a:pt x="673" y="213"/>
                    <a:pt x="684" y="205"/>
                  </a:cubicBezTo>
                  <a:cubicBezTo>
                    <a:pt x="694" y="197"/>
                    <a:pt x="685" y="179"/>
                    <a:pt x="705" y="175"/>
                  </a:cubicBezTo>
                  <a:cubicBezTo>
                    <a:pt x="725" y="171"/>
                    <a:pt x="725" y="170"/>
                    <a:pt x="719" y="159"/>
                  </a:cubicBezTo>
                  <a:cubicBezTo>
                    <a:pt x="713" y="147"/>
                    <a:pt x="708" y="156"/>
                    <a:pt x="708" y="143"/>
                  </a:cubicBezTo>
                  <a:cubicBezTo>
                    <a:pt x="709" y="131"/>
                    <a:pt x="714" y="133"/>
                    <a:pt x="722" y="131"/>
                  </a:cubicBezTo>
                  <a:cubicBezTo>
                    <a:pt x="729" y="129"/>
                    <a:pt x="730" y="118"/>
                    <a:pt x="712" y="118"/>
                  </a:cubicBezTo>
                  <a:cubicBezTo>
                    <a:pt x="694" y="118"/>
                    <a:pt x="690" y="109"/>
                    <a:pt x="677" y="109"/>
                  </a:cubicBezTo>
                  <a:cubicBezTo>
                    <a:pt x="664" y="109"/>
                    <a:pt x="664" y="103"/>
                    <a:pt x="664" y="93"/>
                  </a:cubicBezTo>
                  <a:cubicBezTo>
                    <a:pt x="663" y="83"/>
                    <a:pt x="655" y="81"/>
                    <a:pt x="650" y="68"/>
                  </a:cubicBezTo>
                  <a:cubicBezTo>
                    <a:pt x="644" y="55"/>
                    <a:pt x="636" y="37"/>
                    <a:pt x="636" y="27"/>
                  </a:cubicBezTo>
                  <a:cubicBezTo>
                    <a:pt x="636" y="18"/>
                    <a:pt x="635" y="13"/>
                    <a:pt x="630" y="8"/>
                  </a:cubicBezTo>
                  <a:cubicBezTo>
                    <a:pt x="628" y="12"/>
                    <a:pt x="625" y="17"/>
                    <a:pt x="625" y="19"/>
                  </a:cubicBezTo>
                  <a:cubicBezTo>
                    <a:pt x="623" y="22"/>
                    <a:pt x="613" y="23"/>
                    <a:pt x="607" y="29"/>
                  </a:cubicBezTo>
                  <a:cubicBezTo>
                    <a:pt x="601" y="34"/>
                    <a:pt x="593" y="19"/>
                    <a:pt x="588" y="12"/>
                  </a:cubicBezTo>
                  <a:cubicBezTo>
                    <a:pt x="584" y="6"/>
                    <a:pt x="572" y="11"/>
                    <a:pt x="564" y="12"/>
                  </a:cubicBezTo>
                  <a:cubicBezTo>
                    <a:pt x="556" y="12"/>
                    <a:pt x="546" y="10"/>
                    <a:pt x="543" y="6"/>
                  </a:cubicBezTo>
                  <a:cubicBezTo>
                    <a:pt x="540" y="2"/>
                    <a:pt x="528" y="0"/>
                    <a:pt x="515" y="0"/>
                  </a:cubicBezTo>
                  <a:cubicBezTo>
                    <a:pt x="501" y="1"/>
                    <a:pt x="501" y="8"/>
                    <a:pt x="496" y="15"/>
                  </a:cubicBezTo>
                  <a:cubicBezTo>
                    <a:pt x="494" y="18"/>
                    <a:pt x="489" y="21"/>
                    <a:pt x="483" y="25"/>
                  </a:cubicBezTo>
                  <a:cubicBezTo>
                    <a:pt x="483" y="25"/>
                    <a:pt x="483" y="25"/>
                    <a:pt x="483" y="25"/>
                  </a:cubicBezTo>
                  <a:cubicBezTo>
                    <a:pt x="482" y="25"/>
                    <a:pt x="481" y="26"/>
                    <a:pt x="480" y="27"/>
                  </a:cubicBezTo>
                  <a:cubicBezTo>
                    <a:pt x="480" y="27"/>
                    <a:pt x="479" y="27"/>
                    <a:pt x="479" y="27"/>
                  </a:cubicBezTo>
                  <a:cubicBezTo>
                    <a:pt x="478" y="28"/>
                    <a:pt x="478" y="28"/>
                    <a:pt x="477" y="29"/>
                  </a:cubicBezTo>
                  <a:cubicBezTo>
                    <a:pt x="477" y="29"/>
                    <a:pt x="476" y="29"/>
                    <a:pt x="476" y="29"/>
                  </a:cubicBezTo>
                  <a:cubicBezTo>
                    <a:pt x="475" y="30"/>
                    <a:pt x="475" y="30"/>
                    <a:pt x="474" y="31"/>
                  </a:cubicBezTo>
                  <a:cubicBezTo>
                    <a:pt x="473" y="31"/>
                    <a:pt x="473" y="31"/>
                    <a:pt x="473" y="32"/>
                  </a:cubicBezTo>
                  <a:cubicBezTo>
                    <a:pt x="472" y="32"/>
                    <a:pt x="471" y="32"/>
                    <a:pt x="471" y="33"/>
                  </a:cubicBezTo>
                  <a:cubicBezTo>
                    <a:pt x="470" y="33"/>
                    <a:pt x="470" y="34"/>
                    <a:pt x="470" y="34"/>
                  </a:cubicBezTo>
                  <a:cubicBezTo>
                    <a:pt x="469" y="34"/>
                    <a:pt x="468" y="35"/>
                    <a:pt x="468" y="35"/>
                  </a:cubicBezTo>
                  <a:cubicBezTo>
                    <a:pt x="467" y="36"/>
                    <a:pt x="467" y="36"/>
                    <a:pt x="466" y="36"/>
                  </a:cubicBezTo>
                  <a:cubicBezTo>
                    <a:pt x="466" y="37"/>
                    <a:pt x="465" y="37"/>
                    <a:pt x="465" y="38"/>
                  </a:cubicBezTo>
                  <a:cubicBezTo>
                    <a:pt x="464" y="38"/>
                    <a:pt x="464" y="39"/>
                    <a:pt x="464" y="39"/>
                  </a:cubicBezTo>
                  <a:cubicBezTo>
                    <a:pt x="463" y="40"/>
                    <a:pt x="462" y="40"/>
                    <a:pt x="462" y="41"/>
                  </a:cubicBezTo>
                  <a:cubicBezTo>
                    <a:pt x="461" y="41"/>
                    <a:pt x="461" y="42"/>
                    <a:pt x="461" y="42"/>
                  </a:cubicBezTo>
                  <a:cubicBezTo>
                    <a:pt x="460" y="43"/>
                    <a:pt x="459" y="44"/>
                    <a:pt x="458" y="45"/>
                  </a:cubicBezTo>
                  <a:cubicBezTo>
                    <a:pt x="445" y="61"/>
                    <a:pt x="438" y="60"/>
                    <a:pt x="424" y="64"/>
                  </a:cubicBezTo>
                  <a:cubicBezTo>
                    <a:pt x="410" y="68"/>
                    <a:pt x="408" y="88"/>
                    <a:pt x="407" y="100"/>
                  </a:cubicBezTo>
                  <a:cubicBezTo>
                    <a:pt x="406" y="112"/>
                    <a:pt x="409" y="118"/>
                    <a:pt x="413" y="127"/>
                  </a:cubicBezTo>
                  <a:cubicBezTo>
                    <a:pt x="417" y="136"/>
                    <a:pt x="413" y="138"/>
                    <a:pt x="408" y="152"/>
                  </a:cubicBezTo>
                  <a:cubicBezTo>
                    <a:pt x="403" y="166"/>
                    <a:pt x="399" y="173"/>
                    <a:pt x="401" y="192"/>
                  </a:cubicBezTo>
                  <a:cubicBezTo>
                    <a:pt x="403" y="211"/>
                    <a:pt x="377" y="228"/>
                    <a:pt x="351" y="244"/>
                  </a:cubicBezTo>
                  <a:cubicBezTo>
                    <a:pt x="325" y="260"/>
                    <a:pt x="284" y="273"/>
                    <a:pt x="255" y="293"/>
                  </a:cubicBezTo>
                  <a:cubicBezTo>
                    <a:pt x="226" y="313"/>
                    <a:pt x="183" y="335"/>
                    <a:pt x="154" y="357"/>
                  </a:cubicBezTo>
                  <a:cubicBezTo>
                    <a:pt x="124" y="379"/>
                    <a:pt x="105" y="368"/>
                    <a:pt x="96" y="364"/>
                  </a:cubicBezTo>
                  <a:cubicBezTo>
                    <a:pt x="87" y="361"/>
                    <a:pt x="75" y="345"/>
                    <a:pt x="64" y="341"/>
                  </a:cubicBezTo>
                  <a:cubicBezTo>
                    <a:pt x="54" y="336"/>
                    <a:pt x="53" y="323"/>
                    <a:pt x="50" y="321"/>
                  </a:cubicBezTo>
                  <a:cubicBezTo>
                    <a:pt x="48" y="319"/>
                    <a:pt x="46" y="318"/>
                    <a:pt x="44" y="316"/>
                  </a:cubicBezTo>
                  <a:cubicBezTo>
                    <a:pt x="44" y="316"/>
                    <a:pt x="44" y="317"/>
                    <a:pt x="44" y="317"/>
                  </a:cubicBezTo>
                  <a:cubicBezTo>
                    <a:pt x="45" y="317"/>
                    <a:pt x="45" y="318"/>
                    <a:pt x="45" y="319"/>
                  </a:cubicBezTo>
                  <a:cubicBezTo>
                    <a:pt x="45" y="319"/>
                    <a:pt x="45" y="320"/>
                    <a:pt x="45" y="320"/>
                  </a:cubicBezTo>
                  <a:cubicBezTo>
                    <a:pt x="46" y="321"/>
                    <a:pt x="46" y="321"/>
                    <a:pt x="46" y="322"/>
                  </a:cubicBezTo>
                  <a:cubicBezTo>
                    <a:pt x="46" y="323"/>
                    <a:pt x="46" y="323"/>
                    <a:pt x="47" y="324"/>
                  </a:cubicBezTo>
                  <a:cubicBezTo>
                    <a:pt x="47" y="324"/>
                    <a:pt x="47" y="325"/>
                    <a:pt x="47" y="325"/>
                  </a:cubicBezTo>
                  <a:cubicBezTo>
                    <a:pt x="47" y="326"/>
                    <a:pt x="47" y="327"/>
                    <a:pt x="48" y="329"/>
                  </a:cubicBezTo>
                  <a:cubicBezTo>
                    <a:pt x="49" y="337"/>
                    <a:pt x="44" y="359"/>
                    <a:pt x="42" y="365"/>
                  </a:cubicBezTo>
                  <a:cubicBezTo>
                    <a:pt x="41" y="371"/>
                    <a:pt x="41" y="378"/>
                    <a:pt x="42" y="382"/>
                  </a:cubicBezTo>
                  <a:cubicBezTo>
                    <a:pt x="43" y="386"/>
                    <a:pt x="43" y="407"/>
                    <a:pt x="43" y="412"/>
                  </a:cubicBezTo>
                  <a:cubicBezTo>
                    <a:pt x="43" y="418"/>
                    <a:pt x="38" y="431"/>
                    <a:pt x="35" y="443"/>
                  </a:cubicBezTo>
                  <a:cubicBezTo>
                    <a:pt x="32" y="455"/>
                    <a:pt x="31" y="463"/>
                    <a:pt x="28" y="470"/>
                  </a:cubicBezTo>
                  <a:cubicBezTo>
                    <a:pt x="24" y="477"/>
                    <a:pt x="23" y="482"/>
                    <a:pt x="22" y="489"/>
                  </a:cubicBezTo>
                  <a:cubicBezTo>
                    <a:pt x="22" y="497"/>
                    <a:pt x="16" y="518"/>
                    <a:pt x="16" y="526"/>
                  </a:cubicBezTo>
                  <a:cubicBezTo>
                    <a:pt x="16" y="533"/>
                    <a:pt x="9" y="550"/>
                    <a:pt x="0" y="557"/>
                  </a:cubicBezTo>
                  <a:cubicBezTo>
                    <a:pt x="0" y="557"/>
                    <a:pt x="0" y="558"/>
                    <a:pt x="0" y="558"/>
                  </a:cubicBezTo>
                  <a:cubicBezTo>
                    <a:pt x="0" y="558"/>
                    <a:pt x="0" y="559"/>
                    <a:pt x="0" y="559"/>
                  </a:cubicBezTo>
                  <a:cubicBezTo>
                    <a:pt x="0" y="559"/>
                    <a:pt x="0" y="560"/>
                    <a:pt x="0" y="560"/>
                  </a:cubicBezTo>
                  <a:cubicBezTo>
                    <a:pt x="0" y="560"/>
                    <a:pt x="0" y="560"/>
                    <a:pt x="0" y="561"/>
                  </a:cubicBezTo>
                  <a:cubicBezTo>
                    <a:pt x="0" y="561"/>
                    <a:pt x="0" y="561"/>
                    <a:pt x="0" y="561"/>
                  </a:cubicBezTo>
                  <a:cubicBezTo>
                    <a:pt x="1" y="565"/>
                    <a:pt x="5" y="566"/>
                    <a:pt x="2" y="576"/>
                  </a:cubicBezTo>
                  <a:cubicBezTo>
                    <a:pt x="2" y="576"/>
                    <a:pt x="2" y="576"/>
                    <a:pt x="2" y="576"/>
                  </a:cubicBezTo>
                  <a:cubicBezTo>
                    <a:pt x="13" y="576"/>
                    <a:pt x="36" y="576"/>
                    <a:pt x="46" y="582"/>
                  </a:cubicBezTo>
                  <a:cubicBezTo>
                    <a:pt x="61" y="590"/>
                    <a:pt x="66" y="598"/>
                    <a:pt x="81" y="586"/>
                  </a:cubicBezTo>
                  <a:cubicBezTo>
                    <a:pt x="96" y="574"/>
                    <a:pt x="114" y="537"/>
                    <a:pt x="133" y="537"/>
                  </a:cubicBezTo>
                  <a:cubicBezTo>
                    <a:pt x="152" y="537"/>
                    <a:pt x="173" y="539"/>
                    <a:pt x="174" y="526"/>
                  </a:cubicBezTo>
                  <a:cubicBezTo>
                    <a:pt x="176" y="513"/>
                    <a:pt x="180" y="506"/>
                    <a:pt x="188" y="505"/>
                  </a:cubicBezTo>
                  <a:cubicBezTo>
                    <a:pt x="196" y="503"/>
                    <a:pt x="197" y="493"/>
                    <a:pt x="192" y="486"/>
                  </a:cubicBezTo>
                  <a:cubicBezTo>
                    <a:pt x="186" y="479"/>
                    <a:pt x="186" y="474"/>
                    <a:pt x="177" y="469"/>
                  </a:cubicBezTo>
                  <a:cubicBezTo>
                    <a:pt x="168" y="463"/>
                    <a:pt x="158" y="459"/>
                    <a:pt x="162" y="441"/>
                  </a:cubicBezTo>
                  <a:cubicBezTo>
                    <a:pt x="166" y="422"/>
                    <a:pt x="176" y="410"/>
                    <a:pt x="197" y="406"/>
                  </a:cubicBezTo>
                  <a:cubicBezTo>
                    <a:pt x="218" y="402"/>
                    <a:pt x="241" y="401"/>
                    <a:pt x="250" y="393"/>
                  </a:cubicBezTo>
                  <a:cubicBezTo>
                    <a:pt x="260" y="385"/>
                    <a:pt x="269" y="381"/>
                    <a:pt x="293" y="387"/>
                  </a:cubicBezTo>
                  <a:cubicBezTo>
                    <a:pt x="317" y="394"/>
                    <a:pt x="349" y="386"/>
                    <a:pt x="376" y="411"/>
                  </a:cubicBezTo>
                  <a:cubicBezTo>
                    <a:pt x="402" y="437"/>
                    <a:pt x="417" y="439"/>
                    <a:pt x="436" y="445"/>
                  </a:cubicBezTo>
                  <a:cubicBezTo>
                    <a:pt x="454" y="450"/>
                    <a:pt x="486" y="482"/>
                    <a:pt x="502" y="493"/>
                  </a:cubicBezTo>
                  <a:cubicBezTo>
                    <a:pt x="518" y="503"/>
                    <a:pt x="572" y="547"/>
                    <a:pt x="586" y="561"/>
                  </a:cubicBezTo>
                  <a:cubicBezTo>
                    <a:pt x="601" y="574"/>
                    <a:pt x="614" y="590"/>
                    <a:pt x="648" y="594"/>
                  </a:cubicBezTo>
                  <a:cubicBezTo>
                    <a:pt x="649" y="594"/>
                    <a:pt x="651" y="594"/>
                    <a:pt x="653" y="595"/>
                  </a:cubicBezTo>
                  <a:cubicBezTo>
                    <a:pt x="653" y="595"/>
                    <a:pt x="653" y="595"/>
                    <a:pt x="653" y="595"/>
                  </a:cubicBezTo>
                  <a:cubicBezTo>
                    <a:pt x="655" y="595"/>
                    <a:pt x="657" y="595"/>
                    <a:pt x="658" y="595"/>
                  </a:cubicBezTo>
                  <a:cubicBezTo>
                    <a:pt x="659" y="595"/>
                    <a:pt x="659" y="595"/>
                    <a:pt x="659" y="595"/>
                  </a:cubicBezTo>
                  <a:cubicBezTo>
                    <a:pt x="661" y="595"/>
                    <a:pt x="663" y="595"/>
                    <a:pt x="665" y="596"/>
                  </a:cubicBezTo>
                  <a:cubicBezTo>
                    <a:pt x="665" y="596"/>
                    <a:pt x="665" y="596"/>
                    <a:pt x="665" y="596"/>
                  </a:cubicBezTo>
                  <a:cubicBezTo>
                    <a:pt x="667" y="596"/>
                    <a:pt x="669" y="596"/>
                    <a:pt x="670" y="596"/>
                  </a:cubicBezTo>
                  <a:cubicBezTo>
                    <a:pt x="671" y="596"/>
                    <a:pt x="671" y="596"/>
                    <a:pt x="672" y="596"/>
                  </a:cubicBezTo>
                  <a:cubicBezTo>
                    <a:pt x="673" y="596"/>
                    <a:pt x="675" y="596"/>
                    <a:pt x="677" y="596"/>
                  </a:cubicBezTo>
                  <a:cubicBezTo>
                    <a:pt x="677" y="596"/>
                    <a:pt x="678" y="596"/>
                    <a:pt x="678" y="596"/>
                  </a:cubicBezTo>
                  <a:cubicBezTo>
                    <a:pt x="680" y="597"/>
                    <a:pt x="682" y="597"/>
                    <a:pt x="684" y="597"/>
                  </a:cubicBezTo>
                  <a:cubicBezTo>
                    <a:pt x="684" y="597"/>
                    <a:pt x="684" y="597"/>
                    <a:pt x="684" y="597"/>
                  </a:cubicBezTo>
                  <a:cubicBezTo>
                    <a:pt x="686" y="597"/>
                    <a:pt x="688" y="597"/>
                    <a:pt x="690" y="597"/>
                  </a:cubicBezTo>
                  <a:cubicBezTo>
                    <a:pt x="690" y="597"/>
                    <a:pt x="691" y="597"/>
                    <a:pt x="691" y="597"/>
                  </a:cubicBezTo>
                  <a:cubicBezTo>
                    <a:pt x="693" y="597"/>
                    <a:pt x="695" y="597"/>
                    <a:pt x="697" y="597"/>
                  </a:cubicBezTo>
                  <a:cubicBezTo>
                    <a:pt x="697" y="597"/>
                    <a:pt x="698" y="597"/>
                    <a:pt x="698" y="597"/>
                  </a:cubicBezTo>
                  <a:cubicBezTo>
                    <a:pt x="700" y="597"/>
                    <a:pt x="702" y="597"/>
                    <a:pt x="704" y="597"/>
                  </a:cubicBezTo>
                  <a:cubicBezTo>
                    <a:pt x="704" y="597"/>
                    <a:pt x="704" y="597"/>
                    <a:pt x="704" y="597"/>
                  </a:cubicBezTo>
                  <a:cubicBezTo>
                    <a:pt x="706" y="597"/>
                    <a:pt x="708" y="598"/>
                    <a:pt x="710" y="598"/>
                  </a:cubicBezTo>
                  <a:cubicBezTo>
                    <a:pt x="710" y="598"/>
                    <a:pt x="710" y="598"/>
                    <a:pt x="711" y="598"/>
                  </a:cubicBezTo>
                  <a:cubicBezTo>
                    <a:pt x="713" y="598"/>
                    <a:pt x="715" y="598"/>
                    <a:pt x="716" y="598"/>
                  </a:cubicBezTo>
                  <a:cubicBezTo>
                    <a:pt x="717" y="598"/>
                    <a:pt x="717" y="598"/>
                    <a:pt x="717" y="598"/>
                  </a:cubicBezTo>
                  <a:cubicBezTo>
                    <a:pt x="721" y="598"/>
                    <a:pt x="725" y="598"/>
                    <a:pt x="728" y="598"/>
                  </a:cubicBezTo>
                  <a:cubicBezTo>
                    <a:pt x="729" y="598"/>
                    <a:pt x="729" y="598"/>
                    <a:pt x="729" y="598"/>
                  </a:cubicBezTo>
                  <a:cubicBezTo>
                    <a:pt x="731" y="598"/>
                    <a:pt x="732" y="598"/>
                    <a:pt x="734" y="598"/>
                  </a:cubicBezTo>
                  <a:cubicBezTo>
                    <a:pt x="734" y="598"/>
                    <a:pt x="734" y="598"/>
                    <a:pt x="735" y="598"/>
                  </a:cubicBezTo>
                  <a:cubicBezTo>
                    <a:pt x="736" y="598"/>
                    <a:pt x="738" y="598"/>
                    <a:pt x="739" y="598"/>
                  </a:cubicBezTo>
                  <a:cubicBezTo>
                    <a:pt x="739" y="598"/>
                    <a:pt x="740" y="598"/>
                    <a:pt x="740" y="598"/>
                  </a:cubicBezTo>
                  <a:cubicBezTo>
                    <a:pt x="741" y="598"/>
                    <a:pt x="742" y="598"/>
                    <a:pt x="744" y="598"/>
                  </a:cubicBezTo>
                  <a:cubicBezTo>
                    <a:pt x="744" y="598"/>
                    <a:pt x="744" y="598"/>
                    <a:pt x="744" y="598"/>
                  </a:cubicBezTo>
                  <a:cubicBezTo>
                    <a:pt x="747" y="590"/>
                    <a:pt x="752" y="578"/>
                    <a:pt x="758" y="575"/>
                  </a:cubicBezTo>
                  <a:cubicBezTo>
                    <a:pt x="766" y="571"/>
                    <a:pt x="772" y="560"/>
                    <a:pt x="778" y="545"/>
                  </a:cubicBezTo>
                  <a:cubicBezTo>
                    <a:pt x="784" y="531"/>
                    <a:pt x="794" y="525"/>
                    <a:pt x="808" y="527"/>
                  </a:cubicBezTo>
                  <a:cubicBezTo>
                    <a:pt x="821" y="529"/>
                    <a:pt x="830" y="528"/>
                    <a:pt x="836" y="533"/>
                  </a:cubicBezTo>
                  <a:cubicBezTo>
                    <a:pt x="838" y="535"/>
                    <a:pt x="843" y="537"/>
                    <a:pt x="846" y="539"/>
                  </a:cubicBezTo>
                  <a:cubicBezTo>
                    <a:pt x="853" y="535"/>
                    <a:pt x="868" y="537"/>
                    <a:pt x="881" y="538"/>
                  </a:cubicBezTo>
                  <a:cubicBezTo>
                    <a:pt x="877" y="533"/>
                    <a:pt x="873" y="528"/>
                    <a:pt x="869" y="52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227" name="Freeform 25312"/>
            <p:cNvSpPr>
              <a:spLocks/>
            </p:cNvSpPr>
            <p:nvPr/>
          </p:nvSpPr>
          <p:spPr bwMode="auto">
            <a:xfrm>
              <a:off x="5128680" y="2899314"/>
              <a:ext cx="163832" cy="138263"/>
            </a:xfrm>
            <a:custGeom>
              <a:avLst/>
              <a:gdLst>
                <a:gd name="T0" fmla="*/ 59 w 439"/>
                <a:gd name="T1" fmla="*/ 234 h 371"/>
                <a:gd name="T2" fmla="*/ 27 w 439"/>
                <a:gd name="T3" fmla="*/ 263 h 371"/>
                <a:gd name="T4" fmla="*/ 8 w 439"/>
                <a:gd name="T5" fmla="*/ 295 h 371"/>
                <a:gd name="T6" fmla="*/ 6 w 439"/>
                <a:gd name="T7" fmla="*/ 295 h 371"/>
                <a:gd name="T8" fmla="*/ 4 w 439"/>
                <a:gd name="T9" fmla="*/ 296 h 371"/>
                <a:gd name="T10" fmla="*/ 3 w 439"/>
                <a:gd name="T11" fmla="*/ 298 h 371"/>
                <a:gd name="T12" fmla="*/ 3 w 439"/>
                <a:gd name="T13" fmla="*/ 300 h 371"/>
                <a:gd name="T14" fmla="*/ 1 w 439"/>
                <a:gd name="T15" fmla="*/ 306 h 371"/>
                <a:gd name="T16" fmla="*/ 0 w 439"/>
                <a:gd name="T17" fmla="*/ 308 h 371"/>
                <a:gd name="T18" fmla="*/ 6 w 439"/>
                <a:gd name="T19" fmla="*/ 313 h 371"/>
                <a:gd name="T20" fmla="*/ 52 w 439"/>
                <a:gd name="T21" fmla="*/ 356 h 371"/>
                <a:gd name="T22" fmla="*/ 211 w 439"/>
                <a:gd name="T23" fmla="*/ 285 h 371"/>
                <a:gd name="T24" fmla="*/ 357 w 439"/>
                <a:gd name="T25" fmla="*/ 184 h 371"/>
                <a:gd name="T26" fmla="*/ 369 w 439"/>
                <a:gd name="T27" fmla="*/ 119 h 371"/>
                <a:gd name="T28" fmla="*/ 380 w 439"/>
                <a:gd name="T29" fmla="*/ 56 h 371"/>
                <a:gd name="T30" fmla="*/ 417 w 439"/>
                <a:gd name="T31" fmla="*/ 34 h 371"/>
                <a:gd name="T32" fmla="*/ 420 w 439"/>
                <a:gd name="T33" fmla="*/ 31 h 371"/>
                <a:gd name="T34" fmla="*/ 422 w 439"/>
                <a:gd name="T35" fmla="*/ 28 h 371"/>
                <a:gd name="T36" fmla="*/ 426 w 439"/>
                <a:gd name="T37" fmla="*/ 26 h 371"/>
                <a:gd name="T38" fmla="*/ 429 w 439"/>
                <a:gd name="T39" fmla="*/ 24 h 371"/>
                <a:gd name="T40" fmla="*/ 432 w 439"/>
                <a:gd name="T41" fmla="*/ 21 h 371"/>
                <a:gd name="T42" fmla="*/ 435 w 439"/>
                <a:gd name="T43" fmla="*/ 19 h 371"/>
                <a:gd name="T44" fmla="*/ 439 w 439"/>
                <a:gd name="T45" fmla="*/ 17 h 371"/>
                <a:gd name="T46" fmla="*/ 398 w 439"/>
                <a:gd name="T47" fmla="*/ 11 h 371"/>
                <a:gd name="T48" fmla="*/ 345 w 439"/>
                <a:gd name="T49" fmla="*/ 12 h 371"/>
                <a:gd name="T50" fmla="*/ 280 w 439"/>
                <a:gd name="T51" fmla="*/ 41 h 371"/>
                <a:gd name="T52" fmla="*/ 192 w 439"/>
                <a:gd name="T53" fmla="*/ 39 h 371"/>
                <a:gd name="T54" fmla="*/ 129 w 439"/>
                <a:gd name="T55" fmla="*/ 42 h 371"/>
                <a:gd name="T56" fmla="*/ 86 w 439"/>
                <a:gd name="T57" fmla="*/ 39 h 371"/>
                <a:gd name="T58" fmla="*/ 68 w 439"/>
                <a:gd name="T59" fmla="*/ 69 h 371"/>
                <a:gd name="T60" fmla="*/ 45 w 439"/>
                <a:gd name="T61" fmla="*/ 97 h 371"/>
                <a:gd name="T62" fmla="*/ 17 w 439"/>
                <a:gd name="T63" fmla="*/ 100 h 371"/>
                <a:gd name="T64" fmla="*/ 20 w 439"/>
                <a:gd name="T65" fmla="*/ 163 h 371"/>
                <a:gd name="T66" fmla="*/ 40 w 439"/>
                <a:gd name="T67" fmla="*/ 194 h 3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39" h="371">
                  <a:moveTo>
                    <a:pt x="59" y="208"/>
                  </a:moveTo>
                  <a:cubicBezTo>
                    <a:pt x="62" y="213"/>
                    <a:pt x="70" y="224"/>
                    <a:pt x="59" y="234"/>
                  </a:cubicBezTo>
                  <a:cubicBezTo>
                    <a:pt x="48" y="245"/>
                    <a:pt x="54" y="254"/>
                    <a:pt x="45" y="256"/>
                  </a:cubicBezTo>
                  <a:cubicBezTo>
                    <a:pt x="35" y="257"/>
                    <a:pt x="28" y="259"/>
                    <a:pt x="27" y="263"/>
                  </a:cubicBezTo>
                  <a:cubicBezTo>
                    <a:pt x="25" y="267"/>
                    <a:pt x="26" y="278"/>
                    <a:pt x="23" y="284"/>
                  </a:cubicBezTo>
                  <a:cubicBezTo>
                    <a:pt x="21" y="289"/>
                    <a:pt x="17" y="295"/>
                    <a:pt x="8" y="295"/>
                  </a:cubicBezTo>
                  <a:cubicBezTo>
                    <a:pt x="7" y="295"/>
                    <a:pt x="7" y="295"/>
                    <a:pt x="6" y="295"/>
                  </a:cubicBezTo>
                  <a:cubicBezTo>
                    <a:pt x="6" y="295"/>
                    <a:pt x="6" y="295"/>
                    <a:pt x="6" y="295"/>
                  </a:cubicBezTo>
                  <a:cubicBezTo>
                    <a:pt x="5" y="295"/>
                    <a:pt x="5" y="296"/>
                    <a:pt x="4" y="296"/>
                  </a:cubicBezTo>
                  <a:cubicBezTo>
                    <a:pt x="4" y="296"/>
                    <a:pt x="4" y="296"/>
                    <a:pt x="4" y="296"/>
                  </a:cubicBezTo>
                  <a:cubicBezTo>
                    <a:pt x="4" y="296"/>
                    <a:pt x="4" y="297"/>
                    <a:pt x="3" y="297"/>
                  </a:cubicBezTo>
                  <a:cubicBezTo>
                    <a:pt x="3" y="298"/>
                    <a:pt x="3" y="298"/>
                    <a:pt x="3" y="298"/>
                  </a:cubicBezTo>
                  <a:cubicBezTo>
                    <a:pt x="3" y="298"/>
                    <a:pt x="3" y="299"/>
                    <a:pt x="3" y="299"/>
                  </a:cubicBezTo>
                  <a:cubicBezTo>
                    <a:pt x="3" y="299"/>
                    <a:pt x="3" y="300"/>
                    <a:pt x="3" y="300"/>
                  </a:cubicBezTo>
                  <a:cubicBezTo>
                    <a:pt x="2" y="300"/>
                    <a:pt x="2" y="301"/>
                    <a:pt x="2" y="301"/>
                  </a:cubicBezTo>
                  <a:cubicBezTo>
                    <a:pt x="2" y="303"/>
                    <a:pt x="1" y="304"/>
                    <a:pt x="1" y="306"/>
                  </a:cubicBezTo>
                  <a:cubicBezTo>
                    <a:pt x="1" y="306"/>
                    <a:pt x="1" y="306"/>
                    <a:pt x="1" y="306"/>
                  </a:cubicBezTo>
                  <a:cubicBezTo>
                    <a:pt x="1" y="307"/>
                    <a:pt x="0" y="307"/>
                    <a:pt x="0" y="308"/>
                  </a:cubicBezTo>
                  <a:cubicBezTo>
                    <a:pt x="0" y="308"/>
                    <a:pt x="0" y="308"/>
                    <a:pt x="0" y="308"/>
                  </a:cubicBezTo>
                  <a:cubicBezTo>
                    <a:pt x="2" y="310"/>
                    <a:pt x="4" y="311"/>
                    <a:pt x="6" y="313"/>
                  </a:cubicBezTo>
                  <a:cubicBezTo>
                    <a:pt x="9" y="315"/>
                    <a:pt x="10" y="328"/>
                    <a:pt x="20" y="333"/>
                  </a:cubicBezTo>
                  <a:cubicBezTo>
                    <a:pt x="31" y="337"/>
                    <a:pt x="43" y="353"/>
                    <a:pt x="52" y="356"/>
                  </a:cubicBezTo>
                  <a:cubicBezTo>
                    <a:pt x="61" y="360"/>
                    <a:pt x="80" y="371"/>
                    <a:pt x="110" y="349"/>
                  </a:cubicBezTo>
                  <a:cubicBezTo>
                    <a:pt x="139" y="327"/>
                    <a:pt x="182" y="305"/>
                    <a:pt x="211" y="285"/>
                  </a:cubicBezTo>
                  <a:cubicBezTo>
                    <a:pt x="240" y="265"/>
                    <a:pt x="281" y="252"/>
                    <a:pt x="307" y="236"/>
                  </a:cubicBezTo>
                  <a:cubicBezTo>
                    <a:pt x="333" y="220"/>
                    <a:pt x="359" y="203"/>
                    <a:pt x="357" y="184"/>
                  </a:cubicBezTo>
                  <a:cubicBezTo>
                    <a:pt x="355" y="165"/>
                    <a:pt x="359" y="158"/>
                    <a:pt x="364" y="144"/>
                  </a:cubicBezTo>
                  <a:cubicBezTo>
                    <a:pt x="369" y="130"/>
                    <a:pt x="373" y="128"/>
                    <a:pt x="369" y="119"/>
                  </a:cubicBezTo>
                  <a:cubicBezTo>
                    <a:pt x="365" y="110"/>
                    <a:pt x="362" y="104"/>
                    <a:pt x="363" y="92"/>
                  </a:cubicBezTo>
                  <a:cubicBezTo>
                    <a:pt x="364" y="80"/>
                    <a:pt x="366" y="60"/>
                    <a:pt x="380" y="56"/>
                  </a:cubicBezTo>
                  <a:cubicBezTo>
                    <a:pt x="394" y="52"/>
                    <a:pt x="401" y="53"/>
                    <a:pt x="414" y="37"/>
                  </a:cubicBezTo>
                  <a:cubicBezTo>
                    <a:pt x="415" y="36"/>
                    <a:pt x="416" y="35"/>
                    <a:pt x="417" y="34"/>
                  </a:cubicBezTo>
                  <a:cubicBezTo>
                    <a:pt x="417" y="34"/>
                    <a:pt x="417" y="33"/>
                    <a:pt x="418" y="33"/>
                  </a:cubicBezTo>
                  <a:cubicBezTo>
                    <a:pt x="418" y="32"/>
                    <a:pt x="419" y="32"/>
                    <a:pt x="420" y="31"/>
                  </a:cubicBezTo>
                  <a:cubicBezTo>
                    <a:pt x="420" y="31"/>
                    <a:pt x="420" y="30"/>
                    <a:pt x="421" y="30"/>
                  </a:cubicBezTo>
                  <a:cubicBezTo>
                    <a:pt x="421" y="29"/>
                    <a:pt x="422" y="29"/>
                    <a:pt x="422" y="28"/>
                  </a:cubicBezTo>
                  <a:cubicBezTo>
                    <a:pt x="423" y="28"/>
                    <a:pt x="423" y="28"/>
                    <a:pt x="424" y="27"/>
                  </a:cubicBezTo>
                  <a:cubicBezTo>
                    <a:pt x="424" y="27"/>
                    <a:pt x="425" y="26"/>
                    <a:pt x="426" y="26"/>
                  </a:cubicBezTo>
                  <a:cubicBezTo>
                    <a:pt x="426" y="26"/>
                    <a:pt x="426" y="25"/>
                    <a:pt x="427" y="25"/>
                  </a:cubicBezTo>
                  <a:cubicBezTo>
                    <a:pt x="427" y="24"/>
                    <a:pt x="428" y="24"/>
                    <a:pt x="429" y="24"/>
                  </a:cubicBezTo>
                  <a:cubicBezTo>
                    <a:pt x="429" y="23"/>
                    <a:pt x="429" y="23"/>
                    <a:pt x="430" y="23"/>
                  </a:cubicBezTo>
                  <a:cubicBezTo>
                    <a:pt x="431" y="22"/>
                    <a:pt x="431" y="22"/>
                    <a:pt x="432" y="21"/>
                  </a:cubicBezTo>
                  <a:cubicBezTo>
                    <a:pt x="432" y="21"/>
                    <a:pt x="433" y="21"/>
                    <a:pt x="433" y="21"/>
                  </a:cubicBezTo>
                  <a:cubicBezTo>
                    <a:pt x="434" y="20"/>
                    <a:pt x="434" y="20"/>
                    <a:pt x="435" y="19"/>
                  </a:cubicBezTo>
                  <a:cubicBezTo>
                    <a:pt x="435" y="19"/>
                    <a:pt x="436" y="19"/>
                    <a:pt x="436" y="19"/>
                  </a:cubicBezTo>
                  <a:cubicBezTo>
                    <a:pt x="437" y="18"/>
                    <a:pt x="438" y="17"/>
                    <a:pt x="439" y="17"/>
                  </a:cubicBezTo>
                  <a:cubicBezTo>
                    <a:pt x="426" y="1"/>
                    <a:pt x="421" y="0"/>
                    <a:pt x="418" y="4"/>
                  </a:cubicBezTo>
                  <a:cubicBezTo>
                    <a:pt x="414" y="8"/>
                    <a:pt x="406" y="7"/>
                    <a:pt x="398" y="11"/>
                  </a:cubicBezTo>
                  <a:cubicBezTo>
                    <a:pt x="389" y="15"/>
                    <a:pt x="379" y="20"/>
                    <a:pt x="371" y="20"/>
                  </a:cubicBezTo>
                  <a:cubicBezTo>
                    <a:pt x="363" y="20"/>
                    <a:pt x="356" y="19"/>
                    <a:pt x="345" y="12"/>
                  </a:cubicBezTo>
                  <a:cubicBezTo>
                    <a:pt x="334" y="5"/>
                    <a:pt x="321" y="18"/>
                    <a:pt x="310" y="24"/>
                  </a:cubicBezTo>
                  <a:cubicBezTo>
                    <a:pt x="300" y="30"/>
                    <a:pt x="287" y="36"/>
                    <a:pt x="280" y="41"/>
                  </a:cubicBezTo>
                  <a:cubicBezTo>
                    <a:pt x="272" y="45"/>
                    <a:pt x="242" y="45"/>
                    <a:pt x="229" y="47"/>
                  </a:cubicBezTo>
                  <a:cubicBezTo>
                    <a:pt x="216" y="48"/>
                    <a:pt x="200" y="49"/>
                    <a:pt x="192" y="39"/>
                  </a:cubicBezTo>
                  <a:cubicBezTo>
                    <a:pt x="184" y="28"/>
                    <a:pt x="166" y="33"/>
                    <a:pt x="156" y="34"/>
                  </a:cubicBezTo>
                  <a:cubicBezTo>
                    <a:pt x="146" y="35"/>
                    <a:pt x="137" y="42"/>
                    <a:pt x="129" y="42"/>
                  </a:cubicBezTo>
                  <a:cubicBezTo>
                    <a:pt x="121" y="42"/>
                    <a:pt x="122" y="51"/>
                    <a:pt x="108" y="52"/>
                  </a:cubicBezTo>
                  <a:cubicBezTo>
                    <a:pt x="94" y="53"/>
                    <a:pt x="96" y="47"/>
                    <a:pt x="86" y="39"/>
                  </a:cubicBezTo>
                  <a:cubicBezTo>
                    <a:pt x="76" y="31"/>
                    <a:pt x="66" y="39"/>
                    <a:pt x="63" y="47"/>
                  </a:cubicBezTo>
                  <a:cubicBezTo>
                    <a:pt x="60" y="55"/>
                    <a:pt x="63" y="62"/>
                    <a:pt x="68" y="69"/>
                  </a:cubicBezTo>
                  <a:cubicBezTo>
                    <a:pt x="72" y="75"/>
                    <a:pt x="66" y="76"/>
                    <a:pt x="56" y="78"/>
                  </a:cubicBezTo>
                  <a:cubicBezTo>
                    <a:pt x="46" y="80"/>
                    <a:pt x="46" y="87"/>
                    <a:pt x="45" y="97"/>
                  </a:cubicBezTo>
                  <a:cubicBezTo>
                    <a:pt x="44" y="108"/>
                    <a:pt x="26" y="106"/>
                    <a:pt x="22" y="103"/>
                  </a:cubicBezTo>
                  <a:cubicBezTo>
                    <a:pt x="21" y="102"/>
                    <a:pt x="19" y="101"/>
                    <a:pt x="17" y="100"/>
                  </a:cubicBezTo>
                  <a:cubicBezTo>
                    <a:pt x="13" y="108"/>
                    <a:pt x="7" y="114"/>
                    <a:pt x="14" y="128"/>
                  </a:cubicBezTo>
                  <a:cubicBezTo>
                    <a:pt x="23" y="145"/>
                    <a:pt x="14" y="145"/>
                    <a:pt x="20" y="163"/>
                  </a:cubicBezTo>
                  <a:cubicBezTo>
                    <a:pt x="23" y="175"/>
                    <a:pt x="22" y="179"/>
                    <a:pt x="19" y="185"/>
                  </a:cubicBezTo>
                  <a:cubicBezTo>
                    <a:pt x="25" y="187"/>
                    <a:pt x="36" y="189"/>
                    <a:pt x="40" y="194"/>
                  </a:cubicBezTo>
                  <a:cubicBezTo>
                    <a:pt x="47" y="201"/>
                    <a:pt x="55" y="204"/>
                    <a:pt x="59" y="208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228" name="Freeform 25313"/>
            <p:cNvSpPr>
              <a:spLocks/>
            </p:cNvSpPr>
            <p:nvPr/>
          </p:nvSpPr>
          <p:spPr bwMode="auto">
            <a:xfrm>
              <a:off x="5327078" y="2831762"/>
              <a:ext cx="464663" cy="390482"/>
            </a:xfrm>
            <a:custGeom>
              <a:avLst/>
              <a:gdLst>
                <a:gd name="T0" fmla="*/ 1240 w 1246"/>
                <a:gd name="T1" fmla="*/ 912 h 1047"/>
                <a:gd name="T2" fmla="*/ 1127 w 1246"/>
                <a:gd name="T3" fmla="*/ 776 h 1047"/>
                <a:gd name="T4" fmla="*/ 1092 w 1246"/>
                <a:gd name="T5" fmla="*/ 727 h 1047"/>
                <a:gd name="T6" fmla="*/ 1089 w 1246"/>
                <a:gd name="T7" fmla="*/ 723 h 1047"/>
                <a:gd name="T8" fmla="*/ 1088 w 1246"/>
                <a:gd name="T9" fmla="*/ 719 h 1047"/>
                <a:gd name="T10" fmla="*/ 1088 w 1246"/>
                <a:gd name="T11" fmla="*/ 716 h 1047"/>
                <a:gd name="T12" fmla="*/ 1102 w 1246"/>
                <a:gd name="T13" fmla="*/ 697 h 1047"/>
                <a:gd name="T14" fmla="*/ 1104 w 1246"/>
                <a:gd name="T15" fmla="*/ 695 h 1047"/>
                <a:gd name="T16" fmla="*/ 1126 w 1246"/>
                <a:gd name="T17" fmla="*/ 608 h 1047"/>
                <a:gd name="T18" fmla="*/ 1076 w 1246"/>
                <a:gd name="T19" fmla="*/ 528 h 1047"/>
                <a:gd name="T20" fmla="*/ 1070 w 1246"/>
                <a:gd name="T21" fmla="*/ 454 h 1047"/>
                <a:gd name="T22" fmla="*/ 1096 w 1246"/>
                <a:gd name="T23" fmla="*/ 370 h 1047"/>
                <a:gd name="T24" fmla="*/ 1108 w 1246"/>
                <a:gd name="T25" fmla="*/ 320 h 1047"/>
                <a:gd name="T26" fmla="*/ 1109 w 1246"/>
                <a:gd name="T27" fmla="*/ 312 h 1047"/>
                <a:gd name="T28" fmla="*/ 1108 w 1246"/>
                <a:gd name="T29" fmla="*/ 302 h 1047"/>
                <a:gd name="T30" fmla="*/ 1109 w 1246"/>
                <a:gd name="T31" fmla="*/ 270 h 1047"/>
                <a:gd name="T32" fmla="*/ 1028 w 1246"/>
                <a:gd name="T33" fmla="*/ 208 h 1047"/>
                <a:gd name="T34" fmla="*/ 898 w 1246"/>
                <a:gd name="T35" fmla="*/ 146 h 1047"/>
                <a:gd name="T36" fmla="*/ 794 w 1246"/>
                <a:gd name="T37" fmla="*/ 122 h 1047"/>
                <a:gd name="T38" fmla="*/ 690 w 1246"/>
                <a:gd name="T39" fmla="*/ 165 h 1047"/>
                <a:gd name="T40" fmla="*/ 644 w 1246"/>
                <a:gd name="T41" fmla="*/ 196 h 1047"/>
                <a:gd name="T42" fmla="*/ 645 w 1246"/>
                <a:gd name="T43" fmla="*/ 199 h 1047"/>
                <a:gd name="T44" fmla="*/ 645 w 1246"/>
                <a:gd name="T45" fmla="*/ 205 h 1047"/>
                <a:gd name="T46" fmla="*/ 493 w 1246"/>
                <a:gd name="T47" fmla="*/ 229 h 1047"/>
                <a:gd name="T48" fmla="*/ 342 w 1246"/>
                <a:gd name="T49" fmla="*/ 157 h 1047"/>
                <a:gd name="T50" fmla="*/ 280 w 1246"/>
                <a:gd name="T51" fmla="*/ 87 h 1047"/>
                <a:gd name="T52" fmla="*/ 276 w 1246"/>
                <a:gd name="T53" fmla="*/ 18 h 1047"/>
                <a:gd name="T54" fmla="*/ 173 w 1246"/>
                <a:gd name="T55" fmla="*/ 62 h 1047"/>
                <a:gd name="T56" fmla="*/ 168 w 1246"/>
                <a:gd name="T57" fmla="*/ 65 h 1047"/>
                <a:gd name="T58" fmla="*/ 163 w 1246"/>
                <a:gd name="T59" fmla="*/ 67 h 1047"/>
                <a:gd name="T60" fmla="*/ 158 w 1246"/>
                <a:gd name="T61" fmla="*/ 69 h 1047"/>
                <a:gd name="T62" fmla="*/ 152 w 1246"/>
                <a:gd name="T63" fmla="*/ 70 h 1047"/>
                <a:gd name="T64" fmla="*/ 147 w 1246"/>
                <a:gd name="T65" fmla="*/ 70 h 1047"/>
                <a:gd name="T66" fmla="*/ 99 w 1246"/>
                <a:gd name="T67" fmla="*/ 60 h 1047"/>
                <a:gd name="T68" fmla="*/ 49 w 1246"/>
                <a:gd name="T69" fmla="*/ 0 h 1047"/>
                <a:gd name="T70" fmla="*/ 44 w 1246"/>
                <a:gd name="T71" fmla="*/ 0 h 1047"/>
                <a:gd name="T72" fmla="*/ 18 w 1246"/>
                <a:gd name="T73" fmla="*/ 60 h 1047"/>
                <a:gd name="T74" fmla="*/ 41 w 1246"/>
                <a:gd name="T75" fmla="*/ 162 h 1047"/>
                <a:gd name="T76" fmla="*/ 54 w 1246"/>
                <a:gd name="T77" fmla="*/ 181 h 1047"/>
                <a:gd name="T78" fmla="*/ 101 w 1246"/>
                <a:gd name="T79" fmla="*/ 282 h 1047"/>
                <a:gd name="T80" fmla="*/ 143 w 1246"/>
                <a:gd name="T81" fmla="*/ 332 h 1047"/>
                <a:gd name="T82" fmla="*/ 106 w 1246"/>
                <a:gd name="T83" fmla="*/ 437 h 1047"/>
                <a:gd name="T84" fmla="*/ 204 w 1246"/>
                <a:gd name="T85" fmla="*/ 528 h 1047"/>
                <a:gd name="T86" fmla="*/ 251 w 1246"/>
                <a:gd name="T87" fmla="*/ 636 h 1047"/>
                <a:gd name="T88" fmla="*/ 305 w 1246"/>
                <a:gd name="T89" fmla="*/ 711 h 1047"/>
                <a:gd name="T90" fmla="*/ 378 w 1246"/>
                <a:gd name="T91" fmla="*/ 697 h 1047"/>
                <a:gd name="T92" fmla="*/ 535 w 1246"/>
                <a:gd name="T93" fmla="*/ 868 h 1047"/>
                <a:gd name="T94" fmla="*/ 738 w 1246"/>
                <a:gd name="T95" fmla="*/ 936 h 1047"/>
                <a:gd name="T96" fmla="*/ 854 w 1246"/>
                <a:gd name="T97" fmla="*/ 989 h 1047"/>
                <a:gd name="T98" fmla="*/ 1123 w 1246"/>
                <a:gd name="T99" fmla="*/ 1045 h 1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246" h="1047">
                  <a:moveTo>
                    <a:pt x="1139" y="991"/>
                  </a:moveTo>
                  <a:cubicBezTo>
                    <a:pt x="1140" y="982"/>
                    <a:pt x="1153" y="978"/>
                    <a:pt x="1166" y="958"/>
                  </a:cubicBezTo>
                  <a:cubicBezTo>
                    <a:pt x="1178" y="938"/>
                    <a:pt x="1218" y="942"/>
                    <a:pt x="1228" y="939"/>
                  </a:cubicBezTo>
                  <a:cubicBezTo>
                    <a:pt x="1237" y="936"/>
                    <a:pt x="1234" y="923"/>
                    <a:pt x="1240" y="912"/>
                  </a:cubicBezTo>
                  <a:cubicBezTo>
                    <a:pt x="1246" y="900"/>
                    <a:pt x="1226" y="902"/>
                    <a:pt x="1215" y="896"/>
                  </a:cubicBezTo>
                  <a:cubicBezTo>
                    <a:pt x="1204" y="889"/>
                    <a:pt x="1208" y="870"/>
                    <a:pt x="1208" y="848"/>
                  </a:cubicBezTo>
                  <a:cubicBezTo>
                    <a:pt x="1208" y="826"/>
                    <a:pt x="1186" y="822"/>
                    <a:pt x="1167" y="817"/>
                  </a:cubicBezTo>
                  <a:cubicBezTo>
                    <a:pt x="1148" y="812"/>
                    <a:pt x="1130" y="787"/>
                    <a:pt x="1127" y="776"/>
                  </a:cubicBezTo>
                  <a:cubicBezTo>
                    <a:pt x="1124" y="766"/>
                    <a:pt x="1118" y="748"/>
                    <a:pt x="1096" y="731"/>
                  </a:cubicBezTo>
                  <a:cubicBezTo>
                    <a:pt x="1096" y="730"/>
                    <a:pt x="1095" y="730"/>
                    <a:pt x="1094" y="729"/>
                  </a:cubicBezTo>
                  <a:cubicBezTo>
                    <a:pt x="1094" y="729"/>
                    <a:pt x="1094" y="729"/>
                    <a:pt x="1094" y="729"/>
                  </a:cubicBezTo>
                  <a:cubicBezTo>
                    <a:pt x="1093" y="728"/>
                    <a:pt x="1093" y="728"/>
                    <a:pt x="1092" y="727"/>
                  </a:cubicBezTo>
                  <a:cubicBezTo>
                    <a:pt x="1092" y="727"/>
                    <a:pt x="1092" y="727"/>
                    <a:pt x="1092" y="727"/>
                  </a:cubicBezTo>
                  <a:cubicBezTo>
                    <a:pt x="1091" y="726"/>
                    <a:pt x="1091" y="726"/>
                    <a:pt x="1091" y="725"/>
                  </a:cubicBezTo>
                  <a:cubicBezTo>
                    <a:pt x="1091" y="725"/>
                    <a:pt x="1091" y="725"/>
                    <a:pt x="1090" y="725"/>
                  </a:cubicBezTo>
                  <a:cubicBezTo>
                    <a:pt x="1090" y="724"/>
                    <a:pt x="1090" y="724"/>
                    <a:pt x="1089" y="723"/>
                  </a:cubicBezTo>
                  <a:cubicBezTo>
                    <a:pt x="1089" y="723"/>
                    <a:pt x="1089" y="723"/>
                    <a:pt x="1089" y="723"/>
                  </a:cubicBezTo>
                  <a:cubicBezTo>
                    <a:pt x="1089" y="722"/>
                    <a:pt x="1089" y="722"/>
                    <a:pt x="1089" y="721"/>
                  </a:cubicBezTo>
                  <a:cubicBezTo>
                    <a:pt x="1088" y="721"/>
                    <a:pt x="1088" y="721"/>
                    <a:pt x="1088" y="721"/>
                  </a:cubicBezTo>
                  <a:cubicBezTo>
                    <a:pt x="1088" y="720"/>
                    <a:pt x="1088" y="720"/>
                    <a:pt x="1088" y="719"/>
                  </a:cubicBezTo>
                  <a:cubicBezTo>
                    <a:pt x="1088" y="719"/>
                    <a:pt x="1088" y="719"/>
                    <a:pt x="1088" y="719"/>
                  </a:cubicBezTo>
                  <a:cubicBezTo>
                    <a:pt x="1088" y="718"/>
                    <a:pt x="1088" y="717"/>
                    <a:pt x="1088" y="716"/>
                  </a:cubicBezTo>
                  <a:cubicBezTo>
                    <a:pt x="1088" y="716"/>
                    <a:pt x="1088" y="716"/>
                    <a:pt x="1088" y="716"/>
                  </a:cubicBezTo>
                  <a:cubicBezTo>
                    <a:pt x="1088" y="716"/>
                    <a:pt x="1088" y="716"/>
                    <a:pt x="1088" y="716"/>
                  </a:cubicBezTo>
                  <a:cubicBezTo>
                    <a:pt x="1088" y="715"/>
                    <a:pt x="1088" y="714"/>
                    <a:pt x="1088" y="714"/>
                  </a:cubicBezTo>
                  <a:cubicBezTo>
                    <a:pt x="1088" y="714"/>
                    <a:pt x="1088" y="714"/>
                    <a:pt x="1088" y="714"/>
                  </a:cubicBezTo>
                  <a:cubicBezTo>
                    <a:pt x="1090" y="706"/>
                    <a:pt x="1098" y="700"/>
                    <a:pt x="1102" y="697"/>
                  </a:cubicBezTo>
                  <a:cubicBezTo>
                    <a:pt x="1102" y="697"/>
                    <a:pt x="1102" y="697"/>
                    <a:pt x="1102" y="697"/>
                  </a:cubicBezTo>
                  <a:cubicBezTo>
                    <a:pt x="1102" y="696"/>
                    <a:pt x="1102" y="696"/>
                    <a:pt x="1102" y="696"/>
                  </a:cubicBezTo>
                  <a:cubicBezTo>
                    <a:pt x="1102" y="696"/>
                    <a:pt x="1103" y="696"/>
                    <a:pt x="1103" y="696"/>
                  </a:cubicBezTo>
                  <a:cubicBezTo>
                    <a:pt x="1103" y="696"/>
                    <a:pt x="1103" y="696"/>
                    <a:pt x="1103" y="696"/>
                  </a:cubicBezTo>
                  <a:cubicBezTo>
                    <a:pt x="1103" y="695"/>
                    <a:pt x="1103" y="695"/>
                    <a:pt x="1104" y="695"/>
                  </a:cubicBezTo>
                  <a:cubicBezTo>
                    <a:pt x="1108" y="690"/>
                    <a:pt x="1117" y="682"/>
                    <a:pt x="1122" y="675"/>
                  </a:cubicBezTo>
                  <a:cubicBezTo>
                    <a:pt x="1126" y="668"/>
                    <a:pt x="1137" y="662"/>
                    <a:pt x="1143" y="655"/>
                  </a:cubicBezTo>
                  <a:cubicBezTo>
                    <a:pt x="1149" y="648"/>
                    <a:pt x="1151" y="634"/>
                    <a:pt x="1148" y="628"/>
                  </a:cubicBezTo>
                  <a:cubicBezTo>
                    <a:pt x="1144" y="621"/>
                    <a:pt x="1136" y="610"/>
                    <a:pt x="1126" y="608"/>
                  </a:cubicBezTo>
                  <a:cubicBezTo>
                    <a:pt x="1116" y="606"/>
                    <a:pt x="1098" y="607"/>
                    <a:pt x="1090" y="605"/>
                  </a:cubicBezTo>
                  <a:cubicBezTo>
                    <a:pt x="1082" y="603"/>
                    <a:pt x="1079" y="588"/>
                    <a:pt x="1079" y="580"/>
                  </a:cubicBezTo>
                  <a:cubicBezTo>
                    <a:pt x="1079" y="572"/>
                    <a:pt x="1085" y="568"/>
                    <a:pt x="1085" y="546"/>
                  </a:cubicBezTo>
                  <a:cubicBezTo>
                    <a:pt x="1085" y="525"/>
                    <a:pt x="1082" y="530"/>
                    <a:pt x="1076" y="528"/>
                  </a:cubicBezTo>
                  <a:cubicBezTo>
                    <a:pt x="1070" y="525"/>
                    <a:pt x="1075" y="510"/>
                    <a:pt x="1069" y="508"/>
                  </a:cubicBezTo>
                  <a:cubicBezTo>
                    <a:pt x="1063" y="506"/>
                    <a:pt x="1066" y="498"/>
                    <a:pt x="1066" y="489"/>
                  </a:cubicBezTo>
                  <a:cubicBezTo>
                    <a:pt x="1066" y="480"/>
                    <a:pt x="1069" y="480"/>
                    <a:pt x="1084" y="467"/>
                  </a:cubicBezTo>
                  <a:cubicBezTo>
                    <a:pt x="1098" y="454"/>
                    <a:pt x="1080" y="456"/>
                    <a:pt x="1070" y="454"/>
                  </a:cubicBezTo>
                  <a:cubicBezTo>
                    <a:pt x="1061" y="452"/>
                    <a:pt x="1066" y="433"/>
                    <a:pt x="1066" y="422"/>
                  </a:cubicBezTo>
                  <a:cubicBezTo>
                    <a:pt x="1066" y="412"/>
                    <a:pt x="1070" y="406"/>
                    <a:pt x="1080" y="405"/>
                  </a:cubicBezTo>
                  <a:cubicBezTo>
                    <a:pt x="1090" y="404"/>
                    <a:pt x="1084" y="395"/>
                    <a:pt x="1084" y="389"/>
                  </a:cubicBezTo>
                  <a:cubicBezTo>
                    <a:pt x="1084" y="383"/>
                    <a:pt x="1087" y="376"/>
                    <a:pt x="1096" y="370"/>
                  </a:cubicBezTo>
                  <a:cubicBezTo>
                    <a:pt x="1104" y="364"/>
                    <a:pt x="1099" y="352"/>
                    <a:pt x="1099" y="344"/>
                  </a:cubicBezTo>
                  <a:cubicBezTo>
                    <a:pt x="1099" y="337"/>
                    <a:pt x="1102" y="334"/>
                    <a:pt x="1107" y="324"/>
                  </a:cubicBezTo>
                  <a:cubicBezTo>
                    <a:pt x="1107" y="323"/>
                    <a:pt x="1108" y="322"/>
                    <a:pt x="1108" y="321"/>
                  </a:cubicBezTo>
                  <a:cubicBezTo>
                    <a:pt x="1108" y="320"/>
                    <a:pt x="1108" y="320"/>
                    <a:pt x="1108" y="320"/>
                  </a:cubicBezTo>
                  <a:cubicBezTo>
                    <a:pt x="1108" y="319"/>
                    <a:pt x="1109" y="318"/>
                    <a:pt x="1109" y="317"/>
                  </a:cubicBezTo>
                  <a:cubicBezTo>
                    <a:pt x="1109" y="317"/>
                    <a:pt x="1109" y="317"/>
                    <a:pt x="1109" y="316"/>
                  </a:cubicBezTo>
                  <a:cubicBezTo>
                    <a:pt x="1109" y="315"/>
                    <a:pt x="1109" y="314"/>
                    <a:pt x="1109" y="313"/>
                  </a:cubicBezTo>
                  <a:cubicBezTo>
                    <a:pt x="1109" y="313"/>
                    <a:pt x="1109" y="313"/>
                    <a:pt x="1109" y="312"/>
                  </a:cubicBezTo>
                  <a:cubicBezTo>
                    <a:pt x="1109" y="311"/>
                    <a:pt x="1109" y="310"/>
                    <a:pt x="1109" y="309"/>
                  </a:cubicBezTo>
                  <a:cubicBezTo>
                    <a:pt x="1108" y="308"/>
                    <a:pt x="1108" y="307"/>
                    <a:pt x="1108" y="306"/>
                  </a:cubicBezTo>
                  <a:cubicBezTo>
                    <a:pt x="1108" y="305"/>
                    <a:pt x="1108" y="305"/>
                    <a:pt x="1108" y="305"/>
                  </a:cubicBezTo>
                  <a:cubicBezTo>
                    <a:pt x="1108" y="304"/>
                    <a:pt x="1108" y="303"/>
                    <a:pt x="1108" y="302"/>
                  </a:cubicBezTo>
                  <a:cubicBezTo>
                    <a:pt x="1108" y="302"/>
                    <a:pt x="1108" y="302"/>
                    <a:pt x="1108" y="302"/>
                  </a:cubicBezTo>
                  <a:cubicBezTo>
                    <a:pt x="1107" y="297"/>
                    <a:pt x="1106" y="293"/>
                    <a:pt x="1105" y="291"/>
                  </a:cubicBezTo>
                  <a:cubicBezTo>
                    <a:pt x="1105" y="290"/>
                    <a:pt x="1105" y="290"/>
                    <a:pt x="1105" y="290"/>
                  </a:cubicBezTo>
                  <a:cubicBezTo>
                    <a:pt x="1104" y="286"/>
                    <a:pt x="1107" y="276"/>
                    <a:pt x="1109" y="270"/>
                  </a:cubicBezTo>
                  <a:cubicBezTo>
                    <a:pt x="1111" y="264"/>
                    <a:pt x="1108" y="260"/>
                    <a:pt x="1104" y="254"/>
                  </a:cubicBezTo>
                  <a:cubicBezTo>
                    <a:pt x="1099" y="248"/>
                    <a:pt x="1102" y="244"/>
                    <a:pt x="1102" y="235"/>
                  </a:cubicBezTo>
                  <a:cubicBezTo>
                    <a:pt x="1102" y="226"/>
                    <a:pt x="1069" y="233"/>
                    <a:pt x="1058" y="233"/>
                  </a:cubicBezTo>
                  <a:cubicBezTo>
                    <a:pt x="1046" y="233"/>
                    <a:pt x="1034" y="218"/>
                    <a:pt x="1028" y="208"/>
                  </a:cubicBezTo>
                  <a:cubicBezTo>
                    <a:pt x="1022" y="198"/>
                    <a:pt x="1021" y="195"/>
                    <a:pt x="1004" y="195"/>
                  </a:cubicBezTo>
                  <a:cubicBezTo>
                    <a:pt x="986" y="195"/>
                    <a:pt x="984" y="180"/>
                    <a:pt x="978" y="169"/>
                  </a:cubicBezTo>
                  <a:cubicBezTo>
                    <a:pt x="972" y="158"/>
                    <a:pt x="943" y="158"/>
                    <a:pt x="928" y="158"/>
                  </a:cubicBezTo>
                  <a:cubicBezTo>
                    <a:pt x="914" y="158"/>
                    <a:pt x="907" y="149"/>
                    <a:pt x="898" y="146"/>
                  </a:cubicBezTo>
                  <a:cubicBezTo>
                    <a:pt x="888" y="142"/>
                    <a:pt x="870" y="141"/>
                    <a:pt x="867" y="136"/>
                  </a:cubicBezTo>
                  <a:cubicBezTo>
                    <a:pt x="864" y="132"/>
                    <a:pt x="849" y="118"/>
                    <a:pt x="841" y="118"/>
                  </a:cubicBezTo>
                  <a:cubicBezTo>
                    <a:pt x="833" y="118"/>
                    <a:pt x="831" y="114"/>
                    <a:pt x="822" y="110"/>
                  </a:cubicBezTo>
                  <a:cubicBezTo>
                    <a:pt x="812" y="107"/>
                    <a:pt x="800" y="114"/>
                    <a:pt x="794" y="122"/>
                  </a:cubicBezTo>
                  <a:cubicBezTo>
                    <a:pt x="788" y="130"/>
                    <a:pt x="772" y="128"/>
                    <a:pt x="756" y="126"/>
                  </a:cubicBezTo>
                  <a:cubicBezTo>
                    <a:pt x="739" y="123"/>
                    <a:pt x="728" y="126"/>
                    <a:pt x="726" y="131"/>
                  </a:cubicBezTo>
                  <a:cubicBezTo>
                    <a:pt x="724" y="136"/>
                    <a:pt x="716" y="136"/>
                    <a:pt x="706" y="142"/>
                  </a:cubicBezTo>
                  <a:cubicBezTo>
                    <a:pt x="695" y="148"/>
                    <a:pt x="690" y="158"/>
                    <a:pt x="690" y="165"/>
                  </a:cubicBezTo>
                  <a:cubicBezTo>
                    <a:pt x="690" y="172"/>
                    <a:pt x="685" y="176"/>
                    <a:pt x="673" y="175"/>
                  </a:cubicBezTo>
                  <a:cubicBezTo>
                    <a:pt x="661" y="174"/>
                    <a:pt x="660" y="184"/>
                    <a:pt x="648" y="182"/>
                  </a:cubicBezTo>
                  <a:cubicBezTo>
                    <a:pt x="643" y="182"/>
                    <a:pt x="639" y="181"/>
                    <a:pt x="636" y="181"/>
                  </a:cubicBezTo>
                  <a:cubicBezTo>
                    <a:pt x="636" y="190"/>
                    <a:pt x="642" y="190"/>
                    <a:pt x="644" y="196"/>
                  </a:cubicBezTo>
                  <a:cubicBezTo>
                    <a:pt x="644" y="196"/>
                    <a:pt x="644" y="196"/>
                    <a:pt x="644" y="196"/>
                  </a:cubicBezTo>
                  <a:cubicBezTo>
                    <a:pt x="644" y="196"/>
                    <a:pt x="644" y="197"/>
                    <a:pt x="644" y="197"/>
                  </a:cubicBezTo>
                  <a:cubicBezTo>
                    <a:pt x="644" y="197"/>
                    <a:pt x="645" y="197"/>
                    <a:pt x="645" y="198"/>
                  </a:cubicBezTo>
                  <a:cubicBezTo>
                    <a:pt x="645" y="198"/>
                    <a:pt x="645" y="199"/>
                    <a:pt x="645" y="199"/>
                  </a:cubicBezTo>
                  <a:cubicBezTo>
                    <a:pt x="645" y="199"/>
                    <a:pt x="645" y="199"/>
                    <a:pt x="645" y="200"/>
                  </a:cubicBezTo>
                  <a:cubicBezTo>
                    <a:pt x="645" y="200"/>
                    <a:pt x="645" y="201"/>
                    <a:pt x="645" y="201"/>
                  </a:cubicBezTo>
                  <a:cubicBezTo>
                    <a:pt x="645" y="202"/>
                    <a:pt x="645" y="202"/>
                    <a:pt x="645" y="202"/>
                  </a:cubicBezTo>
                  <a:cubicBezTo>
                    <a:pt x="645" y="203"/>
                    <a:pt x="645" y="204"/>
                    <a:pt x="645" y="205"/>
                  </a:cubicBezTo>
                  <a:cubicBezTo>
                    <a:pt x="644" y="222"/>
                    <a:pt x="617" y="211"/>
                    <a:pt x="600" y="211"/>
                  </a:cubicBezTo>
                  <a:cubicBezTo>
                    <a:pt x="583" y="211"/>
                    <a:pt x="583" y="218"/>
                    <a:pt x="567" y="222"/>
                  </a:cubicBezTo>
                  <a:cubicBezTo>
                    <a:pt x="551" y="226"/>
                    <a:pt x="544" y="226"/>
                    <a:pt x="535" y="231"/>
                  </a:cubicBezTo>
                  <a:cubicBezTo>
                    <a:pt x="526" y="236"/>
                    <a:pt x="506" y="238"/>
                    <a:pt x="493" y="229"/>
                  </a:cubicBezTo>
                  <a:cubicBezTo>
                    <a:pt x="480" y="220"/>
                    <a:pt x="466" y="223"/>
                    <a:pt x="452" y="216"/>
                  </a:cubicBezTo>
                  <a:cubicBezTo>
                    <a:pt x="438" y="209"/>
                    <a:pt x="412" y="190"/>
                    <a:pt x="407" y="179"/>
                  </a:cubicBezTo>
                  <a:cubicBezTo>
                    <a:pt x="402" y="168"/>
                    <a:pt x="391" y="167"/>
                    <a:pt x="376" y="165"/>
                  </a:cubicBezTo>
                  <a:cubicBezTo>
                    <a:pt x="361" y="163"/>
                    <a:pt x="354" y="163"/>
                    <a:pt x="342" y="157"/>
                  </a:cubicBezTo>
                  <a:cubicBezTo>
                    <a:pt x="330" y="151"/>
                    <a:pt x="325" y="135"/>
                    <a:pt x="325" y="118"/>
                  </a:cubicBezTo>
                  <a:cubicBezTo>
                    <a:pt x="325" y="111"/>
                    <a:pt x="324" y="106"/>
                    <a:pt x="322" y="101"/>
                  </a:cubicBezTo>
                  <a:cubicBezTo>
                    <a:pt x="311" y="103"/>
                    <a:pt x="300" y="103"/>
                    <a:pt x="296" y="98"/>
                  </a:cubicBezTo>
                  <a:cubicBezTo>
                    <a:pt x="291" y="92"/>
                    <a:pt x="286" y="92"/>
                    <a:pt x="280" y="87"/>
                  </a:cubicBezTo>
                  <a:cubicBezTo>
                    <a:pt x="275" y="82"/>
                    <a:pt x="268" y="82"/>
                    <a:pt x="264" y="76"/>
                  </a:cubicBezTo>
                  <a:cubicBezTo>
                    <a:pt x="261" y="71"/>
                    <a:pt x="263" y="62"/>
                    <a:pt x="273" y="59"/>
                  </a:cubicBezTo>
                  <a:cubicBezTo>
                    <a:pt x="283" y="56"/>
                    <a:pt x="280" y="44"/>
                    <a:pt x="274" y="38"/>
                  </a:cubicBezTo>
                  <a:cubicBezTo>
                    <a:pt x="269" y="32"/>
                    <a:pt x="276" y="29"/>
                    <a:pt x="276" y="18"/>
                  </a:cubicBezTo>
                  <a:cubicBezTo>
                    <a:pt x="276" y="6"/>
                    <a:pt x="268" y="6"/>
                    <a:pt x="255" y="7"/>
                  </a:cubicBezTo>
                  <a:cubicBezTo>
                    <a:pt x="242" y="8"/>
                    <a:pt x="242" y="18"/>
                    <a:pt x="230" y="18"/>
                  </a:cubicBezTo>
                  <a:cubicBezTo>
                    <a:pt x="219" y="18"/>
                    <a:pt x="216" y="25"/>
                    <a:pt x="204" y="35"/>
                  </a:cubicBezTo>
                  <a:cubicBezTo>
                    <a:pt x="192" y="45"/>
                    <a:pt x="188" y="50"/>
                    <a:pt x="173" y="62"/>
                  </a:cubicBezTo>
                  <a:cubicBezTo>
                    <a:pt x="172" y="62"/>
                    <a:pt x="172" y="63"/>
                    <a:pt x="171" y="63"/>
                  </a:cubicBezTo>
                  <a:cubicBezTo>
                    <a:pt x="171" y="63"/>
                    <a:pt x="171" y="63"/>
                    <a:pt x="171" y="63"/>
                  </a:cubicBezTo>
                  <a:cubicBezTo>
                    <a:pt x="170" y="64"/>
                    <a:pt x="169" y="64"/>
                    <a:pt x="168" y="65"/>
                  </a:cubicBezTo>
                  <a:cubicBezTo>
                    <a:pt x="168" y="65"/>
                    <a:pt x="168" y="65"/>
                    <a:pt x="168" y="65"/>
                  </a:cubicBezTo>
                  <a:cubicBezTo>
                    <a:pt x="167" y="65"/>
                    <a:pt x="167" y="66"/>
                    <a:pt x="166" y="66"/>
                  </a:cubicBezTo>
                  <a:cubicBezTo>
                    <a:pt x="166" y="66"/>
                    <a:pt x="166" y="66"/>
                    <a:pt x="166" y="66"/>
                  </a:cubicBezTo>
                  <a:cubicBezTo>
                    <a:pt x="165" y="67"/>
                    <a:pt x="164" y="67"/>
                    <a:pt x="163" y="67"/>
                  </a:cubicBezTo>
                  <a:cubicBezTo>
                    <a:pt x="163" y="67"/>
                    <a:pt x="163" y="67"/>
                    <a:pt x="163" y="67"/>
                  </a:cubicBezTo>
                  <a:cubicBezTo>
                    <a:pt x="162" y="68"/>
                    <a:pt x="161" y="68"/>
                    <a:pt x="160" y="68"/>
                  </a:cubicBezTo>
                  <a:cubicBezTo>
                    <a:pt x="160" y="68"/>
                    <a:pt x="160" y="68"/>
                    <a:pt x="160" y="68"/>
                  </a:cubicBezTo>
                  <a:cubicBezTo>
                    <a:pt x="159" y="68"/>
                    <a:pt x="159" y="69"/>
                    <a:pt x="158" y="69"/>
                  </a:cubicBezTo>
                  <a:cubicBezTo>
                    <a:pt x="158" y="69"/>
                    <a:pt x="158" y="69"/>
                    <a:pt x="158" y="69"/>
                  </a:cubicBezTo>
                  <a:cubicBezTo>
                    <a:pt x="157" y="69"/>
                    <a:pt x="156" y="69"/>
                    <a:pt x="155" y="69"/>
                  </a:cubicBezTo>
                  <a:cubicBezTo>
                    <a:pt x="155" y="69"/>
                    <a:pt x="155" y="69"/>
                    <a:pt x="155" y="69"/>
                  </a:cubicBezTo>
                  <a:cubicBezTo>
                    <a:pt x="154" y="69"/>
                    <a:pt x="153" y="70"/>
                    <a:pt x="153" y="70"/>
                  </a:cubicBezTo>
                  <a:cubicBezTo>
                    <a:pt x="152" y="70"/>
                    <a:pt x="152" y="70"/>
                    <a:pt x="152" y="70"/>
                  </a:cubicBezTo>
                  <a:cubicBezTo>
                    <a:pt x="152" y="70"/>
                    <a:pt x="151" y="70"/>
                    <a:pt x="150" y="70"/>
                  </a:cubicBezTo>
                  <a:cubicBezTo>
                    <a:pt x="150" y="70"/>
                    <a:pt x="150" y="70"/>
                    <a:pt x="150" y="70"/>
                  </a:cubicBezTo>
                  <a:cubicBezTo>
                    <a:pt x="149" y="70"/>
                    <a:pt x="148" y="70"/>
                    <a:pt x="147" y="70"/>
                  </a:cubicBezTo>
                  <a:cubicBezTo>
                    <a:pt x="147" y="70"/>
                    <a:pt x="147" y="70"/>
                    <a:pt x="147" y="70"/>
                  </a:cubicBezTo>
                  <a:cubicBezTo>
                    <a:pt x="142" y="70"/>
                    <a:pt x="137" y="69"/>
                    <a:pt x="133" y="69"/>
                  </a:cubicBezTo>
                  <a:cubicBezTo>
                    <a:pt x="133" y="69"/>
                    <a:pt x="133" y="69"/>
                    <a:pt x="133" y="69"/>
                  </a:cubicBezTo>
                  <a:cubicBezTo>
                    <a:pt x="132" y="69"/>
                    <a:pt x="131" y="69"/>
                    <a:pt x="130" y="69"/>
                  </a:cubicBezTo>
                  <a:cubicBezTo>
                    <a:pt x="118" y="68"/>
                    <a:pt x="112" y="63"/>
                    <a:pt x="99" y="60"/>
                  </a:cubicBezTo>
                  <a:cubicBezTo>
                    <a:pt x="86" y="56"/>
                    <a:pt x="94" y="48"/>
                    <a:pt x="84" y="46"/>
                  </a:cubicBezTo>
                  <a:cubicBezTo>
                    <a:pt x="75" y="45"/>
                    <a:pt x="64" y="29"/>
                    <a:pt x="64" y="18"/>
                  </a:cubicBezTo>
                  <a:cubicBezTo>
                    <a:pt x="64" y="6"/>
                    <a:pt x="60" y="5"/>
                    <a:pt x="52" y="1"/>
                  </a:cubicBezTo>
                  <a:cubicBezTo>
                    <a:pt x="51" y="1"/>
                    <a:pt x="50" y="0"/>
                    <a:pt x="49" y="0"/>
                  </a:cubicBezTo>
                  <a:cubicBezTo>
                    <a:pt x="49" y="0"/>
                    <a:pt x="48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6" y="0"/>
                    <a:pt x="45" y="0"/>
                    <a:pt x="44" y="0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43" y="0"/>
                    <a:pt x="43" y="0"/>
                    <a:pt x="42" y="1"/>
                  </a:cubicBezTo>
                  <a:cubicBezTo>
                    <a:pt x="38" y="2"/>
                    <a:pt x="36" y="6"/>
                    <a:pt x="34" y="10"/>
                  </a:cubicBezTo>
                  <a:cubicBezTo>
                    <a:pt x="32" y="19"/>
                    <a:pt x="32" y="24"/>
                    <a:pt x="16" y="26"/>
                  </a:cubicBezTo>
                  <a:cubicBezTo>
                    <a:pt x="0" y="28"/>
                    <a:pt x="11" y="46"/>
                    <a:pt x="18" y="60"/>
                  </a:cubicBezTo>
                  <a:cubicBezTo>
                    <a:pt x="24" y="73"/>
                    <a:pt x="24" y="71"/>
                    <a:pt x="24" y="82"/>
                  </a:cubicBezTo>
                  <a:cubicBezTo>
                    <a:pt x="24" y="92"/>
                    <a:pt x="26" y="95"/>
                    <a:pt x="33" y="108"/>
                  </a:cubicBezTo>
                  <a:cubicBezTo>
                    <a:pt x="40" y="120"/>
                    <a:pt x="23" y="124"/>
                    <a:pt x="21" y="136"/>
                  </a:cubicBezTo>
                  <a:cubicBezTo>
                    <a:pt x="19" y="147"/>
                    <a:pt x="40" y="152"/>
                    <a:pt x="41" y="162"/>
                  </a:cubicBezTo>
                  <a:cubicBezTo>
                    <a:pt x="42" y="172"/>
                    <a:pt x="44" y="172"/>
                    <a:pt x="51" y="178"/>
                  </a:cubicBezTo>
                  <a:cubicBezTo>
                    <a:pt x="52" y="179"/>
                    <a:pt x="53" y="180"/>
                    <a:pt x="54" y="181"/>
                  </a:cubicBezTo>
                  <a:cubicBezTo>
                    <a:pt x="57" y="177"/>
                    <a:pt x="58" y="174"/>
                    <a:pt x="58" y="174"/>
                  </a:cubicBezTo>
                  <a:cubicBezTo>
                    <a:pt x="58" y="174"/>
                    <a:pt x="57" y="177"/>
                    <a:pt x="54" y="181"/>
                  </a:cubicBezTo>
                  <a:cubicBezTo>
                    <a:pt x="59" y="186"/>
                    <a:pt x="60" y="191"/>
                    <a:pt x="60" y="200"/>
                  </a:cubicBezTo>
                  <a:cubicBezTo>
                    <a:pt x="60" y="210"/>
                    <a:pt x="68" y="228"/>
                    <a:pt x="74" y="241"/>
                  </a:cubicBezTo>
                  <a:cubicBezTo>
                    <a:pt x="79" y="254"/>
                    <a:pt x="87" y="256"/>
                    <a:pt x="88" y="266"/>
                  </a:cubicBezTo>
                  <a:cubicBezTo>
                    <a:pt x="88" y="276"/>
                    <a:pt x="88" y="282"/>
                    <a:pt x="101" y="282"/>
                  </a:cubicBezTo>
                  <a:cubicBezTo>
                    <a:pt x="114" y="282"/>
                    <a:pt x="118" y="291"/>
                    <a:pt x="136" y="291"/>
                  </a:cubicBezTo>
                  <a:cubicBezTo>
                    <a:pt x="154" y="291"/>
                    <a:pt x="153" y="302"/>
                    <a:pt x="146" y="304"/>
                  </a:cubicBezTo>
                  <a:cubicBezTo>
                    <a:pt x="138" y="306"/>
                    <a:pt x="133" y="304"/>
                    <a:pt x="132" y="316"/>
                  </a:cubicBezTo>
                  <a:cubicBezTo>
                    <a:pt x="132" y="329"/>
                    <a:pt x="137" y="320"/>
                    <a:pt x="143" y="332"/>
                  </a:cubicBezTo>
                  <a:cubicBezTo>
                    <a:pt x="149" y="343"/>
                    <a:pt x="149" y="344"/>
                    <a:pt x="129" y="348"/>
                  </a:cubicBezTo>
                  <a:cubicBezTo>
                    <a:pt x="109" y="352"/>
                    <a:pt x="118" y="370"/>
                    <a:pt x="108" y="378"/>
                  </a:cubicBezTo>
                  <a:cubicBezTo>
                    <a:pt x="97" y="386"/>
                    <a:pt x="106" y="400"/>
                    <a:pt x="100" y="416"/>
                  </a:cubicBezTo>
                  <a:cubicBezTo>
                    <a:pt x="93" y="431"/>
                    <a:pt x="102" y="428"/>
                    <a:pt x="106" y="437"/>
                  </a:cubicBezTo>
                  <a:cubicBezTo>
                    <a:pt x="110" y="446"/>
                    <a:pt x="112" y="450"/>
                    <a:pt x="131" y="461"/>
                  </a:cubicBezTo>
                  <a:cubicBezTo>
                    <a:pt x="150" y="472"/>
                    <a:pt x="140" y="477"/>
                    <a:pt x="138" y="490"/>
                  </a:cubicBezTo>
                  <a:cubicBezTo>
                    <a:pt x="136" y="502"/>
                    <a:pt x="150" y="500"/>
                    <a:pt x="164" y="503"/>
                  </a:cubicBezTo>
                  <a:cubicBezTo>
                    <a:pt x="178" y="506"/>
                    <a:pt x="184" y="521"/>
                    <a:pt x="204" y="528"/>
                  </a:cubicBezTo>
                  <a:cubicBezTo>
                    <a:pt x="224" y="536"/>
                    <a:pt x="225" y="556"/>
                    <a:pt x="238" y="562"/>
                  </a:cubicBezTo>
                  <a:cubicBezTo>
                    <a:pt x="250" y="569"/>
                    <a:pt x="251" y="576"/>
                    <a:pt x="252" y="586"/>
                  </a:cubicBezTo>
                  <a:cubicBezTo>
                    <a:pt x="252" y="597"/>
                    <a:pt x="249" y="598"/>
                    <a:pt x="242" y="599"/>
                  </a:cubicBezTo>
                  <a:cubicBezTo>
                    <a:pt x="234" y="600"/>
                    <a:pt x="237" y="631"/>
                    <a:pt x="251" y="636"/>
                  </a:cubicBezTo>
                  <a:cubicBezTo>
                    <a:pt x="265" y="640"/>
                    <a:pt x="263" y="648"/>
                    <a:pt x="261" y="655"/>
                  </a:cubicBezTo>
                  <a:cubicBezTo>
                    <a:pt x="259" y="662"/>
                    <a:pt x="257" y="671"/>
                    <a:pt x="272" y="678"/>
                  </a:cubicBezTo>
                  <a:cubicBezTo>
                    <a:pt x="288" y="684"/>
                    <a:pt x="285" y="692"/>
                    <a:pt x="293" y="698"/>
                  </a:cubicBezTo>
                  <a:cubicBezTo>
                    <a:pt x="297" y="701"/>
                    <a:pt x="301" y="706"/>
                    <a:pt x="305" y="711"/>
                  </a:cubicBezTo>
                  <a:cubicBezTo>
                    <a:pt x="305" y="711"/>
                    <a:pt x="305" y="711"/>
                    <a:pt x="305" y="711"/>
                  </a:cubicBezTo>
                  <a:cubicBezTo>
                    <a:pt x="320" y="713"/>
                    <a:pt x="320" y="704"/>
                    <a:pt x="320" y="693"/>
                  </a:cubicBezTo>
                  <a:cubicBezTo>
                    <a:pt x="320" y="681"/>
                    <a:pt x="335" y="684"/>
                    <a:pt x="340" y="696"/>
                  </a:cubicBezTo>
                  <a:cubicBezTo>
                    <a:pt x="346" y="707"/>
                    <a:pt x="362" y="709"/>
                    <a:pt x="378" y="697"/>
                  </a:cubicBezTo>
                  <a:cubicBezTo>
                    <a:pt x="394" y="686"/>
                    <a:pt x="405" y="698"/>
                    <a:pt x="412" y="723"/>
                  </a:cubicBezTo>
                  <a:cubicBezTo>
                    <a:pt x="419" y="747"/>
                    <a:pt x="426" y="749"/>
                    <a:pt x="441" y="764"/>
                  </a:cubicBezTo>
                  <a:cubicBezTo>
                    <a:pt x="455" y="780"/>
                    <a:pt x="452" y="807"/>
                    <a:pt x="461" y="825"/>
                  </a:cubicBezTo>
                  <a:cubicBezTo>
                    <a:pt x="469" y="842"/>
                    <a:pt x="510" y="860"/>
                    <a:pt x="535" y="868"/>
                  </a:cubicBezTo>
                  <a:cubicBezTo>
                    <a:pt x="561" y="875"/>
                    <a:pt x="551" y="895"/>
                    <a:pt x="578" y="903"/>
                  </a:cubicBezTo>
                  <a:cubicBezTo>
                    <a:pt x="606" y="912"/>
                    <a:pt x="624" y="928"/>
                    <a:pt x="643" y="935"/>
                  </a:cubicBezTo>
                  <a:cubicBezTo>
                    <a:pt x="662" y="942"/>
                    <a:pt x="680" y="946"/>
                    <a:pt x="695" y="942"/>
                  </a:cubicBezTo>
                  <a:cubicBezTo>
                    <a:pt x="709" y="938"/>
                    <a:pt x="719" y="934"/>
                    <a:pt x="738" y="936"/>
                  </a:cubicBezTo>
                  <a:cubicBezTo>
                    <a:pt x="756" y="939"/>
                    <a:pt x="770" y="931"/>
                    <a:pt x="782" y="913"/>
                  </a:cubicBezTo>
                  <a:cubicBezTo>
                    <a:pt x="793" y="896"/>
                    <a:pt x="808" y="899"/>
                    <a:pt x="825" y="911"/>
                  </a:cubicBezTo>
                  <a:cubicBezTo>
                    <a:pt x="842" y="922"/>
                    <a:pt x="841" y="942"/>
                    <a:pt x="844" y="958"/>
                  </a:cubicBezTo>
                  <a:cubicBezTo>
                    <a:pt x="846" y="974"/>
                    <a:pt x="846" y="974"/>
                    <a:pt x="854" y="989"/>
                  </a:cubicBezTo>
                  <a:cubicBezTo>
                    <a:pt x="861" y="1005"/>
                    <a:pt x="894" y="1014"/>
                    <a:pt x="920" y="1014"/>
                  </a:cubicBezTo>
                  <a:cubicBezTo>
                    <a:pt x="945" y="1014"/>
                    <a:pt x="955" y="1018"/>
                    <a:pt x="968" y="1027"/>
                  </a:cubicBezTo>
                  <a:cubicBezTo>
                    <a:pt x="981" y="1035"/>
                    <a:pt x="1024" y="1027"/>
                    <a:pt x="1049" y="1028"/>
                  </a:cubicBezTo>
                  <a:cubicBezTo>
                    <a:pt x="1073" y="1030"/>
                    <a:pt x="1090" y="1041"/>
                    <a:pt x="1123" y="1045"/>
                  </a:cubicBezTo>
                  <a:cubicBezTo>
                    <a:pt x="1127" y="1046"/>
                    <a:pt x="1130" y="1046"/>
                    <a:pt x="1132" y="1047"/>
                  </a:cubicBezTo>
                  <a:cubicBezTo>
                    <a:pt x="1133" y="1043"/>
                    <a:pt x="1133" y="1038"/>
                    <a:pt x="1133" y="1035"/>
                  </a:cubicBezTo>
                  <a:cubicBezTo>
                    <a:pt x="1133" y="1027"/>
                    <a:pt x="1138" y="1000"/>
                    <a:pt x="1139" y="991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229" name="Freeform 25314"/>
            <p:cNvSpPr>
              <a:spLocks/>
            </p:cNvSpPr>
            <p:nvPr/>
          </p:nvSpPr>
          <p:spPr bwMode="auto">
            <a:xfrm>
              <a:off x="5722768" y="2867590"/>
              <a:ext cx="342658" cy="244959"/>
            </a:xfrm>
            <a:custGeom>
              <a:avLst/>
              <a:gdLst>
                <a:gd name="T0" fmla="*/ 840 w 919"/>
                <a:gd name="T1" fmla="*/ 86 h 657"/>
                <a:gd name="T2" fmla="*/ 737 w 919"/>
                <a:gd name="T3" fmla="*/ 126 h 657"/>
                <a:gd name="T4" fmla="*/ 700 w 919"/>
                <a:gd name="T5" fmla="*/ 64 h 657"/>
                <a:gd name="T6" fmla="*/ 661 w 919"/>
                <a:gd name="T7" fmla="*/ 0 h 657"/>
                <a:gd name="T8" fmla="*/ 586 w 919"/>
                <a:gd name="T9" fmla="*/ 68 h 657"/>
                <a:gd name="T10" fmla="*/ 539 w 919"/>
                <a:gd name="T11" fmla="*/ 88 h 657"/>
                <a:gd name="T12" fmla="*/ 465 w 919"/>
                <a:gd name="T13" fmla="*/ 100 h 657"/>
                <a:gd name="T14" fmla="*/ 464 w 919"/>
                <a:gd name="T15" fmla="*/ 98 h 657"/>
                <a:gd name="T16" fmla="*/ 463 w 919"/>
                <a:gd name="T17" fmla="*/ 96 h 657"/>
                <a:gd name="T18" fmla="*/ 461 w 919"/>
                <a:gd name="T19" fmla="*/ 96 h 657"/>
                <a:gd name="T20" fmla="*/ 457 w 919"/>
                <a:gd name="T21" fmla="*/ 95 h 657"/>
                <a:gd name="T22" fmla="*/ 448 w 919"/>
                <a:gd name="T23" fmla="*/ 97 h 657"/>
                <a:gd name="T24" fmla="*/ 444 w 919"/>
                <a:gd name="T25" fmla="*/ 97 h 657"/>
                <a:gd name="T26" fmla="*/ 440 w 919"/>
                <a:gd name="T27" fmla="*/ 97 h 657"/>
                <a:gd name="T28" fmla="*/ 415 w 919"/>
                <a:gd name="T29" fmla="*/ 83 h 657"/>
                <a:gd name="T30" fmla="*/ 413 w 919"/>
                <a:gd name="T31" fmla="*/ 82 h 657"/>
                <a:gd name="T32" fmla="*/ 410 w 919"/>
                <a:gd name="T33" fmla="*/ 81 h 657"/>
                <a:gd name="T34" fmla="*/ 407 w 919"/>
                <a:gd name="T35" fmla="*/ 80 h 657"/>
                <a:gd name="T36" fmla="*/ 401 w 919"/>
                <a:gd name="T37" fmla="*/ 80 h 657"/>
                <a:gd name="T38" fmla="*/ 397 w 919"/>
                <a:gd name="T39" fmla="*/ 80 h 657"/>
                <a:gd name="T40" fmla="*/ 392 w 919"/>
                <a:gd name="T41" fmla="*/ 80 h 657"/>
                <a:gd name="T42" fmla="*/ 385 w 919"/>
                <a:gd name="T43" fmla="*/ 81 h 657"/>
                <a:gd name="T44" fmla="*/ 371 w 919"/>
                <a:gd name="T45" fmla="*/ 83 h 657"/>
                <a:gd name="T46" fmla="*/ 293 w 919"/>
                <a:gd name="T47" fmla="*/ 94 h 657"/>
                <a:gd name="T48" fmla="*/ 240 w 919"/>
                <a:gd name="T49" fmla="*/ 171 h 657"/>
                <a:gd name="T50" fmla="*/ 173 w 919"/>
                <a:gd name="T51" fmla="*/ 210 h 657"/>
                <a:gd name="T52" fmla="*/ 119 w 919"/>
                <a:gd name="T53" fmla="*/ 246 h 657"/>
                <a:gd name="T54" fmla="*/ 67 w 919"/>
                <a:gd name="T55" fmla="*/ 219 h 657"/>
                <a:gd name="T56" fmla="*/ 48 w 919"/>
                <a:gd name="T57" fmla="*/ 217 h 657"/>
                <a:gd name="T58" fmla="*/ 47 w 919"/>
                <a:gd name="T59" fmla="*/ 224 h 657"/>
                <a:gd name="T60" fmla="*/ 38 w 919"/>
                <a:gd name="T61" fmla="*/ 248 h 657"/>
                <a:gd name="T62" fmla="*/ 19 w 919"/>
                <a:gd name="T63" fmla="*/ 309 h 657"/>
                <a:gd name="T64" fmla="*/ 23 w 919"/>
                <a:gd name="T65" fmla="*/ 371 h 657"/>
                <a:gd name="T66" fmla="*/ 15 w 919"/>
                <a:gd name="T67" fmla="*/ 432 h 657"/>
                <a:gd name="T68" fmla="*/ 29 w 919"/>
                <a:gd name="T69" fmla="*/ 509 h 657"/>
                <a:gd name="T70" fmla="*/ 82 w 919"/>
                <a:gd name="T71" fmla="*/ 559 h 657"/>
                <a:gd name="T72" fmla="*/ 42 w 919"/>
                <a:gd name="T73" fmla="*/ 600 h 657"/>
                <a:gd name="T74" fmla="*/ 41 w 919"/>
                <a:gd name="T75" fmla="*/ 601 h 657"/>
                <a:gd name="T76" fmla="*/ 27 w 919"/>
                <a:gd name="T77" fmla="*/ 618 h 657"/>
                <a:gd name="T78" fmla="*/ 61 w 919"/>
                <a:gd name="T79" fmla="*/ 635 h 657"/>
                <a:gd name="T80" fmla="*/ 182 w 919"/>
                <a:gd name="T81" fmla="*/ 652 h 657"/>
                <a:gd name="T82" fmla="*/ 322 w 919"/>
                <a:gd name="T83" fmla="*/ 638 h 657"/>
                <a:gd name="T84" fmla="*/ 378 w 919"/>
                <a:gd name="T85" fmla="*/ 548 h 657"/>
                <a:gd name="T86" fmla="*/ 438 w 919"/>
                <a:gd name="T87" fmla="*/ 527 h 657"/>
                <a:gd name="T88" fmla="*/ 467 w 919"/>
                <a:gd name="T89" fmla="*/ 498 h 657"/>
                <a:gd name="T90" fmla="*/ 542 w 919"/>
                <a:gd name="T91" fmla="*/ 498 h 657"/>
                <a:gd name="T92" fmla="*/ 552 w 919"/>
                <a:gd name="T93" fmla="*/ 445 h 657"/>
                <a:gd name="T94" fmla="*/ 613 w 919"/>
                <a:gd name="T95" fmla="*/ 385 h 657"/>
                <a:gd name="T96" fmla="*/ 610 w 919"/>
                <a:gd name="T97" fmla="*/ 326 h 657"/>
                <a:gd name="T98" fmla="*/ 666 w 919"/>
                <a:gd name="T99" fmla="*/ 325 h 657"/>
                <a:gd name="T100" fmla="*/ 674 w 919"/>
                <a:gd name="T101" fmla="*/ 278 h 657"/>
                <a:gd name="T102" fmla="*/ 685 w 919"/>
                <a:gd name="T103" fmla="*/ 188 h 657"/>
                <a:gd name="T104" fmla="*/ 725 w 919"/>
                <a:gd name="T105" fmla="*/ 148 h 657"/>
                <a:gd name="T106" fmla="*/ 845 w 919"/>
                <a:gd name="T107" fmla="*/ 121 h 657"/>
                <a:gd name="T108" fmla="*/ 889 w 919"/>
                <a:gd name="T109" fmla="*/ 113 h 657"/>
                <a:gd name="T110" fmla="*/ 893 w 919"/>
                <a:gd name="T111" fmla="*/ 110 h 657"/>
                <a:gd name="T112" fmla="*/ 904 w 919"/>
                <a:gd name="T113" fmla="*/ 105 h 657"/>
                <a:gd name="T114" fmla="*/ 885 w 919"/>
                <a:gd name="T115" fmla="*/ 80 h 6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919" h="657">
                  <a:moveTo>
                    <a:pt x="885" y="80"/>
                  </a:moveTo>
                  <a:cubicBezTo>
                    <a:pt x="875" y="78"/>
                    <a:pt x="867" y="84"/>
                    <a:pt x="861" y="88"/>
                  </a:cubicBezTo>
                  <a:cubicBezTo>
                    <a:pt x="855" y="92"/>
                    <a:pt x="844" y="90"/>
                    <a:pt x="840" y="86"/>
                  </a:cubicBezTo>
                  <a:cubicBezTo>
                    <a:pt x="836" y="81"/>
                    <a:pt x="825" y="80"/>
                    <a:pt x="810" y="82"/>
                  </a:cubicBezTo>
                  <a:cubicBezTo>
                    <a:pt x="795" y="84"/>
                    <a:pt x="776" y="102"/>
                    <a:pt x="768" y="110"/>
                  </a:cubicBezTo>
                  <a:cubicBezTo>
                    <a:pt x="760" y="118"/>
                    <a:pt x="745" y="118"/>
                    <a:pt x="737" y="126"/>
                  </a:cubicBezTo>
                  <a:cubicBezTo>
                    <a:pt x="728" y="134"/>
                    <a:pt x="709" y="135"/>
                    <a:pt x="697" y="125"/>
                  </a:cubicBezTo>
                  <a:cubicBezTo>
                    <a:pt x="685" y="115"/>
                    <a:pt x="699" y="95"/>
                    <a:pt x="698" y="88"/>
                  </a:cubicBezTo>
                  <a:cubicBezTo>
                    <a:pt x="697" y="82"/>
                    <a:pt x="697" y="71"/>
                    <a:pt x="700" y="64"/>
                  </a:cubicBezTo>
                  <a:cubicBezTo>
                    <a:pt x="703" y="58"/>
                    <a:pt x="706" y="51"/>
                    <a:pt x="693" y="45"/>
                  </a:cubicBezTo>
                  <a:cubicBezTo>
                    <a:pt x="679" y="39"/>
                    <a:pt x="686" y="34"/>
                    <a:pt x="684" y="20"/>
                  </a:cubicBezTo>
                  <a:cubicBezTo>
                    <a:pt x="682" y="6"/>
                    <a:pt x="671" y="0"/>
                    <a:pt x="661" y="0"/>
                  </a:cubicBezTo>
                  <a:cubicBezTo>
                    <a:pt x="651" y="0"/>
                    <a:pt x="643" y="23"/>
                    <a:pt x="632" y="29"/>
                  </a:cubicBezTo>
                  <a:cubicBezTo>
                    <a:pt x="621" y="35"/>
                    <a:pt x="617" y="40"/>
                    <a:pt x="616" y="60"/>
                  </a:cubicBezTo>
                  <a:cubicBezTo>
                    <a:pt x="615" y="80"/>
                    <a:pt x="601" y="70"/>
                    <a:pt x="586" y="68"/>
                  </a:cubicBezTo>
                  <a:cubicBezTo>
                    <a:pt x="571" y="65"/>
                    <a:pt x="566" y="72"/>
                    <a:pt x="567" y="82"/>
                  </a:cubicBezTo>
                  <a:cubicBezTo>
                    <a:pt x="567" y="93"/>
                    <a:pt x="570" y="104"/>
                    <a:pt x="563" y="104"/>
                  </a:cubicBezTo>
                  <a:cubicBezTo>
                    <a:pt x="555" y="104"/>
                    <a:pt x="552" y="97"/>
                    <a:pt x="539" y="88"/>
                  </a:cubicBezTo>
                  <a:cubicBezTo>
                    <a:pt x="525" y="80"/>
                    <a:pt x="529" y="98"/>
                    <a:pt x="509" y="98"/>
                  </a:cubicBezTo>
                  <a:cubicBezTo>
                    <a:pt x="490" y="98"/>
                    <a:pt x="491" y="114"/>
                    <a:pt x="479" y="116"/>
                  </a:cubicBezTo>
                  <a:cubicBezTo>
                    <a:pt x="466" y="117"/>
                    <a:pt x="467" y="110"/>
                    <a:pt x="465" y="100"/>
                  </a:cubicBezTo>
                  <a:cubicBezTo>
                    <a:pt x="465" y="100"/>
                    <a:pt x="465" y="99"/>
                    <a:pt x="465" y="99"/>
                  </a:cubicBezTo>
                  <a:cubicBezTo>
                    <a:pt x="465" y="99"/>
                    <a:pt x="465" y="98"/>
                    <a:pt x="465" y="98"/>
                  </a:cubicBezTo>
                  <a:cubicBezTo>
                    <a:pt x="464" y="98"/>
                    <a:pt x="464" y="98"/>
                    <a:pt x="464" y="98"/>
                  </a:cubicBezTo>
                  <a:cubicBezTo>
                    <a:pt x="464" y="97"/>
                    <a:pt x="464" y="97"/>
                    <a:pt x="464" y="97"/>
                  </a:cubicBezTo>
                  <a:cubicBezTo>
                    <a:pt x="464" y="97"/>
                    <a:pt x="463" y="97"/>
                    <a:pt x="463" y="97"/>
                  </a:cubicBezTo>
                  <a:cubicBezTo>
                    <a:pt x="463" y="97"/>
                    <a:pt x="463" y="96"/>
                    <a:pt x="463" y="96"/>
                  </a:cubicBezTo>
                  <a:cubicBezTo>
                    <a:pt x="463" y="96"/>
                    <a:pt x="462" y="96"/>
                    <a:pt x="462" y="96"/>
                  </a:cubicBezTo>
                  <a:cubicBezTo>
                    <a:pt x="462" y="96"/>
                    <a:pt x="462" y="96"/>
                    <a:pt x="462" y="96"/>
                  </a:cubicBezTo>
                  <a:cubicBezTo>
                    <a:pt x="461" y="96"/>
                    <a:pt x="461" y="96"/>
                    <a:pt x="461" y="96"/>
                  </a:cubicBezTo>
                  <a:cubicBezTo>
                    <a:pt x="461" y="96"/>
                    <a:pt x="461" y="96"/>
                    <a:pt x="460" y="96"/>
                  </a:cubicBezTo>
                  <a:cubicBezTo>
                    <a:pt x="460" y="95"/>
                    <a:pt x="460" y="95"/>
                    <a:pt x="460" y="95"/>
                  </a:cubicBezTo>
                  <a:cubicBezTo>
                    <a:pt x="459" y="95"/>
                    <a:pt x="458" y="95"/>
                    <a:pt x="457" y="95"/>
                  </a:cubicBezTo>
                  <a:cubicBezTo>
                    <a:pt x="455" y="96"/>
                    <a:pt x="453" y="96"/>
                    <a:pt x="450" y="97"/>
                  </a:cubicBezTo>
                  <a:cubicBezTo>
                    <a:pt x="450" y="97"/>
                    <a:pt x="449" y="97"/>
                    <a:pt x="449" y="97"/>
                  </a:cubicBezTo>
                  <a:cubicBezTo>
                    <a:pt x="449" y="97"/>
                    <a:pt x="448" y="97"/>
                    <a:pt x="448" y="97"/>
                  </a:cubicBezTo>
                  <a:cubicBezTo>
                    <a:pt x="447" y="97"/>
                    <a:pt x="447" y="97"/>
                    <a:pt x="446" y="97"/>
                  </a:cubicBezTo>
                  <a:cubicBezTo>
                    <a:pt x="446" y="97"/>
                    <a:pt x="446" y="97"/>
                    <a:pt x="445" y="97"/>
                  </a:cubicBezTo>
                  <a:cubicBezTo>
                    <a:pt x="445" y="97"/>
                    <a:pt x="444" y="97"/>
                    <a:pt x="444" y="97"/>
                  </a:cubicBezTo>
                  <a:cubicBezTo>
                    <a:pt x="444" y="97"/>
                    <a:pt x="443" y="97"/>
                    <a:pt x="443" y="97"/>
                  </a:cubicBezTo>
                  <a:cubicBezTo>
                    <a:pt x="442" y="97"/>
                    <a:pt x="442" y="97"/>
                    <a:pt x="441" y="97"/>
                  </a:cubicBezTo>
                  <a:cubicBezTo>
                    <a:pt x="441" y="97"/>
                    <a:pt x="441" y="97"/>
                    <a:pt x="440" y="97"/>
                  </a:cubicBezTo>
                  <a:cubicBezTo>
                    <a:pt x="440" y="97"/>
                    <a:pt x="439" y="97"/>
                    <a:pt x="438" y="97"/>
                  </a:cubicBezTo>
                  <a:cubicBezTo>
                    <a:pt x="426" y="95"/>
                    <a:pt x="420" y="90"/>
                    <a:pt x="416" y="84"/>
                  </a:cubicBezTo>
                  <a:cubicBezTo>
                    <a:pt x="416" y="83"/>
                    <a:pt x="415" y="83"/>
                    <a:pt x="415" y="83"/>
                  </a:cubicBezTo>
                  <a:cubicBezTo>
                    <a:pt x="415" y="83"/>
                    <a:pt x="415" y="82"/>
                    <a:pt x="415" y="82"/>
                  </a:cubicBezTo>
                  <a:cubicBezTo>
                    <a:pt x="414" y="82"/>
                    <a:pt x="414" y="82"/>
                    <a:pt x="414" y="82"/>
                  </a:cubicBezTo>
                  <a:cubicBezTo>
                    <a:pt x="414" y="82"/>
                    <a:pt x="414" y="82"/>
                    <a:pt x="413" y="82"/>
                  </a:cubicBezTo>
                  <a:cubicBezTo>
                    <a:pt x="413" y="81"/>
                    <a:pt x="412" y="81"/>
                    <a:pt x="412" y="81"/>
                  </a:cubicBezTo>
                  <a:cubicBezTo>
                    <a:pt x="412" y="81"/>
                    <a:pt x="411" y="81"/>
                    <a:pt x="411" y="81"/>
                  </a:cubicBezTo>
                  <a:cubicBezTo>
                    <a:pt x="411" y="81"/>
                    <a:pt x="410" y="81"/>
                    <a:pt x="410" y="81"/>
                  </a:cubicBezTo>
                  <a:cubicBezTo>
                    <a:pt x="409" y="80"/>
                    <a:pt x="409" y="80"/>
                    <a:pt x="409" y="80"/>
                  </a:cubicBezTo>
                  <a:cubicBezTo>
                    <a:pt x="408" y="80"/>
                    <a:pt x="408" y="80"/>
                    <a:pt x="407" y="80"/>
                  </a:cubicBezTo>
                  <a:cubicBezTo>
                    <a:pt x="407" y="80"/>
                    <a:pt x="407" y="80"/>
                    <a:pt x="407" y="80"/>
                  </a:cubicBezTo>
                  <a:cubicBezTo>
                    <a:pt x="406" y="80"/>
                    <a:pt x="405" y="80"/>
                    <a:pt x="404" y="80"/>
                  </a:cubicBezTo>
                  <a:cubicBezTo>
                    <a:pt x="404" y="80"/>
                    <a:pt x="404" y="80"/>
                    <a:pt x="403" y="80"/>
                  </a:cubicBezTo>
                  <a:cubicBezTo>
                    <a:pt x="403" y="80"/>
                    <a:pt x="402" y="80"/>
                    <a:pt x="401" y="80"/>
                  </a:cubicBezTo>
                  <a:cubicBezTo>
                    <a:pt x="401" y="80"/>
                    <a:pt x="401" y="80"/>
                    <a:pt x="400" y="80"/>
                  </a:cubicBezTo>
                  <a:cubicBezTo>
                    <a:pt x="400" y="80"/>
                    <a:pt x="399" y="80"/>
                    <a:pt x="398" y="80"/>
                  </a:cubicBezTo>
                  <a:cubicBezTo>
                    <a:pt x="398" y="80"/>
                    <a:pt x="398" y="80"/>
                    <a:pt x="397" y="80"/>
                  </a:cubicBezTo>
                  <a:cubicBezTo>
                    <a:pt x="397" y="80"/>
                    <a:pt x="396" y="80"/>
                    <a:pt x="395" y="80"/>
                  </a:cubicBezTo>
                  <a:cubicBezTo>
                    <a:pt x="394" y="80"/>
                    <a:pt x="394" y="80"/>
                    <a:pt x="393" y="80"/>
                  </a:cubicBezTo>
                  <a:cubicBezTo>
                    <a:pt x="393" y="80"/>
                    <a:pt x="392" y="80"/>
                    <a:pt x="392" y="80"/>
                  </a:cubicBezTo>
                  <a:cubicBezTo>
                    <a:pt x="391" y="81"/>
                    <a:pt x="391" y="81"/>
                    <a:pt x="390" y="81"/>
                  </a:cubicBezTo>
                  <a:cubicBezTo>
                    <a:pt x="390" y="81"/>
                    <a:pt x="389" y="81"/>
                    <a:pt x="389" y="81"/>
                  </a:cubicBezTo>
                  <a:cubicBezTo>
                    <a:pt x="388" y="81"/>
                    <a:pt x="387" y="81"/>
                    <a:pt x="385" y="81"/>
                  </a:cubicBezTo>
                  <a:cubicBezTo>
                    <a:pt x="385" y="81"/>
                    <a:pt x="385" y="81"/>
                    <a:pt x="385" y="81"/>
                  </a:cubicBezTo>
                  <a:cubicBezTo>
                    <a:pt x="381" y="82"/>
                    <a:pt x="378" y="82"/>
                    <a:pt x="375" y="83"/>
                  </a:cubicBezTo>
                  <a:cubicBezTo>
                    <a:pt x="374" y="83"/>
                    <a:pt x="372" y="83"/>
                    <a:pt x="371" y="83"/>
                  </a:cubicBezTo>
                  <a:cubicBezTo>
                    <a:pt x="357" y="85"/>
                    <a:pt x="353" y="78"/>
                    <a:pt x="345" y="72"/>
                  </a:cubicBezTo>
                  <a:cubicBezTo>
                    <a:pt x="338" y="65"/>
                    <a:pt x="328" y="68"/>
                    <a:pt x="325" y="79"/>
                  </a:cubicBezTo>
                  <a:cubicBezTo>
                    <a:pt x="321" y="90"/>
                    <a:pt x="306" y="94"/>
                    <a:pt x="293" y="94"/>
                  </a:cubicBezTo>
                  <a:cubicBezTo>
                    <a:pt x="281" y="94"/>
                    <a:pt x="275" y="103"/>
                    <a:pt x="272" y="114"/>
                  </a:cubicBezTo>
                  <a:cubicBezTo>
                    <a:pt x="269" y="126"/>
                    <a:pt x="261" y="132"/>
                    <a:pt x="261" y="146"/>
                  </a:cubicBezTo>
                  <a:cubicBezTo>
                    <a:pt x="260" y="160"/>
                    <a:pt x="253" y="171"/>
                    <a:pt x="240" y="171"/>
                  </a:cubicBezTo>
                  <a:cubicBezTo>
                    <a:pt x="227" y="171"/>
                    <a:pt x="226" y="184"/>
                    <a:pt x="211" y="186"/>
                  </a:cubicBezTo>
                  <a:cubicBezTo>
                    <a:pt x="195" y="188"/>
                    <a:pt x="188" y="192"/>
                    <a:pt x="178" y="194"/>
                  </a:cubicBezTo>
                  <a:cubicBezTo>
                    <a:pt x="168" y="196"/>
                    <a:pt x="169" y="203"/>
                    <a:pt x="173" y="210"/>
                  </a:cubicBezTo>
                  <a:cubicBezTo>
                    <a:pt x="178" y="218"/>
                    <a:pt x="166" y="221"/>
                    <a:pt x="161" y="228"/>
                  </a:cubicBezTo>
                  <a:cubicBezTo>
                    <a:pt x="157" y="234"/>
                    <a:pt x="151" y="238"/>
                    <a:pt x="139" y="234"/>
                  </a:cubicBezTo>
                  <a:cubicBezTo>
                    <a:pt x="128" y="230"/>
                    <a:pt x="122" y="240"/>
                    <a:pt x="119" y="246"/>
                  </a:cubicBezTo>
                  <a:cubicBezTo>
                    <a:pt x="115" y="252"/>
                    <a:pt x="109" y="244"/>
                    <a:pt x="107" y="236"/>
                  </a:cubicBezTo>
                  <a:cubicBezTo>
                    <a:pt x="105" y="228"/>
                    <a:pt x="90" y="227"/>
                    <a:pt x="85" y="227"/>
                  </a:cubicBezTo>
                  <a:cubicBezTo>
                    <a:pt x="79" y="227"/>
                    <a:pt x="74" y="229"/>
                    <a:pt x="67" y="219"/>
                  </a:cubicBezTo>
                  <a:cubicBezTo>
                    <a:pt x="64" y="213"/>
                    <a:pt x="55" y="212"/>
                    <a:pt x="48" y="213"/>
                  </a:cubicBezTo>
                  <a:cubicBezTo>
                    <a:pt x="48" y="214"/>
                    <a:pt x="48" y="215"/>
                    <a:pt x="48" y="216"/>
                  </a:cubicBezTo>
                  <a:cubicBezTo>
                    <a:pt x="48" y="217"/>
                    <a:pt x="48" y="217"/>
                    <a:pt x="48" y="217"/>
                  </a:cubicBezTo>
                  <a:cubicBezTo>
                    <a:pt x="48" y="218"/>
                    <a:pt x="48" y="219"/>
                    <a:pt x="48" y="220"/>
                  </a:cubicBezTo>
                  <a:cubicBezTo>
                    <a:pt x="48" y="221"/>
                    <a:pt x="48" y="221"/>
                    <a:pt x="48" y="221"/>
                  </a:cubicBezTo>
                  <a:cubicBezTo>
                    <a:pt x="48" y="222"/>
                    <a:pt x="47" y="223"/>
                    <a:pt x="47" y="224"/>
                  </a:cubicBezTo>
                  <a:cubicBezTo>
                    <a:pt x="47" y="224"/>
                    <a:pt x="47" y="224"/>
                    <a:pt x="47" y="225"/>
                  </a:cubicBezTo>
                  <a:cubicBezTo>
                    <a:pt x="47" y="226"/>
                    <a:pt x="46" y="227"/>
                    <a:pt x="46" y="228"/>
                  </a:cubicBezTo>
                  <a:cubicBezTo>
                    <a:pt x="41" y="238"/>
                    <a:pt x="38" y="241"/>
                    <a:pt x="38" y="248"/>
                  </a:cubicBezTo>
                  <a:cubicBezTo>
                    <a:pt x="38" y="256"/>
                    <a:pt x="43" y="268"/>
                    <a:pt x="35" y="274"/>
                  </a:cubicBezTo>
                  <a:cubicBezTo>
                    <a:pt x="26" y="280"/>
                    <a:pt x="23" y="287"/>
                    <a:pt x="23" y="293"/>
                  </a:cubicBezTo>
                  <a:cubicBezTo>
                    <a:pt x="23" y="299"/>
                    <a:pt x="29" y="308"/>
                    <a:pt x="19" y="309"/>
                  </a:cubicBezTo>
                  <a:cubicBezTo>
                    <a:pt x="9" y="310"/>
                    <a:pt x="5" y="316"/>
                    <a:pt x="5" y="326"/>
                  </a:cubicBezTo>
                  <a:cubicBezTo>
                    <a:pt x="5" y="337"/>
                    <a:pt x="0" y="356"/>
                    <a:pt x="9" y="358"/>
                  </a:cubicBezTo>
                  <a:cubicBezTo>
                    <a:pt x="19" y="360"/>
                    <a:pt x="37" y="358"/>
                    <a:pt x="23" y="371"/>
                  </a:cubicBezTo>
                  <a:cubicBezTo>
                    <a:pt x="8" y="384"/>
                    <a:pt x="5" y="384"/>
                    <a:pt x="5" y="393"/>
                  </a:cubicBezTo>
                  <a:cubicBezTo>
                    <a:pt x="5" y="402"/>
                    <a:pt x="2" y="410"/>
                    <a:pt x="8" y="412"/>
                  </a:cubicBezTo>
                  <a:cubicBezTo>
                    <a:pt x="14" y="414"/>
                    <a:pt x="9" y="429"/>
                    <a:pt x="15" y="432"/>
                  </a:cubicBezTo>
                  <a:cubicBezTo>
                    <a:pt x="21" y="434"/>
                    <a:pt x="24" y="429"/>
                    <a:pt x="24" y="450"/>
                  </a:cubicBezTo>
                  <a:cubicBezTo>
                    <a:pt x="24" y="472"/>
                    <a:pt x="18" y="476"/>
                    <a:pt x="18" y="484"/>
                  </a:cubicBezTo>
                  <a:cubicBezTo>
                    <a:pt x="18" y="492"/>
                    <a:pt x="21" y="507"/>
                    <a:pt x="29" y="509"/>
                  </a:cubicBezTo>
                  <a:cubicBezTo>
                    <a:pt x="37" y="511"/>
                    <a:pt x="55" y="510"/>
                    <a:pt x="65" y="512"/>
                  </a:cubicBezTo>
                  <a:cubicBezTo>
                    <a:pt x="75" y="514"/>
                    <a:pt x="83" y="525"/>
                    <a:pt x="87" y="532"/>
                  </a:cubicBezTo>
                  <a:cubicBezTo>
                    <a:pt x="90" y="538"/>
                    <a:pt x="88" y="552"/>
                    <a:pt x="82" y="559"/>
                  </a:cubicBezTo>
                  <a:cubicBezTo>
                    <a:pt x="76" y="566"/>
                    <a:pt x="65" y="572"/>
                    <a:pt x="61" y="579"/>
                  </a:cubicBezTo>
                  <a:cubicBezTo>
                    <a:pt x="56" y="586"/>
                    <a:pt x="47" y="594"/>
                    <a:pt x="43" y="599"/>
                  </a:cubicBezTo>
                  <a:cubicBezTo>
                    <a:pt x="42" y="599"/>
                    <a:pt x="42" y="599"/>
                    <a:pt x="42" y="600"/>
                  </a:cubicBezTo>
                  <a:cubicBezTo>
                    <a:pt x="42" y="600"/>
                    <a:pt x="42" y="600"/>
                    <a:pt x="42" y="600"/>
                  </a:cubicBezTo>
                  <a:cubicBezTo>
                    <a:pt x="42" y="600"/>
                    <a:pt x="41" y="600"/>
                    <a:pt x="41" y="600"/>
                  </a:cubicBezTo>
                  <a:cubicBezTo>
                    <a:pt x="41" y="600"/>
                    <a:pt x="41" y="600"/>
                    <a:pt x="41" y="601"/>
                  </a:cubicBezTo>
                  <a:cubicBezTo>
                    <a:pt x="41" y="601"/>
                    <a:pt x="41" y="601"/>
                    <a:pt x="41" y="601"/>
                  </a:cubicBezTo>
                  <a:cubicBezTo>
                    <a:pt x="37" y="604"/>
                    <a:pt x="29" y="610"/>
                    <a:pt x="27" y="618"/>
                  </a:cubicBezTo>
                  <a:cubicBezTo>
                    <a:pt x="27" y="618"/>
                    <a:pt x="27" y="618"/>
                    <a:pt x="27" y="618"/>
                  </a:cubicBezTo>
                  <a:cubicBezTo>
                    <a:pt x="27" y="618"/>
                    <a:pt x="27" y="619"/>
                    <a:pt x="27" y="620"/>
                  </a:cubicBezTo>
                  <a:cubicBezTo>
                    <a:pt x="27" y="620"/>
                    <a:pt x="27" y="620"/>
                    <a:pt x="27" y="620"/>
                  </a:cubicBezTo>
                  <a:cubicBezTo>
                    <a:pt x="37" y="625"/>
                    <a:pt x="52" y="633"/>
                    <a:pt x="61" y="635"/>
                  </a:cubicBezTo>
                  <a:cubicBezTo>
                    <a:pt x="76" y="638"/>
                    <a:pt x="82" y="638"/>
                    <a:pt x="92" y="644"/>
                  </a:cubicBezTo>
                  <a:cubicBezTo>
                    <a:pt x="102" y="650"/>
                    <a:pt x="113" y="652"/>
                    <a:pt x="125" y="652"/>
                  </a:cubicBezTo>
                  <a:cubicBezTo>
                    <a:pt x="136" y="652"/>
                    <a:pt x="159" y="652"/>
                    <a:pt x="182" y="652"/>
                  </a:cubicBezTo>
                  <a:cubicBezTo>
                    <a:pt x="205" y="652"/>
                    <a:pt x="219" y="657"/>
                    <a:pt x="235" y="650"/>
                  </a:cubicBezTo>
                  <a:cubicBezTo>
                    <a:pt x="250" y="642"/>
                    <a:pt x="262" y="641"/>
                    <a:pt x="277" y="641"/>
                  </a:cubicBezTo>
                  <a:cubicBezTo>
                    <a:pt x="293" y="641"/>
                    <a:pt x="311" y="642"/>
                    <a:pt x="322" y="638"/>
                  </a:cubicBezTo>
                  <a:cubicBezTo>
                    <a:pt x="333" y="635"/>
                    <a:pt x="340" y="636"/>
                    <a:pt x="355" y="632"/>
                  </a:cubicBezTo>
                  <a:cubicBezTo>
                    <a:pt x="371" y="628"/>
                    <a:pt x="373" y="625"/>
                    <a:pt x="371" y="606"/>
                  </a:cubicBezTo>
                  <a:cubicBezTo>
                    <a:pt x="370" y="586"/>
                    <a:pt x="358" y="561"/>
                    <a:pt x="378" y="548"/>
                  </a:cubicBezTo>
                  <a:cubicBezTo>
                    <a:pt x="398" y="536"/>
                    <a:pt x="389" y="534"/>
                    <a:pt x="399" y="527"/>
                  </a:cubicBezTo>
                  <a:cubicBezTo>
                    <a:pt x="410" y="520"/>
                    <a:pt x="415" y="513"/>
                    <a:pt x="422" y="522"/>
                  </a:cubicBezTo>
                  <a:cubicBezTo>
                    <a:pt x="429" y="532"/>
                    <a:pt x="429" y="527"/>
                    <a:pt x="438" y="527"/>
                  </a:cubicBezTo>
                  <a:cubicBezTo>
                    <a:pt x="447" y="527"/>
                    <a:pt x="460" y="524"/>
                    <a:pt x="460" y="518"/>
                  </a:cubicBezTo>
                  <a:cubicBezTo>
                    <a:pt x="460" y="513"/>
                    <a:pt x="443" y="508"/>
                    <a:pt x="445" y="501"/>
                  </a:cubicBezTo>
                  <a:cubicBezTo>
                    <a:pt x="447" y="494"/>
                    <a:pt x="459" y="496"/>
                    <a:pt x="467" y="498"/>
                  </a:cubicBezTo>
                  <a:cubicBezTo>
                    <a:pt x="475" y="500"/>
                    <a:pt x="479" y="494"/>
                    <a:pt x="485" y="490"/>
                  </a:cubicBezTo>
                  <a:cubicBezTo>
                    <a:pt x="491" y="487"/>
                    <a:pt x="513" y="482"/>
                    <a:pt x="521" y="492"/>
                  </a:cubicBezTo>
                  <a:cubicBezTo>
                    <a:pt x="528" y="502"/>
                    <a:pt x="539" y="505"/>
                    <a:pt x="542" y="498"/>
                  </a:cubicBezTo>
                  <a:cubicBezTo>
                    <a:pt x="545" y="490"/>
                    <a:pt x="548" y="488"/>
                    <a:pt x="554" y="484"/>
                  </a:cubicBezTo>
                  <a:cubicBezTo>
                    <a:pt x="560" y="480"/>
                    <a:pt x="561" y="476"/>
                    <a:pt x="561" y="466"/>
                  </a:cubicBezTo>
                  <a:cubicBezTo>
                    <a:pt x="561" y="457"/>
                    <a:pt x="549" y="453"/>
                    <a:pt x="552" y="445"/>
                  </a:cubicBezTo>
                  <a:cubicBezTo>
                    <a:pt x="555" y="437"/>
                    <a:pt x="564" y="434"/>
                    <a:pt x="564" y="422"/>
                  </a:cubicBezTo>
                  <a:cubicBezTo>
                    <a:pt x="564" y="409"/>
                    <a:pt x="565" y="393"/>
                    <a:pt x="585" y="393"/>
                  </a:cubicBezTo>
                  <a:cubicBezTo>
                    <a:pt x="604" y="393"/>
                    <a:pt x="609" y="392"/>
                    <a:pt x="613" y="385"/>
                  </a:cubicBezTo>
                  <a:cubicBezTo>
                    <a:pt x="616" y="378"/>
                    <a:pt x="629" y="375"/>
                    <a:pt x="618" y="363"/>
                  </a:cubicBezTo>
                  <a:cubicBezTo>
                    <a:pt x="607" y="351"/>
                    <a:pt x="600" y="345"/>
                    <a:pt x="599" y="339"/>
                  </a:cubicBezTo>
                  <a:cubicBezTo>
                    <a:pt x="597" y="333"/>
                    <a:pt x="597" y="326"/>
                    <a:pt x="610" y="326"/>
                  </a:cubicBezTo>
                  <a:cubicBezTo>
                    <a:pt x="623" y="326"/>
                    <a:pt x="627" y="331"/>
                    <a:pt x="629" y="334"/>
                  </a:cubicBezTo>
                  <a:cubicBezTo>
                    <a:pt x="630" y="336"/>
                    <a:pt x="642" y="334"/>
                    <a:pt x="651" y="334"/>
                  </a:cubicBezTo>
                  <a:cubicBezTo>
                    <a:pt x="659" y="334"/>
                    <a:pt x="655" y="326"/>
                    <a:pt x="666" y="325"/>
                  </a:cubicBezTo>
                  <a:cubicBezTo>
                    <a:pt x="677" y="324"/>
                    <a:pt x="679" y="320"/>
                    <a:pt x="677" y="310"/>
                  </a:cubicBezTo>
                  <a:cubicBezTo>
                    <a:pt x="676" y="300"/>
                    <a:pt x="674" y="298"/>
                    <a:pt x="669" y="293"/>
                  </a:cubicBezTo>
                  <a:cubicBezTo>
                    <a:pt x="663" y="288"/>
                    <a:pt x="665" y="285"/>
                    <a:pt x="674" y="278"/>
                  </a:cubicBezTo>
                  <a:cubicBezTo>
                    <a:pt x="683" y="270"/>
                    <a:pt x="706" y="264"/>
                    <a:pt x="704" y="246"/>
                  </a:cubicBezTo>
                  <a:cubicBezTo>
                    <a:pt x="702" y="229"/>
                    <a:pt x="706" y="214"/>
                    <a:pt x="699" y="208"/>
                  </a:cubicBezTo>
                  <a:cubicBezTo>
                    <a:pt x="693" y="202"/>
                    <a:pt x="693" y="190"/>
                    <a:pt x="685" y="188"/>
                  </a:cubicBezTo>
                  <a:cubicBezTo>
                    <a:pt x="676" y="186"/>
                    <a:pt x="677" y="178"/>
                    <a:pt x="686" y="172"/>
                  </a:cubicBezTo>
                  <a:cubicBezTo>
                    <a:pt x="695" y="167"/>
                    <a:pt x="697" y="162"/>
                    <a:pt x="708" y="160"/>
                  </a:cubicBezTo>
                  <a:cubicBezTo>
                    <a:pt x="719" y="159"/>
                    <a:pt x="717" y="154"/>
                    <a:pt x="725" y="148"/>
                  </a:cubicBezTo>
                  <a:cubicBezTo>
                    <a:pt x="733" y="142"/>
                    <a:pt x="751" y="136"/>
                    <a:pt x="753" y="130"/>
                  </a:cubicBezTo>
                  <a:cubicBezTo>
                    <a:pt x="756" y="123"/>
                    <a:pt x="770" y="123"/>
                    <a:pt x="790" y="122"/>
                  </a:cubicBezTo>
                  <a:cubicBezTo>
                    <a:pt x="810" y="122"/>
                    <a:pt x="829" y="120"/>
                    <a:pt x="845" y="121"/>
                  </a:cubicBezTo>
                  <a:cubicBezTo>
                    <a:pt x="862" y="122"/>
                    <a:pt x="883" y="122"/>
                    <a:pt x="887" y="116"/>
                  </a:cubicBezTo>
                  <a:cubicBezTo>
                    <a:pt x="888" y="115"/>
                    <a:pt x="888" y="114"/>
                    <a:pt x="889" y="114"/>
                  </a:cubicBezTo>
                  <a:cubicBezTo>
                    <a:pt x="889" y="113"/>
                    <a:pt x="889" y="113"/>
                    <a:pt x="889" y="113"/>
                  </a:cubicBezTo>
                  <a:cubicBezTo>
                    <a:pt x="890" y="113"/>
                    <a:pt x="890" y="112"/>
                    <a:pt x="891" y="112"/>
                  </a:cubicBezTo>
                  <a:cubicBezTo>
                    <a:pt x="891" y="112"/>
                    <a:pt x="891" y="112"/>
                    <a:pt x="891" y="111"/>
                  </a:cubicBezTo>
                  <a:cubicBezTo>
                    <a:pt x="892" y="111"/>
                    <a:pt x="892" y="111"/>
                    <a:pt x="893" y="110"/>
                  </a:cubicBezTo>
                  <a:cubicBezTo>
                    <a:pt x="893" y="110"/>
                    <a:pt x="893" y="110"/>
                    <a:pt x="893" y="110"/>
                  </a:cubicBezTo>
                  <a:cubicBezTo>
                    <a:pt x="896" y="109"/>
                    <a:pt x="899" y="108"/>
                    <a:pt x="903" y="106"/>
                  </a:cubicBezTo>
                  <a:cubicBezTo>
                    <a:pt x="903" y="106"/>
                    <a:pt x="904" y="105"/>
                    <a:pt x="904" y="105"/>
                  </a:cubicBezTo>
                  <a:cubicBezTo>
                    <a:pt x="911" y="101"/>
                    <a:pt x="912" y="100"/>
                    <a:pt x="918" y="88"/>
                  </a:cubicBezTo>
                  <a:cubicBezTo>
                    <a:pt x="918" y="88"/>
                    <a:pt x="919" y="87"/>
                    <a:pt x="919" y="87"/>
                  </a:cubicBezTo>
                  <a:cubicBezTo>
                    <a:pt x="908" y="82"/>
                    <a:pt x="893" y="82"/>
                    <a:pt x="885" y="8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230" name="Freeform 25315"/>
            <p:cNvSpPr>
              <a:spLocks/>
            </p:cNvSpPr>
            <p:nvPr/>
          </p:nvSpPr>
          <p:spPr bwMode="auto">
            <a:xfrm>
              <a:off x="5528159" y="2746058"/>
              <a:ext cx="340448" cy="215443"/>
            </a:xfrm>
            <a:custGeom>
              <a:avLst/>
              <a:gdLst>
                <a:gd name="T0" fmla="*/ 607 w 913"/>
                <a:gd name="T1" fmla="*/ 553 h 578"/>
                <a:gd name="T2" fmla="*/ 641 w 913"/>
                <a:gd name="T3" fmla="*/ 572 h 578"/>
                <a:gd name="T4" fmla="*/ 683 w 913"/>
                <a:gd name="T5" fmla="*/ 554 h 578"/>
                <a:gd name="T6" fmla="*/ 700 w 913"/>
                <a:gd name="T7" fmla="*/ 520 h 578"/>
                <a:gd name="T8" fmla="*/ 762 w 913"/>
                <a:gd name="T9" fmla="*/ 497 h 578"/>
                <a:gd name="T10" fmla="*/ 794 w 913"/>
                <a:gd name="T11" fmla="*/ 440 h 578"/>
                <a:gd name="T12" fmla="*/ 847 w 913"/>
                <a:gd name="T13" fmla="*/ 405 h 578"/>
                <a:gd name="T14" fmla="*/ 893 w 913"/>
                <a:gd name="T15" fmla="*/ 409 h 578"/>
                <a:gd name="T16" fmla="*/ 907 w 913"/>
                <a:gd name="T17" fmla="*/ 407 h 578"/>
                <a:gd name="T18" fmla="*/ 911 w 913"/>
                <a:gd name="T19" fmla="*/ 375 h 578"/>
                <a:gd name="T20" fmla="*/ 844 w 913"/>
                <a:gd name="T21" fmla="*/ 342 h 578"/>
                <a:gd name="T22" fmla="*/ 725 w 913"/>
                <a:gd name="T23" fmla="*/ 272 h 578"/>
                <a:gd name="T24" fmla="*/ 641 w 913"/>
                <a:gd name="T25" fmla="*/ 195 h 578"/>
                <a:gd name="T26" fmla="*/ 608 w 913"/>
                <a:gd name="T27" fmla="*/ 125 h 578"/>
                <a:gd name="T28" fmla="*/ 514 w 913"/>
                <a:gd name="T29" fmla="*/ 119 h 578"/>
                <a:gd name="T30" fmla="*/ 490 w 913"/>
                <a:gd name="T31" fmla="*/ 56 h 578"/>
                <a:gd name="T32" fmla="*/ 417 w 913"/>
                <a:gd name="T33" fmla="*/ 13 h 578"/>
                <a:gd name="T34" fmla="*/ 368 w 913"/>
                <a:gd name="T35" fmla="*/ 27 h 578"/>
                <a:gd name="T36" fmla="*/ 321 w 913"/>
                <a:gd name="T37" fmla="*/ 48 h 578"/>
                <a:gd name="T38" fmla="*/ 301 w 913"/>
                <a:gd name="T39" fmla="*/ 107 h 578"/>
                <a:gd name="T40" fmla="*/ 253 w 913"/>
                <a:gd name="T41" fmla="*/ 113 h 578"/>
                <a:gd name="T42" fmla="*/ 249 w 913"/>
                <a:gd name="T43" fmla="*/ 113 h 578"/>
                <a:gd name="T44" fmla="*/ 243 w 913"/>
                <a:gd name="T45" fmla="*/ 113 h 578"/>
                <a:gd name="T46" fmla="*/ 240 w 913"/>
                <a:gd name="T47" fmla="*/ 113 h 578"/>
                <a:gd name="T48" fmla="*/ 236 w 913"/>
                <a:gd name="T49" fmla="*/ 114 h 578"/>
                <a:gd name="T50" fmla="*/ 231 w 913"/>
                <a:gd name="T51" fmla="*/ 115 h 578"/>
                <a:gd name="T52" fmla="*/ 222 w 913"/>
                <a:gd name="T53" fmla="*/ 118 h 578"/>
                <a:gd name="T54" fmla="*/ 160 w 913"/>
                <a:gd name="T55" fmla="*/ 59 h 578"/>
                <a:gd name="T56" fmla="*/ 87 w 913"/>
                <a:gd name="T57" fmla="*/ 34 h 578"/>
                <a:gd name="T58" fmla="*/ 18 w 913"/>
                <a:gd name="T59" fmla="*/ 71 h 578"/>
                <a:gd name="T60" fmla="*/ 6 w 913"/>
                <a:gd name="T61" fmla="*/ 89 h 578"/>
                <a:gd name="T62" fmla="*/ 9 w 913"/>
                <a:gd name="T63" fmla="*/ 91 h 578"/>
                <a:gd name="T64" fmla="*/ 12 w 913"/>
                <a:gd name="T65" fmla="*/ 92 h 578"/>
                <a:gd name="T66" fmla="*/ 37 w 913"/>
                <a:gd name="T67" fmla="*/ 140 h 578"/>
                <a:gd name="T68" fmla="*/ 24 w 913"/>
                <a:gd name="T69" fmla="*/ 199 h 578"/>
                <a:gd name="T70" fmla="*/ 42 w 913"/>
                <a:gd name="T71" fmla="*/ 230 h 578"/>
                <a:gd name="T72" fmla="*/ 70 w 913"/>
                <a:gd name="T73" fmla="*/ 226 h 578"/>
                <a:gd name="T74" fmla="*/ 39 w 913"/>
                <a:gd name="T75" fmla="*/ 274 h 578"/>
                <a:gd name="T76" fmla="*/ 56 w 913"/>
                <a:gd name="T77" fmla="*/ 283 h 578"/>
                <a:gd name="T78" fmla="*/ 93 w 913"/>
                <a:gd name="T79" fmla="*/ 279 h 578"/>
                <a:gd name="T80" fmla="*/ 90 w 913"/>
                <a:gd name="T81" fmla="*/ 368 h 578"/>
                <a:gd name="T82" fmla="*/ 97 w 913"/>
                <a:gd name="T83" fmla="*/ 411 h 578"/>
                <a:gd name="T84" fmla="*/ 134 w 913"/>
                <a:gd name="T85" fmla="*/ 405 h 578"/>
                <a:gd name="T86" fmla="*/ 167 w 913"/>
                <a:gd name="T87" fmla="*/ 372 h 578"/>
                <a:gd name="T88" fmla="*/ 217 w 913"/>
                <a:gd name="T89" fmla="*/ 356 h 578"/>
                <a:gd name="T90" fmla="*/ 283 w 913"/>
                <a:gd name="T91" fmla="*/ 340 h 578"/>
                <a:gd name="T92" fmla="*/ 328 w 913"/>
                <a:gd name="T93" fmla="*/ 366 h 578"/>
                <a:gd name="T94" fmla="*/ 389 w 913"/>
                <a:gd name="T95" fmla="*/ 388 h 578"/>
                <a:gd name="T96" fmla="*/ 465 w 913"/>
                <a:gd name="T97" fmla="*/ 425 h 578"/>
                <a:gd name="T98" fmla="*/ 519 w 913"/>
                <a:gd name="T99" fmla="*/ 463 h 578"/>
                <a:gd name="T100" fmla="*/ 565 w 913"/>
                <a:gd name="T101" fmla="*/ 484 h 578"/>
                <a:gd name="T102" fmla="*/ 566 w 913"/>
                <a:gd name="T103" fmla="*/ 520 h 578"/>
                <a:gd name="T104" fmla="*/ 569 w 913"/>
                <a:gd name="T105" fmla="*/ 532 h 578"/>
                <a:gd name="T106" fmla="*/ 569 w 913"/>
                <a:gd name="T107" fmla="*/ 535 h 578"/>
                <a:gd name="T108" fmla="*/ 570 w 913"/>
                <a:gd name="T109" fmla="*/ 539 h 5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913" h="578">
                  <a:moveTo>
                    <a:pt x="589" y="545"/>
                  </a:moveTo>
                  <a:cubicBezTo>
                    <a:pt x="596" y="555"/>
                    <a:pt x="601" y="553"/>
                    <a:pt x="607" y="553"/>
                  </a:cubicBezTo>
                  <a:cubicBezTo>
                    <a:pt x="612" y="553"/>
                    <a:pt x="627" y="554"/>
                    <a:pt x="629" y="562"/>
                  </a:cubicBezTo>
                  <a:cubicBezTo>
                    <a:pt x="631" y="570"/>
                    <a:pt x="637" y="578"/>
                    <a:pt x="641" y="572"/>
                  </a:cubicBezTo>
                  <a:cubicBezTo>
                    <a:pt x="644" y="566"/>
                    <a:pt x="650" y="556"/>
                    <a:pt x="661" y="560"/>
                  </a:cubicBezTo>
                  <a:cubicBezTo>
                    <a:pt x="673" y="564"/>
                    <a:pt x="679" y="560"/>
                    <a:pt x="683" y="554"/>
                  </a:cubicBezTo>
                  <a:cubicBezTo>
                    <a:pt x="688" y="547"/>
                    <a:pt x="700" y="544"/>
                    <a:pt x="695" y="536"/>
                  </a:cubicBezTo>
                  <a:cubicBezTo>
                    <a:pt x="691" y="529"/>
                    <a:pt x="690" y="522"/>
                    <a:pt x="700" y="520"/>
                  </a:cubicBezTo>
                  <a:cubicBezTo>
                    <a:pt x="710" y="518"/>
                    <a:pt x="717" y="514"/>
                    <a:pt x="733" y="512"/>
                  </a:cubicBezTo>
                  <a:cubicBezTo>
                    <a:pt x="748" y="510"/>
                    <a:pt x="749" y="497"/>
                    <a:pt x="762" y="497"/>
                  </a:cubicBezTo>
                  <a:cubicBezTo>
                    <a:pt x="775" y="497"/>
                    <a:pt x="782" y="486"/>
                    <a:pt x="783" y="472"/>
                  </a:cubicBezTo>
                  <a:cubicBezTo>
                    <a:pt x="783" y="458"/>
                    <a:pt x="791" y="452"/>
                    <a:pt x="794" y="440"/>
                  </a:cubicBezTo>
                  <a:cubicBezTo>
                    <a:pt x="797" y="429"/>
                    <a:pt x="803" y="420"/>
                    <a:pt x="815" y="420"/>
                  </a:cubicBezTo>
                  <a:cubicBezTo>
                    <a:pt x="828" y="420"/>
                    <a:pt x="843" y="416"/>
                    <a:pt x="847" y="405"/>
                  </a:cubicBezTo>
                  <a:cubicBezTo>
                    <a:pt x="850" y="394"/>
                    <a:pt x="860" y="391"/>
                    <a:pt x="867" y="398"/>
                  </a:cubicBezTo>
                  <a:cubicBezTo>
                    <a:pt x="875" y="404"/>
                    <a:pt x="879" y="411"/>
                    <a:pt x="893" y="409"/>
                  </a:cubicBezTo>
                  <a:cubicBezTo>
                    <a:pt x="894" y="409"/>
                    <a:pt x="896" y="409"/>
                    <a:pt x="897" y="409"/>
                  </a:cubicBezTo>
                  <a:cubicBezTo>
                    <a:pt x="900" y="408"/>
                    <a:pt x="903" y="408"/>
                    <a:pt x="907" y="407"/>
                  </a:cubicBezTo>
                  <a:cubicBezTo>
                    <a:pt x="907" y="407"/>
                    <a:pt x="907" y="407"/>
                    <a:pt x="907" y="407"/>
                  </a:cubicBezTo>
                  <a:cubicBezTo>
                    <a:pt x="907" y="396"/>
                    <a:pt x="909" y="385"/>
                    <a:pt x="911" y="375"/>
                  </a:cubicBezTo>
                  <a:cubicBezTo>
                    <a:pt x="913" y="362"/>
                    <a:pt x="905" y="366"/>
                    <a:pt x="897" y="358"/>
                  </a:cubicBezTo>
                  <a:cubicBezTo>
                    <a:pt x="889" y="350"/>
                    <a:pt x="866" y="345"/>
                    <a:pt x="844" y="342"/>
                  </a:cubicBezTo>
                  <a:cubicBezTo>
                    <a:pt x="822" y="339"/>
                    <a:pt x="795" y="321"/>
                    <a:pt x="777" y="300"/>
                  </a:cubicBezTo>
                  <a:cubicBezTo>
                    <a:pt x="759" y="279"/>
                    <a:pt x="734" y="286"/>
                    <a:pt x="725" y="272"/>
                  </a:cubicBezTo>
                  <a:cubicBezTo>
                    <a:pt x="716" y="258"/>
                    <a:pt x="681" y="235"/>
                    <a:pt x="663" y="224"/>
                  </a:cubicBezTo>
                  <a:cubicBezTo>
                    <a:pt x="645" y="213"/>
                    <a:pt x="644" y="214"/>
                    <a:pt x="641" y="195"/>
                  </a:cubicBezTo>
                  <a:cubicBezTo>
                    <a:pt x="638" y="176"/>
                    <a:pt x="628" y="183"/>
                    <a:pt x="621" y="166"/>
                  </a:cubicBezTo>
                  <a:cubicBezTo>
                    <a:pt x="614" y="149"/>
                    <a:pt x="613" y="141"/>
                    <a:pt x="608" y="125"/>
                  </a:cubicBezTo>
                  <a:cubicBezTo>
                    <a:pt x="603" y="109"/>
                    <a:pt x="579" y="110"/>
                    <a:pt x="569" y="124"/>
                  </a:cubicBezTo>
                  <a:cubicBezTo>
                    <a:pt x="559" y="138"/>
                    <a:pt x="534" y="118"/>
                    <a:pt x="514" y="119"/>
                  </a:cubicBezTo>
                  <a:cubicBezTo>
                    <a:pt x="494" y="120"/>
                    <a:pt x="492" y="101"/>
                    <a:pt x="496" y="84"/>
                  </a:cubicBezTo>
                  <a:cubicBezTo>
                    <a:pt x="500" y="67"/>
                    <a:pt x="490" y="66"/>
                    <a:pt x="490" y="56"/>
                  </a:cubicBezTo>
                  <a:cubicBezTo>
                    <a:pt x="490" y="46"/>
                    <a:pt x="478" y="37"/>
                    <a:pt x="456" y="37"/>
                  </a:cubicBezTo>
                  <a:cubicBezTo>
                    <a:pt x="434" y="37"/>
                    <a:pt x="426" y="26"/>
                    <a:pt x="417" y="13"/>
                  </a:cubicBezTo>
                  <a:cubicBezTo>
                    <a:pt x="408" y="0"/>
                    <a:pt x="393" y="0"/>
                    <a:pt x="387" y="11"/>
                  </a:cubicBezTo>
                  <a:cubicBezTo>
                    <a:pt x="381" y="22"/>
                    <a:pt x="383" y="26"/>
                    <a:pt x="368" y="27"/>
                  </a:cubicBezTo>
                  <a:cubicBezTo>
                    <a:pt x="353" y="28"/>
                    <a:pt x="354" y="28"/>
                    <a:pt x="353" y="42"/>
                  </a:cubicBezTo>
                  <a:cubicBezTo>
                    <a:pt x="352" y="56"/>
                    <a:pt x="339" y="49"/>
                    <a:pt x="321" y="48"/>
                  </a:cubicBezTo>
                  <a:cubicBezTo>
                    <a:pt x="303" y="47"/>
                    <a:pt x="301" y="66"/>
                    <a:pt x="294" y="78"/>
                  </a:cubicBezTo>
                  <a:cubicBezTo>
                    <a:pt x="287" y="90"/>
                    <a:pt x="297" y="97"/>
                    <a:pt x="301" y="107"/>
                  </a:cubicBezTo>
                  <a:cubicBezTo>
                    <a:pt x="305" y="117"/>
                    <a:pt x="270" y="117"/>
                    <a:pt x="257" y="114"/>
                  </a:cubicBezTo>
                  <a:cubicBezTo>
                    <a:pt x="256" y="114"/>
                    <a:pt x="254" y="113"/>
                    <a:pt x="253" y="113"/>
                  </a:cubicBezTo>
                  <a:cubicBezTo>
                    <a:pt x="252" y="113"/>
                    <a:pt x="252" y="113"/>
                    <a:pt x="251" y="113"/>
                  </a:cubicBezTo>
                  <a:cubicBezTo>
                    <a:pt x="250" y="113"/>
                    <a:pt x="249" y="113"/>
                    <a:pt x="249" y="113"/>
                  </a:cubicBezTo>
                  <a:cubicBezTo>
                    <a:pt x="248" y="113"/>
                    <a:pt x="248" y="113"/>
                    <a:pt x="247" y="113"/>
                  </a:cubicBezTo>
                  <a:cubicBezTo>
                    <a:pt x="246" y="113"/>
                    <a:pt x="245" y="113"/>
                    <a:pt x="243" y="113"/>
                  </a:cubicBezTo>
                  <a:cubicBezTo>
                    <a:pt x="243" y="113"/>
                    <a:pt x="243" y="113"/>
                    <a:pt x="243" y="113"/>
                  </a:cubicBezTo>
                  <a:cubicBezTo>
                    <a:pt x="242" y="113"/>
                    <a:pt x="241" y="113"/>
                    <a:pt x="240" y="113"/>
                  </a:cubicBezTo>
                  <a:cubicBezTo>
                    <a:pt x="239" y="113"/>
                    <a:pt x="239" y="113"/>
                    <a:pt x="238" y="114"/>
                  </a:cubicBezTo>
                  <a:cubicBezTo>
                    <a:pt x="237" y="114"/>
                    <a:pt x="237" y="114"/>
                    <a:pt x="236" y="114"/>
                  </a:cubicBezTo>
                  <a:cubicBezTo>
                    <a:pt x="235" y="114"/>
                    <a:pt x="235" y="114"/>
                    <a:pt x="234" y="114"/>
                  </a:cubicBezTo>
                  <a:cubicBezTo>
                    <a:pt x="233" y="115"/>
                    <a:pt x="232" y="115"/>
                    <a:pt x="231" y="115"/>
                  </a:cubicBezTo>
                  <a:cubicBezTo>
                    <a:pt x="231" y="115"/>
                    <a:pt x="231" y="115"/>
                    <a:pt x="231" y="115"/>
                  </a:cubicBezTo>
                  <a:cubicBezTo>
                    <a:pt x="228" y="116"/>
                    <a:pt x="225" y="117"/>
                    <a:pt x="222" y="118"/>
                  </a:cubicBezTo>
                  <a:cubicBezTo>
                    <a:pt x="210" y="122"/>
                    <a:pt x="192" y="118"/>
                    <a:pt x="183" y="106"/>
                  </a:cubicBezTo>
                  <a:cubicBezTo>
                    <a:pt x="174" y="94"/>
                    <a:pt x="164" y="72"/>
                    <a:pt x="160" y="59"/>
                  </a:cubicBezTo>
                  <a:cubicBezTo>
                    <a:pt x="156" y="46"/>
                    <a:pt x="137" y="53"/>
                    <a:pt x="127" y="41"/>
                  </a:cubicBezTo>
                  <a:cubicBezTo>
                    <a:pt x="117" y="29"/>
                    <a:pt x="109" y="32"/>
                    <a:pt x="87" y="34"/>
                  </a:cubicBezTo>
                  <a:cubicBezTo>
                    <a:pt x="65" y="36"/>
                    <a:pt x="70" y="48"/>
                    <a:pt x="52" y="48"/>
                  </a:cubicBezTo>
                  <a:cubicBezTo>
                    <a:pt x="34" y="48"/>
                    <a:pt x="27" y="58"/>
                    <a:pt x="18" y="71"/>
                  </a:cubicBezTo>
                  <a:cubicBezTo>
                    <a:pt x="13" y="78"/>
                    <a:pt x="6" y="83"/>
                    <a:pt x="0" y="86"/>
                  </a:cubicBezTo>
                  <a:cubicBezTo>
                    <a:pt x="2" y="87"/>
                    <a:pt x="4" y="88"/>
                    <a:pt x="6" y="89"/>
                  </a:cubicBezTo>
                  <a:cubicBezTo>
                    <a:pt x="6" y="89"/>
                    <a:pt x="6" y="89"/>
                    <a:pt x="6" y="89"/>
                  </a:cubicBezTo>
                  <a:cubicBezTo>
                    <a:pt x="7" y="90"/>
                    <a:pt x="8" y="90"/>
                    <a:pt x="9" y="91"/>
                  </a:cubicBezTo>
                  <a:cubicBezTo>
                    <a:pt x="9" y="91"/>
                    <a:pt x="9" y="91"/>
                    <a:pt x="9" y="91"/>
                  </a:cubicBezTo>
                  <a:cubicBezTo>
                    <a:pt x="10" y="91"/>
                    <a:pt x="11" y="92"/>
                    <a:pt x="12" y="92"/>
                  </a:cubicBezTo>
                  <a:cubicBezTo>
                    <a:pt x="22" y="95"/>
                    <a:pt x="18" y="108"/>
                    <a:pt x="30" y="114"/>
                  </a:cubicBezTo>
                  <a:cubicBezTo>
                    <a:pt x="42" y="120"/>
                    <a:pt x="37" y="129"/>
                    <a:pt x="37" y="140"/>
                  </a:cubicBezTo>
                  <a:cubicBezTo>
                    <a:pt x="37" y="151"/>
                    <a:pt x="36" y="159"/>
                    <a:pt x="26" y="162"/>
                  </a:cubicBezTo>
                  <a:cubicBezTo>
                    <a:pt x="16" y="165"/>
                    <a:pt x="21" y="192"/>
                    <a:pt x="24" y="199"/>
                  </a:cubicBezTo>
                  <a:cubicBezTo>
                    <a:pt x="27" y="206"/>
                    <a:pt x="31" y="213"/>
                    <a:pt x="33" y="224"/>
                  </a:cubicBezTo>
                  <a:cubicBezTo>
                    <a:pt x="35" y="235"/>
                    <a:pt x="43" y="236"/>
                    <a:pt x="42" y="230"/>
                  </a:cubicBezTo>
                  <a:cubicBezTo>
                    <a:pt x="41" y="224"/>
                    <a:pt x="47" y="212"/>
                    <a:pt x="55" y="212"/>
                  </a:cubicBezTo>
                  <a:cubicBezTo>
                    <a:pt x="63" y="212"/>
                    <a:pt x="71" y="214"/>
                    <a:pt x="70" y="226"/>
                  </a:cubicBezTo>
                  <a:cubicBezTo>
                    <a:pt x="69" y="238"/>
                    <a:pt x="56" y="241"/>
                    <a:pt x="49" y="245"/>
                  </a:cubicBezTo>
                  <a:cubicBezTo>
                    <a:pt x="42" y="249"/>
                    <a:pt x="48" y="261"/>
                    <a:pt x="39" y="274"/>
                  </a:cubicBezTo>
                  <a:cubicBezTo>
                    <a:pt x="30" y="287"/>
                    <a:pt x="40" y="295"/>
                    <a:pt x="48" y="303"/>
                  </a:cubicBezTo>
                  <a:cubicBezTo>
                    <a:pt x="56" y="311"/>
                    <a:pt x="51" y="288"/>
                    <a:pt x="56" y="283"/>
                  </a:cubicBezTo>
                  <a:cubicBezTo>
                    <a:pt x="61" y="278"/>
                    <a:pt x="58" y="269"/>
                    <a:pt x="62" y="261"/>
                  </a:cubicBezTo>
                  <a:cubicBezTo>
                    <a:pt x="66" y="253"/>
                    <a:pt x="78" y="271"/>
                    <a:pt x="93" y="279"/>
                  </a:cubicBezTo>
                  <a:cubicBezTo>
                    <a:pt x="108" y="287"/>
                    <a:pt x="107" y="299"/>
                    <a:pt x="98" y="310"/>
                  </a:cubicBezTo>
                  <a:cubicBezTo>
                    <a:pt x="89" y="321"/>
                    <a:pt x="95" y="354"/>
                    <a:pt x="90" y="368"/>
                  </a:cubicBezTo>
                  <a:cubicBezTo>
                    <a:pt x="85" y="382"/>
                    <a:pt x="97" y="396"/>
                    <a:pt x="97" y="410"/>
                  </a:cubicBezTo>
                  <a:cubicBezTo>
                    <a:pt x="97" y="410"/>
                    <a:pt x="97" y="411"/>
                    <a:pt x="97" y="411"/>
                  </a:cubicBezTo>
                  <a:cubicBezTo>
                    <a:pt x="100" y="411"/>
                    <a:pt x="104" y="412"/>
                    <a:pt x="109" y="412"/>
                  </a:cubicBezTo>
                  <a:cubicBezTo>
                    <a:pt x="121" y="414"/>
                    <a:pt x="122" y="404"/>
                    <a:pt x="134" y="405"/>
                  </a:cubicBezTo>
                  <a:cubicBezTo>
                    <a:pt x="146" y="406"/>
                    <a:pt x="151" y="402"/>
                    <a:pt x="151" y="395"/>
                  </a:cubicBezTo>
                  <a:cubicBezTo>
                    <a:pt x="151" y="388"/>
                    <a:pt x="156" y="378"/>
                    <a:pt x="167" y="372"/>
                  </a:cubicBezTo>
                  <a:cubicBezTo>
                    <a:pt x="177" y="366"/>
                    <a:pt x="185" y="366"/>
                    <a:pt x="187" y="361"/>
                  </a:cubicBezTo>
                  <a:cubicBezTo>
                    <a:pt x="189" y="356"/>
                    <a:pt x="200" y="353"/>
                    <a:pt x="217" y="356"/>
                  </a:cubicBezTo>
                  <a:cubicBezTo>
                    <a:pt x="233" y="358"/>
                    <a:pt x="249" y="360"/>
                    <a:pt x="255" y="352"/>
                  </a:cubicBezTo>
                  <a:cubicBezTo>
                    <a:pt x="261" y="344"/>
                    <a:pt x="273" y="337"/>
                    <a:pt x="283" y="340"/>
                  </a:cubicBezTo>
                  <a:cubicBezTo>
                    <a:pt x="292" y="344"/>
                    <a:pt x="294" y="348"/>
                    <a:pt x="302" y="348"/>
                  </a:cubicBezTo>
                  <a:cubicBezTo>
                    <a:pt x="310" y="348"/>
                    <a:pt x="325" y="362"/>
                    <a:pt x="328" y="366"/>
                  </a:cubicBezTo>
                  <a:cubicBezTo>
                    <a:pt x="331" y="371"/>
                    <a:pt x="349" y="372"/>
                    <a:pt x="359" y="376"/>
                  </a:cubicBezTo>
                  <a:cubicBezTo>
                    <a:pt x="368" y="379"/>
                    <a:pt x="375" y="388"/>
                    <a:pt x="389" y="388"/>
                  </a:cubicBezTo>
                  <a:cubicBezTo>
                    <a:pt x="404" y="388"/>
                    <a:pt x="433" y="388"/>
                    <a:pt x="439" y="399"/>
                  </a:cubicBezTo>
                  <a:cubicBezTo>
                    <a:pt x="445" y="410"/>
                    <a:pt x="447" y="425"/>
                    <a:pt x="465" y="425"/>
                  </a:cubicBezTo>
                  <a:cubicBezTo>
                    <a:pt x="482" y="425"/>
                    <a:pt x="483" y="428"/>
                    <a:pt x="489" y="438"/>
                  </a:cubicBezTo>
                  <a:cubicBezTo>
                    <a:pt x="495" y="448"/>
                    <a:pt x="507" y="463"/>
                    <a:pt x="519" y="463"/>
                  </a:cubicBezTo>
                  <a:cubicBezTo>
                    <a:pt x="530" y="463"/>
                    <a:pt x="563" y="456"/>
                    <a:pt x="563" y="465"/>
                  </a:cubicBezTo>
                  <a:cubicBezTo>
                    <a:pt x="563" y="474"/>
                    <a:pt x="560" y="478"/>
                    <a:pt x="565" y="484"/>
                  </a:cubicBezTo>
                  <a:cubicBezTo>
                    <a:pt x="569" y="490"/>
                    <a:pt x="572" y="494"/>
                    <a:pt x="570" y="500"/>
                  </a:cubicBezTo>
                  <a:cubicBezTo>
                    <a:pt x="568" y="506"/>
                    <a:pt x="565" y="516"/>
                    <a:pt x="566" y="520"/>
                  </a:cubicBezTo>
                  <a:cubicBezTo>
                    <a:pt x="566" y="520"/>
                    <a:pt x="566" y="520"/>
                    <a:pt x="566" y="521"/>
                  </a:cubicBezTo>
                  <a:cubicBezTo>
                    <a:pt x="567" y="523"/>
                    <a:pt x="568" y="527"/>
                    <a:pt x="569" y="532"/>
                  </a:cubicBezTo>
                  <a:cubicBezTo>
                    <a:pt x="569" y="532"/>
                    <a:pt x="569" y="532"/>
                    <a:pt x="569" y="532"/>
                  </a:cubicBezTo>
                  <a:cubicBezTo>
                    <a:pt x="569" y="533"/>
                    <a:pt x="569" y="534"/>
                    <a:pt x="569" y="535"/>
                  </a:cubicBezTo>
                  <a:cubicBezTo>
                    <a:pt x="569" y="535"/>
                    <a:pt x="569" y="535"/>
                    <a:pt x="569" y="536"/>
                  </a:cubicBezTo>
                  <a:cubicBezTo>
                    <a:pt x="569" y="537"/>
                    <a:pt x="569" y="538"/>
                    <a:pt x="570" y="539"/>
                  </a:cubicBezTo>
                  <a:cubicBezTo>
                    <a:pt x="577" y="538"/>
                    <a:pt x="586" y="539"/>
                    <a:pt x="589" y="54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231" name="Freeform 25316"/>
            <p:cNvSpPr>
              <a:spLocks/>
            </p:cNvSpPr>
            <p:nvPr/>
          </p:nvSpPr>
          <p:spPr bwMode="auto">
            <a:xfrm>
              <a:off x="5386108" y="2355103"/>
              <a:ext cx="966102" cy="458034"/>
            </a:xfrm>
            <a:custGeom>
              <a:avLst/>
              <a:gdLst>
                <a:gd name="T0" fmla="*/ 238 w 2591"/>
                <a:gd name="T1" fmla="*/ 739 h 1228"/>
                <a:gd name="T2" fmla="*/ 380 w 2591"/>
                <a:gd name="T3" fmla="*/ 724 h 1228"/>
                <a:gd name="T4" fmla="*/ 432 w 2591"/>
                <a:gd name="T5" fmla="*/ 794 h 1228"/>
                <a:gd name="T6" fmla="*/ 343 w 2591"/>
                <a:gd name="T7" fmla="*/ 838 h 1228"/>
                <a:gd name="T8" fmla="*/ 282 w 2591"/>
                <a:gd name="T9" fmla="*/ 902 h 1228"/>
                <a:gd name="T10" fmla="*/ 310 w 2591"/>
                <a:gd name="T11" fmla="*/ 1005 h 1228"/>
                <a:gd name="T12" fmla="*/ 387 w 2591"/>
                <a:gd name="T13" fmla="*/ 1091 h 1228"/>
                <a:gd name="T14" fmla="*/ 376 w 2591"/>
                <a:gd name="T15" fmla="*/ 1123 h 1228"/>
                <a:gd name="T16" fmla="*/ 381 w 2591"/>
                <a:gd name="T17" fmla="*/ 1134 h 1228"/>
                <a:gd name="T18" fmla="*/ 541 w 2591"/>
                <a:gd name="T19" fmla="*/ 1107 h 1228"/>
                <a:gd name="T20" fmla="*/ 661 w 2591"/>
                <a:gd name="T21" fmla="*/ 865 h 1228"/>
                <a:gd name="T22" fmla="*/ 824 w 2591"/>
                <a:gd name="T23" fmla="*/ 810 h 1228"/>
                <a:gd name="T24" fmla="*/ 914 w 2591"/>
                <a:gd name="T25" fmla="*/ 773 h 1228"/>
                <a:gd name="T26" fmla="*/ 922 w 2591"/>
                <a:gd name="T27" fmla="*/ 786 h 1228"/>
                <a:gd name="T28" fmla="*/ 918 w 2591"/>
                <a:gd name="T29" fmla="*/ 902 h 1228"/>
                <a:gd name="T30" fmla="*/ 1082 w 2591"/>
                <a:gd name="T31" fmla="*/ 984 h 1228"/>
                <a:gd name="T32" fmla="*/ 1277 w 2591"/>
                <a:gd name="T33" fmla="*/ 1109 h 1228"/>
                <a:gd name="T34" fmla="*/ 1416 w 2591"/>
                <a:gd name="T35" fmla="*/ 1215 h 1228"/>
                <a:gd name="T36" fmla="*/ 1543 w 2591"/>
                <a:gd name="T37" fmla="*/ 1099 h 1228"/>
                <a:gd name="T38" fmla="*/ 1600 w 2591"/>
                <a:gd name="T39" fmla="*/ 1049 h 1228"/>
                <a:gd name="T40" fmla="*/ 1609 w 2591"/>
                <a:gd name="T41" fmla="*/ 1046 h 1228"/>
                <a:gd name="T42" fmla="*/ 1708 w 2591"/>
                <a:gd name="T43" fmla="*/ 1065 h 1228"/>
                <a:gd name="T44" fmla="*/ 1867 w 2591"/>
                <a:gd name="T45" fmla="*/ 1045 h 1228"/>
                <a:gd name="T46" fmla="*/ 2101 w 2591"/>
                <a:gd name="T47" fmla="*/ 1061 h 1228"/>
                <a:gd name="T48" fmla="*/ 2153 w 2591"/>
                <a:gd name="T49" fmla="*/ 1074 h 1228"/>
                <a:gd name="T50" fmla="*/ 2153 w 2591"/>
                <a:gd name="T51" fmla="*/ 1066 h 1228"/>
                <a:gd name="T52" fmla="*/ 2154 w 2591"/>
                <a:gd name="T53" fmla="*/ 1058 h 1228"/>
                <a:gd name="T54" fmla="*/ 2178 w 2591"/>
                <a:gd name="T55" fmla="*/ 971 h 1228"/>
                <a:gd name="T56" fmla="*/ 2211 w 2591"/>
                <a:gd name="T57" fmla="*/ 863 h 1228"/>
                <a:gd name="T58" fmla="*/ 2290 w 2591"/>
                <a:gd name="T59" fmla="*/ 828 h 1228"/>
                <a:gd name="T60" fmla="*/ 2397 w 2591"/>
                <a:gd name="T61" fmla="*/ 721 h 1228"/>
                <a:gd name="T62" fmla="*/ 2499 w 2591"/>
                <a:gd name="T63" fmla="*/ 668 h 1228"/>
                <a:gd name="T64" fmla="*/ 2583 w 2591"/>
                <a:gd name="T65" fmla="*/ 543 h 1228"/>
                <a:gd name="T66" fmla="*/ 2588 w 2591"/>
                <a:gd name="T67" fmla="*/ 538 h 1228"/>
                <a:gd name="T68" fmla="*/ 2590 w 2591"/>
                <a:gd name="T69" fmla="*/ 530 h 1228"/>
                <a:gd name="T70" fmla="*/ 2589 w 2591"/>
                <a:gd name="T71" fmla="*/ 526 h 1228"/>
                <a:gd name="T72" fmla="*/ 2585 w 2591"/>
                <a:gd name="T73" fmla="*/ 522 h 1228"/>
                <a:gd name="T74" fmla="*/ 2447 w 2591"/>
                <a:gd name="T75" fmla="*/ 456 h 1228"/>
                <a:gd name="T76" fmla="*/ 2272 w 2591"/>
                <a:gd name="T77" fmla="*/ 409 h 1228"/>
                <a:gd name="T78" fmla="*/ 2172 w 2591"/>
                <a:gd name="T79" fmla="*/ 378 h 1228"/>
                <a:gd name="T80" fmla="*/ 1944 w 2591"/>
                <a:gd name="T81" fmla="*/ 97 h 1228"/>
                <a:gd name="T82" fmla="*/ 1831 w 2591"/>
                <a:gd name="T83" fmla="*/ 140 h 1228"/>
                <a:gd name="T84" fmla="*/ 1744 w 2591"/>
                <a:gd name="T85" fmla="*/ 162 h 1228"/>
                <a:gd name="T86" fmla="*/ 1721 w 2591"/>
                <a:gd name="T87" fmla="*/ 128 h 1228"/>
                <a:gd name="T88" fmla="*/ 1639 w 2591"/>
                <a:gd name="T89" fmla="*/ 97 h 1228"/>
                <a:gd name="T90" fmla="*/ 1572 w 2591"/>
                <a:gd name="T91" fmla="*/ 67 h 1228"/>
                <a:gd name="T92" fmla="*/ 1474 w 2591"/>
                <a:gd name="T93" fmla="*/ 7 h 1228"/>
                <a:gd name="T94" fmla="*/ 1205 w 2591"/>
                <a:gd name="T95" fmla="*/ 84 h 1228"/>
                <a:gd name="T96" fmla="*/ 997 w 2591"/>
                <a:gd name="T97" fmla="*/ 124 h 1228"/>
                <a:gd name="T98" fmla="*/ 939 w 2591"/>
                <a:gd name="T99" fmla="*/ 171 h 1228"/>
                <a:gd name="T100" fmla="*/ 931 w 2591"/>
                <a:gd name="T101" fmla="*/ 215 h 1228"/>
                <a:gd name="T102" fmla="*/ 878 w 2591"/>
                <a:gd name="T103" fmla="*/ 297 h 1228"/>
                <a:gd name="T104" fmla="*/ 972 w 2591"/>
                <a:gd name="T105" fmla="*/ 364 h 1228"/>
                <a:gd name="T106" fmla="*/ 866 w 2591"/>
                <a:gd name="T107" fmla="*/ 407 h 1228"/>
                <a:gd name="T108" fmla="*/ 725 w 2591"/>
                <a:gd name="T109" fmla="*/ 380 h 1228"/>
                <a:gd name="T110" fmla="*/ 598 w 2591"/>
                <a:gd name="T111" fmla="*/ 421 h 1228"/>
                <a:gd name="T112" fmla="*/ 472 w 2591"/>
                <a:gd name="T113" fmla="*/ 368 h 1228"/>
                <a:gd name="T114" fmla="*/ 321 w 2591"/>
                <a:gd name="T115" fmla="*/ 343 h 1228"/>
                <a:gd name="T116" fmla="*/ 171 w 2591"/>
                <a:gd name="T117" fmla="*/ 410 h 1228"/>
                <a:gd name="T118" fmla="*/ 90 w 2591"/>
                <a:gd name="T119" fmla="*/ 442 h 1228"/>
                <a:gd name="T120" fmla="*/ 39 w 2591"/>
                <a:gd name="T121" fmla="*/ 548 h 1228"/>
                <a:gd name="T122" fmla="*/ 84 w 2591"/>
                <a:gd name="T123" fmla="*/ 650 h 1228"/>
                <a:gd name="T124" fmla="*/ 188 w 2591"/>
                <a:gd name="T125" fmla="*/ 775 h 1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591" h="1228">
                  <a:moveTo>
                    <a:pt x="189" y="772"/>
                  </a:moveTo>
                  <a:cubicBezTo>
                    <a:pt x="189" y="772"/>
                    <a:pt x="189" y="772"/>
                    <a:pt x="189" y="772"/>
                  </a:cubicBezTo>
                  <a:cubicBezTo>
                    <a:pt x="189" y="771"/>
                    <a:pt x="190" y="770"/>
                    <a:pt x="190" y="769"/>
                  </a:cubicBezTo>
                  <a:cubicBezTo>
                    <a:pt x="192" y="761"/>
                    <a:pt x="202" y="755"/>
                    <a:pt x="218" y="754"/>
                  </a:cubicBezTo>
                  <a:cubicBezTo>
                    <a:pt x="234" y="753"/>
                    <a:pt x="233" y="748"/>
                    <a:pt x="238" y="739"/>
                  </a:cubicBezTo>
                  <a:cubicBezTo>
                    <a:pt x="243" y="730"/>
                    <a:pt x="247" y="728"/>
                    <a:pt x="261" y="728"/>
                  </a:cubicBezTo>
                  <a:cubicBezTo>
                    <a:pt x="275" y="728"/>
                    <a:pt x="280" y="723"/>
                    <a:pt x="287" y="717"/>
                  </a:cubicBezTo>
                  <a:cubicBezTo>
                    <a:pt x="294" y="711"/>
                    <a:pt x="297" y="708"/>
                    <a:pt x="309" y="708"/>
                  </a:cubicBezTo>
                  <a:cubicBezTo>
                    <a:pt x="321" y="708"/>
                    <a:pt x="347" y="720"/>
                    <a:pt x="353" y="725"/>
                  </a:cubicBezTo>
                  <a:cubicBezTo>
                    <a:pt x="359" y="730"/>
                    <a:pt x="376" y="730"/>
                    <a:pt x="380" y="724"/>
                  </a:cubicBezTo>
                  <a:cubicBezTo>
                    <a:pt x="384" y="718"/>
                    <a:pt x="396" y="720"/>
                    <a:pt x="408" y="716"/>
                  </a:cubicBezTo>
                  <a:cubicBezTo>
                    <a:pt x="420" y="712"/>
                    <a:pt x="430" y="729"/>
                    <a:pt x="435" y="735"/>
                  </a:cubicBezTo>
                  <a:cubicBezTo>
                    <a:pt x="440" y="741"/>
                    <a:pt x="436" y="747"/>
                    <a:pt x="428" y="748"/>
                  </a:cubicBezTo>
                  <a:cubicBezTo>
                    <a:pt x="420" y="749"/>
                    <a:pt x="423" y="759"/>
                    <a:pt x="432" y="763"/>
                  </a:cubicBezTo>
                  <a:cubicBezTo>
                    <a:pt x="441" y="767"/>
                    <a:pt x="432" y="779"/>
                    <a:pt x="432" y="794"/>
                  </a:cubicBezTo>
                  <a:cubicBezTo>
                    <a:pt x="432" y="809"/>
                    <a:pt x="411" y="805"/>
                    <a:pt x="408" y="812"/>
                  </a:cubicBezTo>
                  <a:cubicBezTo>
                    <a:pt x="405" y="819"/>
                    <a:pt x="411" y="830"/>
                    <a:pt x="423" y="837"/>
                  </a:cubicBezTo>
                  <a:cubicBezTo>
                    <a:pt x="435" y="844"/>
                    <a:pt x="421" y="845"/>
                    <a:pt x="410" y="843"/>
                  </a:cubicBezTo>
                  <a:cubicBezTo>
                    <a:pt x="399" y="841"/>
                    <a:pt x="402" y="836"/>
                    <a:pt x="396" y="836"/>
                  </a:cubicBezTo>
                  <a:cubicBezTo>
                    <a:pt x="390" y="836"/>
                    <a:pt x="358" y="838"/>
                    <a:pt x="343" y="838"/>
                  </a:cubicBezTo>
                  <a:cubicBezTo>
                    <a:pt x="328" y="838"/>
                    <a:pt x="318" y="841"/>
                    <a:pt x="316" y="851"/>
                  </a:cubicBezTo>
                  <a:cubicBezTo>
                    <a:pt x="314" y="861"/>
                    <a:pt x="308" y="871"/>
                    <a:pt x="296" y="873"/>
                  </a:cubicBezTo>
                  <a:cubicBezTo>
                    <a:pt x="284" y="875"/>
                    <a:pt x="296" y="889"/>
                    <a:pt x="310" y="891"/>
                  </a:cubicBezTo>
                  <a:cubicBezTo>
                    <a:pt x="324" y="893"/>
                    <a:pt x="319" y="905"/>
                    <a:pt x="310" y="907"/>
                  </a:cubicBezTo>
                  <a:cubicBezTo>
                    <a:pt x="301" y="909"/>
                    <a:pt x="293" y="908"/>
                    <a:pt x="282" y="902"/>
                  </a:cubicBezTo>
                  <a:cubicBezTo>
                    <a:pt x="271" y="896"/>
                    <a:pt x="266" y="898"/>
                    <a:pt x="257" y="901"/>
                  </a:cubicBezTo>
                  <a:cubicBezTo>
                    <a:pt x="248" y="904"/>
                    <a:pt x="245" y="918"/>
                    <a:pt x="247" y="925"/>
                  </a:cubicBezTo>
                  <a:cubicBezTo>
                    <a:pt x="249" y="932"/>
                    <a:pt x="256" y="930"/>
                    <a:pt x="272" y="936"/>
                  </a:cubicBezTo>
                  <a:cubicBezTo>
                    <a:pt x="288" y="942"/>
                    <a:pt x="297" y="969"/>
                    <a:pt x="303" y="979"/>
                  </a:cubicBezTo>
                  <a:cubicBezTo>
                    <a:pt x="309" y="989"/>
                    <a:pt x="310" y="994"/>
                    <a:pt x="310" y="1005"/>
                  </a:cubicBezTo>
                  <a:cubicBezTo>
                    <a:pt x="310" y="1016"/>
                    <a:pt x="316" y="1018"/>
                    <a:pt x="330" y="1018"/>
                  </a:cubicBezTo>
                  <a:cubicBezTo>
                    <a:pt x="344" y="1018"/>
                    <a:pt x="342" y="1026"/>
                    <a:pt x="348" y="1036"/>
                  </a:cubicBezTo>
                  <a:cubicBezTo>
                    <a:pt x="354" y="1046"/>
                    <a:pt x="377" y="1042"/>
                    <a:pt x="388" y="1043"/>
                  </a:cubicBezTo>
                  <a:cubicBezTo>
                    <a:pt x="399" y="1044"/>
                    <a:pt x="404" y="1061"/>
                    <a:pt x="403" y="1074"/>
                  </a:cubicBezTo>
                  <a:cubicBezTo>
                    <a:pt x="402" y="1087"/>
                    <a:pt x="399" y="1089"/>
                    <a:pt x="387" y="1091"/>
                  </a:cubicBezTo>
                  <a:cubicBezTo>
                    <a:pt x="375" y="1093"/>
                    <a:pt x="384" y="1110"/>
                    <a:pt x="378" y="1119"/>
                  </a:cubicBezTo>
                  <a:cubicBezTo>
                    <a:pt x="378" y="1120"/>
                    <a:pt x="377" y="1120"/>
                    <a:pt x="377" y="1121"/>
                  </a:cubicBezTo>
                  <a:cubicBezTo>
                    <a:pt x="377" y="1121"/>
                    <a:pt x="377" y="1121"/>
                    <a:pt x="377" y="1121"/>
                  </a:cubicBezTo>
                  <a:cubicBezTo>
                    <a:pt x="377" y="1122"/>
                    <a:pt x="377" y="1122"/>
                    <a:pt x="376" y="1123"/>
                  </a:cubicBezTo>
                  <a:cubicBezTo>
                    <a:pt x="376" y="1123"/>
                    <a:pt x="376" y="1123"/>
                    <a:pt x="376" y="1123"/>
                  </a:cubicBezTo>
                  <a:cubicBezTo>
                    <a:pt x="376" y="1124"/>
                    <a:pt x="376" y="1124"/>
                    <a:pt x="376" y="1125"/>
                  </a:cubicBezTo>
                  <a:cubicBezTo>
                    <a:pt x="376" y="1125"/>
                    <a:pt x="376" y="1125"/>
                    <a:pt x="376" y="1125"/>
                  </a:cubicBezTo>
                  <a:cubicBezTo>
                    <a:pt x="376" y="1126"/>
                    <a:pt x="377" y="1126"/>
                    <a:pt x="377" y="1127"/>
                  </a:cubicBezTo>
                  <a:cubicBezTo>
                    <a:pt x="377" y="1127"/>
                    <a:pt x="377" y="1127"/>
                    <a:pt x="377" y="1127"/>
                  </a:cubicBezTo>
                  <a:cubicBezTo>
                    <a:pt x="377" y="1129"/>
                    <a:pt x="379" y="1132"/>
                    <a:pt x="381" y="1134"/>
                  </a:cubicBezTo>
                  <a:cubicBezTo>
                    <a:pt x="387" y="1131"/>
                    <a:pt x="394" y="1126"/>
                    <a:pt x="399" y="1119"/>
                  </a:cubicBezTo>
                  <a:cubicBezTo>
                    <a:pt x="408" y="1106"/>
                    <a:pt x="415" y="1096"/>
                    <a:pt x="433" y="1096"/>
                  </a:cubicBezTo>
                  <a:cubicBezTo>
                    <a:pt x="451" y="1096"/>
                    <a:pt x="446" y="1084"/>
                    <a:pt x="468" y="1082"/>
                  </a:cubicBezTo>
                  <a:cubicBezTo>
                    <a:pt x="490" y="1080"/>
                    <a:pt x="498" y="1077"/>
                    <a:pt x="508" y="1089"/>
                  </a:cubicBezTo>
                  <a:cubicBezTo>
                    <a:pt x="518" y="1101"/>
                    <a:pt x="537" y="1094"/>
                    <a:pt x="541" y="1107"/>
                  </a:cubicBezTo>
                  <a:cubicBezTo>
                    <a:pt x="545" y="1120"/>
                    <a:pt x="555" y="1142"/>
                    <a:pt x="564" y="1154"/>
                  </a:cubicBezTo>
                  <a:cubicBezTo>
                    <a:pt x="573" y="1166"/>
                    <a:pt x="591" y="1170"/>
                    <a:pt x="603" y="1166"/>
                  </a:cubicBezTo>
                  <a:cubicBezTo>
                    <a:pt x="606" y="1165"/>
                    <a:pt x="609" y="1164"/>
                    <a:pt x="612" y="1163"/>
                  </a:cubicBezTo>
                  <a:cubicBezTo>
                    <a:pt x="611" y="878"/>
                    <a:pt x="611" y="878"/>
                    <a:pt x="611" y="878"/>
                  </a:cubicBezTo>
                  <a:cubicBezTo>
                    <a:pt x="611" y="878"/>
                    <a:pt x="644" y="872"/>
                    <a:pt x="661" y="865"/>
                  </a:cubicBezTo>
                  <a:cubicBezTo>
                    <a:pt x="678" y="858"/>
                    <a:pt x="690" y="851"/>
                    <a:pt x="710" y="847"/>
                  </a:cubicBezTo>
                  <a:cubicBezTo>
                    <a:pt x="728" y="843"/>
                    <a:pt x="764" y="828"/>
                    <a:pt x="782" y="834"/>
                  </a:cubicBezTo>
                  <a:cubicBezTo>
                    <a:pt x="784" y="828"/>
                    <a:pt x="785" y="823"/>
                    <a:pt x="787" y="819"/>
                  </a:cubicBezTo>
                  <a:cubicBezTo>
                    <a:pt x="792" y="809"/>
                    <a:pt x="798" y="798"/>
                    <a:pt x="807" y="798"/>
                  </a:cubicBezTo>
                  <a:cubicBezTo>
                    <a:pt x="817" y="798"/>
                    <a:pt x="820" y="803"/>
                    <a:pt x="824" y="810"/>
                  </a:cubicBezTo>
                  <a:cubicBezTo>
                    <a:pt x="828" y="817"/>
                    <a:pt x="828" y="818"/>
                    <a:pt x="839" y="815"/>
                  </a:cubicBezTo>
                  <a:cubicBezTo>
                    <a:pt x="850" y="811"/>
                    <a:pt x="841" y="792"/>
                    <a:pt x="848" y="779"/>
                  </a:cubicBezTo>
                  <a:cubicBezTo>
                    <a:pt x="854" y="766"/>
                    <a:pt x="870" y="782"/>
                    <a:pt x="870" y="782"/>
                  </a:cubicBezTo>
                  <a:cubicBezTo>
                    <a:pt x="884" y="794"/>
                    <a:pt x="897" y="787"/>
                    <a:pt x="907" y="787"/>
                  </a:cubicBezTo>
                  <a:cubicBezTo>
                    <a:pt x="917" y="787"/>
                    <a:pt x="917" y="777"/>
                    <a:pt x="914" y="773"/>
                  </a:cubicBezTo>
                  <a:cubicBezTo>
                    <a:pt x="911" y="770"/>
                    <a:pt x="897" y="767"/>
                    <a:pt x="881" y="758"/>
                  </a:cubicBezTo>
                  <a:cubicBezTo>
                    <a:pt x="864" y="749"/>
                    <a:pt x="893" y="742"/>
                    <a:pt x="905" y="746"/>
                  </a:cubicBezTo>
                  <a:cubicBezTo>
                    <a:pt x="917" y="750"/>
                    <a:pt x="926" y="753"/>
                    <a:pt x="940" y="759"/>
                  </a:cubicBezTo>
                  <a:cubicBezTo>
                    <a:pt x="955" y="764"/>
                    <a:pt x="950" y="769"/>
                    <a:pt x="940" y="776"/>
                  </a:cubicBezTo>
                  <a:cubicBezTo>
                    <a:pt x="931" y="783"/>
                    <a:pt x="932" y="783"/>
                    <a:pt x="922" y="786"/>
                  </a:cubicBezTo>
                  <a:cubicBezTo>
                    <a:pt x="912" y="789"/>
                    <a:pt x="917" y="805"/>
                    <a:pt x="909" y="816"/>
                  </a:cubicBezTo>
                  <a:cubicBezTo>
                    <a:pt x="902" y="827"/>
                    <a:pt x="906" y="840"/>
                    <a:pt x="915" y="844"/>
                  </a:cubicBezTo>
                  <a:cubicBezTo>
                    <a:pt x="924" y="848"/>
                    <a:pt x="921" y="853"/>
                    <a:pt x="921" y="868"/>
                  </a:cubicBezTo>
                  <a:cubicBezTo>
                    <a:pt x="921" y="883"/>
                    <a:pt x="928" y="879"/>
                    <a:pt x="928" y="890"/>
                  </a:cubicBezTo>
                  <a:cubicBezTo>
                    <a:pt x="928" y="901"/>
                    <a:pt x="928" y="898"/>
                    <a:pt x="918" y="902"/>
                  </a:cubicBezTo>
                  <a:cubicBezTo>
                    <a:pt x="916" y="903"/>
                    <a:pt x="914" y="905"/>
                    <a:pt x="911" y="907"/>
                  </a:cubicBezTo>
                  <a:cubicBezTo>
                    <a:pt x="916" y="911"/>
                    <a:pt x="920" y="914"/>
                    <a:pt x="923" y="918"/>
                  </a:cubicBezTo>
                  <a:cubicBezTo>
                    <a:pt x="938" y="937"/>
                    <a:pt x="967" y="955"/>
                    <a:pt x="978" y="971"/>
                  </a:cubicBezTo>
                  <a:cubicBezTo>
                    <a:pt x="989" y="987"/>
                    <a:pt x="990" y="997"/>
                    <a:pt x="1013" y="994"/>
                  </a:cubicBezTo>
                  <a:cubicBezTo>
                    <a:pt x="1036" y="991"/>
                    <a:pt x="1053" y="979"/>
                    <a:pt x="1082" y="984"/>
                  </a:cubicBezTo>
                  <a:cubicBezTo>
                    <a:pt x="1111" y="989"/>
                    <a:pt x="1146" y="998"/>
                    <a:pt x="1159" y="988"/>
                  </a:cubicBezTo>
                  <a:cubicBezTo>
                    <a:pt x="1172" y="978"/>
                    <a:pt x="1188" y="966"/>
                    <a:pt x="1209" y="996"/>
                  </a:cubicBezTo>
                  <a:cubicBezTo>
                    <a:pt x="1230" y="1026"/>
                    <a:pt x="1232" y="1038"/>
                    <a:pt x="1248" y="1039"/>
                  </a:cubicBezTo>
                  <a:cubicBezTo>
                    <a:pt x="1264" y="1040"/>
                    <a:pt x="1259" y="1054"/>
                    <a:pt x="1258" y="1070"/>
                  </a:cubicBezTo>
                  <a:cubicBezTo>
                    <a:pt x="1257" y="1086"/>
                    <a:pt x="1266" y="1095"/>
                    <a:pt x="1277" y="1109"/>
                  </a:cubicBezTo>
                  <a:cubicBezTo>
                    <a:pt x="1288" y="1123"/>
                    <a:pt x="1293" y="1141"/>
                    <a:pt x="1296" y="1156"/>
                  </a:cubicBezTo>
                  <a:cubicBezTo>
                    <a:pt x="1299" y="1171"/>
                    <a:pt x="1300" y="1177"/>
                    <a:pt x="1319" y="1177"/>
                  </a:cubicBezTo>
                  <a:cubicBezTo>
                    <a:pt x="1338" y="1177"/>
                    <a:pt x="1375" y="1163"/>
                    <a:pt x="1380" y="1182"/>
                  </a:cubicBezTo>
                  <a:cubicBezTo>
                    <a:pt x="1385" y="1201"/>
                    <a:pt x="1379" y="1209"/>
                    <a:pt x="1390" y="1212"/>
                  </a:cubicBezTo>
                  <a:cubicBezTo>
                    <a:pt x="1401" y="1215"/>
                    <a:pt x="1417" y="1228"/>
                    <a:pt x="1416" y="1215"/>
                  </a:cubicBezTo>
                  <a:cubicBezTo>
                    <a:pt x="1415" y="1202"/>
                    <a:pt x="1404" y="1195"/>
                    <a:pt x="1417" y="1189"/>
                  </a:cubicBezTo>
                  <a:cubicBezTo>
                    <a:pt x="1430" y="1183"/>
                    <a:pt x="1432" y="1163"/>
                    <a:pt x="1451" y="1155"/>
                  </a:cubicBezTo>
                  <a:cubicBezTo>
                    <a:pt x="1470" y="1147"/>
                    <a:pt x="1472" y="1142"/>
                    <a:pt x="1483" y="1136"/>
                  </a:cubicBezTo>
                  <a:cubicBezTo>
                    <a:pt x="1494" y="1130"/>
                    <a:pt x="1501" y="1132"/>
                    <a:pt x="1512" y="1121"/>
                  </a:cubicBezTo>
                  <a:cubicBezTo>
                    <a:pt x="1523" y="1110"/>
                    <a:pt x="1530" y="1099"/>
                    <a:pt x="1543" y="1099"/>
                  </a:cubicBezTo>
                  <a:cubicBezTo>
                    <a:pt x="1556" y="1099"/>
                    <a:pt x="1561" y="1092"/>
                    <a:pt x="1569" y="1074"/>
                  </a:cubicBezTo>
                  <a:cubicBezTo>
                    <a:pt x="1574" y="1063"/>
                    <a:pt x="1585" y="1054"/>
                    <a:pt x="1596" y="1050"/>
                  </a:cubicBezTo>
                  <a:cubicBezTo>
                    <a:pt x="1596" y="1050"/>
                    <a:pt x="1596" y="1050"/>
                    <a:pt x="1596" y="1050"/>
                  </a:cubicBezTo>
                  <a:cubicBezTo>
                    <a:pt x="1597" y="1050"/>
                    <a:pt x="1598" y="1049"/>
                    <a:pt x="1599" y="1049"/>
                  </a:cubicBezTo>
                  <a:cubicBezTo>
                    <a:pt x="1599" y="1049"/>
                    <a:pt x="1599" y="1049"/>
                    <a:pt x="1600" y="1049"/>
                  </a:cubicBezTo>
                  <a:cubicBezTo>
                    <a:pt x="1601" y="1048"/>
                    <a:pt x="1601" y="1048"/>
                    <a:pt x="1602" y="1048"/>
                  </a:cubicBezTo>
                  <a:cubicBezTo>
                    <a:pt x="1603" y="1048"/>
                    <a:pt x="1603" y="1048"/>
                    <a:pt x="1603" y="1048"/>
                  </a:cubicBezTo>
                  <a:cubicBezTo>
                    <a:pt x="1604" y="1047"/>
                    <a:pt x="1605" y="1047"/>
                    <a:pt x="1606" y="1047"/>
                  </a:cubicBezTo>
                  <a:cubicBezTo>
                    <a:pt x="1606" y="1047"/>
                    <a:pt x="1606" y="1047"/>
                    <a:pt x="1607" y="1047"/>
                  </a:cubicBezTo>
                  <a:cubicBezTo>
                    <a:pt x="1608" y="1047"/>
                    <a:pt x="1608" y="1047"/>
                    <a:pt x="1609" y="1046"/>
                  </a:cubicBezTo>
                  <a:cubicBezTo>
                    <a:pt x="1609" y="1046"/>
                    <a:pt x="1610" y="1046"/>
                    <a:pt x="1611" y="1046"/>
                  </a:cubicBezTo>
                  <a:cubicBezTo>
                    <a:pt x="1611" y="1046"/>
                    <a:pt x="1612" y="1046"/>
                    <a:pt x="1612" y="1046"/>
                  </a:cubicBezTo>
                  <a:cubicBezTo>
                    <a:pt x="1613" y="1046"/>
                    <a:pt x="1614" y="1046"/>
                    <a:pt x="1615" y="1046"/>
                  </a:cubicBezTo>
                  <a:cubicBezTo>
                    <a:pt x="1631" y="1046"/>
                    <a:pt x="1655" y="1047"/>
                    <a:pt x="1667" y="1055"/>
                  </a:cubicBezTo>
                  <a:cubicBezTo>
                    <a:pt x="1679" y="1063"/>
                    <a:pt x="1696" y="1063"/>
                    <a:pt x="1708" y="1065"/>
                  </a:cubicBezTo>
                  <a:cubicBezTo>
                    <a:pt x="1720" y="1067"/>
                    <a:pt x="1732" y="1068"/>
                    <a:pt x="1732" y="1054"/>
                  </a:cubicBezTo>
                  <a:cubicBezTo>
                    <a:pt x="1732" y="1040"/>
                    <a:pt x="1734" y="1028"/>
                    <a:pt x="1743" y="1024"/>
                  </a:cubicBezTo>
                  <a:cubicBezTo>
                    <a:pt x="1752" y="1020"/>
                    <a:pt x="1759" y="1001"/>
                    <a:pt x="1777" y="1011"/>
                  </a:cubicBezTo>
                  <a:cubicBezTo>
                    <a:pt x="1795" y="1021"/>
                    <a:pt x="1797" y="1036"/>
                    <a:pt x="1816" y="1036"/>
                  </a:cubicBezTo>
                  <a:cubicBezTo>
                    <a:pt x="1835" y="1036"/>
                    <a:pt x="1845" y="1054"/>
                    <a:pt x="1867" y="1045"/>
                  </a:cubicBezTo>
                  <a:cubicBezTo>
                    <a:pt x="1889" y="1036"/>
                    <a:pt x="1898" y="1035"/>
                    <a:pt x="1916" y="1037"/>
                  </a:cubicBezTo>
                  <a:cubicBezTo>
                    <a:pt x="1934" y="1039"/>
                    <a:pt x="1953" y="1029"/>
                    <a:pt x="1969" y="1033"/>
                  </a:cubicBezTo>
                  <a:cubicBezTo>
                    <a:pt x="1985" y="1037"/>
                    <a:pt x="1995" y="1037"/>
                    <a:pt x="2021" y="1039"/>
                  </a:cubicBezTo>
                  <a:cubicBezTo>
                    <a:pt x="2047" y="1041"/>
                    <a:pt x="2062" y="1045"/>
                    <a:pt x="2076" y="1049"/>
                  </a:cubicBezTo>
                  <a:cubicBezTo>
                    <a:pt x="2090" y="1053"/>
                    <a:pt x="2094" y="1051"/>
                    <a:pt x="2101" y="1061"/>
                  </a:cubicBezTo>
                  <a:cubicBezTo>
                    <a:pt x="2108" y="1071"/>
                    <a:pt x="2116" y="1075"/>
                    <a:pt x="2126" y="1077"/>
                  </a:cubicBezTo>
                  <a:cubicBezTo>
                    <a:pt x="2132" y="1078"/>
                    <a:pt x="2143" y="1080"/>
                    <a:pt x="2154" y="1082"/>
                  </a:cubicBezTo>
                  <a:cubicBezTo>
                    <a:pt x="2154" y="1081"/>
                    <a:pt x="2154" y="1079"/>
                    <a:pt x="2153" y="1078"/>
                  </a:cubicBezTo>
                  <a:cubicBezTo>
                    <a:pt x="2153" y="1078"/>
                    <a:pt x="2153" y="1078"/>
                    <a:pt x="2153" y="1078"/>
                  </a:cubicBezTo>
                  <a:cubicBezTo>
                    <a:pt x="2153" y="1077"/>
                    <a:pt x="2153" y="1075"/>
                    <a:pt x="2153" y="1074"/>
                  </a:cubicBezTo>
                  <a:cubicBezTo>
                    <a:pt x="2153" y="1074"/>
                    <a:pt x="2153" y="1074"/>
                    <a:pt x="2153" y="1073"/>
                  </a:cubicBezTo>
                  <a:cubicBezTo>
                    <a:pt x="2153" y="1073"/>
                    <a:pt x="2153" y="1072"/>
                    <a:pt x="2153" y="1071"/>
                  </a:cubicBezTo>
                  <a:cubicBezTo>
                    <a:pt x="2153" y="1070"/>
                    <a:pt x="2153" y="1070"/>
                    <a:pt x="2153" y="1070"/>
                  </a:cubicBezTo>
                  <a:cubicBezTo>
                    <a:pt x="2153" y="1069"/>
                    <a:pt x="2153" y="1068"/>
                    <a:pt x="2153" y="1067"/>
                  </a:cubicBezTo>
                  <a:cubicBezTo>
                    <a:pt x="2153" y="1067"/>
                    <a:pt x="2153" y="1067"/>
                    <a:pt x="2153" y="1066"/>
                  </a:cubicBezTo>
                  <a:cubicBezTo>
                    <a:pt x="2153" y="1065"/>
                    <a:pt x="2153" y="1065"/>
                    <a:pt x="2153" y="1064"/>
                  </a:cubicBezTo>
                  <a:cubicBezTo>
                    <a:pt x="2153" y="1064"/>
                    <a:pt x="2153" y="1063"/>
                    <a:pt x="2153" y="1063"/>
                  </a:cubicBezTo>
                  <a:cubicBezTo>
                    <a:pt x="2153" y="1062"/>
                    <a:pt x="2153" y="1062"/>
                    <a:pt x="2153" y="1061"/>
                  </a:cubicBezTo>
                  <a:cubicBezTo>
                    <a:pt x="2153" y="1061"/>
                    <a:pt x="2153" y="1060"/>
                    <a:pt x="2153" y="1060"/>
                  </a:cubicBezTo>
                  <a:cubicBezTo>
                    <a:pt x="2154" y="1059"/>
                    <a:pt x="2154" y="1059"/>
                    <a:pt x="2154" y="1058"/>
                  </a:cubicBezTo>
                  <a:cubicBezTo>
                    <a:pt x="2154" y="1058"/>
                    <a:pt x="2154" y="1057"/>
                    <a:pt x="2154" y="1057"/>
                  </a:cubicBezTo>
                  <a:cubicBezTo>
                    <a:pt x="2154" y="1056"/>
                    <a:pt x="2155" y="1056"/>
                    <a:pt x="2155" y="1055"/>
                  </a:cubicBezTo>
                  <a:cubicBezTo>
                    <a:pt x="2160" y="1045"/>
                    <a:pt x="2179" y="1046"/>
                    <a:pt x="2182" y="1036"/>
                  </a:cubicBezTo>
                  <a:cubicBezTo>
                    <a:pt x="2186" y="1026"/>
                    <a:pt x="2196" y="1028"/>
                    <a:pt x="2190" y="1010"/>
                  </a:cubicBezTo>
                  <a:cubicBezTo>
                    <a:pt x="2185" y="992"/>
                    <a:pt x="2190" y="980"/>
                    <a:pt x="2178" y="971"/>
                  </a:cubicBezTo>
                  <a:cubicBezTo>
                    <a:pt x="2166" y="962"/>
                    <a:pt x="2167" y="958"/>
                    <a:pt x="2166" y="940"/>
                  </a:cubicBezTo>
                  <a:cubicBezTo>
                    <a:pt x="2166" y="921"/>
                    <a:pt x="2171" y="894"/>
                    <a:pt x="2157" y="894"/>
                  </a:cubicBezTo>
                  <a:cubicBezTo>
                    <a:pt x="2143" y="894"/>
                    <a:pt x="2139" y="889"/>
                    <a:pt x="2141" y="878"/>
                  </a:cubicBezTo>
                  <a:cubicBezTo>
                    <a:pt x="2143" y="868"/>
                    <a:pt x="2168" y="875"/>
                    <a:pt x="2169" y="869"/>
                  </a:cubicBezTo>
                  <a:cubicBezTo>
                    <a:pt x="2170" y="863"/>
                    <a:pt x="2206" y="872"/>
                    <a:pt x="2211" y="863"/>
                  </a:cubicBezTo>
                  <a:cubicBezTo>
                    <a:pt x="2216" y="854"/>
                    <a:pt x="2232" y="848"/>
                    <a:pt x="2244" y="851"/>
                  </a:cubicBezTo>
                  <a:cubicBezTo>
                    <a:pt x="2257" y="854"/>
                    <a:pt x="2254" y="864"/>
                    <a:pt x="2274" y="866"/>
                  </a:cubicBezTo>
                  <a:cubicBezTo>
                    <a:pt x="2293" y="867"/>
                    <a:pt x="2306" y="867"/>
                    <a:pt x="2310" y="858"/>
                  </a:cubicBezTo>
                  <a:cubicBezTo>
                    <a:pt x="2313" y="850"/>
                    <a:pt x="2314" y="842"/>
                    <a:pt x="2303" y="842"/>
                  </a:cubicBezTo>
                  <a:cubicBezTo>
                    <a:pt x="2292" y="842"/>
                    <a:pt x="2289" y="836"/>
                    <a:pt x="2290" y="828"/>
                  </a:cubicBezTo>
                  <a:cubicBezTo>
                    <a:pt x="2292" y="821"/>
                    <a:pt x="2298" y="785"/>
                    <a:pt x="2310" y="777"/>
                  </a:cubicBezTo>
                  <a:cubicBezTo>
                    <a:pt x="2322" y="769"/>
                    <a:pt x="2317" y="769"/>
                    <a:pt x="2321" y="753"/>
                  </a:cubicBezTo>
                  <a:cubicBezTo>
                    <a:pt x="2325" y="737"/>
                    <a:pt x="2329" y="727"/>
                    <a:pt x="2333" y="718"/>
                  </a:cubicBezTo>
                  <a:cubicBezTo>
                    <a:pt x="2337" y="710"/>
                    <a:pt x="2336" y="692"/>
                    <a:pt x="2360" y="704"/>
                  </a:cubicBezTo>
                  <a:cubicBezTo>
                    <a:pt x="2384" y="715"/>
                    <a:pt x="2374" y="723"/>
                    <a:pt x="2397" y="721"/>
                  </a:cubicBezTo>
                  <a:cubicBezTo>
                    <a:pt x="2420" y="719"/>
                    <a:pt x="2432" y="718"/>
                    <a:pt x="2443" y="724"/>
                  </a:cubicBezTo>
                  <a:cubicBezTo>
                    <a:pt x="2454" y="730"/>
                    <a:pt x="2461" y="729"/>
                    <a:pt x="2469" y="721"/>
                  </a:cubicBezTo>
                  <a:cubicBezTo>
                    <a:pt x="2477" y="713"/>
                    <a:pt x="2482" y="710"/>
                    <a:pt x="2490" y="709"/>
                  </a:cubicBezTo>
                  <a:cubicBezTo>
                    <a:pt x="2498" y="708"/>
                    <a:pt x="2504" y="704"/>
                    <a:pt x="2502" y="692"/>
                  </a:cubicBezTo>
                  <a:cubicBezTo>
                    <a:pt x="2501" y="680"/>
                    <a:pt x="2504" y="676"/>
                    <a:pt x="2499" y="668"/>
                  </a:cubicBezTo>
                  <a:cubicBezTo>
                    <a:pt x="2494" y="660"/>
                    <a:pt x="2492" y="648"/>
                    <a:pt x="2493" y="638"/>
                  </a:cubicBezTo>
                  <a:cubicBezTo>
                    <a:pt x="2494" y="628"/>
                    <a:pt x="2502" y="600"/>
                    <a:pt x="2522" y="600"/>
                  </a:cubicBezTo>
                  <a:cubicBezTo>
                    <a:pt x="2543" y="600"/>
                    <a:pt x="2570" y="600"/>
                    <a:pt x="2572" y="578"/>
                  </a:cubicBezTo>
                  <a:cubicBezTo>
                    <a:pt x="2574" y="555"/>
                    <a:pt x="2569" y="552"/>
                    <a:pt x="2580" y="545"/>
                  </a:cubicBezTo>
                  <a:cubicBezTo>
                    <a:pt x="2581" y="544"/>
                    <a:pt x="2582" y="544"/>
                    <a:pt x="2583" y="543"/>
                  </a:cubicBezTo>
                  <a:cubicBezTo>
                    <a:pt x="2583" y="543"/>
                    <a:pt x="2583" y="543"/>
                    <a:pt x="2583" y="543"/>
                  </a:cubicBezTo>
                  <a:cubicBezTo>
                    <a:pt x="2584" y="542"/>
                    <a:pt x="2585" y="541"/>
                    <a:pt x="2585" y="540"/>
                  </a:cubicBezTo>
                  <a:cubicBezTo>
                    <a:pt x="2586" y="540"/>
                    <a:pt x="2586" y="540"/>
                    <a:pt x="2586" y="540"/>
                  </a:cubicBezTo>
                  <a:cubicBezTo>
                    <a:pt x="2587" y="539"/>
                    <a:pt x="2587" y="538"/>
                    <a:pt x="2588" y="538"/>
                  </a:cubicBezTo>
                  <a:cubicBezTo>
                    <a:pt x="2588" y="538"/>
                    <a:pt x="2588" y="538"/>
                    <a:pt x="2588" y="538"/>
                  </a:cubicBezTo>
                  <a:cubicBezTo>
                    <a:pt x="2588" y="537"/>
                    <a:pt x="2589" y="536"/>
                    <a:pt x="2589" y="535"/>
                  </a:cubicBezTo>
                  <a:cubicBezTo>
                    <a:pt x="2589" y="535"/>
                    <a:pt x="2589" y="535"/>
                    <a:pt x="2589" y="535"/>
                  </a:cubicBezTo>
                  <a:cubicBezTo>
                    <a:pt x="2590" y="534"/>
                    <a:pt x="2590" y="533"/>
                    <a:pt x="2590" y="531"/>
                  </a:cubicBezTo>
                  <a:cubicBezTo>
                    <a:pt x="2590" y="531"/>
                    <a:pt x="2590" y="531"/>
                    <a:pt x="2590" y="531"/>
                  </a:cubicBezTo>
                  <a:cubicBezTo>
                    <a:pt x="2591" y="531"/>
                    <a:pt x="2591" y="530"/>
                    <a:pt x="2590" y="530"/>
                  </a:cubicBezTo>
                  <a:cubicBezTo>
                    <a:pt x="2590" y="530"/>
                    <a:pt x="2590" y="530"/>
                    <a:pt x="2590" y="529"/>
                  </a:cubicBezTo>
                  <a:cubicBezTo>
                    <a:pt x="2590" y="529"/>
                    <a:pt x="2590" y="529"/>
                    <a:pt x="2590" y="528"/>
                  </a:cubicBezTo>
                  <a:cubicBezTo>
                    <a:pt x="2590" y="528"/>
                    <a:pt x="2590" y="528"/>
                    <a:pt x="2590" y="528"/>
                  </a:cubicBezTo>
                  <a:cubicBezTo>
                    <a:pt x="2590" y="527"/>
                    <a:pt x="2590" y="527"/>
                    <a:pt x="2590" y="527"/>
                  </a:cubicBezTo>
                  <a:cubicBezTo>
                    <a:pt x="2590" y="527"/>
                    <a:pt x="2589" y="526"/>
                    <a:pt x="2589" y="526"/>
                  </a:cubicBezTo>
                  <a:cubicBezTo>
                    <a:pt x="2589" y="526"/>
                    <a:pt x="2589" y="526"/>
                    <a:pt x="2589" y="525"/>
                  </a:cubicBezTo>
                  <a:cubicBezTo>
                    <a:pt x="2589" y="525"/>
                    <a:pt x="2588" y="525"/>
                    <a:pt x="2588" y="525"/>
                  </a:cubicBezTo>
                  <a:cubicBezTo>
                    <a:pt x="2588" y="524"/>
                    <a:pt x="2588" y="524"/>
                    <a:pt x="2587" y="524"/>
                  </a:cubicBezTo>
                  <a:cubicBezTo>
                    <a:pt x="2587" y="524"/>
                    <a:pt x="2587" y="524"/>
                    <a:pt x="2587" y="523"/>
                  </a:cubicBezTo>
                  <a:cubicBezTo>
                    <a:pt x="2586" y="523"/>
                    <a:pt x="2586" y="523"/>
                    <a:pt x="2585" y="522"/>
                  </a:cubicBezTo>
                  <a:cubicBezTo>
                    <a:pt x="2575" y="517"/>
                    <a:pt x="2571" y="514"/>
                    <a:pt x="2571" y="505"/>
                  </a:cubicBezTo>
                  <a:cubicBezTo>
                    <a:pt x="2571" y="496"/>
                    <a:pt x="2561" y="483"/>
                    <a:pt x="2551" y="496"/>
                  </a:cubicBezTo>
                  <a:cubicBezTo>
                    <a:pt x="2541" y="508"/>
                    <a:pt x="2515" y="515"/>
                    <a:pt x="2499" y="508"/>
                  </a:cubicBezTo>
                  <a:cubicBezTo>
                    <a:pt x="2483" y="502"/>
                    <a:pt x="2473" y="501"/>
                    <a:pt x="2466" y="486"/>
                  </a:cubicBezTo>
                  <a:cubicBezTo>
                    <a:pt x="2458" y="472"/>
                    <a:pt x="2468" y="458"/>
                    <a:pt x="2447" y="456"/>
                  </a:cubicBezTo>
                  <a:cubicBezTo>
                    <a:pt x="2426" y="454"/>
                    <a:pt x="2413" y="455"/>
                    <a:pt x="2406" y="437"/>
                  </a:cubicBezTo>
                  <a:cubicBezTo>
                    <a:pt x="2400" y="419"/>
                    <a:pt x="2386" y="395"/>
                    <a:pt x="2371" y="391"/>
                  </a:cubicBezTo>
                  <a:cubicBezTo>
                    <a:pt x="2356" y="387"/>
                    <a:pt x="2340" y="388"/>
                    <a:pt x="2326" y="396"/>
                  </a:cubicBezTo>
                  <a:cubicBezTo>
                    <a:pt x="2313" y="405"/>
                    <a:pt x="2299" y="402"/>
                    <a:pt x="2294" y="410"/>
                  </a:cubicBezTo>
                  <a:cubicBezTo>
                    <a:pt x="2288" y="418"/>
                    <a:pt x="2281" y="416"/>
                    <a:pt x="2272" y="409"/>
                  </a:cubicBezTo>
                  <a:cubicBezTo>
                    <a:pt x="2262" y="402"/>
                    <a:pt x="2251" y="402"/>
                    <a:pt x="2246" y="403"/>
                  </a:cubicBezTo>
                  <a:cubicBezTo>
                    <a:pt x="2240" y="404"/>
                    <a:pt x="2236" y="402"/>
                    <a:pt x="2231" y="394"/>
                  </a:cubicBezTo>
                  <a:cubicBezTo>
                    <a:pt x="2226" y="386"/>
                    <a:pt x="2213" y="402"/>
                    <a:pt x="2213" y="384"/>
                  </a:cubicBezTo>
                  <a:cubicBezTo>
                    <a:pt x="2213" y="366"/>
                    <a:pt x="2200" y="361"/>
                    <a:pt x="2192" y="359"/>
                  </a:cubicBezTo>
                  <a:cubicBezTo>
                    <a:pt x="2184" y="357"/>
                    <a:pt x="2172" y="368"/>
                    <a:pt x="2172" y="378"/>
                  </a:cubicBezTo>
                  <a:cubicBezTo>
                    <a:pt x="2171" y="388"/>
                    <a:pt x="2153" y="422"/>
                    <a:pt x="2136" y="398"/>
                  </a:cubicBezTo>
                  <a:cubicBezTo>
                    <a:pt x="2118" y="374"/>
                    <a:pt x="2070" y="272"/>
                    <a:pt x="2046" y="248"/>
                  </a:cubicBezTo>
                  <a:cubicBezTo>
                    <a:pt x="2022" y="224"/>
                    <a:pt x="1995" y="179"/>
                    <a:pt x="1968" y="162"/>
                  </a:cubicBezTo>
                  <a:cubicBezTo>
                    <a:pt x="1940" y="146"/>
                    <a:pt x="1912" y="135"/>
                    <a:pt x="1920" y="123"/>
                  </a:cubicBezTo>
                  <a:cubicBezTo>
                    <a:pt x="1928" y="111"/>
                    <a:pt x="1944" y="108"/>
                    <a:pt x="1944" y="97"/>
                  </a:cubicBezTo>
                  <a:cubicBezTo>
                    <a:pt x="1944" y="86"/>
                    <a:pt x="1932" y="92"/>
                    <a:pt x="1918" y="94"/>
                  </a:cubicBezTo>
                  <a:cubicBezTo>
                    <a:pt x="1904" y="96"/>
                    <a:pt x="1890" y="102"/>
                    <a:pt x="1885" y="108"/>
                  </a:cubicBezTo>
                  <a:cubicBezTo>
                    <a:pt x="1880" y="115"/>
                    <a:pt x="1879" y="116"/>
                    <a:pt x="1867" y="116"/>
                  </a:cubicBezTo>
                  <a:cubicBezTo>
                    <a:pt x="1855" y="116"/>
                    <a:pt x="1846" y="115"/>
                    <a:pt x="1846" y="122"/>
                  </a:cubicBezTo>
                  <a:cubicBezTo>
                    <a:pt x="1846" y="130"/>
                    <a:pt x="1844" y="139"/>
                    <a:pt x="1831" y="140"/>
                  </a:cubicBezTo>
                  <a:cubicBezTo>
                    <a:pt x="1818" y="141"/>
                    <a:pt x="1808" y="138"/>
                    <a:pt x="1806" y="143"/>
                  </a:cubicBezTo>
                  <a:cubicBezTo>
                    <a:pt x="1803" y="147"/>
                    <a:pt x="1795" y="151"/>
                    <a:pt x="1794" y="156"/>
                  </a:cubicBezTo>
                  <a:cubicBezTo>
                    <a:pt x="1793" y="162"/>
                    <a:pt x="1796" y="180"/>
                    <a:pt x="1787" y="173"/>
                  </a:cubicBezTo>
                  <a:cubicBezTo>
                    <a:pt x="1778" y="166"/>
                    <a:pt x="1771" y="164"/>
                    <a:pt x="1765" y="161"/>
                  </a:cubicBezTo>
                  <a:cubicBezTo>
                    <a:pt x="1759" y="158"/>
                    <a:pt x="1749" y="160"/>
                    <a:pt x="1744" y="162"/>
                  </a:cubicBezTo>
                  <a:cubicBezTo>
                    <a:pt x="1740" y="163"/>
                    <a:pt x="1732" y="187"/>
                    <a:pt x="1721" y="178"/>
                  </a:cubicBezTo>
                  <a:cubicBezTo>
                    <a:pt x="1711" y="169"/>
                    <a:pt x="1704" y="158"/>
                    <a:pt x="1715" y="154"/>
                  </a:cubicBezTo>
                  <a:cubicBezTo>
                    <a:pt x="1726" y="150"/>
                    <a:pt x="1727" y="148"/>
                    <a:pt x="1731" y="141"/>
                  </a:cubicBezTo>
                  <a:cubicBezTo>
                    <a:pt x="1734" y="134"/>
                    <a:pt x="1745" y="130"/>
                    <a:pt x="1739" y="124"/>
                  </a:cubicBezTo>
                  <a:cubicBezTo>
                    <a:pt x="1733" y="117"/>
                    <a:pt x="1727" y="119"/>
                    <a:pt x="1721" y="128"/>
                  </a:cubicBezTo>
                  <a:cubicBezTo>
                    <a:pt x="1715" y="136"/>
                    <a:pt x="1703" y="136"/>
                    <a:pt x="1696" y="129"/>
                  </a:cubicBezTo>
                  <a:cubicBezTo>
                    <a:pt x="1689" y="123"/>
                    <a:pt x="1683" y="109"/>
                    <a:pt x="1679" y="118"/>
                  </a:cubicBezTo>
                  <a:cubicBezTo>
                    <a:pt x="1675" y="127"/>
                    <a:pt x="1667" y="139"/>
                    <a:pt x="1664" y="128"/>
                  </a:cubicBezTo>
                  <a:cubicBezTo>
                    <a:pt x="1661" y="118"/>
                    <a:pt x="1655" y="112"/>
                    <a:pt x="1651" y="108"/>
                  </a:cubicBezTo>
                  <a:cubicBezTo>
                    <a:pt x="1646" y="105"/>
                    <a:pt x="1648" y="88"/>
                    <a:pt x="1639" y="97"/>
                  </a:cubicBezTo>
                  <a:cubicBezTo>
                    <a:pt x="1630" y="106"/>
                    <a:pt x="1623" y="107"/>
                    <a:pt x="1618" y="107"/>
                  </a:cubicBezTo>
                  <a:cubicBezTo>
                    <a:pt x="1613" y="107"/>
                    <a:pt x="1612" y="125"/>
                    <a:pt x="1600" y="118"/>
                  </a:cubicBezTo>
                  <a:cubicBezTo>
                    <a:pt x="1589" y="111"/>
                    <a:pt x="1560" y="106"/>
                    <a:pt x="1568" y="102"/>
                  </a:cubicBezTo>
                  <a:cubicBezTo>
                    <a:pt x="1575" y="98"/>
                    <a:pt x="1579" y="91"/>
                    <a:pt x="1579" y="82"/>
                  </a:cubicBezTo>
                  <a:cubicBezTo>
                    <a:pt x="1578" y="73"/>
                    <a:pt x="1577" y="77"/>
                    <a:pt x="1572" y="67"/>
                  </a:cubicBezTo>
                  <a:cubicBezTo>
                    <a:pt x="1566" y="58"/>
                    <a:pt x="1565" y="53"/>
                    <a:pt x="1562" y="39"/>
                  </a:cubicBezTo>
                  <a:cubicBezTo>
                    <a:pt x="1560" y="25"/>
                    <a:pt x="1555" y="18"/>
                    <a:pt x="1548" y="15"/>
                  </a:cubicBezTo>
                  <a:cubicBezTo>
                    <a:pt x="1540" y="12"/>
                    <a:pt x="1531" y="10"/>
                    <a:pt x="1529" y="17"/>
                  </a:cubicBezTo>
                  <a:cubicBezTo>
                    <a:pt x="1527" y="23"/>
                    <a:pt x="1524" y="33"/>
                    <a:pt x="1510" y="26"/>
                  </a:cubicBezTo>
                  <a:cubicBezTo>
                    <a:pt x="1495" y="19"/>
                    <a:pt x="1495" y="14"/>
                    <a:pt x="1474" y="7"/>
                  </a:cubicBezTo>
                  <a:cubicBezTo>
                    <a:pt x="1452" y="0"/>
                    <a:pt x="1441" y="6"/>
                    <a:pt x="1430" y="14"/>
                  </a:cubicBezTo>
                  <a:cubicBezTo>
                    <a:pt x="1419" y="22"/>
                    <a:pt x="1400" y="9"/>
                    <a:pt x="1393" y="29"/>
                  </a:cubicBezTo>
                  <a:cubicBezTo>
                    <a:pt x="1386" y="49"/>
                    <a:pt x="1372" y="47"/>
                    <a:pt x="1351" y="49"/>
                  </a:cubicBezTo>
                  <a:cubicBezTo>
                    <a:pt x="1330" y="51"/>
                    <a:pt x="1260" y="68"/>
                    <a:pt x="1244" y="70"/>
                  </a:cubicBezTo>
                  <a:cubicBezTo>
                    <a:pt x="1228" y="72"/>
                    <a:pt x="1213" y="73"/>
                    <a:pt x="1205" y="84"/>
                  </a:cubicBezTo>
                  <a:cubicBezTo>
                    <a:pt x="1197" y="95"/>
                    <a:pt x="1180" y="96"/>
                    <a:pt x="1161" y="96"/>
                  </a:cubicBezTo>
                  <a:cubicBezTo>
                    <a:pt x="1142" y="96"/>
                    <a:pt x="1123" y="94"/>
                    <a:pt x="1116" y="102"/>
                  </a:cubicBezTo>
                  <a:cubicBezTo>
                    <a:pt x="1109" y="110"/>
                    <a:pt x="1088" y="104"/>
                    <a:pt x="1075" y="113"/>
                  </a:cubicBezTo>
                  <a:cubicBezTo>
                    <a:pt x="1062" y="122"/>
                    <a:pt x="1054" y="122"/>
                    <a:pt x="1036" y="125"/>
                  </a:cubicBezTo>
                  <a:cubicBezTo>
                    <a:pt x="1018" y="128"/>
                    <a:pt x="1006" y="115"/>
                    <a:pt x="997" y="124"/>
                  </a:cubicBezTo>
                  <a:cubicBezTo>
                    <a:pt x="988" y="133"/>
                    <a:pt x="976" y="132"/>
                    <a:pt x="969" y="127"/>
                  </a:cubicBezTo>
                  <a:cubicBezTo>
                    <a:pt x="962" y="122"/>
                    <a:pt x="951" y="123"/>
                    <a:pt x="947" y="126"/>
                  </a:cubicBezTo>
                  <a:cubicBezTo>
                    <a:pt x="943" y="128"/>
                    <a:pt x="926" y="126"/>
                    <a:pt x="930" y="136"/>
                  </a:cubicBezTo>
                  <a:cubicBezTo>
                    <a:pt x="935" y="146"/>
                    <a:pt x="935" y="155"/>
                    <a:pt x="933" y="160"/>
                  </a:cubicBezTo>
                  <a:cubicBezTo>
                    <a:pt x="931" y="164"/>
                    <a:pt x="932" y="169"/>
                    <a:pt x="939" y="171"/>
                  </a:cubicBezTo>
                  <a:cubicBezTo>
                    <a:pt x="945" y="174"/>
                    <a:pt x="954" y="173"/>
                    <a:pt x="954" y="182"/>
                  </a:cubicBezTo>
                  <a:cubicBezTo>
                    <a:pt x="954" y="191"/>
                    <a:pt x="952" y="196"/>
                    <a:pt x="966" y="198"/>
                  </a:cubicBezTo>
                  <a:cubicBezTo>
                    <a:pt x="980" y="200"/>
                    <a:pt x="994" y="199"/>
                    <a:pt x="995" y="204"/>
                  </a:cubicBezTo>
                  <a:cubicBezTo>
                    <a:pt x="997" y="208"/>
                    <a:pt x="995" y="224"/>
                    <a:pt x="981" y="221"/>
                  </a:cubicBezTo>
                  <a:cubicBezTo>
                    <a:pt x="967" y="218"/>
                    <a:pt x="936" y="210"/>
                    <a:pt x="931" y="215"/>
                  </a:cubicBezTo>
                  <a:cubicBezTo>
                    <a:pt x="925" y="220"/>
                    <a:pt x="927" y="230"/>
                    <a:pt x="920" y="233"/>
                  </a:cubicBezTo>
                  <a:cubicBezTo>
                    <a:pt x="913" y="235"/>
                    <a:pt x="911" y="244"/>
                    <a:pt x="921" y="250"/>
                  </a:cubicBezTo>
                  <a:cubicBezTo>
                    <a:pt x="931" y="257"/>
                    <a:pt x="935" y="271"/>
                    <a:pt x="924" y="278"/>
                  </a:cubicBezTo>
                  <a:cubicBezTo>
                    <a:pt x="913" y="286"/>
                    <a:pt x="908" y="288"/>
                    <a:pt x="899" y="291"/>
                  </a:cubicBezTo>
                  <a:cubicBezTo>
                    <a:pt x="890" y="293"/>
                    <a:pt x="883" y="297"/>
                    <a:pt x="878" y="297"/>
                  </a:cubicBezTo>
                  <a:cubicBezTo>
                    <a:pt x="874" y="298"/>
                    <a:pt x="871" y="307"/>
                    <a:pt x="883" y="312"/>
                  </a:cubicBezTo>
                  <a:cubicBezTo>
                    <a:pt x="896" y="317"/>
                    <a:pt x="897" y="333"/>
                    <a:pt x="907" y="333"/>
                  </a:cubicBezTo>
                  <a:cubicBezTo>
                    <a:pt x="917" y="333"/>
                    <a:pt x="925" y="332"/>
                    <a:pt x="930" y="336"/>
                  </a:cubicBezTo>
                  <a:cubicBezTo>
                    <a:pt x="934" y="340"/>
                    <a:pt x="934" y="344"/>
                    <a:pt x="946" y="347"/>
                  </a:cubicBezTo>
                  <a:cubicBezTo>
                    <a:pt x="957" y="349"/>
                    <a:pt x="968" y="361"/>
                    <a:pt x="972" y="364"/>
                  </a:cubicBezTo>
                  <a:cubicBezTo>
                    <a:pt x="976" y="368"/>
                    <a:pt x="977" y="376"/>
                    <a:pt x="966" y="384"/>
                  </a:cubicBezTo>
                  <a:cubicBezTo>
                    <a:pt x="956" y="391"/>
                    <a:pt x="953" y="407"/>
                    <a:pt x="945" y="407"/>
                  </a:cubicBezTo>
                  <a:cubicBezTo>
                    <a:pt x="937" y="407"/>
                    <a:pt x="933" y="416"/>
                    <a:pt x="923" y="416"/>
                  </a:cubicBezTo>
                  <a:cubicBezTo>
                    <a:pt x="913" y="416"/>
                    <a:pt x="892" y="417"/>
                    <a:pt x="887" y="409"/>
                  </a:cubicBezTo>
                  <a:cubicBezTo>
                    <a:pt x="882" y="402"/>
                    <a:pt x="875" y="393"/>
                    <a:pt x="866" y="407"/>
                  </a:cubicBezTo>
                  <a:cubicBezTo>
                    <a:pt x="858" y="420"/>
                    <a:pt x="845" y="441"/>
                    <a:pt x="836" y="429"/>
                  </a:cubicBezTo>
                  <a:cubicBezTo>
                    <a:pt x="828" y="417"/>
                    <a:pt x="823" y="413"/>
                    <a:pt x="811" y="413"/>
                  </a:cubicBezTo>
                  <a:cubicBezTo>
                    <a:pt x="800" y="413"/>
                    <a:pt x="791" y="411"/>
                    <a:pt x="785" y="403"/>
                  </a:cubicBezTo>
                  <a:cubicBezTo>
                    <a:pt x="779" y="396"/>
                    <a:pt x="769" y="377"/>
                    <a:pt x="760" y="377"/>
                  </a:cubicBezTo>
                  <a:cubicBezTo>
                    <a:pt x="751" y="377"/>
                    <a:pt x="726" y="374"/>
                    <a:pt x="725" y="380"/>
                  </a:cubicBezTo>
                  <a:cubicBezTo>
                    <a:pt x="724" y="386"/>
                    <a:pt x="714" y="402"/>
                    <a:pt x="705" y="397"/>
                  </a:cubicBezTo>
                  <a:cubicBezTo>
                    <a:pt x="696" y="392"/>
                    <a:pt x="681" y="378"/>
                    <a:pt x="671" y="379"/>
                  </a:cubicBezTo>
                  <a:cubicBezTo>
                    <a:pt x="662" y="380"/>
                    <a:pt x="653" y="388"/>
                    <a:pt x="644" y="386"/>
                  </a:cubicBezTo>
                  <a:cubicBezTo>
                    <a:pt x="634" y="384"/>
                    <a:pt x="631" y="389"/>
                    <a:pt x="624" y="399"/>
                  </a:cubicBezTo>
                  <a:cubicBezTo>
                    <a:pt x="616" y="408"/>
                    <a:pt x="609" y="420"/>
                    <a:pt x="598" y="421"/>
                  </a:cubicBezTo>
                  <a:cubicBezTo>
                    <a:pt x="587" y="422"/>
                    <a:pt x="578" y="419"/>
                    <a:pt x="560" y="404"/>
                  </a:cubicBezTo>
                  <a:cubicBezTo>
                    <a:pt x="541" y="388"/>
                    <a:pt x="531" y="387"/>
                    <a:pt x="531" y="395"/>
                  </a:cubicBezTo>
                  <a:cubicBezTo>
                    <a:pt x="531" y="403"/>
                    <a:pt x="534" y="427"/>
                    <a:pt x="522" y="426"/>
                  </a:cubicBezTo>
                  <a:cubicBezTo>
                    <a:pt x="510" y="424"/>
                    <a:pt x="530" y="408"/>
                    <a:pt x="509" y="396"/>
                  </a:cubicBezTo>
                  <a:cubicBezTo>
                    <a:pt x="488" y="384"/>
                    <a:pt x="484" y="371"/>
                    <a:pt x="472" y="368"/>
                  </a:cubicBezTo>
                  <a:cubicBezTo>
                    <a:pt x="460" y="366"/>
                    <a:pt x="461" y="343"/>
                    <a:pt x="443" y="344"/>
                  </a:cubicBezTo>
                  <a:cubicBezTo>
                    <a:pt x="425" y="344"/>
                    <a:pt x="394" y="351"/>
                    <a:pt x="390" y="340"/>
                  </a:cubicBezTo>
                  <a:cubicBezTo>
                    <a:pt x="387" y="328"/>
                    <a:pt x="380" y="324"/>
                    <a:pt x="370" y="324"/>
                  </a:cubicBezTo>
                  <a:cubicBezTo>
                    <a:pt x="359" y="324"/>
                    <a:pt x="348" y="320"/>
                    <a:pt x="347" y="330"/>
                  </a:cubicBezTo>
                  <a:cubicBezTo>
                    <a:pt x="346" y="341"/>
                    <a:pt x="336" y="350"/>
                    <a:pt x="321" y="343"/>
                  </a:cubicBezTo>
                  <a:cubicBezTo>
                    <a:pt x="306" y="336"/>
                    <a:pt x="308" y="324"/>
                    <a:pt x="294" y="323"/>
                  </a:cubicBezTo>
                  <a:cubicBezTo>
                    <a:pt x="279" y="322"/>
                    <a:pt x="275" y="330"/>
                    <a:pt x="269" y="342"/>
                  </a:cubicBezTo>
                  <a:cubicBezTo>
                    <a:pt x="263" y="354"/>
                    <a:pt x="251" y="364"/>
                    <a:pt x="235" y="366"/>
                  </a:cubicBezTo>
                  <a:cubicBezTo>
                    <a:pt x="219" y="367"/>
                    <a:pt x="206" y="369"/>
                    <a:pt x="202" y="379"/>
                  </a:cubicBezTo>
                  <a:cubicBezTo>
                    <a:pt x="198" y="389"/>
                    <a:pt x="191" y="406"/>
                    <a:pt x="171" y="410"/>
                  </a:cubicBezTo>
                  <a:cubicBezTo>
                    <a:pt x="151" y="413"/>
                    <a:pt x="148" y="409"/>
                    <a:pt x="148" y="422"/>
                  </a:cubicBezTo>
                  <a:cubicBezTo>
                    <a:pt x="148" y="434"/>
                    <a:pt x="140" y="448"/>
                    <a:pt x="150" y="454"/>
                  </a:cubicBezTo>
                  <a:cubicBezTo>
                    <a:pt x="161" y="460"/>
                    <a:pt x="165" y="464"/>
                    <a:pt x="154" y="472"/>
                  </a:cubicBezTo>
                  <a:cubicBezTo>
                    <a:pt x="144" y="480"/>
                    <a:pt x="131" y="492"/>
                    <a:pt x="119" y="473"/>
                  </a:cubicBezTo>
                  <a:cubicBezTo>
                    <a:pt x="107" y="454"/>
                    <a:pt x="96" y="449"/>
                    <a:pt x="90" y="442"/>
                  </a:cubicBezTo>
                  <a:cubicBezTo>
                    <a:pt x="84" y="434"/>
                    <a:pt x="77" y="429"/>
                    <a:pt x="68" y="438"/>
                  </a:cubicBezTo>
                  <a:cubicBezTo>
                    <a:pt x="60" y="448"/>
                    <a:pt x="68" y="461"/>
                    <a:pt x="55" y="468"/>
                  </a:cubicBezTo>
                  <a:cubicBezTo>
                    <a:pt x="42" y="474"/>
                    <a:pt x="37" y="484"/>
                    <a:pt x="33" y="492"/>
                  </a:cubicBezTo>
                  <a:cubicBezTo>
                    <a:pt x="29" y="500"/>
                    <a:pt x="26" y="514"/>
                    <a:pt x="32" y="521"/>
                  </a:cubicBezTo>
                  <a:cubicBezTo>
                    <a:pt x="38" y="528"/>
                    <a:pt x="50" y="538"/>
                    <a:pt x="39" y="548"/>
                  </a:cubicBezTo>
                  <a:cubicBezTo>
                    <a:pt x="28" y="557"/>
                    <a:pt x="18" y="566"/>
                    <a:pt x="16" y="575"/>
                  </a:cubicBezTo>
                  <a:cubicBezTo>
                    <a:pt x="14" y="584"/>
                    <a:pt x="0" y="586"/>
                    <a:pt x="12" y="597"/>
                  </a:cubicBezTo>
                  <a:cubicBezTo>
                    <a:pt x="24" y="608"/>
                    <a:pt x="44" y="603"/>
                    <a:pt x="44" y="618"/>
                  </a:cubicBezTo>
                  <a:cubicBezTo>
                    <a:pt x="45" y="632"/>
                    <a:pt x="48" y="655"/>
                    <a:pt x="58" y="655"/>
                  </a:cubicBezTo>
                  <a:cubicBezTo>
                    <a:pt x="69" y="655"/>
                    <a:pt x="74" y="648"/>
                    <a:pt x="84" y="650"/>
                  </a:cubicBezTo>
                  <a:cubicBezTo>
                    <a:pt x="93" y="653"/>
                    <a:pt x="114" y="653"/>
                    <a:pt x="122" y="665"/>
                  </a:cubicBezTo>
                  <a:cubicBezTo>
                    <a:pt x="129" y="677"/>
                    <a:pt x="138" y="695"/>
                    <a:pt x="146" y="700"/>
                  </a:cubicBezTo>
                  <a:cubicBezTo>
                    <a:pt x="153" y="706"/>
                    <a:pt x="164" y="720"/>
                    <a:pt x="163" y="727"/>
                  </a:cubicBezTo>
                  <a:cubicBezTo>
                    <a:pt x="162" y="734"/>
                    <a:pt x="132" y="746"/>
                    <a:pt x="150" y="754"/>
                  </a:cubicBezTo>
                  <a:cubicBezTo>
                    <a:pt x="164" y="760"/>
                    <a:pt x="175" y="762"/>
                    <a:pt x="188" y="775"/>
                  </a:cubicBezTo>
                  <a:cubicBezTo>
                    <a:pt x="188" y="775"/>
                    <a:pt x="188" y="775"/>
                    <a:pt x="188" y="775"/>
                  </a:cubicBezTo>
                  <a:cubicBezTo>
                    <a:pt x="189" y="774"/>
                    <a:pt x="189" y="773"/>
                    <a:pt x="189" y="772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232" name="Freeform 25317"/>
            <p:cNvSpPr>
              <a:spLocks/>
            </p:cNvSpPr>
            <p:nvPr/>
          </p:nvSpPr>
          <p:spPr bwMode="auto">
            <a:xfrm>
              <a:off x="5613862" y="2663984"/>
              <a:ext cx="409421" cy="239750"/>
            </a:xfrm>
            <a:custGeom>
              <a:avLst/>
              <a:gdLst>
                <a:gd name="T0" fmla="*/ 8 w 1098"/>
                <a:gd name="T1" fmla="*/ 334 h 643"/>
                <a:gd name="T2" fmla="*/ 13 w 1098"/>
                <a:gd name="T3" fmla="*/ 333 h 643"/>
                <a:gd name="T4" fmla="*/ 21 w 1098"/>
                <a:gd name="T5" fmla="*/ 333 h 643"/>
                <a:gd name="T6" fmla="*/ 71 w 1098"/>
                <a:gd name="T7" fmla="*/ 327 h 643"/>
                <a:gd name="T8" fmla="*/ 123 w 1098"/>
                <a:gd name="T9" fmla="*/ 262 h 643"/>
                <a:gd name="T10" fmla="*/ 187 w 1098"/>
                <a:gd name="T11" fmla="*/ 233 h 643"/>
                <a:gd name="T12" fmla="*/ 266 w 1098"/>
                <a:gd name="T13" fmla="*/ 304 h 643"/>
                <a:gd name="T14" fmla="*/ 378 w 1098"/>
                <a:gd name="T15" fmla="*/ 345 h 643"/>
                <a:gd name="T16" fmla="*/ 433 w 1098"/>
                <a:gd name="T17" fmla="*/ 444 h 643"/>
                <a:gd name="T18" fmla="*/ 614 w 1098"/>
                <a:gd name="T19" fmla="*/ 562 h 643"/>
                <a:gd name="T20" fmla="*/ 677 w 1098"/>
                <a:gd name="T21" fmla="*/ 627 h 643"/>
                <a:gd name="T22" fmla="*/ 682 w 1098"/>
                <a:gd name="T23" fmla="*/ 627 h 643"/>
                <a:gd name="T24" fmla="*/ 687 w 1098"/>
                <a:gd name="T25" fmla="*/ 626 h 643"/>
                <a:gd name="T26" fmla="*/ 692 w 1098"/>
                <a:gd name="T27" fmla="*/ 626 h 643"/>
                <a:gd name="T28" fmla="*/ 696 w 1098"/>
                <a:gd name="T29" fmla="*/ 626 h 643"/>
                <a:gd name="T30" fmla="*/ 701 w 1098"/>
                <a:gd name="T31" fmla="*/ 626 h 643"/>
                <a:gd name="T32" fmla="*/ 704 w 1098"/>
                <a:gd name="T33" fmla="*/ 627 h 643"/>
                <a:gd name="T34" fmla="*/ 707 w 1098"/>
                <a:gd name="T35" fmla="*/ 628 h 643"/>
                <a:gd name="T36" fmla="*/ 730 w 1098"/>
                <a:gd name="T37" fmla="*/ 643 h 643"/>
                <a:gd name="T38" fmla="*/ 735 w 1098"/>
                <a:gd name="T39" fmla="*/ 643 h 643"/>
                <a:gd name="T40" fmla="*/ 738 w 1098"/>
                <a:gd name="T41" fmla="*/ 643 h 643"/>
                <a:gd name="T42" fmla="*/ 742 w 1098"/>
                <a:gd name="T43" fmla="*/ 643 h 643"/>
                <a:gd name="T44" fmla="*/ 778 w 1098"/>
                <a:gd name="T45" fmla="*/ 594 h 643"/>
                <a:gd name="T46" fmla="*/ 770 w 1098"/>
                <a:gd name="T47" fmla="*/ 536 h 643"/>
                <a:gd name="T48" fmla="*/ 722 w 1098"/>
                <a:gd name="T49" fmla="*/ 477 h 643"/>
                <a:gd name="T50" fmla="*/ 801 w 1098"/>
                <a:gd name="T51" fmla="*/ 469 h 643"/>
                <a:gd name="T52" fmla="*/ 827 w 1098"/>
                <a:gd name="T53" fmla="*/ 413 h 643"/>
                <a:gd name="T54" fmla="*/ 901 w 1098"/>
                <a:gd name="T55" fmla="*/ 372 h 643"/>
                <a:gd name="T56" fmla="*/ 936 w 1098"/>
                <a:gd name="T57" fmla="*/ 394 h 643"/>
                <a:gd name="T58" fmla="*/ 931 w 1098"/>
                <a:gd name="T59" fmla="*/ 414 h 643"/>
                <a:gd name="T60" fmla="*/ 937 w 1098"/>
                <a:gd name="T61" fmla="*/ 414 h 643"/>
                <a:gd name="T62" fmla="*/ 952 w 1098"/>
                <a:gd name="T63" fmla="*/ 412 h 643"/>
                <a:gd name="T64" fmla="*/ 957 w 1098"/>
                <a:gd name="T65" fmla="*/ 411 h 643"/>
                <a:gd name="T66" fmla="*/ 961 w 1098"/>
                <a:gd name="T67" fmla="*/ 410 h 643"/>
                <a:gd name="T68" fmla="*/ 966 w 1098"/>
                <a:gd name="T69" fmla="*/ 411 h 643"/>
                <a:gd name="T70" fmla="*/ 1047 w 1098"/>
                <a:gd name="T71" fmla="*/ 395 h 643"/>
                <a:gd name="T72" fmla="*/ 1031 w 1098"/>
                <a:gd name="T73" fmla="*/ 348 h 643"/>
                <a:gd name="T74" fmla="*/ 926 w 1098"/>
                <a:gd name="T75" fmla="*/ 325 h 643"/>
                <a:gd name="T76" fmla="*/ 958 w 1098"/>
                <a:gd name="T77" fmla="*/ 245 h 643"/>
                <a:gd name="T78" fmla="*/ 901 w 1098"/>
                <a:gd name="T79" fmla="*/ 293 h 643"/>
                <a:gd name="T80" fmla="*/ 806 w 1098"/>
                <a:gd name="T81" fmla="*/ 361 h 643"/>
                <a:gd name="T82" fmla="*/ 769 w 1098"/>
                <a:gd name="T83" fmla="*/ 354 h 643"/>
                <a:gd name="T84" fmla="*/ 666 w 1098"/>
                <a:gd name="T85" fmla="*/ 281 h 643"/>
                <a:gd name="T86" fmla="*/ 598 w 1098"/>
                <a:gd name="T87" fmla="*/ 168 h 643"/>
                <a:gd name="T88" fmla="*/ 402 w 1098"/>
                <a:gd name="T89" fmla="*/ 166 h 643"/>
                <a:gd name="T90" fmla="*/ 300 w 1098"/>
                <a:gd name="T91" fmla="*/ 79 h 643"/>
                <a:gd name="T92" fmla="*/ 197 w 1098"/>
                <a:gd name="T93" fmla="*/ 125 h 643"/>
                <a:gd name="T94" fmla="*/ 162 w 1098"/>
                <a:gd name="T95" fmla="*/ 29 h 643"/>
                <a:gd name="T96" fmla="*/ 50 w 1098"/>
                <a:gd name="T97" fmla="*/ 37 h 643"/>
                <a:gd name="T98" fmla="*/ 1 w 1098"/>
                <a:gd name="T99" fmla="*/ 335 h 6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98" h="643">
                  <a:moveTo>
                    <a:pt x="4" y="334"/>
                  </a:moveTo>
                  <a:cubicBezTo>
                    <a:pt x="5" y="334"/>
                    <a:pt x="5" y="334"/>
                    <a:pt x="6" y="334"/>
                  </a:cubicBezTo>
                  <a:cubicBezTo>
                    <a:pt x="7" y="334"/>
                    <a:pt x="7" y="334"/>
                    <a:pt x="8" y="334"/>
                  </a:cubicBezTo>
                  <a:cubicBezTo>
                    <a:pt x="9" y="333"/>
                    <a:pt x="9" y="333"/>
                    <a:pt x="10" y="333"/>
                  </a:cubicBezTo>
                  <a:cubicBezTo>
                    <a:pt x="11" y="333"/>
                    <a:pt x="12" y="333"/>
                    <a:pt x="13" y="333"/>
                  </a:cubicBezTo>
                  <a:cubicBezTo>
                    <a:pt x="13" y="333"/>
                    <a:pt x="13" y="333"/>
                    <a:pt x="13" y="333"/>
                  </a:cubicBezTo>
                  <a:cubicBezTo>
                    <a:pt x="15" y="333"/>
                    <a:pt x="16" y="333"/>
                    <a:pt x="17" y="333"/>
                  </a:cubicBezTo>
                  <a:cubicBezTo>
                    <a:pt x="18" y="333"/>
                    <a:pt x="18" y="333"/>
                    <a:pt x="19" y="333"/>
                  </a:cubicBezTo>
                  <a:cubicBezTo>
                    <a:pt x="19" y="333"/>
                    <a:pt x="20" y="333"/>
                    <a:pt x="21" y="333"/>
                  </a:cubicBezTo>
                  <a:cubicBezTo>
                    <a:pt x="22" y="333"/>
                    <a:pt x="22" y="333"/>
                    <a:pt x="23" y="333"/>
                  </a:cubicBezTo>
                  <a:cubicBezTo>
                    <a:pt x="24" y="333"/>
                    <a:pt x="26" y="334"/>
                    <a:pt x="27" y="334"/>
                  </a:cubicBezTo>
                  <a:cubicBezTo>
                    <a:pt x="40" y="337"/>
                    <a:pt x="75" y="337"/>
                    <a:pt x="71" y="327"/>
                  </a:cubicBezTo>
                  <a:cubicBezTo>
                    <a:pt x="67" y="317"/>
                    <a:pt x="57" y="310"/>
                    <a:pt x="64" y="298"/>
                  </a:cubicBezTo>
                  <a:cubicBezTo>
                    <a:pt x="71" y="286"/>
                    <a:pt x="73" y="267"/>
                    <a:pt x="91" y="268"/>
                  </a:cubicBezTo>
                  <a:cubicBezTo>
                    <a:pt x="109" y="269"/>
                    <a:pt x="122" y="276"/>
                    <a:pt x="123" y="262"/>
                  </a:cubicBezTo>
                  <a:cubicBezTo>
                    <a:pt x="124" y="248"/>
                    <a:pt x="123" y="248"/>
                    <a:pt x="138" y="247"/>
                  </a:cubicBezTo>
                  <a:cubicBezTo>
                    <a:pt x="153" y="246"/>
                    <a:pt x="151" y="242"/>
                    <a:pt x="157" y="231"/>
                  </a:cubicBezTo>
                  <a:cubicBezTo>
                    <a:pt x="163" y="220"/>
                    <a:pt x="178" y="220"/>
                    <a:pt x="187" y="233"/>
                  </a:cubicBezTo>
                  <a:cubicBezTo>
                    <a:pt x="196" y="246"/>
                    <a:pt x="204" y="257"/>
                    <a:pt x="226" y="257"/>
                  </a:cubicBezTo>
                  <a:cubicBezTo>
                    <a:pt x="248" y="257"/>
                    <a:pt x="260" y="266"/>
                    <a:pt x="260" y="276"/>
                  </a:cubicBezTo>
                  <a:cubicBezTo>
                    <a:pt x="260" y="286"/>
                    <a:pt x="270" y="287"/>
                    <a:pt x="266" y="304"/>
                  </a:cubicBezTo>
                  <a:cubicBezTo>
                    <a:pt x="262" y="321"/>
                    <a:pt x="264" y="340"/>
                    <a:pt x="284" y="339"/>
                  </a:cubicBezTo>
                  <a:cubicBezTo>
                    <a:pt x="304" y="338"/>
                    <a:pt x="329" y="358"/>
                    <a:pt x="339" y="344"/>
                  </a:cubicBezTo>
                  <a:cubicBezTo>
                    <a:pt x="349" y="330"/>
                    <a:pt x="373" y="329"/>
                    <a:pt x="378" y="345"/>
                  </a:cubicBezTo>
                  <a:cubicBezTo>
                    <a:pt x="383" y="361"/>
                    <a:pt x="384" y="369"/>
                    <a:pt x="391" y="386"/>
                  </a:cubicBezTo>
                  <a:cubicBezTo>
                    <a:pt x="398" y="403"/>
                    <a:pt x="408" y="396"/>
                    <a:pt x="411" y="415"/>
                  </a:cubicBezTo>
                  <a:cubicBezTo>
                    <a:pt x="414" y="434"/>
                    <a:pt x="415" y="433"/>
                    <a:pt x="433" y="444"/>
                  </a:cubicBezTo>
                  <a:cubicBezTo>
                    <a:pt x="451" y="455"/>
                    <a:pt x="486" y="478"/>
                    <a:pt x="495" y="492"/>
                  </a:cubicBezTo>
                  <a:cubicBezTo>
                    <a:pt x="504" y="506"/>
                    <a:pt x="529" y="499"/>
                    <a:pt x="547" y="520"/>
                  </a:cubicBezTo>
                  <a:cubicBezTo>
                    <a:pt x="565" y="541"/>
                    <a:pt x="592" y="559"/>
                    <a:pt x="614" y="562"/>
                  </a:cubicBezTo>
                  <a:cubicBezTo>
                    <a:pt x="636" y="565"/>
                    <a:pt x="659" y="570"/>
                    <a:pt x="667" y="578"/>
                  </a:cubicBezTo>
                  <a:cubicBezTo>
                    <a:pt x="675" y="586"/>
                    <a:pt x="683" y="582"/>
                    <a:pt x="681" y="595"/>
                  </a:cubicBezTo>
                  <a:cubicBezTo>
                    <a:pt x="679" y="605"/>
                    <a:pt x="677" y="616"/>
                    <a:pt x="677" y="627"/>
                  </a:cubicBezTo>
                  <a:cubicBezTo>
                    <a:pt x="677" y="627"/>
                    <a:pt x="677" y="627"/>
                    <a:pt x="677" y="627"/>
                  </a:cubicBezTo>
                  <a:cubicBezTo>
                    <a:pt x="679" y="627"/>
                    <a:pt x="680" y="627"/>
                    <a:pt x="681" y="627"/>
                  </a:cubicBezTo>
                  <a:cubicBezTo>
                    <a:pt x="681" y="627"/>
                    <a:pt x="682" y="627"/>
                    <a:pt x="682" y="627"/>
                  </a:cubicBezTo>
                  <a:cubicBezTo>
                    <a:pt x="683" y="627"/>
                    <a:pt x="683" y="627"/>
                    <a:pt x="684" y="626"/>
                  </a:cubicBezTo>
                  <a:cubicBezTo>
                    <a:pt x="684" y="626"/>
                    <a:pt x="685" y="626"/>
                    <a:pt x="685" y="626"/>
                  </a:cubicBezTo>
                  <a:cubicBezTo>
                    <a:pt x="686" y="626"/>
                    <a:pt x="686" y="626"/>
                    <a:pt x="687" y="626"/>
                  </a:cubicBezTo>
                  <a:cubicBezTo>
                    <a:pt x="688" y="626"/>
                    <a:pt x="689" y="626"/>
                    <a:pt x="689" y="626"/>
                  </a:cubicBezTo>
                  <a:cubicBezTo>
                    <a:pt x="690" y="626"/>
                    <a:pt x="690" y="626"/>
                    <a:pt x="690" y="626"/>
                  </a:cubicBezTo>
                  <a:cubicBezTo>
                    <a:pt x="691" y="626"/>
                    <a:pt x="692" y="626"/>
                    <a:pt x="692" y="626"/>
                  </a:cubicBezTo>
                  <a:cubicBezTo>
                    <a:pt x="693" y="626"/>
                    <a:pt x="693" y="626"/>
                    <a:pt x="693" y="626"/>
                  </a:cubicBezTo>
                  <a:cubicBezTo>
                    <a:pt x="694" y="626"/>
                    <a:pt x="695" y="626"/>
                    <a:pt x="695" y="626"/>
                  </a:cubicBezTo>
                  <a:cubicBezTo>
                    <a:pt x="696" y="626"/>
                    <a:pt x="696" y="626"/>
                    <a:pt x="696" y="626"/>
                  </a:cubicBezTo>
                  <a:cubicBezTo>
                    <a:pt x="697" y="626"/>
                    <a:pt x="698" y="626"/>
                    <a:pt x="699" y="626"/>
                  </a:cubicBezTo>
                  <a:cubicBezTo>
                    <a:pt x="699" y="626"/>
                    <a:pt x="699" y="626"/>
                    <a:pt x="699" y="626"/>
                  </a:cubicBezTo>
                  <a:cubicBezTo>
                    <a:pt x="700" y="626"/>
                    <a:pt x="700" y="626"/>
                    <a:pt x="701" y="626"/>
                  </a:cubicBezTo>
                  <a:cubicBezTo>
                    <a:pt x="701" y="626"/>
                    <a:pt x="701" y="626"/>
                    <a:pt x="702" y="627"/>
                  </a:cubicBezTo>
                  <a:cubicBezTo>
                    <a:pt x="702" y="627"/>
                    <a:pt x="703" y="627"/>
                    <a:pt x="703" y="627"/>
                  </a:cubicBezTo>
                  <a:cubicBezTo>
                    <a:pt x="703" y="627"/>
                    <a:pt x="704" y="627"/>
                    <a:pt x="704" y="627"/>
                  </a:cubicBezTo>
                  <a:cubicBezTo>
                    <a:pt x="704" y="627"/>
                    <a:pt x="705" y="627"/>
                    <a:pt x="705" y="628"/>
                  </a:cubicBezTo>
                  <a:cubicBezTo>
                    <a:pt x="706" y="628"/>
                    <a:pt x="706" y="628"/>
                    <a:pt x="706" y="628"/>
                  </a:cubicBezTo>
                  <a:cubicBezTo>
                    <a:pt x="706" y="628"/>
                    <a:pt x="706" y="628"/>
                    <a:pt x="707" y="628"/>
                  </a:cubicBezTo>
                  <a:cubicBezTo>
                    <a:pt x="707" y="628"/>
                    <a:pt x="707" y="629"/>
                    <a:pt x="707" y="629"/>
                  </a:cubicBezTo>
                  <a:cubicBezTo>
                    <a:pt x="707" y="629"/>
                    <a:pt x="708" y="629"/>
                    <a:pt x="708" y="630"/>
                  </a:cubicBezTo>
                  <a:cubicBezTo>
                    <a:pt x="712" y="636"/>
                    <a:pt x="718" y="641"/>
                    <a:pt x="730" y="643"/>
                  </a:cubicBezTo>
                  <a:cubicBezTo>
                    <a:pt x="731" y="643"/>
                    <a:pt x="732" y="643"/>
                    <a:pt x="732" y="643"/>
                  </a:cubicBezTo>
                  <a:cubicBezTo>
                    <a:pt x="733" y="643"/>
                    <a:pt x="733" y="643"/>
                    <a:pt x="733" y="643"/>
                  </a:cubicBezTo>
                  <a:cubicBezTo>
                    <a:pt x="734" y="643"/>
                    <a:pt x="734" y="643"/>
                    <a:pt x="735" y="643"/>
                  </a:cubicBezTo>
                  <a:cubicBezTo>
                    <a:pt x="735" y="643"/>
                    <a:pt x="736" y="643"/>
                    <a:pt x="736" y="643"/>
                  </a:cubicBezTo>
                  <a:cubicBezTo>
                    <a:pt x="736" y="643"/>
                    <a:pt x="737" y="643"/>
                    <a:pt x="737" y="643"/>
                  </a:cubicBezTo>
                  <a:cubicBezTo>
                    <a:pt x="738" y="643"/>
                    <a:pt x="738" y="643"/>
                    <a:pt x="738" y="643"/>
                  </a:cubicBezTo>
                  <a:cubicBezTo>
                    <a:pt x="739" y="643"/>
                    <a:pt x="739" y="643"/>
                    <a:pt x="740" y="643"/>
                  </a:cubicBezTo>
                  <a:cubicBezTo>
                    <a:pt x="740" y="643"/>
                    <a:pt x="741" y="643"/>
                    <a:pt x="741" y="643"/>
                  </a:cubicBezTo>
                  <a:cubicBezTo>
                    <a:pt x="741" y="643"/>
                    <a:pt x="742" y="643"/>
                    <a:pt x="742" y="643"/>
                  </a:cubicBezTo>
                  <a:cubicBezTo>
                    <a:pt x="745" y="642"/>
                    <a:pt x="747" y="642"/>
                    <a:pt x="749" y="641"/>
                  </a:cubicBezTo>
                  <a:cubicBezTo>
                    <a:pt x="749" y="634"/>
                    <a:pt x="750" y="624"/>
                    <a:pt x="758" y="619"/>
                  </a:cubicBezTo>
                  <a:cubicBezTo>
                    <a:pt x="770" y="612"/>
                    <a:pt x="766" y="596"/>
                    <a:pt x="778" y="594"/>
                  </a:cubicBezTo>
                  <a:cubicBezTo>
                    <a:pt x="790" y="592"/>
                    <a:pt x="792" y="586"/>
                    <a:pt x="791" y="574"/>
                  </a:cubicBezTo>
                  <a:cubicBezTo>
                    <a:pt x="790" y="562"/>
                    <a:pt x="785" y="559"/>
                    <a:pt x="779" y="555"/>
                  </a:cubicBezTo>
                  <a:cubicBezTo>
                    <a:pt x="773" y="551"/>
                    <a:pt x="769" y="547"/>
                    <a:pt x="770" y="536"/>
                  </a:cubicBezTo>
                  <a:cubicBezTo>
                    <a:pt x="771" y="525"/>
                    <a:pt x="786" y="507"/>
                    <a:pt x="769" y="508"/>
                  </a:cubicBezTo>
                  <a:cubicBezTo>
                    <a:pt x="752" y="509"/>
                    <a:pt x="744" y="512"/>
                    <a:pt x="736" y="500"/>
                  </a:cubicBezTo>
                  <a:cubicBezTo>
                    <a:pt x="728" y="488"/>
                    <a:pt x="720" y="485"/>
                    <a:pt x="722" y="477"/>
                  </a:cubicBezTo>
                  <a:cubicBezTo>
                    <a:pt x="724" y="469"/>
                    <a:pt x="735" y="468"/>
                    <a:pt x="741" y="466"/>
                  </a:cubicBezTo>
                  <a:cubicBezTo>
                    <a:pt x="747" y="464"/>
                    <a:pt x="756" y="451"/>
                    <a:pt x="765" y="462"/>
                  </a:cubicBezTo>
                  <a:cubicBezTo>
                    <a:pt x="774" y="473"/>
                    <a:pt x="787" y="470"/>
                    <a:pt x="801" y="469"/>
                  </a:cubicBezTo>
                  <a:cubicBezTo>
                    <a:pt x="815" y="468"/>
                    <a:pt x="803" y="449"/>
                    <a:pt x="814" y="443"/>
                  </a:cubicBezTo>
                  <a:cubicBezTo>
                    <a:pt x="825" y="437"/>
                    <a:pt x="814" y="428"/>
                    <a:pt x="812" y="424"/>
                  </a:cubicBezTo>
                  <a:cubicBezTo>
                    <a:pt x="810" y="420"/>
                    <a:pt x="813" y="413"/>
                    <a:pt x="827" y="413"/>
                  </a:cubicBezTo>
                  <a:cubicBezTo>
                    <a:pt x="841" y="413"/>
                    <a:pt x="851" y="406"/>
                    <a:pt x="851" y="391"/>
                  </a:cubicBezTo>
                  <a:cubicBezTo>
                    <a:pt x="851" y="376"/>
                    <a:pt x="867" y="368"/>
                    <a:pt x="872" y="374"/>
                  </a:cubicBezTo>
                  <a:cubicBezTo>
                    <a:pt x="877" y="380"/>
                    <a:pt x="892" y="386"/>
                    <a:pt x="901" y="372"/>
                  </a:cubicBezTo>
                  <a:cubicBezTo>
                    <a:pt x="910" y="358"/>
                    <a:pt x="915" y="359"/>
                    <a:pt x="921" y="358"/>
                  </a:cubicBezTo>
                  <a:cubicBezTo>
                    <a:pt x="927" y="357"/>
                    <a:pt x="939" y="362"/>
                    <a:pt x="942" y="367"/>
                  </a:cubicBezTo>
                  <a:cubicBezTo>
                    <a:pt x="945" y="372"/>
                    <a:pt x="943" y="391"/>
                    <a:pt x="936" y="394"/>
                  </a:cubicBezTo>
                  <a:cubicBezTo>
                    <a:pt x="929" y="397"/>
                    <a:pt x="918" y="409"/>
                    <a:pt x="928" y="413"/>
                  </a:cubicBezTo>
                  <a:cubicBezTo>
                    <a:pt x="929" y="413"/>
                    <a:pt x="930" y="414"/>
                    <a:pt x="930" y="414"/>
                  </a:cubicBezTo>
                  <a:cubicBezTo>
                    <a:pt x="931" y="414"/>
                    <a:pt x="931" y="414"/>
                    <a:pt x="931" y="414"/>
                  </a:cubicBezTo>
                  <a:cubicBezTo>
                    <a:pt x="932" y="414"/>
                    <a:pt x="932" y="414"/>
                    <a:pt x="933" y="414"/>
                  </a:cubicBezTo>
                  <a:cubicBezTo>
                    <a:pt x="933" y="414"/>
                    <a:pt x="934" y="414"/>
                    <a:pt x="934" y="414"/>
                  </a:cubicBezTo>
                  <a:cubicBezTo>
                    <a:pt x="935" y="414"/>
                    <a:pt x="936" y="414"/>
                    <a:pt x="937" y="414"/>
                  </a:cubicBezTo>
                  <a:cubicBezTo>
                    <a:pt x="937" y="414"/>
                    <a:pt x="937" y="414"/>
                    <a:pt x="937" y="414"/>
                  </a:cubicBezTo>
                  <a:cubicBezTo>
                    <a:pt x="938" y="414"/>
                    <a:pt x="939" y="414"/>
                    <a:pt x="940" y="414"/>
                  </a:cubicBezTo>
                  <a:cubicBezTo>
                    <a:pt x="944" y="413"/>
                    <a:pt x="948" y="412"/>
                    <a:pt x="952" y="412"/>
                  </a:cubicBezTo>
                  <a:cubicBezTo>
                    <a:pt x="952" y="411"/>
                    <a:pt x="953" y="411"/>
                    <a:pt x="953" y="411"/>
                  </a:cubicBezTo>
                  <a:cubicBezTo>
                    <a:pt x="954" y="411"/>
                    <a:pt x="954" y="411"/>
                    <a:pt x="955" y="411"/>
                  </a:cubicBezTo>
                  <a:cubicBezTo>
                    <a:pt x="955" y="411"/>
                    <a:pt x="956" y="411"/>
                    <a:pt x="957" y="411"/>
                  </a:cubicBezTo>
                  <a:cubicBezTo>
                    <a:pt x="957" y="411"/>
                    <a:pt x="957" y="411"/>
                    <a:pt x="958" y="411"/>
                  </a:cubicBezTo>
                  <a:cubicBezTo>
                    <a:pt x="959" y="411"/>
                    <a:pt x="959" y="410"/>
                    <a:pt x="960" y="410"/>
                  </a:cubicBezTo>
                  <a:cubicBezTo>
                    <a:pt x="961" y="410"/>
                    <a:pt x="961" y="410"/>
                    <a:pt x="961" y="410"/>
                  </a:cubicBezTo>
                  <a:cubicBezTo>
                    <a:pt x="962" y="410"/>
                    <a:pt x="962" y="410"/>
                    <a:pt x="963" y="410"/>
                  </a:cubicBezTo>
                  <a:cubicBezTo>
                    <a:pt x="963" y="410"/>
                    <a:pt x="964" y="411"/>
                    <a:pt x="964" y="411"/>
                  </a:cubicBezTo>
                  <a:cubicBezTo>
                    <a:pt x="965" y="411"/>
                    <a:pt x="965" y="411"/>
                    <a:pt x="966" y="411"/>
                  </a:cubicBezTo>
                  <a:cubicBezTo>
                    <a:pt x="975" y="414"/>
                    <a:pt x="990" y="419"/>
                    <a:pt x="999" y="419"/>
                  </a:cubicBezTo>
                  <a:cubicBezTo>
                    <a:pt x="1008" y="419"/>
                    <a:pt x="1021" y="425"/>
                    <a:pt x="1022" y="412"/>
                  </a:cubicBezTo>
                  <a:cubicBezTo>
                    <a:pt x="1023" y="399"/>
                    <a:pt x="1030" y="395"/>
                    <a:pt x="1047" y="395"/>
                  </a:cubicBezTo>
                  <a:cubicBezTo>
                    <a:pt x="1064" y="395"/>
                    <a:pt x="1070" y="390"/>
                    <a:pt x="1075" y="385"/>
                  </a:cubicBezTo>
                  <a:cubicBezTo>
                    <a:pt x="1080" y="380"/>
                    <a:pt x="1098" y="376"/>
                    <a:pt x="1069" y="365"/>
                  </a:cubicBezTo>
                  <a:cubicBezTo>
                    <a:pt x="1040" y="354"/>
                    <a:pt x="1041" y="363"/>
                    <a:pt x="1031" y="348"/>
                  </a:cubicBezTo>
                  <a:cubicBezTo>
                    <a:pt x="1021" y="333"/>
                    <a:pt x="1003" y="309"/>
                    <a:pt x="997" y="325"/>
                  </a:cubicBezTo>
                  <a:cubicBezTo>
                    <a:pt x="991" y="341"/>
                    <a:pt x="980" y="357"/>
                    <a:pt x="960" y="347"/>
                  </a:cubicBezTo>
                  <a:cubicBezTo>
                    <a:pt x="940" y="337"/>
                    <a:pt x="942" y="325"/>
                    <a:pt x="926" y="325"/>
                  </a:cubicBezTo>
                  <a:cubicBezTo>
                    <a:pt x="910" y="325"/>
                    <a:pt x="905" y="313"/>
                    <a:pt x="917" y="306"/>
                  </a:cubicBezTo>
                  <a:cubicBezTo>
                    <a:pt x="929" y="299"/>
                    <a:pt x="949" y="290"/>
                    <a:pt x="957" y="281"/>
                  </a:cubicBezTo>
                  <a:cubicBezTo>
                    <a:pt x="964" y="273"/>
                    <a:pt x="969" y="260"/>
                    <a:pt x="958" y="245"/>
                  </a:cubicBezTo>
                  <a:cubicBezTo>
                    <a:pt x="958" y="245"/>
                    <a:pt x="958" y="246"/>
                    <a:pt x="958" y="246"/>
                  </a:cubicBezTo>
                  <a:cubicBezTo>
                    <a:pt x="950" y="264"/>
                    <a:pt x="945" y="271"/>
                    <a:pt x="932" y="271"/>
                  </a:cubicBezTo>
                  <a:cubicBezTo>
                    <a:pt x="919" y="271"/>
                    <a:pt x="912" y="282"/>
                    <a:pt x="901" y="293"/>
                  </a:cubicBezTo>
                  <a:cubicBezTo>
                    <a:pt x="890" y="304"/>
                    <a:pt x="883" y="302"/>
                    <a:pt x="872" y="308"/>
                  </a:cubicBezTo>
                  <a:cubicBezTo>
                    <a:pt x="861" y="314"/>
                    <a:pt x="859" y="319"/>
                    <a:pt x="840" y="327"/>
                  </a:cubicBezTo>
                  <a:cubicBezTo>
                    <a:pt x="821" y="335"/>
                    <a:pt x="819" y="355"/>
                    <a:pt x="806" y="361"/>
                  </a:cubicBezTo>
                  <a:cubicBezTo>
                    <a:pt x="793" y="367"/>
                    <a:pt x="804" y="374"/>
                    <a:pt x="805" y="387"/>
                  </a:cubicBezTo>
                  <a:cubicBezTo>
                    <a:pt x="806" y="400"/>
                    <a:pt x="790" y="387"/>
                    <a:pt x="779" y="384"/>
                  </a:cubicBezTo>
                  <a:cubicBezTo>
                    <a:pt x="768" y="381"/>
                    <a:pt x="774" y="373"/>
                    <a:pt x="769" y="354"/>
                  </a:cubicBezTo>
                  <a:cubicBezTo>
                    <a:pt x="764" y="335"/>
                    <a:pt x="727" y="349"/>
                    <a:pt x="708" y="349"/>
                  </a:cubicBezTo>
                  <a:cubicBezTo>
                    <a:pt x="689" y="349"/>
                    <a:pt x="688" y="343"/>
                    <a:pt x="685" y="328"/>
                  </a:cubicBezTo>
                  <a:cubicBezTo>
                    <a:pt x="682" y="313"/>
                    <a:pt x="677" y="295"/>
                    <a:pt x="666" y="281"/>
                  </a:cubicBezTo>
                  <a:cubicBezTo>
                    <a:pt x="655" y="267"/>
                    <a:pt x="646" y="258"/>
                    <a:pt x="647" y="242"/>
                  </a:cubicBezTo>
                  <a:cubicBezTo>
                    <a:pt x="648" y="226"/>
                    <a:pt x="653" y="212"/>
                    <a:pt x="637" y="211"/>
                  </a:cubicBezTo>
                  <a:cubicBezTo>
                    <a:pt x="621" y="210"/>
                    <a:pt x="619" y="198"/>
                    <a:pt x="598" y="168"/>
                  </a:cubicBezTo>
                  <a:cubicBezTo>
                    <a:pt x="577" y="138"/>
                    <a:pt x="561" y="150"/>
                    <a:pt x="548" y="160"/>
                  </a:cubicBezTo>
                  <a:cubicBezTo>
                    <a:pt x="535" y="170"/>
                    <a:pt x="500" y="161"/>
                    <a:pt x="471" y="156"/>
                  </a:cubicBezTo>
                  <a:cubicBezTo>
                    <a:pt x="442" y="151"/>
                    <a:pt x="425" y="163"/>
                    <a:pt x="402" y="166"/>
                  </a:cubicBezTo>
                  <a:cubicBezTo>
                    <a:pt x="379" y="169"/>
                    <a:pt x="378" y="159"/>
                    <a:pt x="367" y="143"/>
                  </a:cubicBezTo>
                  <a:cubicBezTo>
                    <a:pt x="356" y="127"/>
                    <a:pt x="327" y="109"/>
                    <a:pt x="312" y="90"/>
                  </a:cubicBezTo>
                  <a:cubicBezTo>
                    <a:pt x="309" y="86"/>
                    <a:pt x="305" y="83"/>
                    <a:pt x="300" y="79"/>
                  </a:cubicBezTo>
                  <a:cubicBezTo>
                    <a:pt x="292" y="86"/>
                    <a:pt x="285" y="99"/>
                    <a:pt x="283" y="107"/>
                  </a:cubicBezTo>
                  <a:cubicBezTo>
                    <a:pt x="280" y="117"/>
                    <a:pt x="265" y="113"/>
                    <a:pt x="255" y="122"/>
                  </a:cubicBezTo>
                  <a:cubicBezTo>
                    <a:pt x="245" y="132"/>
                    <a:pt x="220" y="127"/>
                    <a:pt x="197" y="125"/>
                  </a:cubicBezTo>
                  <a:cubicBezTo>
                    <a:pt x="174" y="123"/>
                    <a:pt x="165" y="111"/>
                    <a:pt x="155" y="104"/>
                  </a:cubicBezTo>
                  <a:cubicBezTo>
                    <a:pt x="145" y="97"/>
                    <a:pt x="151" y="77"/>
                    <a:pt x="151" y="55"/>
                  </a:cubicBezTo>
                  <a:cubicBezTo>
                    <a:pt x="151" y="32"/>
                    <a:pt x="157" y="35"/>
                    <a:pt x="162" y="29"/>
                  </a:cubicBezTo>
                  <a:cubicBezTo>
                    <a:pt x="166" y="25"/>
                    <a:pt x="169" y="15"/>
                    <a:pt x="171" y="6"/>
                  </a:cubicBezTo>
                  <a:cubicBezTo>
                    <a:pt x="153" y="0"/>
                    <a:pt x="117" y="15"/>
                    <a:pt x="99" y="19"/>
                  </a:cubicBezTo>
                  <a:cubicBezTo>
                    <a:pt x="79" y="23"/>
                    <a:pt x="67" y="30"/>
                    <a:pt x="50" y="37"/>
                  </a:cubicBezTo>
                  <a:cubicBezTo>
                    <a:pt x="33" y="44"/>
                    <a:pt x="0" y="50"/>
                    <a:pt x="0" y="50"/>
                  </a:cubicBezTo>
                  <a:cubicBezTo>
                    <a:pt x="1" y="335"/>
                    <a:pt x="1" y="335"/>
                    <a:pt x="1" y="335"/>
                  </a:cubicBezTo>
                  <a:cubicBezTo>
                    <a:pt x="1" y="335"/>
                    <a:pt x="1" y="335"/>
                    <a:pt x="1" y="335"/>
                  </a:cubicBezTo>
                  <a:cubicBezTo>
                    <a:pt x="2" y="335"/>
                    <a:pt x="3" y="335"/>
                    <a:pt x="4" y="334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233" name="Freeform 25318"/>
            <p:cNvSpPr>
              <a:spLocks/>
            </p:cNvSpPr>
            <p:nvPr/>
          </p:nvSpPr>
          <p:spPr bwMode="auto">
            <a:xfrm>
              <a:off x="5882338" y="2797038"/>
              <a:ext cx="184508" cy="120901"/>
            </a:xfrm>
            <a:custGeom>
              <a:avLst/>
              <a:gdLst>
                <a:gd name="T0" fmla="*/ 375 w 495"/>
                <a:gd name="T1" fmla="*/ 128 h 324"/>
                <a:gd name="T2" fmla="*/ 318 w 495"/>
                <a:gd name="T3" fmla="*/ 127 h 324"/>
                <a:gd name="T4" fmla="*/ 245 w 495"/>
                <a:gd name="T5" fmla="*/ 116 h 324"/>
                <a:gd name="T6" fmla="*/ 186 w 495"/>
                <a:gd name="T7" fmla="*/ 108 h 324"/>
                <a:gd name="T8" fmla="*/ 139 w 495"/>
                <a:gd name="T9" fmla="*/ 79 h 324"/>
                <a:gd name="T10" fmla="*/ 208 w 495"/>
                <a:gd name="T11" fmla="*/ 71 h 324"/>
                <a:gd name="T12" fmla="*/ 217 w 495"/>
                <a:gd name="T13" fmla="*/ 57 h 324"/>
                <a:gd name="T14" fmla="*/ 214 w 495"/>
                <a:gd name="T15" fmla="*/ 57 h 324"/>
                <a:gd name="T16" fmla="*/ 211 w 495"/>
                <a:gd name="T17" fmla="*/ 57 h 324"/>
                <a:gd name="T18" fmla="*/ 208 w 495"/>
                <a:gd name="T19" fmla="*/ 56 h 324"/>
                <a:gd name="T20" fmla="*/ 222 w 495"/>
                <a:gd name="T21" fmla="*/ 10 h 324"/>
                <a:gd name="T22" fmla="*/ 181 w 495"/>
                <a:gd name="T23" fmla="*/ 15 h 324"/>
                <a:gd name="T24" fmla="*/ 131 w 495"/>
                <a:gd name="T25" fmla="*/ 34 h 324"/>
                <a:gd name="T26" fmla="*/ 92 w 495"/>
                <a:gd name="T27" fmla="*/ 67 h 324"/>
                <a:gd name="T28" fmla="*/ 81 w 495"/>
                <a:gd name="T29" fmla="*/ 112 h 324"/>
                <a:gd name="T30" fmla="*/ 21 w 495"/>
                <a:gd name="T31" fmla="*/ 109 h 324"/>
                <a:gd name="T32" fmla="*/ 16 w 495"/>
                <a:gd name="T33" fmla="*/ 143 h 324"/>
                <a:gd name="T34" fmla="*/ 50 w 495"/>
                <a:gd name="T35" fmla="*/ 179 h 324"/>
                <a:gd name="T36" fmla="*/ 71 w 495"/>
                <a:gd name="T37" fmla="*/ 217 h 324"/>
                <a:gd name="T38" fmla="*/ 38 w 495"/>
                <a:gd name="T39" fmla="*/ 262 h 324"/>
                <a:gd name="T40" fmla="*/ 32 w 495"/>
                <a:gd name="T41" fmla="*/ 284 h 324"/>
                <a:gd name="T42" fmla="*/ 33 w 495"/>
                <a:gd name="T43" fmla="*/ 285 h 324"/>
                <a:gd name="T44" fmla="*/ 34 w 495"/>
                <a:gd name="T45" fmla="*/ 285 h 324"/>
                <a:gd name="T46" fmla="*/ 35 w 495"/>
                <a:gd name="T47" fmla="*/ 286 h 324"/>
                <a:gd name="T48" fmla="*/ 36 w 495"/>
                <a:gd name="T49" fmla="*/ 287 h 324"/>
                <a:gd name="T50" fmla="*/ 37 w 495"/>
                <a:gd name="T51" fmla="*/ 288 h 324"/>
                <a:gd name="T52" fmla="*/ 51 w 495"/>
                <a:gd name="T53" fmla="*/ 305 h 324"/>
                <a:gd name="T54" fmla="*/ 111 w 495"/>
                <a:gd name="T55" fmla="*/ 277 h 324"/>
                <a:gd name="T56" fmla="*/ 139 w 495"/>
                <a:gd name="T57" fmla="*/ 271 h 324"/>
                <a:gd name="T58" fmla="*/ 188 w 495"/>
                <a:gd name="T59" fmla="*/ 249 h 324"/>
                <a:gd name="T60" fmla="*/ 233 w 495"/>
                <a:gd name="T61" fmla="*/ 189 h 324"/>
                <a:gd name="T62" fmla="*/ 265 w 495"/>
                <a:gd name="T63" fmla="*/ 234 h 324"/>
                <a:gd name="T64" fmla="*/ 270 w 495"/>
                <a:gd name="T65" fmla="*/ 277 h 324"/>
                <a:gd name="T66" fmla="*/ 309 w 495"/>
                <a:gd name="T67" fmla="*/ 315 h 324"/>
                <a:gd name="T68" fmla="*/ 382 w 495"/>
                <a:gd name="T69" fmla="*/ 271 h 324"/>
                <a:gd name="T70" fmla="*/ 433 w 495"/>
                <a:gd name="T71" fmla="*/ 277 h 324"/>
                <a:gd name="T72" fmla="*/ 491 w 495"/>
                <a:gd name="T73" fmla="*/ 276 h 324"/>
                <a:gd name="T74" fmla="*/ 494 w 495"/>
                <a:gd name="T75" fmla="*/ 267 h 324"/>
                <a:gd name="T76" fmla="*/ 494 w 495"/>
                <a:gd name="T77" fmla="*/ 263 h 324"/>
                <a:gd name="T78" fmla="*/ 495 w 495"/>
                <a:gd name="T79" fmla="*/ 259 h 324"/>
                <a:gd name="T80" fmla="*/ 494 w 495"/>
                <a:gd name="T81" fmla="*/ 255 h 324"/>
                <a:gd name="T82" fmla="*/ 494 w 495"/>
                <a:gd name="T83" fmla="*/ 251 h 324"/>
                <a:gd name="T84" fmla="*/ 492 w 495"/>
                <a:gd name="T85" fmla="*/ 248 h 324"/>
                <a:gd name="T86" fmla="*/ 485 w 495"/>
                <a:gd name="T87" fmla="*/ 214 h 324"/>
                <a:gd name="T88" fmla="*/ 446 w 495"/>
                <a:gd name="T89" fmla="*/ 177 h 324"/>
                <a:gd name="T90" fmla="*/ 419 w 495"/>
                <a:gd name="T91" fmla="*/ 142 h 324"/>
                <a:gd name="T92" fmla="*/ 419 w 495"/>
                <a:gd name="T93" fmla="*/ 139 h 324"/>
                <a:gd name="T94" fmla="*/ 419 w 495"/>
                <a:gd name="T95" fmla="*/ 116 h 324"/>
                <a:gd name="T96" fmla="*/ 398 w 495"/>
                <a:gd name="T97" fmla="*/ 117 h 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95" h="324">
                  <a:moveTo>
                    <a:pt x="398" y="117"/>
                  </a:moveTo>
                  <a:cubicBezTo>
                    <a:pt x="385" y="117"/>
                    <a:pt x="384" y="125"/>
                    <a:pt x="375" y="128"/>
                  </a:cubicBezTo>
                  <a:cubicBezTo>
                    <a:pt x="366" y="131"/>
                    <a:pt x="361" y="130"/>
                    <a:pt x="351" y="121"/>
                  </a:cubicBezTo>
                  <a:cubicBezTo>
                    <a:pt x="341" y="112"/>
                    <a:pt x="323" y="119"/>
                    <a:pt x="318" y="127"/>
                  </a:cubicBezTo>
                  <a:cubicBezTo>
                    <a:pt x="313" y="135"/>
                    <a:pt x="294" y="126"/>
                    <a:pt x="283" y="114"/>
                  </a:cubicBezTo>
                  <a:cubicBezTo>
                    <a:pt x="272" y="102"/>
                    <a:pt x="251" y="107"/>
                    <a:pt x="245" y="116"/>
                  </a:cubicBezTo>
                  <a:cubicBezTo>
                    <a:pt x="239" y="125"/>
                    <a:pt x="227" y="122"/>
                    <a:pt x="221" y="117"/>
                  </a:cubicBezTo>
                  <a:cubicBezTo>
                    <a:pt x="215" y="112"/>
                    <a:pt x="202" y="112"/>
                    <a:pt x="186" y="108"/>
                  </a:cubicBezTo>
                  <a:cubicBezTo>
                    <a:pt x="170" y="104"/>
                    <a:pt x="170" y="112"/>
                    <a:pt x="146" y="112"/>
                  </a:cubicBezTo>
                  <a:cubicBezTo>
                    <a:pt x="122" y="112"/>
                    <a:pt x="136" y="88"/>
                    <a:pt x="139" y="79"/>
                  </a:cubicBezTo>
                  <a:cubicBezTo>
                    <a:pt x="142" y="70"/>
                    <a:pt x="157" y="60"/>
                    <a:pt x="170" y="60"/>
                  </a:cubicBezTo>
                  <a:cubicBezTo>
                    <a:pt x="183" y="60"/>
                    <a:pt x="191" y="71"/>
                    <a:pt x="208" y="71"/>
                  </a:cubicBezTo>
                  <a:cubicBezTo>
                    <a:pt x="217" y="71"/>
                    <a:pt x="220" y="64"/>
                    <a:pt x="220" y="57"/>
                  </a:cubicBezTo>
                  <a:cubicBezTo>
                    <a:pt x="219" y="57"/>
                    <a:pt x="218" y="57"/>
                    <a:pt x="217" y="57"/>
                  </a:cubicBezTo>
                  <a:cubicBezTo>
                    <a:pt x="217" y="57"/>
                    <a:pt x="217" y="57"/>
                    <a:pt x="217" y="57"/>
                  </a:cubicBezTo>
                  <a:cubicBezTo>
                    <a:pt x="216" y="57"/>
                    <a:pt x="215" y="57"/>
                    <a:pt x="214" y="57"/>
                  </a:cubicBezTo>
                  <a:cubicBezTo>
                    <a:pt x="214" y="57"/>
                    <a:pt x="213" y="57"/>
                    <a:pt x="213" y="57"/>
                  </a:cubicBezTo>
                  <a:cubicBezTo>
                    <a:pt x="212" y="57"/>
                    <a:pt x="212" y="57"/>
                    <a:pt x="211" y="57"/>
                  </a:cubicBezTo>
                  <a:cubicBezTo>
                    <a:pt x="211" y="57"/>
                    <a:pt x="211" y="57"/>
                    <a:pt x="210" y="57"/>
                  </a:cubicBezTo>
                  <a:cubicBezTo>
                    <a:pt x="210" y="57"/>
                    <a:pt x="209" y="56"/>
                    <a:pt x="208" y="56"/>
                  </a:cubicBezTo>
                  <a:cubicBezTo>
                    <a:pt x="198" y="52"/>
                    <a:pt x="209" y="40"/>
                    <a:pt x="216" y="37"/>
                  </a:cubicBezTo>
                  <a:cubicBezTo>
                    <a:pt x="223" y="34"/>
                    <a:pt x="225" y="15"/>
                    <a:pt x="222" y="10"/>
                  </a:cubicBezTo>
                  <a:cubicBezTo>
                    <a:pt x="219" y="5"/>
                    <a:pt x="207" y="0"/>
                    <a:pt x="201" y="1"/>
                  </a:cubicBezTo>
                  <a:cubicBezTo>
                    <a:pt x="195" y="2"/>
                    <a:pt x="190" y="1"/>
                    <a:pt x="181" y="15"/>
                  </a:cubicBezTo>
                  <a:cubicBezTo>
                    <a:pt x="172" y="29"/>
                    <a:pt x="157" y="23"/>
                    <a:pt x="152" y="17"/>
                  </a:cubicBezTo>
                  <a:cubicBezTo>
                    <a:pt x="147" y="11"/>
                    <a:pt x="131" y="19"/>
                    <a:pt x="131" y="34"/>
                  </a:cubicBezTo>
                  <a:cubicBezTo>
                    <a:pt x="131" y="49"/>
                    <a:pt x="121" y="56"/>
                    <a:pt x="107" y="56"/>
                  </a:cubicBezTo>
                  <a:cubicBezTo>
                    <a:pt x="93" y="56"/>
                    <a:pt x="90" y="63"/>
                    <a:pt x="92" y="67"/>
                  </a:cubicBezTo>
                  <a:cubicBezTo>
                    <a:pt x="94" y="71"/>
                    <a:pt x="105" y="80"/>
                    <a:pt x="94" y="86"/>
                  </a:cubicBezTo>
                  <a:cubicBezTo>
                    <a:pt x="83" y="92"/>
                    <a:pt x="95" y="111"/>
                    <a:pt x="81" y="112"/>
                  </a:cubicBezTo>
                  <a:cubicBezTo>
                    <a:pt x="67" y="113"/>
                    <a:pt x="54" y="116"/>
                    <a:pt x="45" y="105"/>
                  </a:cubicBezTo>
                  <a:cubicBezTo>
                    <a:pt x="36" y="94"/>
                    <a:pt x="27" y="107"/>
                    <a:pt x="21" y="109"/>
                  </a:cubicBezTo>
                  <a:cubicBezTo>
                    <a:pt x="15" y="111"/>
                    <a:pt x="4" y="112"/>
                    <a:pt x="2" y="120"/>
                  </a:cubicBezTo>
                  <a:cubicBezTo>
                    <a:pt x="0" y="128"/>
                    <a:pt x="8" y="131"/>
                    <a:pt x="16" y="143"/>
                  </a:cubicBezTo>
                  <a:cubicBezTo>
                    <a:pt x="24" y="155"/>
                    <a:pt x="32" y="152"/>
                    <a:pt x="49" y="151"/>
                  </a:cubicBezTo>
                  <a:cubicBezTo>
                    <a:pt x="66" y="150"/>
                    <a:pt x="51" y="168"/>
                    <a:pt x="50" y="179"/>
                  </a:cubicBezTo>
                  <a:cubicBezTo>
                    <a:pt x="49" y="190"/>
                    <a:pt x="53" y="194"/>
                    <a:pt x="59" y="198"/>
                  </a:cubicBezTo>
                  <a:cubicBezTo>
                    <a:pt x="65" y="202"/>
                    <a:pt x="70" y="205"/>
                    <a:pt x="71" y="217"/>
                  </a:cubicBezTo>
                  <a:cubicBezTo>
                    <a:pt x="72" y="229"/>
                    <a:pt x="70" y="235"/>
                    <a:pt x="58" y="237"/>
                  </a:cubicBezTo>
                  <a:cubicBezTo>
                    <a:pt x="46" y="239"/>
                    <a:pt x="50" y="255"/>
                    <a:pt x="38" y="262"/>
                  </a:cubicBezTo>
                  <a:cubicBezTo>
                    <a:pt x="30" y="267"/>
                    <a:pt x="29" y="277"/>
                    <a:pt x="29" y="284"/>
                  </a:cubicBezTo>
                  <a:cubicBezTo>
                    <a:pt x="30" y="284"/>
                    <a:pt x="31" y="284"/>
                    <a:pt x="32" y="284"/>
                  </a:cubicBezTo>
                  <a:cubicBezTo>
                    <a:pt x="32" y="284"/>
                    <a:pt x="32" y="284"/>
                    <a:pt x="32" y="285"/>
                  </a:cubicBezTo>
                  <a:cubicBezTo>
                    <a:pt x="33" y="285"/>
                    <a:pt x="33" y="285"/>
                    <a:pt x="33" y="285"/>
                  </a:cubicBezTo>
                  <a:cubicBezTo>
                    <a:pt x="33" y="285"/>
                    <a:pt x="33" y="285"/>
                    <a:pt x="34" y="285"/>
                  </a:cubicBezTo>
                  <a:cubicBezTo>
                    <a:pt x="34" y="285"/>
                    <a:pt x="34" y="285"/>
                    <a:pt x="34" y="285"/>
                  </a:cubicBezTo>
                  <a:cubicBezTo>
                    <a:pt x="34" y="285"/>
                    <a:pt x="35" y="285"/>
                    <a:pt x="35" y="285"/>
                  </a:cubicBezTo>
                  <a:cubicBezTo>
                    <a:pt x="35" y="285"/>
                    <a:pt x="35" y="286"/>
                    <a:pt x="35" y="286"/>
                  </a:cubicBezTo>
                  <a:cubicBezTo>
                    <a:pt x="35" y="286"/>
                    <a:pt x="36" y="286"/>
                    <a:pt x="36" y="286"/>
                  </a:cubicBezTo>
                  <a:cubicBezTo>
                    <a:pt x="36" y="286"/>
                    <a:pt x="36" y="286"/>
                    <a:pt x="36" y="287"/>
                  </a:cubicBezTo>
                  <a:cubicBezTo>
                    <a:pt x="36" y="287"/>
                    <a:pt x="36" y="287"/>
                    <a:pt x="37" y="287"/>
                  </a:cubicBezTo>
                  <a:cubicBezTo>
                    <a:pt x="37" y="287"/>
                    <a:pt x="37" y="288"/>
                    <a:pt x="37" y="288"/>
                  </a:cubicBezTo>
                  <a:cubicBezTo>
                    <a:pt x="37" y="288"/>
                    <a:pt x="37" y="289"/>
                    <a:pt x="37" y="289"/>
                  </a:cubicBezTo>
                  <a:cubicBezTo>
                    <a:pt x="39" y="299"/>
                    <a:pt x="38" y="306"/>
                    <a:pt x="51" y="305"/>
                  </a:cubicBezTo>
                  <a:cubicBezTo>
                    <a:pt x="63" y="303"/>
                    <a:pt x="62" y="287"/>
                    <a:pt x="81" y="287"/>
                  </a:cubicBezTo>
                  <a:cubicBezTo>
                    <a:pt x="101" y="287"/>
                    <a:pt x="97" y="269"/>
                    <a:pt x="111" y="277"/>
                  </a:cubicBezTo>
                  <a:cubicBezTo>
                    <a:pt x="124" y="286"/>
                    <a:pt x="127" y="293"/>
                    <a:pt x="135" y="293"/>
                  </a:cubicBezTo>
                  <a:cubicBezTo>
                    <a:pt x="142" y="293"/>
                    <a:pt x="139" y="282"/>
                    <a:pt x="139" y="271"/>
                  </a:cubicBezTo>
                  <a:cubicBezTo>
                    <a:pt x="138" y="261"/>
                    <a:pt x="143" y="254"/>
                    <a:pt x="158" y="257"/>
                  </a:cubicBezTo>
                  <a:cubicBezTo>
                    <a:pt x="173" y="259"/>
                    <a:pt x="187" y="269"/>
                    <a:pt x="188" y="249"/>
                  </a:cubicBezTo>
                  <a:cubicBezTo>
                    <a:pt x="189" y="229"/>
                    <a:pt x="193" y="224"/>
                    <a:pt x="204" y="218"/>
                  </a:cubicBezTo>
                  <a:cubicBezTo>
                    <a:pt x="215" y="212"/>
                    <a:pt x="223" y="189"/>
                    <a:pt x="233" y="189"/>
                  </a:cubicBezTo>
                  <a:cubicBezTo>
                    <a:pt x="243" y="189"/>
                    <a:pt x="254" y="195"/>
                    <a:pt x="256" y="209"/>
                  </a:cubicBezTo>
                  <a:cubicBezTo>
                    <a:pt x="258" y="223"/>
                    <a:pt x="251" y="228"/>
                    <a:pt x="265" y="234"/>
                  </a:cubicBezTo>
                  <a:cubicBezTo>
                    <a:pt x="278" y="240"/>
                    <a:pt x="275" y="247"/>
                    <a:pt x="272" y="253"/>
                  </a:cubicBezTo>
                  <a:cubicBezTo>
                    <a:pt x="269" y="260"/>
                    <a:pt x="269" y="271"/>
                    <a:pt x="270" y="277"/>
                  </a:cubicBezTo>
                  <a:cubicBezTo>
                    <a:pt x="271" y="284"/>
                    <a:pt x="257" y="304"/>
                    <a:pt x="269" y="314"/>
                  </a:cubicBezTo>
                  <a:cubicBezTo>
                    <a:pt x="281" y="324"/>
                    <a:pt x="300" y="323"/>
                    <a:pt x="309" y="315"/>
                  </a:cubicBezTo>
                  <a:cubicBezTo>
                    <a:pt x="317" y="307"/>
                    <a:pt x="332" y="307"/>
                    <a:pt x="340" y="299"/>
                  </a:cubicBezTo>
                  <a:cubicBezTo>
                    <a:pt x="348" y="291"/>
                    <a:pt x="367" y="273"/>
                    <a:pt x="382" y="271"/>
                  </a:cubicBezTo>
                  <a:cubicBezTo>
                    <a:pt x="397" y="269"/>
                    <a:pt x="408" y="270"/>
                    <a:pt x="412" y="275"/>
                  </a:cubicBezTo>
                  <a:cubicBezTo>
                    <a:pt x="416" y="279"/>
                    <a:pt x="427" y="281"/>
                    <a:pt x="433" y="277"/>
                  </a:cubicBezTo>
                  <a:cubicBezTo>
                    <a:pt x="439" y="273"/>
                    <a:pt x="447" y="267"/>
                    <a:pt x="457" y="269"/>
                  </a:cubicBezTo>
                  <a:cubicBezTo>
                    <a:pt x="465" y="271"/>
                    <a:pt x="480" y="271"/>
                    <a:pt x="491" y="276"/>
                  </a:cubicBezTo>
                  <a:cubicBezTo>
                    <a:pt x="491" y="276"/>
                    <a:pt x="491" y="275"/>
                    <a:pt x="491" y="275"/>
                  </a:cubicBezTo>
                  <a:cubicBezTo>
                    <a:pt x="492" y="273"/>
                    <a:pt x="493" y="270"/>
                    <a:pt x="494" y="267"/>
                  </a:cubicBezTo>
                  <a:cubicBezTo>
                    <a:pt x="494" y="267"/>
                    <a:pt x="494" y="267"/>
                    <a:pt x="494" y="267"/>
                  </a:cubicBezTo>
                  <a:cubicBezTo>
                    <a:pt x="494" y="266"/>
                    <a:pt x="494" y="264"/>
                    <a:pt x="494" y="263"/>
                  </a:cubicBezTo>
                  <a:cubicBezTo>
                    <a:pt x="494" y="263"/>
                    <a:pt x="494" y="263"/>
                    <a:pt x="494" y="263"/>
                  </a:cubicBezTo>
                  <a:cubicBezTo>
                    <a:pt x="494" y="262"/>
                    <a:pt x="495" y="260"/>
                    <a:pt x="495" y="259"/>
                  </a:cubicBezTo>
                  <a:cubicBezTo>
                    <a:pt x="495" y="259"/>
                    <a:pt x="495" y="259"/>
                    <a:pt x="495" y="259"/>
                  </a:cubicBezTo>
                  <a:cubicBezTo>
                    <a:pt x="494" y="257"/>
                    <a:pt x="494" y="256"/>
                    <a:pt x="494" y="255"/>
                  </a:cubicBezTo>
                  <a:cubicBezTo>
                    <a:pt x="494" y="255"/>
                    <a:pt x="494" y="255"/>
                    <a:pt x="494" y="254"/>
                  </a:cubicBezTo>
                  <a:cubicBezTo>
                    <a:pt x="494" y="253"/>
                    <a:pt x="494" y="252"/>
                    <a:pt x="494" y="251"/>
                  </a:cubicBezTo>
                  <a:cubicBezTo>
                    <a:pt x="493" y="251"/>
                    <a:pt x="493" y="250"/>
                    <a:pt x="493" y="250"/>
                  </a:cubicBezTo>
                  <a:cubicBezTo>
                    <a:pt x="493" y="249"/>
                    <a:pt x="493" y="248"/>
                    <a:pt x="492" y="248"/>
                  </a:cubicBezTo>
                  <a:cubicBezTo>
                    <a:pt x="492" y="246"/>
                    <a:pt x="491" y="245"/>
                    <a:pt x="491" y="244"/>
                  </a:cubicBezTo>
                  <a:cubicBezTo>
                    <a:pt x="485" y="234"/>
                    <a:pt x="485" y="223"/>
                    <a:pt x="485" y="214"/>
                  </a:cubicBezTo>
                  <a:cubicBezTo>
                    <a:pt x="485" y="205"/>
                    <a:pt x="480" y="185"/>
                    <a:pt x="474" y="183"/>
                  </a:cubicBezTo>
                  <a:cubicBezTo>
                    <a:pt x="468" y="181"/>
                    <a:pt x="451" y="172"/>
                    <a:pt x="446" y="177"/>
                  </a:cubicBezTo>
                  <a:cubicBezTo>
                    <a:pt x="441" y="183"/>
                    <a:pt x="429" y="187"/>
                    <a:pt x="427" y="177"/>
                  </a:cubicBezTo>
                  <a:cubicBezTo>
                    <a:pt x="424" y="166"/>
                    <a:pt x="419" y="157"/>
                    <a:pt x="419" y="142"/>
                  </a:cubicBezTo>
                  <a:cubicBezTo>
                    <a:pt x="419" y="141"/>
                    <a:pt x="419" y="141"/>
                    <a:pt x="419" y="140"/>
                  </a:cubicBezTo>
                  <a:cubicBezTo>
                    <a:pt x="419" y="140"/>
                    <a:pt x="419" y="139"/>
                    <a:pt x="419" y="139"/>
                  </a:cubicBezTo>
                  <a:cubicBezTo>
                    <a:pt x="419" y="139"/>
                    <a:pt x="419" y="138"/>
                    <a:pt x="419" y="138"/>
                  </a:cubicBezTo>
                  <a:cubicBezTo>
                    <a:pt x="419" y="132"/>
                    <a:pt x="419" y="125"/>
                    <a:pt x="419" y="116"/>
                  </a:cubicBezTo>
                  <a:cubicBezTo>
                    <a:pt x="419" y="116"/>
                    <a:pt x="419" y="116"/>
                    <a:pt x="419" y="116"/>
                  </a:cubicBezTo>
                  <a:cubicBezTo>
                    <a:pt x="411" y="116"/>
                    <a:pt x="406" y="117"/>
                    <a:pt x="398" y="117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234" name="Freeform 25319"/>
            <p:cNvSpPr>
              <a:spLocks/>
            </p:cNvSpPr>
            <p:nvPr/>
          </p:nvSpPr>
          <p:spPr bwMode="auto">
            <a:xfrm>
              <a:off x="5927794" y="2728380"/>
              <a:ext cx="261847" cy="119007"/>
            </a:xfrm>
            <a:custGeom>
              <a:avLst/>
              <a:gdLst>
                <a:gd name="T0" fmla="*/ 648 w 702"/>
                <a:gd name="T1" fmla="*/ 60 h 319"/>
                <a:gd name="T2" fmla="*/ 568 w 702"/>
                <a:gd name="T3" fmla="*/ 38 h 319"/>
                <a:gd name="T4" fmla="*/ 463 w 702"/>
                <a:gd name="T5" fmla="*/ 36 h 319"/>
                <a:gd name="T6" fmla="*/ 363 w 702"/>
                <a:gd name="T7" fmla="*/ 35 h 319"/>
                <a:gd name="T8" fmla="*/ 290 w 702"/>
                <a:gd name="T9" fmla="*/ 23 h 319"/>
                <a:gd name="T10" fmla="*/ 255 w 702"/>
                <a:gd name="T11" fmla="*/ 64 h 319"/>
                <a:gd name="T12" fmla="*/ 162 w 702"/>
                <a:gd name="T13" fmla="*/ 45 h 319"/>
                <a:gd name="T14" fmla="*/ 158 w 702"/>
                <a:gd name="T15" fmla="*/ 45 h 319"/>
                <a:gd name="T16" fmla="*/ 154 w 702"/>
                <a:gd name="T17" fmla="*/ 46 h 319"/>
                <a:gd name="T18" fmla="*/ 150 w 702"/>
                <a:gd name="T19" fmla="*/ 47 h 319"/>
                <a:gd name="T20" fmla="*/ 147 w 702"/>
                <a:gd name="T21" fmla="*/ 48 h 319"/>
                <a:gd name="T22" fmla="*/ 143 w 702"/>
                <a:gd name="T23" fmla="*/ 49 h 319"/>
                <a:gd name="T24" fmla="*/ 116 w 702"/>
                <a:gd name="T25" fmla="*/ 72 h 319"/>
                <a:gd name="T26" fmla="*/ 75 w 702"/>
                <a:gd name="T27" fmla="*/ 133 h 319"/>
                <a:gd name="T28" fmla="*/ 118 w 702"/>
                <a:gd name="T29" fmla="*/ 174 h 319"/>
                <a:gd name="T30" fmla="*/ 189 w 702"/>
                <a:gd name="T31" fmla="*/ 175 h 319"/>
                <a:gd name="T32" fmla="*/ 233 w 702"/>
                <a:gd name="T33" fmla="*/ 212 h 319"/>
                <a:gd name="T34" fmla="*/ 180 w 702"/>
                <a:gd name="T35" fmla="*/ 239 h 319"/>
                <a:gd name="T36" fmla="*/ 124 w 702"/>
                <a:gd name="T37" fmla="*/ 238 h 319"/>
                <a:gd name="T38" fmla="*/ 121 w 702"/>
                <a:gd name="T39" fmla="*/ 237 h 319"/>
                <a:gd name="T40" fmla="*/ 118 w 702"/>
                <a:gd name="T41" fmla="*/ 237 h 319"/>
                <a:gd name="T42" fmla="*/ 115 w 702"/>
                <a:gd name="T43" fmla="*/ 238 h 319"/>
                <a:gd name="T44" fmla="*/ 111 w 702"/>
                <a:gd name="T45" fmla="*/ 238 h 319"/>
                <a:gd name="T46" fmla="*/ 98 w 702"/>
                <a:gd name="T47" fmla="*/ 241 h 319"/>
                <a:gd name="T48" fmla="*/ 48 w 702"/>
                <a:gd name="T49" fmla="*/ 244 h 319"/>
                <a:gd name="T50" fmla="*/ 24 w 702"/>
                <a:gd name="T51" fmla="*/ 296 h 319"/>
                <a:gd name="T52" fmla="*/ 99 w 702"/>
                <a:gd name="T53" fmla="*/ 301 h 319"/>
                <a:gd name="T54" fmla="*/ 161 w 702"/>
                <a:gd name="T55" fmla="*/ 298 h 319"/>
                <a:gd name="T56" fmla="*/ 229 w 702"/>
                <a:gd name="T57" fmla="*/ 305 h 319"/>
                <a:gd name="T58" fmla="*/ 276 w 702"/>
                <a:gd name="T59" fmla="*/ 301 h 319"/>
                <a:gd name="T60" fmla="*/ 297 w 702"/>
                <a:gd name="T61" fmla="*/ 300 h 319"/>
                <a:gd name="T62" fmla="*/ 297 w 702"/>
                <a:gd name="T63" fmla="*/ 297 h 319"/>
                <a:gd name="T64" fmla="*/ 298 w 702"/>
                <a:gd name="T65" fmla="*/ 289 h 319"/>
                <a:gd name="T66" fmla="*/ 298 w 702"/>
                <a:gd name="T67" fmla="*/ 286 h 319"/>
                <a:gd name="T68" fmla="*/ 299 w 702"/>
                <a:gd name="T69" fmla="*/ 282 h 319"/>
                <a:gd name="T70" fmla="*/ 300 w 702"/>
                <a:gd name="T71" fmla="*/ 279 h 319"/>
                <a:gd name="T72" fmla="*/ 300 w 702"/>
                <a:gd name="T73" fmla="*/ 275 h 319"/>
                <a:gd name="T74" fmla="*/ 301 w 702"/>
                <a:gd name="T75" fmla="*/ 273 h 319"/>
                <a:gd name="T76" fmla="*/ 303 w 702"/>
                <a:gd name="T77" fmla="*/ 267 h 319"/>
                <a:gd name="T78" fmla="*/ 305 w 702"/>
                <a:gd name="T79" fmla="*/ 265 h 319"/>
                <a:gd name="T80" fmla="*/ 306 w 702"/>
                <a:gd name="T81" fmla="*/ 263 h 319"/>
                <a:gd name="T82" fmla="*/ 308 w 702"/>
                <a:gd name="T83" fmla="*/ 261 h 319"/>
                <a:gd name="T84" fmla="*/ 310 w 702"/>
                <a:gd name="T85" fmla="*/ 259 h 319"/>
                <a:gd name="T86" fmla="*/ 312 w 702"/>
                <a:gd name="T87" fmla="*/ 259 h 319"/>
                <a:gd name="T88" fmla="*/ 351 w 702"/>
                <a:gd name="T89" fmla="*/ 241 h 319"/>
                <a:gd name="T90" fmla="*/ 392 w 702"/>
                <a:gd name="T91" fmla="*/ 222 h 319"/>
                <a:gd name="T92" fmla="*/ 423 w 702"/>
                <a:gd name="T93" fmla="*/ 237 h 319"/>
                <a:gd name="T94" fmla="*/ 477 w 702"/>
                <a:gd name="T95" fmla="*/ 207 h 319"/>
                <a:gd name="T96" fmla="*/ 583 w 702"/>
                <a:gd name="T97" fmla="*/ 169 h 319"/>
                <a:gd name="T98" fmla="*/ 679 w 702"/>
                <a:gd name="T99" fmla="*/ 113 h 319"/>
                <a:gd name="T100" fmla="*/ 702 w 702"/>
                <a:gd name="T101" fmla="*/ 101 h 319"/>
                <a:gd name="T102" fmla="*/ 702 w 702"/>
                <a:gd name="T103" fmla="*/ 98 h 319"/>
                <a:gd name="T104" fmla="*/ 702 w 702"/>
                <a:gd name="T105" fmla="*/ 95 h 319"/>
                <a:gd name="T106" fmla="*/ 702 w 702"/>
                <a:gd name="T107" fmla="*/ 92 h 319"/>
                <a:gd name="T108" fmla="*/ 702 w 702"/>
                <a:gd name="T109" fmla="*/ 89 h 319"/>
                <a:gd name="T110" fmla="*/ 701 w 702"/>
                <a:gd name="T111" fmla="*/ 81 h 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02" h="319">
                  <a:moveTo>
                    <a:pt x="673" y="76"/>
                  </a:moveTo>
                  <a:cubicBezTo>
                    <a:pt x="663" y="74"/>
                    <a:pt x="655" y="70"/>
                    <a:pt x="648" y="60"/>
                  </a:cubicBezTo>
                  <a:cubicBezTo>
                    <a:pt x="641" y="50"/>
                    <a:pt x="637" y="52"/>
                    <a:pt x="623" y="48"/>
                  </a:cubicBezTo>
                  <a:cubicBezTo>
                    <a:pt x="609" y="44"/>
                    <a:pt x="594" y="40"/>
                    <a:pt x="568" y="38"/>
                  </a:cubicBezTo>
                  <a:cubicBezTo>
                    <a:pt x="542" y="36"/>
                    <a:pt x="532" y="36"/>
                    <a:pt x="516" y="32"/>
                  </a:cubicBezTo>
                  <a:cubicBezTo>
                    <a:pt x="500" y="28"/>
                    <a:pt x="481" y="38"/>
                    <a:pt x="463" y="36"/>
                  </a:cubicBezTo>
                  <a:cubicBezTo>
                    <a:pt x="445" y="34"/>
                    <a:pt x="436" y="35"/>
                    <a:pt x="414" y="44"/>
                  </a:cubicBezTo>
                  <a:cubicBezTo>
                    <a:pt x="392" y="53"/>
                    <a:pt x="382" y="35"/>
                    <a:pt x="363" y="35"/>
                  </a:cubicBezTo>
                  <a:cubicBezTo>
                    <a:pt x="344" y="35"/>
                    <a:pt x="342" y="20"/>
                    <a:pt x="324" y="10"/>
                  </a:cubicBezTo>
                  <a:cubicBezTo>
                    <a:pt x="306" y="0"/>
                    <a:pt x="299" y="19"/>
                    <a:pt x="290" y="23"/>
                  </a:cubicBezTo>
                  <a:cubicBezTo>
                    <a:pt x="281" y="27"/>
                    <a:pt x="279" y="39"/>
                    <a:pt x="279" y="53"/>
                  </a:cubicBezTo>
                  <a:cubicBezTo>
                    <a:pt x="279" y="67"/>
                    <a:pt x="267" y="66"/>
                    <a:pt x="255" y="64"/>
                  </a:cubicBezTo>
                  <a:cubicBezTo>
                    <a:pt x="243" y="62"/>
                    <a:pt x="226" y="62"/>
                    <a:pt x="214" y="54"/>
                  </a:cubicBezTo>
                  <a:cubicBezTo>
                    <a:pt x="202" y="46"/>
                    <a:pt x="178" y="45"/>
                    <a:pt x="162" y="45"/>
                  </a:cubicBezTo>
                  <a:cubicBezTo>
                    <a:pt x="161" y="45"/>
                    <a:pt x="160" y="45"/>
                    <a:pt x="159" y="45"/>
                  </a:cubicBezTo>
                  <a:cubicBezTo>
                    <a:pt x="159" y="45"/>
                    <a:pt x="158" y="45"/>
                    <a:pt x="158" y="45"/>
                  </a:cubicBezTo>
                  <a:cubicBezTo>
                    <a:pt x="157" y="45"/>
                    <a:pt x="156" y="45"/>
                    <a:pt x="156" y="45"/>
                  </a:cubicBezTo>
                  <a:cubicBezTo>
                    <a:pt x="155" y="46"/>
                    <a:pt x="155" y="46"/>
                    <a:pt x="154" y="46"/>
                  </a:cubicBezTo>
                  <a:cubicBezTo>
                    <a:pt x="153" y="46"/>
                    <a:pt x="153" y="46"/>
                    <a:pt x="153" y="46"/>
                  </a:cubicBezTo>
                  <a:cubicBezTo>
                    <a:pt x="152" y="46"/>
                    <a:pt x="151" y="46"/>
                    <a:pt x="150" y="47"/>
                  </a:cubicBezTo>
                  <a:cubicBezTo>
                    <a:pt x="150" y="47"/>
                    <a:pt x="150" y="47"/>
                    <a:pt x="149" y="47"/>
                  </a:cubicBezTo>
                  <a:cubicBezTo>
                    <a:pt x="148" y="47"/>
                    <a:pt x="148" y="47"/>
                    <a:pt x="147" y="48"/>
                  </a:cubicBezTo>
                  <a:cubicBezTo>
                    <a:pt x="146" y="48"/>
                    <a:pt x="146" y="48"/>
                    <a:pt x="146" y="48"/>
                  </a:cubicBezTo>
                  <a:cubicBezTo>
                    <a:pt x="145" y="48"/>
                    <a:pt x="144" y="49"/>
                    <a:pt x="143" y="49"/>
                  </a:cubicBezTo>
                  <a:cubicBezTo>
                    <a:pt x="143" y="49"/>
                    <a:pt x="143" y="49"/>
                    <a:pt x="143" y="49"/>
                  </a:cubicBezTo>
                  <a:cubicBezTo>
                    <a:pt x="132" y="53"/>
                    <a:pt x="122" y="61"/>
                    <a:pt x="116" y="72"/>
                  </a:cubicBezTo>
                  <a:cubicBezTo>
                    <a:pt x="127" y="87"/>
                    <a:pt x="122" y="100"/>
                    <a:pt x="115" y="108"/>
                  </a:cubicBezTo>
                  <a:cubicBezTo>
                    <a:pt x="107" y="117"/>
                    <a:pt x="87" y="126"/>
                    <a:pt x="75" y="133"/>
                  </a:cubicBezTo>
                  <a:cubicBezTo>
                    <a:pt x="63" y="140"/>
                    <a:pt x="68" y="152"/>
                    <a:pt x="84" y="152"/>
                  </a:cubicBezTo>
                  <a:cubicBezTo>
                    <a:pt x="100" y="152"/>
                    <a:pt x="98" y="164"/>
                    <a:pt x="118" y="174"/>
                  </a:cubicBezTo>
                  <a:cubicBezTo>
                    <a:pt x="138" y="184"/>
                    <a:pt x="149" y="168"/>
                    <a:pt x="155" y="152"/>
                  </a:cubicBezTo>
                  <a:cubicBezTo>
                    <a:pt x="161" y="136"/>
                    <a:pt x="179" y="160"/>
                    <a:pt x="189" y="175"/>
                  </a:cubicBezTo>
                  <a:cubicBezTo>
                    <a:pt x="199" y="190"/>
                    <a:pt x="198" y="181"/>
                    <a:pt x="227" y="192"/>
                  </a:cubicBezTo>
                  <a:cubicBezTo>
                    <a:pt x="256" y="203"/>
                    <a:pt x="238" y="207"/>
                    <a:pt x="233" y="212"/>
                  </a:cubicBezTo>
                  <a:cubicBezTo>
                    <a:pt x="228" y="217"/>
                    <a:pt x="222" y="222"/>
                    <a:pt x="205" y="222"/>
                  </a:cubicBezTo>
                  <a:cubicBezTo>
                    <a:pt x="188" y="222"/>
                    <a:pt x="181" y="226"/>
                    <a:pt x="180" y="239"/>
                  </a:cubicBezTo>
                  <a:cubicBezTo>
                    <a:pt x="179" y="252"/>
                    <a:pt x="166" y="246"/>
                    <a:pt x="157" y="246"/>
                  </a:cubicBezTo>
                  <a:cubicBezTo>
                    <a:pt x="148" y="246"/>
                    <a:pt x="133" y="241"/>
                    <a:pt x="124" y="238"/>
                  </a:cubicBezTo>
                  <a:cubicBezTo>
                    <a:pt x="123" y="238"/>
                    <a:pt x="123" y="238"/>
                    <a:pt x="122" y="238"/>
                  </a:cubicBezTo>
                  <a:cubicBezTo>
                    <a:pt x="122" y="238"/>
                    <a:pt x="121" y="237"/>
                    <a:pt x="121" y="237"/>
                  </a:cubicBezTo>
                  <a:cubicBezTo>
                    <a:pt x="120" y="237"/>
                    <a:pt x="120" y="237"/>
                    <a:pt x="119" y="237"/>
                  </a:cubicBezTo>
                  <a:cubicBezTo>
                    <a:pt x="119" y="237"/>
                    <a:pt x="119" y="237"/>
                    <a:pt x="118" y="237"/>
                  </a:cubicBezTo>
                  <a:cubicBezTo>
                    <a:pt x="117" y="237"/>
                    <a:pt x="117" y="238"/>
                    <a:pt x="116" y="238"/>
                  </a:cubicBezTo>
                  <a:cubicBezTo>
                    <a:pt x="115" y="238"/>
                    <a:pt x="115" y="238"/>
                    <a:pt x="115" y="238"/>
                  </a:cubicBezTo>
                  <a:cubicBezTo>
                    <a:pt x="114" y="238"/>
                    <a:pt x="113" y="238"/>
                    <a:pt x="113" y="238"/>
                  </a:cubicBezTo>
                  <a:cubicBezTo>
                    <a:pt x="112" y="238"/>
                    <a:pt x="112" y="238"/>
                    <a:pt x="111" y="238"/>
                  </a:cubicBezTo>
                  <a:cubicBezTo>
                    <a:pt x="111" y="238"/>
                    <a:pt x="110" y="238"/>
                    <a:pt x="110" y="239"/>
                  </a:cubicBezTo>
                  <a:cubicBezTo>
                    <a:pt x="106" y="239"/>
                    <a:pt x="102" y="240"/>
                    <a:pt x="98" y="241"/>
                  </a:cubicBezTo>
                  <a:cubicBezTo>
                    <a:pt x="98" y="248"/>
                    <a:pt x="95" y="255"/>
                    <a:pt x="86" y="255"/>
                  </a:cubicBezTo>
                  <a:cubicBezTo>
                    <a:pt x="69" y="255"/>
                    <a:pt x="61" y="244"/>
                    <a:pt x="48" y="244"/>
                  </a:cubicBezTo>
                  <a:cubicBezTo>
                    <a:pt x="35" y="244"/>
                    <a:pt x="20" y="254"/>
                    <a:pt x="17" y="263"/>
                  </a:cubicBezTo>
                  <a:cubicBezTo>
                    <a:pt x="14" y="272"/>
                    <a:pt x="0" y="296"/>
                    <a:pt x="24" y="296"/>
                  </a:cubicBezTo>
                  <a:cubicBezTo>
                    <a:pt x="48" y="296"/>
                    <a:pt x="48" y="288"/>
                    <a:pt x="64" y="292"/>
                  </a:cubicBezTo>
                  <a:cubicBezTo>
                    <a:pt x="80" y="296"/>
                    <a:pt x="93" y="296"/>
                    <a:pt x="99" y="301"/>
                  </a:cubicBezTo>
                  <a:cubicBezTo>
                    <a:pt x="105" y="306"/>
                    <a:pt x="117" y="309"/>
                    <a:pt x="123" y="300"/>
                  </a:cubicBezTo>
                  <a:cubicBezTo>
                    <a:pt x="129" y="291"/>
                    <a:pt x="150" y="286"/>
                    <a:pt x="161" y="298"/>
                  </a:cubicBezTo>
                  <a:cubicBezTo>
                    <a:pt x="172" y="310"/>
                    <a:pt x="191" y="319"/>
                    <a:pt x="196" y="311"/>
                  </a:cubicBezTo>
                  <a:cubicBezTo>
                    <a:pt x="201" y="303"/>
                    <a:pt x="219" y="296"/>
                    <a:pt x="229" y="305"/>
                  </a:cubicBezTo>
                  <a:cubicBezTo>
                    <a:pt x="239" y="314"/>
                    <a:pt x="244" y="315"/>
                    <a:pt x="253" y="312"/>
                  </a:cubicBezTo>
                  <a:cubicBezTo>
                    <a:pt x="262" y="309"/>
                    <a:pt x="263" y="301"/>
                    <a:pt x="276" y="301"/>
                  </a:cubicBezTo>
                  <a:cubicBezTo>
                    <a:pt x="284" y="301"/>
                    <a:pt x="289" y="300"/>
                    <a:pt x="297" y="300"/>
                  </a:cubicBezTo>
                  <a:cubicBezTo>
                    <a:pt x="297" y="300"/>
                    <a:pt x="297" y="300"/>
                    <a:pt x="297" y="300"/>
                  </a:cubicBezTo>
                  <a:cubicBezTo>
                    <a:pt x="297" y="299"/>
                    <a:pt x="297" y="298"/>
                    <a:pt x="297" y="297"/>
                  </a:cubicBezTo>
                  <a:cubicBezTo>
                    <a:pt x="297" y="297"/>
                    <a:pt x="297" y="297"/>
                    <a:pt x="297" y="297"/>
                  </a:cubicBezTo>
                  <a:cubicBezTo>
                    <a:pt x="298" y="294"/>
                    <a:pt x="298" y="292"/>
                    <a:pt x="298" y="290"/>
                  </a:cubicBezTo>
                  <a:cubicBezTo>
                    <a:pt x="298" y="289"/>
                    <a:pt x="298" y="289"/>
                    <a:pt x="298" y="289"/>
                  </a:cubicBezTo>
                  <a:cubicBezTo>
                    <a:pt x="298" y="288"/>
                    <a:pt x="298" y="287"/>
                    <a:pt x="298" y="286"/>
                  </a:cubicBezTo>
                  <a:cubicBezTo>
                    <a:pt x="298" y="286"/>
                    <a:pt x="298" y="286"/>
                    <a:pt x="298" y="286"/>
                  </a:cubicBezTo>
                  <a:cubicBezTo>
                    <a:pt x="299" y="285"/>
                    <a:pt x="299" y="284"/>
                    <a:pt x="299" y="283"/>
                  </a:cubicBezTo>
                  <a:cubicBezTo>
                    <a:pt x="299" y="282"/>
                    <a:pt x="299" y="282"/>
                    <a:pt x="299" y="282"/>
                  </a:cubicBezTo>
                  <a:cubicBezTo>
                    <a:pt x="299" y="281"/>
                    <a:pt x="299" y="280"/>
                    <a:pt x="299" y="279"/>
                  </a:cubicBezTo>
                  <a:cubicBezTo>
                    <a:pt x="299" y="279"/>
                    <a:pt x="300" y="279"/>
                    <a:pt x="300" y="279"/>
                  </a:cubicBezTo>
                  <a:cubicBezTo>
                    <a:pt x="300" y="278"/>
                    <a:pt x="300" y="277"/>
                    <a:pt x="300" y="276"/>
                  </a:cubicBezTo>
                  <a:cubicBezTo>
                    <a:pt x="300" y="276"/>
                    <a:pt x="300" y="276"/>
                    <a:pt x="300" y="275"/>
                  </a:cubicBezTo>
                  <a:cubicBezTo>
                    <a:pt x="301" y="275"/>
                    <a:pt x="301" y="274"/>
                    <a:pt x="301" y="273"/>
                  </a:cubicBezTo>
                  <a:cubicBezTo>
                    <a:pt x="301" y="273"/>
                    <a:pt x="301" y="273"/>
                    <a:pt x="301" y="273"/>
                  </a:cubicBezTo>
                  <a:cubicBezTo>
                    <a:pt x="302" y="271"/>
                    <a:pt x="302" y="269"/>
                    <a:pt x="303" y="268"/>
                  </a:cubicBezTo>
                  <a:cubicBezTo>
                    <a:pt x="303" y="267"/>
                    <a:pt x="303" y="267"/>
                    <a:pt x="303" y="267"/>
                  </a:cubicBezTo>
                  <a:cubicBezTo>
                    <a:pt x="304" y="266"/>
                    <a:pt x="304" y="266"/>
                    <a:pt x="304" y="265"/>
                  </a:cubicBezTo>
                  <a:cubicBezTo>
                    <a:pt x="304" y="265"/>
                    <a:pt x="305" y="265"/>
                    <a:pt x="305" y="265"/>
                  </a:cubicBezTo>
                  <a:cubicBezTo>
                    <a:pt x="305" y="264"/>
                    <a:pt x="305" y="264"/>
                    <a:pt x="306" y="263"/>
                  </a:cubicBezTo>
                  <a:cubicBezTo>
                    <a:pt x="306" y="263"/>
                    <a:pt x="306" y="263"/>
                    <a:pt x="306" y="263"/>
                  </a:cubicBezTo>
                  <a:cubicBezTo>
                    <a:pt x="307" y="262"/>
                    <a:pt x="307" y="262"/>
                    <a:pt x="308" y="261"/>
                  </a:cubicBezTo>
                  <a:cubicBezTo>
                    <a:pt x="308" y="261"/>
                    <a:pt x="308" y="261"/>
                    <a:pt x="308" y="261"/>
                  </a:cubicBezTo>
                  <a:cubicBezTo>
                    <a:pt x="308" y="260"/>
                    <a:pt x="309" y="260"/>
                    <a:pt x="309" y="260"/>
                  </a:cubicBezTo>
                  <a:cubicBezTo>
                    <a:pt x="310" y="260"/>
                    <a:pt x="310" y="260"/>
                    <a:pt x="310" y="259"/>
                  </a:cubicBezTo>
                  <a:cubicBezTo>
                    <a:pt x="310" y="259"/>
                    <a:pt x="311" y="259"/>
                    <a:pt x="311" y="259"/>
                  </a:cubicBezTo>
                  <a:cubicBezTo>
                    <a:pt x="312" y="259"/>
                    <a:pt x="312" y="259"/>
                    <a:pt x="312" y="259"/>
                  </a:cubicBezTo>
                  <a:cubicBezTo>
                    <a:pt x="313" y="258"/>
                    <a:pt x="313" y="258"/>
                    <a:pt x="314" y="258"/>
                  </a:cubicBezTo>
                  <a:cubicBezTo>
                    <a:pt x="334" y="255"/>
                    <a:pt x="346" y="251"/>
                    <a:pt x="351" y="241"/>
                  </a:cubicBezTo>
                  <a:cubicBezTo>
                    <a:pt x="357" y="231"/>
                    <a:pt x="363" y="229"/>
                    <a:pt x="372" y="229"/>
                  </a:cubicBezTo>
                  <a:cubicBezTo>
                    <a:pt x="381" y="229"/>
                    <a:pt x="387" y="229"/>
                    <a:pt x="392" y="222"/>
                  </a:cubicBezTo>
                  <a:cubicBezTo>
                    <a:pt x="397" y="215"/>
                    <a:pt x="412" y="215"/>
                    <a:pt x="413" y="225"/>
                  </a:cubicBezTo>
                  <a:cubicBezTo>
                    <a:pt x="413" y="234"/>
                    <a:pt x="412" y="237"/>
                    <a:pt x="423" y="237"/>
                  </a:cubicBezTo>
                  <a:cubicBezTo>
                    <a:pt x="435" y="237"/>
                    <a:pt x="436" y="228"/>
                    <a:pt x="447" y="229"/>
                  </a:cubicBezTo>
                  <a:cubicBezTo>
                    <a:pt x="457" y="229"/>
                    <a:pt x="473" y="233"/>
                    <a:pt x="477" y="207"/>
                  </a:cubicBezTo>
                  <a:cubicBezTo>
                    <a:pt x="481" y="182"/>
                    <a:pt x="495" y="179"/>
                    <a:pt x="511" y="179"/>
                  </a:cubicBezTo>
                  <a:cubicBezTo>
                    <a:pt x="527" y="179"/>
                    <a:pt x="581" y="184"/>
                    <a:pt x="583" y="169"/>
                  </a:cubicBezTo>
                  <a:cubicBezTo>
                    <a:pt x="585" y="155"/>
                    <a:pt x="616" y="138"/>
                    <a:pt x="635" y="130"/>
                  </a:cubicBezTo>
                  <a:cubicBezTo>
                    <a:pt x="653" y="122"/>
                    <a:pt x="663" y="115"/>
                    <a:pt x="679" y="113"/>
                  </a:cubicBezTo>
                  <a:cubicBezTo>
                    <a:pt x="694" y="111"/>
                    <a:pt x="701" y="113"/>
                    <a:pt x="702" y="103"/>
                  </a:cubicBezTo>
                  <a:cubicBezTo>
                    <a:pt x="702" y="102"/>
                    <a:pt x="702" y="101"/>
                    <a:pt x="702" y="101"/>
                  </a:cubicBezTo>
                  <a:cubicBezTo>
                    <a:pt x="702" y="100"/>
                    <a:pt x="702" y="100"/>
                    <a:pt x="702" y="100"/>
                  </a:cubicBezTo>
                  <a:cubicBezTo>
                    <a:pt x="702" y="99"/>
                    <a:pt x="702" y="99"/>
                    <a:pt x="702" y="98"/>
                  </a:cubicBezTo>
                  <a:cubicBezTo>
                    <a:pt x="702" y="98"/>
                    <a:pt x="702" y="97"/>
                    <a:pt x="702" y="97"/>
                  </a:cubicBezTo>
                  <a:cubicBezTo>
                    <a:pt x="702" y="97"/>
                    <a:pt x="702" y="96"/>
                    <a:pt x="702" y="95"/>
                  </a:cubicBezTo>
                  <a:cubicBezTo>
                    <a:pt x="702" y="95"/>
                    <a:pt x="702" y="95"/>
                    <a:pt x="702" y="94"/>
                  </a:cubicBezTo>
                  <a:cubicBezTo>
                    <a:pt x="702" y="94"/>
                    <a:pt x="702" y="93"/>
                    <a:pt x="702" y="92"/>
                  </a:cubicBezTo>
                  <a:cubicBezTo>
                    <a:pt x="702" y="92"/>
                    <a:pt x="702" y="92"/>
                    <a:pt x="702" y="91"/>
                  </a:cubicBezTo>
                  <a:cubicBezTo>
                    <a:pt x="702" y="90"/>
                    <a:pt x="702" y="90"/>
                    <a:pt x="702" y="89"/>
                  </a:cubicBezTo>
                  <a:cubicBezTo>
                    <a:pt x="702" y="89"/>
                    <a:pt x="702" y="89"/>
                    <a:pt x="702" y="88"/>
                  </a:cubicBezTo>
                  <a:cubicBezTo>
                    <a:pt x="701" y="86"/>
                    <a:pt x="701" y="83"/>
                    <a:pt x="701" y="81"/>
                  </a:cubicBezTo>
                  <a:cubicBezTo>
                    <a:pt x="690" y="79"/>
                    <a:pt x="679" y="77"/>
                    <a:pt x="673" y="76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235" name="Freeform 25320"/>
            <p:cNvSpPr>
              <a:spLocks/>
            </p:cNvSpPr>
            <p:nvPr/>
          </p:nvSpPr>
          <p:spPr bwMode="auto">
            <a:xfrm>
              <a:off x="5231588" y="2722541"/>
              <a:ext cx="161464" cy="71183"/>
            </a:xfrm>
            <a:custGeom>
              <a:avLst/>
              <a:gdLst>
                <a:gd name="T0" fmla="*/ 251 w 433"/>
                <a:gd name="T1" fmla="*/ 188 h 191"/>
                <a:gd name="T2" fmla="*/ 278 w 433"/>
                <a:gd name="T3" fmla="*/ 183 h 191"/>
                <a:gd name="T4" fmla="*/ 312 w 433"/>
                <a:gd name="T5" fmla="*/ 182 h 191"/>
                <a:gd name="T6" fmla="*/ 316 w 433"/>
                <a:gd name="T7" fmla="*/ 182 h 191"/>
                <a:gd name="T8" fmla="*/ 317 w 433"/>
                <a:gd name="T9" fmla="*/ 182 h 191"/>
                <a:gd name="T10" fmla="*/ 320 w 433"/>
                <a:gd name="T11" fmla="*/ 182 h 191"/>
                <a:gd name="T12" fmla="*/ 321 w 433"/>
                <a:gd name="T13" fmla="*/ 182 h 191"/>
                <a:gd name="T14" fmla="*/ 323 w 433"/>
                <a:gd name="T15" fmla="*/ 181 h 191"/>
                <a:gd name="T16" fmla="*/ 324 w 433"/>
                <a:gd name="T17" fmla="*/ 181 h 191"/>
                <a:gd name="T18" fmla="*/ 327 w 433"/>
                <a:gd name="T19" fmla="*/ 180 h 191"/>
                <a:gd name="T20" fmla="*/ 328 w 433"/>
                <a:gd name="T21" fmla="*/ 179 h 191"/>
                <a:gd name="T22" fmla="*/ 329 w 433"/>
                <a:gd name="T23" fmla="*/ 178 h 191"/>
                <a:gd name="T24" fmla="*/ 330 w 433"/>
                <a:gd name="T25" fmla="*/ 177 h 191"/>
                <a:gd name="T26" fmla="*/ 331 w 433"/>
                <a:gd name="T27" fmla="*/ 177 h 191"/>
                <a:gd name="T28" fmla="*/ 332 w 433"/>
                <a:gd name="T29" fmla="*/ 176 h 191"/>
                <a:gd name="T30" fmla="*/ 332 w 433"/>
                <a:gd name="T31" fmla="*/ 176 h 191"/>
                <a:gd name="T32" fmla="*/ 335 w 433"/>
                <a:gd name="T33" fmla="*/ 172 h 191"/>
                <a:gd name="T34" fmla="*/ 359 w 433"/>
                <a:gd name="T35" fmla="*/ 166 h 191"/>
                <a:gd name="T36" fmla="*/ 382 w 433"/>
                <a:gd name="T37" fmla="*/ 181 h 191"/>
                <a:gd name="T38" fmla="*/ 404 w 433"/>
                <a:gd name="T39" fmla="*/ 189 h 191"/>
                <a:gd name="T40" fmla="*/ 432 w 433"/>
                <a:gd name="T41" fmla="*/ 183 h 191"/>
                <a:gd name="T42" fmla="*/ 424 w 433"/>
                <a:gd name="T43" fmla="*/ 169 h 191"/>
                <a:gd name="T44" fmla="*/ 410 w 433"/>
                <a:gd name="T45" fmla="*/ 158 h 191"/>
                <a:gd name="T46" fmla="*/ 408 w 433"/>
                <a:gd name="T47" fmla="*/ 140 h 191"/>
                <a:gd name="T48" fmla="*/ 418 w 433"/>
                <a:gd name="T49" fmla="*/ 124 h 191"/>
                <a:gd name="T50" fmla="*/ 418 w 433"/>
                <a:gd name="T51" fmla="*/ 124 h 191"/>
                <a:gd name="T52" fmla="*/ 387 w 433"/>
                <a:gd name="T53" fmla="*/ 119 h 191"/>
                <a:gd name="T54" fmla="*/ 387 w 433"/>
                <a:gd name="T55" fmla="*/ 119 h 191"/>
                <a:gd name="T56" fmla="*/ 384 w 433"/>
                <a:gd name="T57" fmla="*/ 118 h 191"/>
                <a:gd name="T58" fmla="*/ 384 w 433"/>
                <a:gd name="T59" fmla="*/ 118 h 191"/>
                <a:gd name="T60" fmla="*/ 381 w 433"/>
                <a:gd name="T61" fmla="*/ 117 h 191"/>
                <a:gd name="T62" fmla="*/ 381 w 433"/>
                <a:gd name="T63" fmla="*/ 117 h 191"/>
                <a:gd name="T64" fmla="*/ 378 w 433"/>
                <a:gd name="T65" fmla="*/ 116 h 191"/>
                <a:gd name="T66" fmla="*/ 376 w 433"/>
                <a:gd name="T67" fmla="*/ 96 h 191"/>
                <a:gd name="T68" fmla="*/ 351 w 433"/>
                <a:gd name="T69" fmla="*/ 79 h 191"/>
                <a:gd name="T70" fmla="*/ 337 w 433"/>
                <a:gd name="T71" fmla="*/ 67 h 191"/>
                <a:gd name="T72" fmla="*/ 304 w 433"/>
                <a:gd name="T73" fmla="*/ 64 h 191"/>
                <a:gd name="T74" fmla="*/ 280 w 433"/>
                <a:gd name="T75" fmla="*/ 71 h 191"/>
                <a:gd name="T76" fmla="*/ 260 w 433"/>
                <a:gd name="T77" fmla="*/ 80 h 191"/>
                <a:gd name="T78" fmla="*/ 243 w 433"/>
                <a:gd name="T79" fmla="*/ 63 h 191"/>
                <a:gd name="T80" fmla="*/ 223 w 433"/>
                <a:gd name="T81" fmla="*/ 53 h 191"/>
                <a:gd name="T82" fmla="*/ 198 w 433"/>
                <a:gd name="T83" fmla="*/ 35 h 191"/>
                <a:gd name="T84" fmla="*/ 139 w 433"/>
                <a:gd name="T85" fmla="*/ 32 h 191"/>
                <a:gd name="T86" fmla="*/ 102 w 433"/>
                <a:gd name="T87" fmla="*/ 28 h 191"/>
                <a:gd name="T88" fmla="*/ 63 w 433"/>
                <a:gd name="T89" fmla="*/ 6 h 191"/>
                <a:gd name="T90" fmla="*/ 37 w 433"/>
                <a:gd name="T91" fmla="*/ 3 h 191"/>
                <a:gd name="T92" fmla="*/ 13 w 433"/>
                <a:gd name="T93" fmla="*/ 3 h 191"/>
                <a:gd name="T94" fmla="*/ 0 w 433"/>
                <a:gd name="T95" fmla="*/ 6 h 191"/>
                <a:gd name="T96" fmla="*/ 12 w 433"/>
                <a:gd name="T97" fmla="*/ 13 h 191"/>
                <a:gd name="T98" fmla="*/ 78 w 433"/>
                <a:gd name="T99" fmla="*/ 54 h 191"/>
                <a:gd name="T100" fmla="*/ 102 w 433"/>
                <a:gd name="T101" fmla="*/ 99 h 191"/>
                <a:gd name="T102" fmla="*/ 118 w 433"/>
                <a:gd name="T103" fmla="*/ 142 h 191"/>
                <a:gd name="T104" fmla="*/ 102 w 433"/>
                <a:gd name="T105" fmla="*/ 156 h 191"/>
                <a:gd name="T106" fmla="*/ 118 w 433"/>
                <a:gd name="T107" fmla="*/ 164 h 191"/>
                <a:gd name="T108" fmla="*/ 166 w 433"/>
                <a:gd name="T109" fmla="*/ 162 h 191"/>
                <a:gd name="T110" fmla="*/ 198 w 433"/>
                <a:gd name="T111" fmla="*/ 161 h 191"/>
                <a:gd name="T112" fmla="*/ 215 w 433"/>
                <a:gd name="T113" fmla="*/ 180 h 191"/>
                <a:gd name="T114" fmla="*/ 230 w 433"/>
                <a:gd name="T115" fmla="*/ 190 h 191"/>
                <a:gd name="T116" fmla="*/ 251 w 433"/>
                <a:gd name="T117" fmla="*/ 188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33" h="191">
                  <a:moveTo>
                    <a:pt x="251" y="188"/>
                  </a:moveTo>
                  <a:cubicBezTo>
                    <a:pt x="264" y="190"/>
                    <a:pt x="266" y="178"/>
                    <a:pt x="278" y="183"/>
                  </a:cubicBezTo>
                  <a:cubicBezTo>
                    <a:pt x="291" y="187"/>
                    <a:pt x="298" y="181"/>
                    <a:pt x="312" y="182"/>
                  </a:cubicBezTo>
                  <a:cubicBezTo>
                    <a:pt x="313" y="182"/>
                    <a:pt x="314" y="182"/>
                    <a:pt x="316" y="182"/>
                  </a:cubicBezTo>
                  <a:cubicBezTo>
                    <a:pt x="316" y="182"/>
                    <a:pt x="317" y="182"/>
                    <a:pt x="317" y="182"/>
                  </a:cubicBezTo>
                  <a:cubicBezTo>
                    <a:pt x="318" y="182"/>
                    <a:pt x="319" y="182"/>
                    <a:pt x="320" y="182"/>
                  </a:cubicBezTo>
                  <a:cubicBezTo>
                    <a:pt x="320" y="182"/>
                    <a:pt x="321" y="182"/>
                    <a:pt x="321" y="182"/>
                  </a:cubicBezTo>
                  <a:cubicBezTo>
                    <a:pt x="322" y="182"/>
                    <a:pt x="323" y="181"/>
                    <a:pt x="323" y="181"/>
                  </a:cubicBezTo>
                  <a:cubicBezTo>
                    <a:pt x="324" y="181"/>
                    <a:pt x="324" y="181"/>
                    <a:pt x="324" y="181"/>
                  </a:cubicBezTo>
                  <a:cubicBezTo>
                    <a:pt x="325" y="181"/>
                    <a:pt x="326" y="180"/>
                    <a:pt x="327" y="180"/>
                  </a:cubicBezTo>
                  <a:cubicBezTo>
                    <a:pt x="327" y="179"/>
                    <a:pt x="328" y="179"/>
                    <a:pt x="328" y="179"/>
                  </a:cubicBezTo>
                  <a:cubicBezTo>
                    <a:pt x="328" y="179"/>
                    <a:pt x="329" y="179"/>
                    <a:pt x="329" y="178"/>
                  </a:cubicBezTo>
                  <a:cubicBezTo>
                    <a:pt x="329" y="178"/>
                    <a:pt x="330" y="178"/>
                    <a:pt x="330" y="177"/>
                  </a:cubicBezTo>
                  <a:cubicBezTo>
                    <a:pt x="330" y="177"/>
                    <a:pt x="331" y="177"/>
                    <a:pt x="331" y="177"/>
                  </a:cubicBezTo>
                  <a:cubicBezTo>
                    <a:pt x="331" y="176"/>
                    <a:pt x="332" y="176"/>
                    <a:pt x="332" y="176"/>
                  </a:cubicBezTo>
                  <a:cubicBezTo>
                    <a:pt x="332" y="176"/>
                    <a:pt x="332" y="176"/>
                    <a:pt x="332" y="176"/>
                  </a:cubicBezTo>
                  <a:cubicBezTo>
                    <a:pt x="333" y="174"/>
                    <a:pt x="334" y="173"/>
                    <a:pt x="335" y="172"/>
                  </a:cubicBezTo>
                  <a:cubicBezTo>
                    <a:pt x="337" y="166"/>
                    <a:pt x="350" y="156"/>
                    <a:pt x="359" y="166"/>
                  </a:cubicBezTo>
                  <a:cubicBezTo>
                    <a:pt x="368" y="176"/>
                    <a:pt x="378" y="174"/>
                    <a:pt x="382" y="181"/>
                  </a:cubicBezTo>
                  <a:cubicBezTo>
                    <a:pt x="386" y="188"/>
                    <a:pt x="393" y="187"/>
                    <a:pt x="404" y="189"/>
                  </a:cubicBezTo>
                  <a:cubicBezTo>
                    <a:pt x="415" y="191"/>
                    <a:pt x="431" y="190"/>
                    <a:pt x="432" y="183"/>
                  </a:cubicBezTo>
                  <a:cubicBezTo>
                    <a:pt x="433" y="175"/>
                    <a:pt x="432" y="170"/>
                    <a:pt x="424" y="169"/>
                  </a:cubicBezTo>
                  <a:cubicBezTo>
                    <a:pt x="417" y="167"/>
                    <a:pt x="412" y="164"/>
                    <a:pt x="410" y="158"/>
                  </a:cubicBezTo>
                  <a:cubicBezTo>
                    <a:pt x="407" y="151"/>
                    <a:pt x="398" y="150"/>
                    <a:pt x="408" y="140"/>
                  </a:cubicBezTo>
                  <a:cubicBezTo>
                    <a:pt x="413" y="135"/>
                    <a:pt x="416" y="129"/>
                    <a:pt x="418" y="124"/>
                  </a:cubicBezTo>
                  <a:cubicBezTo>
                    <a:pt x="418" y="124"/>
                    <a:pt x="418" y="124"/>
                    <a:pt x="418" y="124"/>
                  </a:cubicBezTo>
                  <a:cubicBezTo>
                    <a:pt x="410" y="117"/>
                    <a:pt x="400" y="122"/>
                    <a:pt x="387" y="119"/>
                  </a:cubicBezTo>
                  <a:cubicBezTo>
                    <a:pt x="387" y="119"/>
                    <a:pt x="387" y="119"/>
                    <a:pt x="387" y="119"/>
                  </a:cubicBezTo>
                  <a:cubicBezTo>
                    <a:pt x="386" y="119"/>
                    <a:pt x="385" y="118"/>
                    <a:pt x="384" y="118"/>
                  </a:cubicBezTo>
                  <a:cubicBezTo>
                    <a:pt x="384" y="118"/>
                    <a:pt x="384" y="118"/>
                    <a:pt x="384" y="118"/>
                  </a:cubicBezTo>
                  <a:cubicBezTo>
                    <a:pt x="383" y="118"/>
                    <a:pt x="382" y="118"/>
                    <a:pt x="381" y="117"/>
                  </a:cubicBezTo>
                  <a:cubicBezTo>
                    <a:pt x="381" y="117"/>
                    <a:pt x="381" y="117"/>
                    <a:pt x="381" y="117"/>
                  </a:cubicBezTo>
                  <a:cubicBezTo>
                    <a:pt x="380" y="117"/>
                    <a:pt x="379" y="116"/>
                    <a:pt x="378" y="116"/>
                  </a:cubicBezTo>
                  <a:cubicBezTo>
                    <a:pt x="360" y="107"/>
                    <a:pt x="376" y="107"/>
                    <a:pt x="376" y="96"/>
                  </a:cubicBezTo>
                  <a:cubicBezTo>
                    <a:pt x="376" y="84"/>
                    <a:pt x="362" y="79"/>
                    <a:pt x="351" y="79"/>
                  </a:cubicBezTo>
                  <a:cubicBezTo>
                    <a:pt x="341" y="79"/>
                    <a:pt x="340" y="75"/>
                    <a:pt x="337" y="67"/>
                  </a:cubicBezTo>
                  <a:cubicBezTo>
                    <a:pt x="334" y="60"/>
                    <a:pt x="317" y="64"/>
                    <a:pt x="304" y="64"/>
                  </a:cubicBezTo>
                  <a:cubicBezTo>
                    <a:pt x="290" y="64"/>
                    <a:pt x="284" y="66"/>
                    <a:pt x="280" y="71"/>
                  </a:cubicBezTo>
                  <a:cubicBezTo>
                    <a:pt x="276" y="76"/>
                    <a:pt x="267" y="80"/>
                    <a:pt x="260" y="80"/>
                  </a:cubicBezTo>
                  <a:cubicBezTo>
                    <a:pt x="253" y="80"/>
                    <a:pt x="244" y="69"/>
                    <a:pt x="243" y="63"/>
                  </a:cubicBezTo>
                  <a:cubicBezTo>
                    <a:pt x="241" y="57"/>
                    <a:pt x="234" y="55"/>
                    <a:pt x="223" y="53"/>
                  </a:cubicBezTo>
                  <a:cubicBezTo>
                    <a:pt x="211" y="51"/>
                    <a:pt x="204" y="43"/>
                    <a:pt x="198" y="35"/>
                  </a:cubicBezTo>
                  <a:cubicBezTo>
                    <a:pt x="191" y="27"/>
                    <a:pt x="155" y="31"/>
                    <a:pt x="139" y="32"/>
                  </a:cubicBezTo>
                  <a:cubicBezTo>
                    <a:pt x="122" y="34"/>
                    <a:pt x="115" y="33"/>
                    <a:pt x="102" y="28"/>
                  </a:cubicBezTo>
                  <a:cubicBezTo>
                    <a:pt x="88" y="22"/>
                    <a:pt x="73" y="10"/>
                    <a:pt x="63" y="6"/>
                  </a:cubicBezTo>
                  <a:cubicBezTo>
                    <a:pt x="54" y="3"/>
                    <a:pt x="43" y="6"/>
                    <a:pt x="37" y="3"/>
                  </a:cubicBezTo>
                  <a:cubicBezTo>
                    <a:pt x="31" y="0"/>
                    <a:pt x="19" y="2"/>
                    <a:pt x="13" y="3"/>
                  </a:cubicBezTo>
                  <a:cubicBezTo>
                    <a:pt x="10" y="4"/>
                    <a:pt x="5" y="5"/>
                    <a:pt x="0" y="6"/>
                  </a:cubicBezTo>
                  <a:cubicBezTo>
                    <a:pt x="4" y="8"/>
                    <a:pt x="7" y="11"/>
                    <a:pt x="12" y="13"/>
                  </a:cubicBezTo>
                  <a:cubicBezTo>
                    <a:pt x="45" y="27"/>
                    <a:pt x="43" y="38"/>
                    <a:pt x="78" y="54"/>
                  </a:cubicBezTo>
                  <a:cubicBezTo>
                    <a:pt x="112" y="70"/>
                    <a:pt x="102" y="80"/>
                    <a:pt x="102" y="99"/>
                  </a:cubicBezTo>
                  <a:cubicBezTo>
                    <a:pt x="102" y="117"/>
                    <a:pt x="122" y="133"/>
                    <a:pt x="118" y="142"/>
                  </a:cubicBezTo>
                  <a:cubicBezTo>
                    <a:pt x="116" y="146"/>
                    <a:pt x="110" y="151"/>
                    <a:pt x="102" y="156"/>
                  </a:cubicBezTo>
                  <a:cubicBezTo>
                    <a:pt x="106" y="160"/>
                    <a:pt x="111" y="164"/>
                    <a:pt x="118" y="164"/>
                  </a:cubicBezTo>
                  <a:cubicBezTo>
                    <a:pt x="131" y="164"/>
                    <a:pt x="160" y="167"/>
                    <a:pt x="166" y="162"/>
                  </a:cubicBezTo>
                  <a:cubicBezTo>
                    <a:pt x="172" y="156"/>
                    <a:pt x="195" y="153"/>
                    <a:pt x="198" y="161"/>
                  </a:cubicBezTo>
                  <a:cubicBezTo>
                    <a:pt x="202" y="169"/>
                    <a:pt x="205" y="178"/>
                    <a:pt x="215" y="180"/>
                  </a:cubicBezTo>
                  <a:cubicBezTo>
                    <a:pt x="221" y="181"/>
                    <a:pt x="226" y="184"/>
                    <a:pt x="230" y="190"/>
                  </a:cubicBezTo>
                  <a:cubicBezTo>
                    <a:pt x="235" y="188"/>
                    <a:pt x="243" y="186"/>
                    <a:pt x="251" y="188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236" name="Freeform 25321"/>
            <p:cNvSpPr>
              <a:spLocks/>
            </p:cNvSpPr>
            <p:nvPr/>
          </p:nvSpPr>
          <p:spPr bwMode="auto">
            <a:xfrm>
              <a:off x="5317450" y="2788199"/>
              <a:ext cx="73393" cy="69605"/>
            </a:xfrm>
            <a:custGeom>
              <a:avLst/>
              <a:gdLst>
                <a:gd name="T0" fmla="*/ 73 w 197"/>
                <a:gd name="T1" fmla="*/ 117 h 187"/>
                <a:gd name="T2" fmla="*/ 75 w 197"/>
                <a:gd name="T3" fmla="*/ 117 h 187"/>
                <a:gd name="T4" fmla="*/ 90 w 197"/>
                <a:gd name="T5" fmla="*/ 135 h 187"/>
                <a:gd name="T6" fmla="*/ 125 w 197"/>
                <a:gd name="T7" fmla="*/ 177 h 187"/>
                <a:gd name="T8" fmla="*/ 159 w 197"/>
                <a:gd name="T9" fmla="*/ 186 h 187"/>
                <a:gd name="T10" fmla="*/ 173 w 197"/>
                <a:gd name="T11" fmla="*/ 187 h 187"/>
                <a:gd name="T12" fmla="*/ 176 w 197"/>
                <a:gd name="T13" fmla="*/ 187 h 187"/>
                <a:gd name="T14" fmla="*/ 178 w 197"/>
                <a:gd name="T15" fmla="*/ 187 h 187"/>
                <a:gd name="T16" fmla="*/ 181 w 197"/>
                <a:gd name="T17" fmla="*/ 186 h 187"/>
                <a:gd name="T18" fmla="*/ 184 w 197"/>
                <a:gd name="T19" fmla="*/ 186 h 187"/>
                <a:gd name="T20" fmla="*/ 186 w 197"/>
                <a:gd name="T21" fmla="*/ 185 h 187"/>
                <a:gd name="T22" fmla="*/ 189 w 197"/>
                <a:gd name="T23" fmla="*/ 184 h 187"/>
                <a:gd name="T24" fmla="*/ 192 w 197"/>
                <a:gd name="T25" fmla="*/ 183 h 187"/>
                <a:gd name="T26" fmla="*/ 194 w 197"/>
                <a:gd name="T27" fmla="*/ 182 h 187"/>
                <a:gd name="T28" fmla="*/ 197 w 197"/>
                <a:gd name="T29" fmla="*/ 180 h 187"/>
                <a:gd name="T30" fmla="*/ 195 w 197"/>
                <a:gd name="T31" fmla="*/ 164 h 187"/>
                <a:gd name="T32" fmla="*/ 171 w 197"/>
                <a:gd name="T33" fmla="*/ 125 h 187"/>
                <a:gd name="T34" fmla="*/ 150 w 197"/>
                <a:gd name="T35" fmla="*/ 81 h 187"/>
                <a:gd name="T36" fmla="*/ 130 w 197"/>
                <a:gd name="T37" fmla="*/ 45 h 187"/>
                <a:gd name="T38" fmla="*/ 110 w 197"/>
                <a:gd name="T39" fmla="*/ 18 h 187"/>
                <a:gd name="T40" fmla="*/ 102 w 197"/>
                <a:gd name="T41" fmla="*/ 0 h 187"/>
                <a:gd name="T42" fmla="*/ 100 w 197"/>
                <a:gd name="T43" fmla="*/ 1 h 187"/>
                <a:gd name="T44" fmla="*/ 98 w 197"/>
                <a:gd name="T45" fmla="*/ 3 h 187"/>
                <a:gd name="T46" fmla="*/ 94 w 197"/>
                <a:gd name="T47" fmla="*/ 5 h 187"/>
                <a:gd name="T48" fmla="*/ 91 w 197"/>
                <a:gd name="T49" fmla="*/ 6 h 187"/>
                <a:gd name="T50" fmla="*/ 87 w 197"/>
                <a:gd name="T51" fmla="*/ 6 h 187"/>
                <a:gd name="T52" fmla="*/ 82 w 197"/>
                <a:gd name="T53" fmla="*/ 6 h 187"/>
                <a:gd name="T54" fmla="*/ 21 w 197"/>
                <a:gd name="T55" fmla="*/ 12 h 187"/>
                <a:gd name="T56" fmla="*/ 5 w 197"/>
                <a:gd name="T57" fmla="*/ 24 h 187"/>
                <a:gd name="T58" fmla="*/ 28 w 197"/>
                <a:gd name="T59" fmla="*/ 94 h 187"/>
                <a:gd name="T60" fmla="*/ 68 w 197"/>
                <a:gd name="T61" fmla="*/ 118 h 187"/>
                <a:gd name="T62" fmla="*/ 70 w 197"/>
                <a:gd name="T63" fmla="*/ 117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97" h="187">
                  <a:moveTo>
                    <a:pt x="70" y="117"/>
                  </a:moveTo>
                  <a:cubicBezTo>
                    <a:pt x="71" y="117"/>
                    <a:pt x="72" y="117"/>
                    <a:pt x="73" y="117"/>
                  </a:cubicBezTo>
                  <a:cubicBezTo>
                    <a:pt x="73" y="117"/>
                    <a:pt x="73" y="117"/>
                    <a:pt x="73" y="117"/>
                  </a:cubicBezTo>
                  <a:cubicBezTo>
                    <a:pt x="74" y="117"/>
                    <a:pt x="75" y="117"/>
                    <a:pt x="75" y="117"/>
                  </a:cubicBezTo>
                  <a:cubicBezTo>
                    <a:pt x="76" y="117"/>
                    <a:pt x="77" y="118"/>
                    <a:pt x="78" y="118"/>
                  </a:cubicBezTo>
                  <a:cubicBezTo>
                    <a:pt x="86" y="122"/>
                    <a:pt x="90" y="123"/>
                    <a:pt x="90" y="135"/>
                  </a:cubicBezTo>
                  <a:cubicBezTo>
                    <a:pt x="90" y="146"/>
                    <a:pt x="101" y="162"/>
                    <a:pt x="110" y="163"/>
                  </a:cubicBezTo>
                  <a:cubicBezTo>
                    <a:pt x="120" y="165"/>
                    <a:pt x="112" y="173"/>
                    <a:pt x="125" y="177"/>
                  </a:cubicBezTo>
                  <a:cubicBezTo>
                    <a:pt x="138" y="180"/>
                    <a:pt x="144" y="185"/>
                    <a:pt x="156" y="186"/>
                  </a:cubicBezTo>
                  <a:cubicBezTo>
                    <a:pt x="157" y="186"/>
                    <a:pt x="158" y="186"/>
                    <a:pt x="159" y="186"/>
                  </a:cubicBezTo>
                  <a:cubicBezTo>
                    <a:pt x="159" y="186"/>
                    <a:pt x="159" y="186"/>
                    <a:pt x="159" y="186"/>
                  </a:cubicBezTo>
                  <a:cubicBezTo>
                    <a:pt x="163" y="186"/>
                    <a:pt x="168" y="187"/>
                    <a:pt x="173" y="187"/>
                  </a:cubicBezTo>
                  <a:cubicBezTo>
                    <a:pt x="173" y="187"/>
                    <a:pt x="173" y="187"/>
                    <a:pt x="173" y="187"/>
                  </a:cubicBezTo>
                  <a:cubicBezTo>
                    <a:pt x="174" y="187"/>
                    <a:pt x="175" y="187"/>
                    <a:pt x="176" y="187"/>
                  </a:cubicBezTo>
                  <a:cubicBezTo>
                    <a:pt x="176" y="187"/>
                    <a:pt x="176" y="187"/>
                    <a:pt x="176" y="187"/>
                  </a:cubicBezTo>
                  <a:cubicBezTo>
                    <a:pt x="177" y="187"/>
                    <a:pt x="178" y="187"/>
                    <a:pt x="178" y="187"/>
                  </a:cubicBezTo>
                  <a:cubicBezTo>
                    <a:pt x="178" y="187"/>
                    <a:pt x="178" y="187"/>
                    <a:pt x="179" y="187"/>
                  </a:cubicBezTo>
                  <a:cubicBezTo>
                    <a:pt x="179" y="187"/>
                    <a:pt x="180" y="186"/>
                    <a:pt x="181" y="186"/>
                  </a:cubicBezTo>
                  <a:cubicBezTo>
                    <a:pt x="181" y="186"/>
                    <a:pt x="181" y="186"/>
                    <a:pt x="181" y="186"/>
                  </a:cubicBezTo>
                  <a:cubicBezTo>
                    <a:pt x="182" y="186"/>
                    <a:pt x="183" y="186"/>
                    <a:pt x="184" y="186"/>
                  </a:cubicBezTo>
                  <a:cubicBezTo>
                    <a:pt x="184" y="186"/>
                    <a:pt x="184" y="186"/>
                    <a:pt x="184" y="186"/>
                  </a:cubicBezTo>
                  <a:cubicBezTo>
                    <a:pt x="185" y="186"/>
                    <a:pt x="185" y="185"/>
                    <a:pt x="186" y="185"/>
                  </a:cubicBezTo>
                  <a:cubicBezTo>
                    <a:pt x="186" y="185"/>
                    <a:pt x="186" y="185"/>
                    <a:pt x="186" y="185"/>
                  </a:cubicBezTo>
                  <a:cubicBezTo>
                    <a:pt x="187" y="185"/>
                    <a:pt x="188" y="185"/>
                    <a:pt x="189" y="184"/>
                  </a:cubicBezTo>
                  <a:cubicBezTo>
                    <a:pt x="189" y="184"/>
                    <a:pt x="189" y="184"/>
                    <a:pt x="189" y="184"/>
                  </a:cubicBezTo>
                  <a:cubicBezTo>
                    <a:pt x="190" y="184"/>
                    <a:pt x="191" y="184"/>
                    <a:pt x="192" y="183"/>
                  </a:cubicBezTo>
                  <a:cubicBezTo>
                    <a:pt x="192" y="183"/>
                    <a:pt x="192" y="183"/>
                    <a:pt x="192" y="183"/>
                  </a:cubicBezTo>
                  <a:cubicBezTo>
                    <a:pt x="193" y="183"/>
                    <a:pt x="193" y="182"/>
                    <a:pt x="194" y="182"/>
                  </a:cubicBezTo>
                  <a:cubicBezTo>
                    <a:pt x="194" y="182"/>
                    <a:pt x="194" y="182"/>
                    <a:pt x="194" y="182"/>
                  </a:cubicBezTo>
                  <a:cubicBezTo>
                    <a:pt x="195" y="181"/>
                    <a:pt x="196" y="181"/>
                    <a:pt x="197" y="180"/>
                  </a:cubicBezTo>
                  <a:cubicBezTo>
                    <a:pt x="197" y="180"/>
                    <a:pt x="197" y="180"/>
                    <a:pt x="197" y="180"/>
                  </a:cubicBezTo>
                  <a:cubicBezTo>
                    <a:pt x="196" y="174"/>
                    <a:pt x="196" y="166"/>
                    <a:pt x="195" y="164"/>
                  </a:cubicBezTo>
                  <a:cubicBezTo>
                    <a:pt x="193" y="159"/>
                    <a:pt x="191" y="152"/>
                    <a:pt x="191" y="139"/>
                  </a:cubicBezTo>
                  <a:cubicBezTo>
                    <a:pt x="191" y="125"/>
                    <a:pt x="175" y="131"/>
                    <a:pt x="171" y="125"/>
                  </a:cubicBezTo>
                  <a:cubicBezTo>
                    <a:pt x="167" y="118"/>
                    <a:pt x="157" y="111"/>
                    <a:pt x="146" y="105"/>
                  </a:cubicBezTo>
                  <a:cubicBezTo>
                    <a:pt x="135" y="99"/>
                    <a:pt x="151" y="87"/>
                    <a:pt x="150" y="81"/>
                  </a:cubicBezTo>
                  <a:cubicBezTo>
                    <a:pt x="150" y="75"/>
                    <a:pt x="134" y="64"/>
                    <a:pt x="129" y="62"/>
                  </a:cubicBezTo>
                  <a:cubicBezTo>
                    <a:pt x="124" y="59"/>
                    <a:pt x="122" y="47"/>
                    <a:pt x="130" y="45"/>
                  </a:cubicBezTo>
                  <a:cubicBezTo>
                    <a:pt x="137" y="42"/>
                    <a:pt x="136" y="32"/>
                    <a:pt x="130" y="29"/>
                  </a:cubicBezTo>
                  <a:cubicBezTo>
                    <a:pt x="125" y="26"/>
                    <a:pt x="119" y="21"/>
                    <a:pt x="110" y="18"/>
                  </a:cubicBezTo>
                  <a:cubicBezTo>
                    <a:pt x="105" y="16"/>
                    <a:pt x="103" y="7"/>
                    <a:pt x="102" y="0"/>
                  </a:cubicBezTo>
                  <a:cubicBezTo>
                    <a:pt x="102" y="0"/>
                    <a:pt x="102" y="0"/>
                    <a:pt x="102" y="0"/>
                  </a:cubicBezTo>
                  <a:cubicBezTo>
                    <a:pt x="102" y="0"/>
                    <a:pt x="101" y="0"/>
                    <a:pt x="101" y="1"/>
                  </a:cubicBezTo>
                  <a:cubicBezTo>
                    <a:pt x="101" y="1"/>
                    <a:pt x="100" y="1"/>
                    <a:pt x="100" y="1"/>
                  </a:cubicBezTo>
                  <a:cubicBezTo>
                    <a:pt x="100" y="2"/>
                    <a:pt x="100" y="2"/>
                    <a:pt x="99" y="2"/>
                  </a:cubicBezTo>
                  <a:cubicBezTo>
                    <a:pt x="99" y="3"/>
                    <a:pt x="98" y="3"/>
                    <a:pt x="98" y="3"/>
                  </a:cubicBezTo>
                  <a:cubicBezTo>
                    <a:pt x="98" y="3"/>
                    <a:pt x="97" y="3"/>
                    <a:pt x="97" y="4"/>
                  </a:cubicBezTo>
                  <a:cubicBezTo>
                    <a:pt x="96" y="4"/>
                    <a:pt x="95" y="5"/>
                    <a:pt x="94" y="5"/>
                  </a:cubicBezTo>
                  <a:cubicBezTo>
                    <a:pt x="94" y="5"/>
                    <a:pt x="94" y="5"/>
                    <a:pt x="93" y="5"/>
                  </a:cubicBezTo>
                  <a:cubicBezTo>
                    <a:pt x="93" y="5"/>
                    <a:pt x="92" y="6"/>
                    <a:pt x="91" y="6"/>
                  </a:cubicBezTo>
                  <a:cubicBezTo>
                    <a:pt x="91" y="6"/>
                    <a:pt x="90" y="6"/>
                    <a:pt x="90" y="6"/>
                  </a:cubicBezTo>
                  <a:cubicBezTo>
                    <a:pt x="89" y="6"/>
                    <a:pt x="88" y="6"/>
                    <a:pt x="87" y="6"/>
                  </a:cubicBezTo>
                  <a:cubicBezTo>
                    <a:pt x="87" y="6"/>
                    <a:pt x="86" y="6"/>
                    <a:pt x="86" y="6"/>
                  </a:cubicBezTo>
                  <a:cubicBezTo>
                    <a:pt x="84" y="6"/>
                    <a:pt x="83" y="6"/>
                    <a:pt x="82" y="6"/>
                  </a:cubicBezTo>
                  <a:cubicBezTo>
                    <a:pt x="68" y="5"/>
                    <a:pt x="61" y="11"/>
                    <a:pt x="48" y="7"/>
                  </a:cubicBezTo>
                  <a:cubicBezTo>
                    <a:pt x="36" y="2"/>
                    <a:pt x="34" y="14"/>
                    <a:pt x="21" y="12"/>
                  </a:cubicBezTo>
                  <a:cubicBezTo>
                    <a:pt x="13" y="10"/>
                    <a:pt x="5" y="12"/>
                    <a:pt x="0" y="14"/>
                  </a:cubicBezTo>
                  <a:cubicBezTo>
                    <a:pt x="1" y="16"/>
                    <a:pt x="3" y="19"/>
                    <a:pt x="5" y="24"/>
                  </a:cubicBezTo>
                  <a:cubicBezTo>
                    <a:pt x="11" y="36"/>
                    <a:pt x="22" y="37"/>
                    <a:pt x="21" y="49"/>
                  </a:cubicBezTo>
                  <a:cubicBezTo>
                    <a:pt x="20" y="61"/>
                    <a:pt x="21" y="89"/>
                    <a:pt x="28" y="94"/>
                  </a:cubicBezTo>
                  <a:cubicBezTo>
                    <a:pt x="34" y="99"/>
                    <a:pt x="47" y="110"/>
                    <a:pt x="55" y="113"/>
                  </a:cubicBezTo>
                  <a:cubicBezTo>
                    <a:pt x="61" y="114"/>
                    <a:pt x="65" y="115"/>
                    <a:pt x="68" y="118"/>
                  </a:cubicBezTo>
                  <a:cubicBezTo>
                    <a:pt x="68" y="118"/>
                    <a:pt x="68" y="118"/>
                    <a:pt x="68" y="118"/>
                  </a:cubicBezTo>
                  <a:cubicBezTo>
                    <a:pt x="69" y="117"/>
                    <a:pt x="69" y="117"/>
                    <a:pt x="70" y="117"/>
                  </a:cubicBezTo>
                  <a:cubicBezTo>
                    <a:pt x="70" y="117"/>
                    <a:pt x="70" y="117"/>
                    <a:pt x="70" y="117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237" name="Freeform 25322"/>
            <p:cNvSpPr>
              <a:spLocks/>
            </p:cNvSpPr>
            <p:nvPr/>
          </p:nvSpPr>
          <p:spPr bwMode="auto">
            <a:xfrm>
              <a:off x="5355488" y="2768786"/>
              <a:ext cx="116639" cy="101329"/>
            </a:xfrm>
            <a:custGeom>
              <a:avLst/>
              <a:gdLst>
                <a:gd name="T0" fmla="*/ 76 w 313"/>
                <a:gd name="T1" fmla="*/ 16 h 272"/>
                <a:gd name="T2" fmla="*/ 78 w 313"/>
                <a:gd name="T3" fmla="*/ 34 h 272"/>
                <a:gd name="T4" fmla="*/ 92 w 313"/>
                <a:gd name="T5" fmla="*/ 45 h 272"/>
                <a:gd name="T6" fmla="*/ 100 w 313"/>
                <a:gd name="T7" fmla="*/ 59 h 272"/>
                <a:gd name="T8" fmla="*/ 72 w 313"/>
                <a:gd name="T9" fmla="*/ 65 h 272"/>
                <a:gd name="T10" fmla="*/ 50 w 313"/>
                <a:gd name="T11" fmla="*/ 57 h 272"/>
                <a:gd name="T12" fmla="*/ 27 w 313"/>
                <a:gd name="T13" fmla="*/ 42 h 272"/>
                <a:gd name="T14" fmla="*/ 3 w 313"/>
                <a:gd name="T15" fmla="*/ 48 h 272"/>
                <a:gd name="T16" fmla="*/ 0 w 313"/>
                <a:gd name="T17" fmla="*/ 52 h 272"/>
                <a:gd name="T18" fmla="*/ 0 w 313"/>
                <a:gd name="T19" fmla="*/ 52 h 272"/>
                <a:gd name="T20" fmla="*/ 8 w 313"/>
                <a:gd name="T21" fmla="*/ 70 h 272"/>
                <a:gd name="T22" fmla="*/ 28 w 313"/>
                <a:gd name="T23" fmla="*/ 81 h 272"/>
                <a:gd name="T24" fmla="*/ 28 w 313"/>
                <a:gd name="T25" fmla="*/ 97 h 272"/>
                <a:gd name="T26" fmla="*/ 27 w 313"/>
                <a:gd name="T27" fmla="*/ 114 h 272"/>
                <a:gd name="T28" fmla="*/ 48 w 313"/>
                <a:gd name="T29" fmla="*/ 133 h 272"/>
                <a:gd name="T30" fmla="*/ 44 w 313"/>
                <a:gd name="T31" fmla="*/ 157 h 272"/>
                <a:gd name="T32" fmla="*/ 69 w 313"/>
                <a:gd name="T33" fmla="*/ 177 h 272"/>
                <a:gd name="T34" fmla="*/ 89 w 313"/>
                <a:gd name="T35" fmla="*/ 191 h 272"/>
                <a:gd name="T36" fmla="*/ 93 w 313"/>
                <a:gd name="T37" fmla="*/ 216 h 272"/>
                <a:gd name="T38" fmla="*/ 95 w 313"/>
                <a:gd name="T39" fmla="*/ 232 h 272"/>
                <a:gd name="T40" fmla="*/ 97 w 313"/>
                <a:gd name="T41" fmla="*/ 231 h 272"/>
                <a:gd name="T42" fmla="*/ 128 w 313"/>
                <a:gd name="T43" fmla="*/ 204 h 272"/>
                <a:gd name="T44" fmla="*/ 154 w 313"/>
                <a:gd name="T45" fmla="*/ 187 h 272"/>
                <a:gd name="T46" fmla="*/ 179 w 313"/>
                <a:gd name="T47" fmla="*/ 176 h 272"/>
                <a:gd name="T48" fmla="*/ 200 w 313"/>
                <a:gd name="T49" fmla="*/ 187 h 272"/>
                <a:gd name="T50" fmla="*/ 198 w 313"/>
                <a:gd name="T51" fmla="*/ 207 h 272"/>
                <a:gd name="T52" fmla="*/ 197 w 313"/>
                <a:gd name="T53" fmla="*/ 228 h 272"/>
                <a:gd name="T54" fmla="*/ 188 w 313"/>
                <a:gd name="T55" fmla="*/ 245 h 272"/>
                <a:gd name="T56" fmla="*/ 204 w 313"/>
                <a:gd name="T57" fmla="*/ 256 h 272"/>
                <a:gd name="T58" fmla="*/ 220 w 313"/>
                <a:gd name="T59" fmla="*/ 267 h 272"/>
                <a:gd name="T60" fmla="*/ 246 w 313"/>
                <a:gd name="T61" fmla="*/ 270 h 272"/>
                <a:gd name="T62" fmla="*/ 240 w 313"/>
                <a:gd name="T63" fmla="*/ 254 h 272"/>
                <a:gd name="T64" fmla="*/ 248 w 313"/>
                <a:gd name="T65" fmla="*/ 227 h 272"/>
                <a:gd name="T66" fmla="*/ 265 w 313"/>
                <a:gd name="T67" fmla="*/ 206 h 272"/>
                <a:gd name="T68" fmla="*/ 276 w 313"/>
                <a:gd name="T69" fmla="*/ 169 h 272"/>
                <a:gd name="T70" fmla="*/ 299 w 313"/>
                <a:gd name="T71" fmla="*/ 138 h 272"/>
                <a:gd name="T72" fmla="*/ 298 w 313"/>
                <a:gd name="T73" fmla="*/ 105 h 272"/>
                <a:gd name="T74" fmla="*/ 274 w 313"/>
                <a:gd name="T75" fmla="*/ 80 h 272"/>
                <a:gd name="T76" fmla="*/ 258 w 313"/>
                <a:gd name="T77" fmla="*/ 50 h 272"/>
                <a:gd name="T78" fmla="*/ 239 w 313"/>
                <a:gd name="T79" fmla="*/ 23 h 272"/>
                <a:gd name="T80" fmla="*/ 236 w 313"/>
                <a:gd name="T81" fmla="*/ 21 h 272"/>
                <a:gd name="T82" fmla="*/ 235 w 313"/>
                <a:gd name="T83" fmla="*/ 21 h 272"/>
                <a:gd name="T84" fmla="*/ 234 w 313"/>
                <a:gd name="T85" fmla="*/ 19 h 272"/>
                <a:gd name="T86" fmla="*/ 233 w 313"/>
                <a:gd name="T87" fmla="*/ 18 h 272"/>
                <a:gd name="T88" fmla="*/ 232 w 313"/>
                <a:gd name="T89" fmla="*/ 16 h 272"/>
                <a:gd name="T90" fmla="*/ 231 w 313"/>
                <a:gd name="T91" fmla="*/ 15 h 272"/>
                <a:gd name="T92" fmla="*/ 230 w 313"/>
                <a:gd name="T93" fmla="*/ 13 h 272"/>
                <a:gd name="T94" fmla="*/ 229 w 313"/>
                <a:gd name="T95" fmla="*/ 11 h 272"/>
                <a:gd name="T96" fmla="*/ 229 w 313"/>
                <a:gd name="T97" fmla="*/ 10 h 272"/>
                <a:gd name="T98" fmla="*/ 228 w 313"/>
                <a:gd name="T99" fmla="*/ 8 h 272"/>
                <a:gd name="T100" fmla="*/ 227 w 313"/>
                <a:gd name="T101" fmla="*/ 7 h 272"/>
                <a:gd name="T102" fmla="*/ 225 w 313"/>
                <a:gd name="T103" fmla="*/ 5 h 272"/>
                <a:gd name="T104" fmla="*/ 216 w 313"/>
                <a:gd name="T105" fmla="*/ 24 h 272"/>
                <a:gd name="T106" fmla="*/ 199 w 313"/>
                <a:gd name="T107" fmla="*/ 40 h 272"/>
                <a:gd name="T108" fmla="*/ 179 w 313"/>
                <a:gd name="T109" fmla="*/ 54 h 272"/>
                <a:gd name="T110" fmla="*/ 152 w 313"/>
                <a:gd name="T111" fmla="*/ 57 h 272"/>
                <a:gd name="T112" fmla="*/ 117 w 313"/>
                <a:gd name="T113" fmla="*/ 23 h 272"/>
                <a:gd name="T114" fmla="*/ 86 w 313"/>
                <a:gd name="T115" fmla="*/ 1 h 272"/>
                <a:gd name="T116" fmla="*/ 86 w 313"/>
                <a:gd name="T117" fmla="*/ 0 h 272"/>
                <a:gd name="T118" fmla="*/ 76 w 313"/>
                <a:gd name="T119" fmla="*/ 16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13" h="272">
                  <a:moveTo>
                    <a:pt x="76" y="16"/>
                  </a:moveTo>
                  <a:cubicBezTo>
                    <a:pt x="66" y="26"/>
                    <a:pt x="75" y="27"/>
                    <a:pt x="78" y="34"/>
                  </a:cubicBezTo>
                  <a:cubicBezTo>
                    <a:pt x="80" y="40"/>
                    <a:pt x="85" y="43"/>
                    <a:pt x="92" y="45"/>
                  </a:cubicBezTo>
                  <a:cubicBezTo>
                    <a:pt x="100" y="46"/>
                    <a:pt x="101" y="51"/>
                    <a:pt x="100" y="59"/>
                  </a:cubicBezTo>
                  <a:cubicBezTo>
                    <a:pt x="99" y="66"/>
                    <a:pt x="83" y="67"/>
                    <a:pt x="72" y="65"/>
                  </a:cubicBezTo>
                  <a:cubicBezTo>
                    <a:pt x="61" y="63"/>
                    <a:pt x="54" y="64"/>
                    <a:pt x="50" y="57"/>
                  </a:cubicBezTo>
                  <a:cubicBezTo>
                    <a:pt x="46" y="50"/>
                    <a:pt x="36" y="52"/>
                    <a:pt x="27" y="42"/>
                  </a:cubicBezTo>
                  <a:cubicBezTo>
                    <a:pt x="18" y="32"/>
                    <a:pt x="5" y="42"/>
                    <a:pt x="3" y="48"/>
                  </a:cubicBezTo>
                  <a:cubicBezTo>
                    <a:pt x="2" y="49"/>
                    <a:pt x="1" y="50"/>
                    <a:pt x="0" y="52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1" y="59"/>
                    <a:pt x="3" y="68"/>
                    <a:pt x="8" y="70"/>
                  </a:cubicBezTo>
                  <a:cubicBezTo>
                    <a:pt x="17" y="73"/>
                    <a:pt x="23" y="78"/>
                    <a:pt x="28" y="81"/>
                  </a:cubicBezTo>
                  <a:cubicBezTo>
                    <a:pt x="34" y="84"/>
                    <a:pt x="35" y="94"/>
                    <a:pt x="28" y="97"/>
                  </a:cubicBezTo>
                  <a:cubicBezTo>
                    <a:pt x="20" y="99"/>
                    <a:pt x="22" y="111"/>
                    <a:pt x="27" y="114"/>
                  </a:cubicBezTo>
                  <a:cubicBezTo>
                    <a:pt x="32" y="116"/>
                    <a:pt x="48" y="127"/>
                    <a:pt x="48" y="133"/>
                  </a:cubicBezTo>
                  <a:cubicBezTo>
                    <a:pt x="49" y="139"/>
                    <a:pt x="33" y="151"/>
                    <a:pt x="44" y="157"/>
                  </a:cubicBezTo>
                  <a:cubicBezTo>
                    <a:pt x="55" y="163"/>
                    <a:pt x="65" y="170"/>
                    <a:pt x="69" y="177"/>
                  </a:cubicBezTo>
                  <a:cubicBezTo>
                    <a:pt x="73" y="183"/>
                    <a:pt x="89" y="177"/>
                    <a:pt x="89" y="191"/>
                  </a:cubicBezTo>
                  <a:cubicBezTo>
                    <a:pt x="89" y="204"/>
                    <a:pt x="91" y="211"/>
                    <a:pt x="93" y="216"/>
                  </a:cubicBezTo>
                  <a:cubicBezTo>
                    <a:pt x="94" y="218"/>
                    <a:pt x="94" y="226"/>
                    <a:pt x="95" y="232"/>
                  </a:cubicBezTo>
                  <a:cubicBezTo>
                    <a:pt x="96" y="232"/>
                    <a:pt x="96" y="231"/>
                    <a:pt x="97" y="231"/>
                  </a:cubicBezTo>
                  <a:cubicBezTo>
                    <a:pt x="112" y="219"/>
                    <a:pt x="116" y="214"/>
                    <a:pt x="128" y="204"/>
                  </a:cubicBezTo>
                  <a:cubicBezTo>
                    <a:pt x="140" y="194"/>
                    <a:pt x="143" y="187"/>
                    <a:pt x="154" y="187"/>
                  </a:cubicBezTo>
                  <a:cubicBezTo>
                    <a:pt x="166" y="187"/>
                    <a:pt x="166" y="177"/>
                    <a:pt x="179" y="176"/>
                  </a:cubicBezTo>
                  <a:cubicBezTo>
                    <a:pt x="192" y="175"/>
                    <a:pt x="200" y="175"/>
                    <a:pt x="200" y="187"/>
                  </a:cubicBezTo>
                  <a:cubicBezTo>
                    <a:pt x="200" y="198"/>
                    <a:pt x="193" y="201"/>
                    <a:pt x="198" y="207"/>
                  </a:cubicBezTo>
                  <a:cubicBezTo>
                    <a:pt x="204" y="213"/>
                    <a:pt x="207" y="225"/>
                    <a:pt x="197" y="228"/>
                  </a:cubicBezTo>
                  <a:cubicBezTo>
                    <a:pt x="187" y="231"/>
                    <a:pt x="185" y="240"/>
                    <a:pt x="188" y="245"/>
                  </a:cubicBezTo>
                  <a:cubicBezTo>
                    <a:pt x="192" y="251"/>
                    <a:pt x="199" y="251"/>
                    <a:pt x="204" y="256"/>
                  </a:cubicBezTo>
                  <a:cubicBezTo>
                    <a:pt x="210" y="261"/>
                    <a:pt x="215" y="261"/>
                    <a:pt x="220" y="267"/>
                  </a:cubicBezTo>
                  <a:cubicBezTo>
                    <a:pt x="224" y="272"/>
                    <a:pt x="235" y="272"/>
                    <a:pt x="246" y="270"/>
                  </a:cubicBezTo>
                  <a:cubicBezTo>
                    <a:pt x="244" y="265"/>
                    <a:pt x="242" y="261"/>
                    <a:pt x="240" y="254"/>
                  </a:cubicBezTo>
                  <a:cubicBezTo>
                    <a:pt x="237" y="242"/>
                    <a:pt x="249" y="235"/>
                    <a:pt x="248" y="227"/>
                  </a:cubicBezTo>
                  <a:cubicBezTo>
                    <a:pt x="247" y="219"/>
                    <a:pt x="249" y="217"/>
                    <a:pt x="265" y="206"/>
                  </a:cubicBezTo>
                  <a:cubicBezTo>
                    <a:pt x="281" y="195"/>
                    <a:pt x="276" y="185"/>
                    <a:pt x="276" y="169"/>
                  </a:cubicBezTo>
                  <a:cubicBezTo>
                    <a:pt x="276" y="153"/>
                    <a:pt x="285" y="154"/>
                    <a:pt x="299" y="138"/>
                  </a:cubicBezTo>
                  <a:cubicBezTo>
                    <a:pt x="313" y="122"/>
                    <a:pt x="309" y="111"/>
                    <a:pt x="298" y="105"/>
                  </a:cubicBezTo>
                  <a:cubicBezTo>
                    <a:pt x="287" y="99"/>
                    <a:pt x="281" y="85"/>
                    <a:pt x="274" y="80"/>
                  </a:cubicBezTo>
                  <a:cubicBezTo>
                    <a:pt x="267" y="75"/>
                    <a:pt x="261" y="66"/>
                    <a:pt x="258" y="50"/>
                  </a:cubicBezTo>
                  <a:cubicBezTo>
                    <a:pt x="255" y="34"/>
                    <a:pt x="248" y="27"/>
                    <a:pt x="239" y="23"/>
                  </a:cubicBezTo>
                  <a:cubicBezTo>
                    <a:pt x="238" y="23"/>
                    <a:pt x="237" y="22"/>
                    <a:pt x="236" y="21"/>
                  </a:cubicBezTo>
                  <a:cubicBezTo>
                    <a:pt x="236" y="21"/>
                    <a:pt x="236" y="21"/>
                    <a:pt x="235" y="21"/>
                  </a:cubicBezTo>
                  <a:cubicBezTo>
                    <a:pt x="235" y="20"/>
                    <a:pt x="234" y="20"/>
                    <a:pt x="234" y="19"/>
                  </a:cubicBezTo>
                  <a:cubicBezTo>
                    <a:pt x="234" y="19"/>
                    <a:pt x="233" y="18"/>
                    <a:pt x="233" y="18"/>
                  </a:cubicBezTo>
                  <a:cubicBezTo>
                    <a:pt x="233" y="17"/>
                    <a:pt x="232" y="17"/>
                    <a:pt x="232" y="16"/>
                  </a:cubicBezTo>
                  <a:cubicBezTo>
                    <a:pt x="232" y="16"/>
                    <a:pt x="232" y="16"/>
                    <a:pt x="231" y="15"/>
                  </a:cubicBezTo>
                  <a:cubicBezTo>
                    <a:pt x="231" y="15"/>
                    <a:pt x="231" y="14"/>
                    <a:pt x="230" y="13"/>
                  </a:cubicBezTo>
                  <a:cubicBezTo>
                    <a:pt x="230" y="13"/>
                    <a:pt x="230" y="12"/>
                    <a:pt x="229" y="11"/>
                  </a:cubicBezTo>
                  <a:cubicBezTo>
                    <a:pt x="229" y="11"/>
                    <a:pt x="229" y="10"/>
                    <a:pt x="229" y="10"/>
                  </a:cubicBezTo>
                  <a:cubicBezTo>
                    <a:pt x="228" y="9"/>
                    <a:pt x="228" y="9"/>
                    <a:pt x="228" y="8"/>
                  </a:cubicBezTo>
                  <a:cubicBezTo>
                    <a:pt x="227" y="8"/>
                    <a:pt x="227" y="7"/>
                    <a:pt x="227" y="7"/>
                  </a:cubicBezTo>
                  <a:cubicBezTo>
                    <a:pt x="227" y="6"/>
                    <a:pt x="226" y="6"/>
                    <a:pt x="225" y="5"/>
                  </a:cubicBezTo>
                  <a:cubicBezTo>
                    <a:pt x="223" y="11"/>
                    <a:pt x="219" y="20"/>
                    <a:pt x="216" y="24"/>
                  </a:cubicBezTo>
                  <a:cubicBezTo>
                    <a:pt x="210" y="32"/>
                    <a:pt x="210" y="38"/>
                    <a:pt x="199" y="40"/>
                  </a:cubicBezTo>
                  <a:cubicBezTo>
                    <a:pt x="187" y="41"/>
                    <a:pt x="184" y="46"/>
                    <a:pt x="179" y="54"/>
                  </a:cubicBezTo>
                  <a:cubicBezTo>
                    <a:pt x="174" y="62"/>
                    <a:pt x="161" y="59"/>
                    <a:pt x="152" y="57"/>
                  </a:cubicBezTo>
                  <a:cubicBezTo>
                    <a:pt x="143" y="55"/>
                    <a:pt x="127" y="37"/>
                    <a:pt x="117" y="23"/>
                  </a:cubicBezTo>
                  <a:cubicBezTo>
                    <a:pt x="107" y="9"/>
                    <a:pt x="96" y="10"/>
                    <a:pt x="86" y="1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84" y="5"/>
                    <a:pt x="81" y="11"/>
                    <a:pt x="76" y="16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238" name="Freeform 25323"/>
            <p:cNvSpPr>
              <a:spLocks/>
            </p:cNvSpPr>
            <p:nvPr/>
          </p:nvSpPr>
          <p:spPr bwMode="auto">
            <a:xfrm>
              <a:off x="6367835" y="2461010"/>
              <a:ext cx="763601" cy="322613"/>
            </a:xfrm>
            <a:custGeom>
              <a:avLst/>
              <a:gdLst>
                <a:gd name="T0" fmla="*/ 30 w 2048"/>
                <a:gd name="T1" fmla="*/ 313 h 865"/>
                <a:gd name="T2" fmla="*/ 116 w 2048"/>
                <a:gd name="T3" fmla="*/ 351 h 865"/>
                <a:gd name="T4" fmla="*/ 164 w 2048"/>
                <a:gd name="T5" fmla="*/ 395 h 865"/>
                <a:gd name="T6" fmla="*/ 206 w 2048"/>
                <a:gd name="T7" fmla="*/ 472 h 865"/>
                <a:gd name="T8" fmla="*/ 180 w 2048"/>
                <a:gd name="T9" fmla="*/ 542 h 865"/>
                <a:gd name="T10" fmla="*/ 266 w 2048"/>
                <a:gd name="T11" fmla="*/ 584 h 865"/>
                <a:gd name="T12" fmla="*/ 374 w 2048"/>
                <a:gd name="T13" fmla="*/ 599 h 865"/>
                <a:gd name="T14" fmla="*/ 455 w 2048"/>
                <a:gd name="T15" fmla="*/ 649 h 865"/>
                <a:gd name="T16" fmla="*/ 507 w 2048"/>
                <a:gd name="T17" fmla="*/ 708 h 865"/>
                <a:gd name="T18" fmla="*/ 570 w 2048"/>
                <a:gd name="T19" fmla="*/ 767 h 865"/>
                <a:gd name="T20" fmla="*/ 747 w 2048"/>
                <a:gd name="T21" fmla="*/ 781 h 865"/>
                <a:gd name="T22" fmla="*/ 892 w 2048"/>
                <a:gd name="T23" fmla="*/ 793 h 865"/>
                <a:gd name="T24" fmla="*/ 990 w 2048"/>
                <a:gd name="T25" fmla="*/ 835 h 865"/>
                <a:gd name="T26" fmla="*/ 1102 w 2048"/>
                <a:gd name="T27" fmla="*/ 853 h 865"/>
                <a:gd name="T28" fmla="*/ 1203 w 2048"/>
                <a:gd name="T29" fmla="*/ 802 h 865"/>
                <a:gd name="T30" fmla="*/ 1363 w 2048"/>
                <a:gd name="T31" fmla="*/ 790 h 865"/>
                <a:gd name="T32" fmla="*/ 1491 w 2048"/>
                <a:gd name="T33" fmla="*/ 717 h 865"/>
                <a:gd name="T34" fmla="*/ 1499 w 2048"/>
                <a:gd name="T35" fmla="*/ 638 h 865"/>
                <a:gd name="T36" fmla="*/ 1564 w 2048"/>
                <a:gd name="T37" fmla="*/ 585 h 865"/>
                <a:gd name="T38" fmla="*/ 1674 w 2048"/>
                <a:gd name="T39" fmla="*/ 592 h 865"/>
                <a:gd name="T40" fmla="*/ 1811 w 2048"/>
                <a:gd name="T41" fmla="*/ 522 h 865"/>
                <a:gd name="T42" fmla="*/ 1946 w 2048"/>
                <a:gd name="T43" fmla="*/ 449 h 865"/>
                <a:gd name="T44" fmla="*/ 2043 w 2048"/>
                <a:gd name="T45" fmla="*/ 455 h 865"/>
                <a:gd name="T46" fmla="*/ 1945 w 2048"/>
                <a:gd name="T47" fmla="*/ 351 h 865"/>
                <a:gd name="T48" fmla="*/ 1852 w 2048"/>
                <a:gd name="T49" fmla="*/ 361 h 865"/>
                <a:gd name="T50" fmla="*/ 1767 w 2048"/>
                <a:gd name="T51" fmla="*/ 336 h 865"/>
                <a:gd name="T52" fmla="*/ 1810 w 2048"/>
                <a:gd name="T53" fmla="*/ 248 h 865"/>
                <a:gd name="T54" fmla="*/ 1836 w 2048"/>
                <a:gd name="T55" fmla="*/ 194 h 865"/>
                <a:gd name="T56" fmla="*/ 1804 w 2048"/>
                <a:gd name="T57" fmla="*/ 182 h 865"/>
                <a:gd name="T58" fmla="*/ 1724 w 2048"/>
                <a:gd name="T59" fmla="*/ 168 h 865"/>
                <a:gd name="T60" fmla="*/ 1646 w 2048"/>
                <a:gd name="T61" fmla="*/ 180 h 865"/>
                <a:gd name="T62" fmla="*/ 1575 w 2048"/>
                <a:gd name="T63" fmla="*/ 224 h 865"/>
                <a:gd name="T64" fmla="*/ 1464 w 2048"/>
                <a:gd name="T65" fmla="*/ 254 h 865"/>
                <a:gd name="T66" fmla="*/ 1324 w 2048"/>
                <a:gd name="T67" fmla="*/ 241 h 865"/>
                <a:gd name="T68" fmla="*/ 1238 w 2048"/>
                <a:gd name="T69" fmla="*/ 187 h 865"/>
                <a:gd name="T70" fmla="*/ 1157 w 2048"/>
                <a:gd name="T71" fmla="*/ 154 h 865"/>
                <a:gd name="T72" fmla="*/ 1081 w 2048"/>
                <a:gd name="T73" fmla="*/ 152 h 865"/>
                <a:gd name="T74" fmla="*/ 997 w 2048"/>
                <a:gd name="T75" fmla="*/ 170 h 865"/>
                <a:gd name="T76" fmla="*/ 921 w 2048"/>
                <a:gd name="T77" fmla="*/ 121 h 865"/>
                <a:gd name="T78" fmla="*/ 873 w 2048"/>
                <a:gd name="T79" fmla="*/ 65 h 865"/>
                <a:gd name="T80" fmla="*/ 787 w 2048"/>
                <a:gd name="T81" fmla="*/ 40 h 865"/>
                <a:gd name="T82" fmla="*/ 715 w 2048"/>
                <a:gd name="T83" fmla="*/ 12 h 865"/>
                <a:gd name="T84" fmla="*/ 654 w 2048"/>
                <a:gd name="T85" fmla="*/ 62 h 865"/>
                <a:gd name="T86" fmla="*/ 650 w 2048"/>
                <a:gd name="T87" fmla="*/ 124 h 865"/>
                <a:gd name="T88" fmla="*/ 659 w 2048"/>
                <a:gd name="T89" fmla="*/ 176 h 865"/>
                <a:gd name="T90" fmla="*/ 607 w 2048"/>
                <a:gd name="T91" fmla="*/ 206 h 865"/>
                <a:gd name="T92" fmla="*/ 547 w 2048"/>
                <a:gd name="T93" fmla="*/ 197 h 865"/>
                <a:gd name="T94" fmla="*/ 477 w 2048"/>
                <a:gd name="T95" fmla="*/ 191 h 865"/>
                <a:gd name="T96" fmla="*/ 417 w 2048"/>
                <a:gd name="T97" fmla="*/ 144 h 865"/>
                <a:gd name="T98" fmla="*/ 322 w 2048"/>
                <a:gd name="T99" fmla="*/ 130 h 865"/>
                <a:gd name="T100" fmla="*/ 259 w 2048"/>
                <a:gd name="T101" fmla="*/ 127 h 865"/>
                <a:gd name="T102" fmla="*/ 165 w 2048"/>
                <a:gd name="T103" fmla="*/ 168 h 865"/>
                <a:gd name="T104" fmla="*/ 102 w 2048"/>
                <a:gd name="T105" fmla="*/ 218 h 865"/>
                <a:gd name="T106" fmla="*/ 11 w 2048"/>
                <a:gd name="T107" fmla="*/ 254 h 865"/>
                <a:gd name="T108" fmla="*/ 6 w 2048"/>
                <a:gd name="T109" fmla="*/ 259 h 865"/>
                <a:gd name="T110" fmla="*/ 3 w 2048"/>
                <a:gd name="T111" fmla="*/ 261 h 8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048" h="865">
                  <a:moveTo>
                    <a:pt x="2" y="278"/>
                  </a:moveTo>
                  <a:cubicBezTo>
                    <a:pt x="6" y="289"/>
                    <a:pt x="10" y="289"/>
                    <a:pt x="12" y="296"/>
                  </a:cubicBezTo>
                  <a:cubicBezTo>
                    <a:pt x="14" y="303"/>
                    <a:pt x="16" y="308"/>
                    <a:pt x="30" y="313"/>
                  </a:cubicBezTo>
                  <a:cubicBezTo>
                    <a:pt x="44" y="318"/>
                    <a:pt x="47" y="320"/>
                    <a:pt x="49" y="326"/>
                  </a:cubicBezTo>
                  <a:cubicBezTo>
                    <a:pt x="51" y="332"/>
                    <a:pt x="68" y="349"/>
                    <a:pt x="81" y="350"/>
                  </a:cubicBezTo>
                  <a:cubicBezTo>
                    <a:pt x="94" y="351"/>
                    <a:pt x="112" y="344"/>
                    <a:pt x="116" y="351"/>
                  </a:cubicBezTo>
                  <a:cubicBezTo>
                    <a:pt x="120" y="358"/>
                    <a:pt x="126" y="357"/>
                    <a:pt x="134" y="359"/>
                  </a:cubicBezTo>
                  <a:cubicBezTo>
                    <a:pt x="142" y="361"/>
                    <a:pt x="151" y="370"/>
                    <a:pt x="154" y="375"/>
                  </a:cubicBezTo>
                  <a:cubicBezTo>
                    <a:pt x="157" y="380"/>
                    <a:pt x="163" y="385"/>
                    <a:pt x="164" y="395"/>
                  </a:cubicBezTo>
                  <a:cubicBezTo>
                    <a:pt x="165" y="405"/>
                    <a:pt x="167" y="415"/>
                    <a:pt x="180" y="425"/>
                  </a:cubicBezTo>
                  <a:cubicBezTo>
                    <a:pt x="193" y="435"/>
                    <a:pt x="190" y="445"/>
                    <a:pt x="202" y="450"/>
                  </a:cubicBezTo>
                  <a:cubicBezTo>
                    <a:pt x="214" y="455"/>
                    <a:pt x="220" y="466"/>
                    <a:pt x="206" y="472"/>
                  </a:cubicBezTo>
                  <a:cubicBezTo>
                    <a:pt x="192" y="478"/>
                    <a:pt x="190" y="493"/>
                    <a:pt x="197" y="498"/>
                  </a:cubicBezTo>
                  <a:cubicBezTo>
                    <a:pt x="204" y="503"/>
                    <a:pt x="213" y="505"/>
                    <a:pt x="200" y="514"/>
                  </a:cubicBezTo>
                  <a:cubicBezTo>
                    <a:pt x="187" y="523"/>
                    <a:pt x="181" y="533"/>
                    <a:pt x="180" y="542"/>
                  </a:cubicBezTo>
                  <a:cubicBezTo>
                    <a:pt x="179" y="551"/>
                    <a:pt x="170" y="555"/>
                    <a:pt x="186" y="563"/>
                  </a:cubicBezTo>
                  <a:cubicBezTo>
                    <a:pt x="202" y="571"/>
                    <a:pt x="194" y="580"/>
                    <a:pt x="212" y="582"/>
                  </a:cubicBezTo>
                  <a:cubicBezTo>
                    <a:pt x="230" y="584"/>
                    <a:pt x="253" y="580"/>
                    <a:pt x="266" y="584"/>
                  </a:cubicBezTo>
                  <a:cubicBezTo>
                    <a:pt x="279" y="588"/>
                    <a:pt x="283" y="591"/>
                    <a:pt x="296" y="591"/>
                  </a:cubicBezTo>
                  <a:cubicBezTo>
                    <a:pt x="309" y="591"/>
                    <a:pt x="317" y="589"/>
                    <a:pt x="328" y="590"/>
                  </a:cubicBezTo>
                  <a:cubicBezTo>
                    <a:pt x="339" y="591"/>
                    <a:pt x="366" y="586"/>
                    <a:pt x="374" y="599"/>
                  </a:cubicBezTo>
                  <a:cubicBezTo>
                    <a:pt x="382" y="612"/>
                    <a:pt x="387" y="615"/>
                    <a:pt x="397" y="618"/>
                  </a:cubicBezTo>
                  <a:cubicBezTo>
                    <a:pt x="407" y="621"/>
                    <a:pt x="415" y="621"/>
                    <a:pt x="421" y="628"/>
                  </a:cubicBezTo>
                  <a:cubicBezTo>
                    <a:pt x="427" y="635"/>
                    <a:pt x="440" y="647"/>
                    <a:pt x="455" y="649"/>
                  </a:cubicBezTo>
                  <a:cubicBezTo>
                    <a:pt x="470" y="651"/>
                    <a:pt x="481" y="652"/>
                    <a:pt x="486" y="662"/>
                  </a:cubicBezTo>
                  <a:cubicBezTo>
                    <a:pt x="491" y="672"/>
                    <a:pt x="484" y="675"/>
                    <a:pt x="495" y="682"/>
                  </a:cubicBezTo>
                  <a:cubicBezTo>
                    <a:pt x="506" y="689"/>
                    <a:pt x="506" y="697"/>
                    <a:pt x="507" y="708"/>
                  </a:cubicBezTo>
                  <a:cubicBezTo>
                    <a:pt x="508" y="719"/>
                    <a:pt x="510" y="727"/>
                    <a:pt x="521" y="736"/>
                  </a:cubicBezTo>
                  <a:cubicBezTo>
                    <a:pt x="532" y="745"/>
                    <a:pt x="534" y="739"/>
                    <a:pt x="542" y="756"/>
                  </a:cubicBezTo>
                  <a:cubicBezTo>
                    <a:pt x="550" y="773"/>
                    <a:pt x="556" y="768"/>
                    <a:pt x="570" y="767"/>
                  </a:cubicBezTo>
                  <a:cubicBezTo>
                    <a:pt x="584" y="766"/>
                    <a:pt x="611" y="760"/>
                    <a:pt x="631" y="771"/>
                  </a:cubicBezTo>
                  <a:cubicBezTo>
                    <a:pt x="651" y="782"/>
                    <a:pt x="674" y="778"/>
                    <a:pt x="687" y="778"/>
                  </a:cubicBezTo>
                  <a:cubicBezTo>
                    <a:pt x="700" y="778"/>
                    <a:pt x="729" y="789"/>
                    <a:pt x="747" y="781"/>
                  </a:cubicBezTo>
                  <a:cubicBezTo>
                    <a:pt x="765" y="773"/>
                    <a:pt x="774" y="772"/>
                    <a:pt x="786" y="773"/>
                  </a:cubicBezTo>
                  <a:cubicBezTo>
                    <a:pt x="798" y="774"/>
                    <a:pt x="809" y="774"/>
                    <a:pt x="823" y="780"/>
                  </a:cubicBezTo>
                  <a:cubicBezTo>
                    <a:pt x="837" y="786"/>
                    <a:pt x="867" y="774"/>
                    <a:pt x="892" y="793"/>
                  </a:cubicBezTo>
                  <a:cubicBezTo>
                    <a:pt x="917" y="812"/>
                    <a:pt x="916" y="817"/>
                    <a:pt x="930" y="817"/>
                  </a:cubicBezTo>
                  <a:cubicBezTo>
                    <a:pt x="944" y="817"/>
                    <a:pt x="946" y="824"/>
                    <a:pt x="963" y="824"/>
                  </a:cubicBezTo>
                  <a:cubicBezTo>
                    <a:pt x="980" y="824"/>
                    <a:pt x="979" y="828"/>
                    <a:pt x="990" y="835"/>
                  </a:cubicBezTo>
                  <a:cubicBezTo>
                    <a:pt x="1001" y="842"/>
                    <a:pt x="1005" y="843"/>
                    <a:pt x="1019" y="841"/>
                  </a:cubicBezTo>
                  <a:cubicBezTo>
                    <a:pt x="1033" y="839"/>
                    <a:pt x="1049" y="829"/>
                    <a:pt x="1062" y="843"/>
                  </a:cubicBezTo>
                  <a:cubicBezTo>
                    <a:pt x="1075" y="857"/>
                    <a:pt x="1091" y="865"/>
                    <a:pt x="1102" y="853"/>
                  </a:cubicBezTo>
                  <a:cubicBezTo>
                    <a:pt x="1113" y="841"/>
                    <a:pt x="1113" y="836"/>
                    <a:pt x="1126" y="836"/>
                  </a:cubicBezTo>
                  <a:cubicBezTo>
                    <a:pt x="1139" y="836"/>
                    <a:pt x="1135" y="822"/>
                    <a:pt x="1153" y="821"/>
                  </a:cubicBezTo>
                  <a:cubicBezTo>
                    <a:pt x="1171" y="820"/>
                    <a:pt x="1188" y="805"/>
                    <a:pt x="1203" y="802"/>
                  </a:cubicBezTo>
                  <a:cubicBezTo>
                    <a:pt x="1218" y="799"/>
                    <a:pt x="1246" y="791"/>
                    <a:pt x="1260" y="791"/>
                  </a:cubicBezTo>
                  <a:cubicBezTo>
                    <a:pt x="1274" y="791"/>
                    <a:pt x="1282" y="788"/>
                    <a:pt x="1310" y="791"/>
                  </a:cubicBezTo>
                  <a:cubicBezTo>
                    <a:pt x="1338" y="794"/>
                    <a:pt x="1350" y="794"/>
                    <a:pt x="1363" y="790"/>
                  </a:cubicBezTo>
                  <a:cubicBezTo>
                    <a:pt x="1376" y="786"/>
                    <a:pt x="1393" y="774"/>
                    <a:pt x="1409" y="774"/>
                  </a:cubicBezTo>
                  <a:cubicBezTo>
                    <a:pt x="1425" y="774"/>
                    <a:pt x="1435" y="768"/>
                    <a:pt x="1450" y="755"/>
                  </a:cubicBezTo>
                  <a:cubicBezTo>
                    <a:pt x="1465" y="742"/>
                    <a:pt x="1462" y="725"/>
                    <a:pt x="1491" y="717"/>
                  </a:cubicBezTo>
                  <a:cubicBezTo>
                    <a:pt x="1520" y="709"/>
                    <a:pt x="1522" y="700"/>
                    <a:pt x="1530" y="695"/>
                  </a:cubicBezTo>
                  <a:cubicBezTo>
                    <a:pt x="1538" y="690"/>
                    <a:pt x="1543" y="678"/>
                    <a:pt x="1526" y="669"/>
                  </a:cubicBezTo>
                  <a:cubicBezTo>
                    <a:pt x="1509" y="660"/>
                    <a:pt x="1497" y="644"/>
                    <a:pt x="1499" y="638"/>
                  </a:cubicBezTo>
                  <a:cubicBezTo>
                    <a:pt x="1501" y="632"/>
                    <a:pt x="1501" y="626"/>
                    <a:pt x="1509" y="621"/>
                  </a:cubicBezTo>
                  <a:cubicBezTo>
                    <a:pt x="1517" y="616"/>
                    <a:pt x="1513" y="591"/>
                    <a:pt x="1529" y="588"/>
                  </a:cubicBezTo>
                  <a:cubicBezTo>
                    <a:pt x="1545" y="585"/>
                    <a:pt x="1549" y="573"/>
                    <a:pt x="1564" y="585"/>
                  </a:cubicBezTo>
                  <a:cubicBezTo>
                    <a:pt x="1579" y="597"/>
                    <a:pt x="1579" y="602"/>
                    <a:pt x="1594" y="604"/>
                  </a:cubicBezTo>
                  <a:cubicBezTo>
                    <a:pt x="1609" y="606"/>
                    <a:pt x="1622" y="614"/>
                    <a:pt x="1638" y="609"/>
                  </a:cubicBezTo>
                  <a:cubicBezTo>
                    <a:pt x="1654" y="604"/>
                    <a:pt x="1662" y="595"/>
                    <a:pt x="1674" y="592"/>
                  </a:cubicBezTo>
                  <a:cubicBezTo>
                    <a:pt x="1686" y="589"/>
                    <a:pt x="1693" y="557"/>
                    <a:pt x="1709" y="557"/>
                  </a:cubicBezTo>
                  <a:cubicBezTo>
                    <a:pt x="1725" y="557"/>
                    <a:pt x="1755" y="571"/>
                    <a:pt x="1774" y="558"/>
                  </a:cubicBezTo>
                  <a:cubicBezTo>
                    <a:pt x="1793" y="545"/>
                    <a:pt x="1803" y="542"/>
                    <a:pt x="1811" y="522"/>
                  </a:cubicBezTo>
                  <a:cubicBezTo>
                    <a:pt x="1819" y="502"/>
                    <a:pt x="1823" y="484"/>
                    <a:pt x="1850" y="481"/>
                  </a:cubicBezTo>
                  <a:cubicBezTo>
                    <a:pt x="1877" y="478"/>
                    <a:pt x="1884" y="464"/>
                    <a:pt x="1904" y="465"/>
                  </a:cubicBezTo>
                  <a:cubicBezTo>
                    <a:pt x="1924" y="466"/>
                    <a:pt x="1931" y="449"/>
                    <a:pt x="1946" y="449"/>
                  </a:cubicBezTo>
                  <a:cubicBezTo>
                    <a:pt x="1961" y="449"/>
                    <a:pt x="1976" y="445"/>
                    <a:pt x="1985" y="451"/>
                  </a:cubicBezTo>
                  <a:cubicBezTo>
                    <a:pt x="1994" y="457"/>
                    <a:pt x="1994" y="469"/>
                    <a:pt x="2010" y="463"/>
                  </a:cubicBezTo>
                  <a:cubicBezTo>
                    <a:pt x="2026" y="457"/>
                    <a:pt x="2038" y="461"/>
                    <a:pt x="2043" y="455"/>
                  </a:cubicBezTo>
                  <a:cubicBezTo>
                    <a:pt x="2048" y="449"/>
                    <a:pt x="2048" y="430"/>
                    <a:pt x="2033" y="419"/>
                  </a:cubicBezTo>
                  <a:cubicBezTo>
                    <a:pt x="2018" y="408"/>
                    <a:pt x="1989" y="386"/>
                    <a:pt x="1982" y="374"/>
                  </a:cubicBezTo>
                  <a:cubicBezTo>
                    <a:pt x="1975" y="362"/>
                    <a:pt x="1952" y="354"/>
                    <a:pt x="1945" y="351"/>
                  </a:cubicBezTo>
                  <a:cubicBezTo>
                    <a:pt x="1938" y="348"/>
                    <a:pt x="1914" y="345"/>
                    <a:pt x="1906" y="353"/>
                  </a:cubicBezTo>
                  <a:cubicBezTo>
                    <a:pt x="1898" y="361"/>
                    <a:pt x="1891" y="376"/>
                    <a:pt x="1879" y="375"/>
                  </a:cubicBezTo>
                  <a:cubicBezTo>
                    <a:pt x="1867" y="374"/>
                    <a:pt x="1866" y="357"/>
                    <a:pt x="1852" y="361"/>
                  </a:cubicBezTo>
                  <a:cubicBezTo>
                    <a:pt x="1838" y="365"/>
                    <a:pt x="1807" y="357"/>
                    <a:pt x="1803" y="363"/>
                  </a:cubicBezTo>
                  <a:cubicBezTo>
                    <a:pt x="1799" y="369"/>
                    <a:pt x="1796" y="385"/>
                    <a:pt x="1780" y="371"/>
                  </a:cubicBezTo>
                  <a:cubicBezTo>
                    <a:pt x="1764" y="357"/>
                    <a:pt x="1752" y="339"/>
                    <a:pt x="1767" y="336"/>
                  </a:cubicBezTo>
                  <a:cubicBezTo>
                    <a:pt x="1782" y="333"/>
                    <a:pt x="1785" y="335"/>
                    <a:pt x="1785" y="317"/>
                  </a:cubicBezTo>
                  <a:cubicBezTo>
                    <a:pt x="1785" y="299"/>
                    <a:pt x="1781" y="296"/>
                    <a:pt x="1793" y="285"/>
                  </a:cubicBezTo>
                  <a:cubicBezTo>
                    <a:pt x="1805" y="274"/>
                    <a:pt x="1798" y="258"/>
                    <a:pt x="1810" y="248"/>
                  </a:cubicBezTo>
                  <a:cubicBezTo>
                    <a:pt x="1820" y="240"/>
                    <a:pt x="1827" y="214"/>
                    <a:pt x="1838" y="197"/>
                  </a:cubicBezTo>
                  <a:cubicBezTo>
                    <a:pt x="1838" y="197"/>
                    <a:pt x="1838" y="197"/>
                    <a:pt x="1838" y="197"/>
                  </a:cubicBezTo>
                  <a:cubicBezTo>
                    <a:pt x="1838" y="196"/>
                    <a:pt x="1837" y="195"/>
                    <a:pt x="1836" y="194"/>
                  </a:cubicBezTo>
                  <a:cubicBezTo>
                    <a:pt x="1836" y="194"/>
                    <a:pt x="1836" y="194"/>
                    <a:pt x="1836" y="194"/>
                  </a:cubicBezTo>
                  <a:cubicBezTo>
                    <a:pt x="1836" y="193"/>
                    <a:pt x="1835" y="192"/>
                    <a:pt x="1834" y="191"/>
                  </a:cubicBezTo>
                  <a:cubicBezTo>
                    <a:pt x="1827" y="182"/>
                    <a:pt x="1816" y="184"/>
                    <a:pt x="1804" y="182"/>
                  </a:cubicBezTo>
                  <a:cubicBezTo>
                    <a:pt x="1792" y="180"/>
                    <a:pt x="1789" y="186"/>
                    <a:pt x="1783" y="192"/>
                  </a:cubicBezTo>
                  <a:cubicBezTo>
                    <a:pt x="1777" y="198"/>
                    <a:pt x="1757" y="196"/>
                    <a:pt x="1745" y="189"/>
                  </a:cubicBezTo>
                  <a:cubicBezTo>
                    <a:pt x="1733" y="182"/>
                    <a:pt x="1742" y="175"/>
                    <a:pt x="1724" y="168"/>
                  </a:cubicBezTo>
                  <a:cubicBezTo>
                    <a:pt x="1706" y="162"/>
                    <a:pt x="1701" y="161"/>
                    <a:pt x="1686" y="162"/>
                  </a:cubicBezTo>
                  <a:cubicBezTo>
                    <a:pt x="1671" y="162"/>
                    <a:pt x="1674" y="163"/>
                    <a:pt x="1664" y="170"/>
                  </a:cubicBezTo>
                  <a:cubicBezTo>
                    <a:pt x="1654" y="176"/>
                    <a:pt x="1659" y="177"/>
                    <a:pt x="1646" y="180"/>
                  </a:cubicBezTo>
                  <a:cubicBezTo>
                    <a:pt x="1633" y="182"/>
                    <a:pt x="1633" y="189"/>
                    <a:pt x="1621" y="194"/>
                  </a:cubicBezTo>
                  <a:cubicBezTo>
                    <a:pt x="1608" y="200"/>
                    <a:pt x="1611" y="204"/>
                    <a:pt x="1609" y="215"/>
                  </a:cubicBezTo>
                  <a:cubicBezTo>
                    <a:pt x="1607" y="226"/>
                    <a:pt x="1589" y="224"/>
                    <a:pt x="1575" y="224"/>
                  </a:cubicBezTo>
                  <a:cubicBezTo>
                    <a:pt x="1561" y="224"/>
                    <a:pt x="1559" y="230"/>
                    <a:pt x="1546" y="232"/>
                  </a:cubicBezTo>
                  <a:cubicBezTo>
                    <a:pt x="1533" y="234"/>
                    <a:pt x="1519" y="237"/>
                    <a:pt x="1498" y="237"/>
                  </a:cubicBezTo>
                  <a:cubicBezTo>
                    <a:pt x="1477" y="237"/>
                    <a:pt x="1480" y="253"/>
                    <a:pt x="1464" y="254"/>
                  </a:cubicBezTo>
                  <a:cubicBezTo>
                    <a:pt x="1448" y="254"/>
                    <a:pt x="1418" y="253"/>
                    <a:pt x="1401" y="253"/>
                  </a:cubicBezTo>
                  <a:cubicBezTo>
                    <a:pt x="1383" y="253"/>
                    <a:pt x="1383" y="248"/>
                    <a:pt x="1365" y="240"/>
                  </a:cubicBezTo>
                  <a:cubicBezTo>
                    <a:pt x="1347" y="231"/>
                    <a:pt x="1339" y="240"/>
                    <a:pt x="1324" y="241"/>
                  </a:cubicBezTo>
                  <a:cubicBezTo>
                    <a:pt x="1309" y="242"/>
                    <a:pt x="1309" y="230"/>
                    <a:pt x="1297" y="226"/>
                  </a:cubicBezTo>
                  <a:cubicBezTo>
                    <a:pt x="1286" y="221"/>
                    <a:pt x="1281" y="214"/>
                    <a:pt x="1280" y="198"/>
                  </a:cubicBezTo>
                  <a:cubicBezTo>
                    <a:pt x="1279" y="182"/>
                    <a:pt x="1254" y="187"/>
                    <a:pt x="1238" y="187"/>
                  </a:cubicBezTo>
                  <a:cubicBezTo>
                    <a:pt x="1222" y="187"/>
                    <a:pt x="1219" y="170"/>
                    <a:pt x="1207" y="159"/>
                  </a:cubicBezTo>
                  <a:cubicBezTo>
                    <a:pt x="1195" y="148"/>
                    <a:pt x="1186" y="162"/>
                    <a:pt x="1174" y="162"/>
                  </a:cubicBezTo>
                  <a:cubicBezTo>
                    <a:pt x="1162" y="163"/>
                    <a:pt x="1165" y="156"/>
                    <a:pt x="1157" y="154"/>
                  </a:cubicBezTo>
                  <a:cubicBezTo>
                    <a:pt x="1150" y="152"/>
                    <a:pt x="1145" y="154"/>
                    <a:pt x="1135" y="148"/>
                  </a:cubicBezTo>
                  <a:cubicBezTo>
                    <a:pt x="1125" y="142"/>
                    <a:pt x="1121" y="144"/>
                    <a:pt x="1105" y="144"/>
                  </a:cubicBezTo>
                  <a:cubicBezTo>
                    <a:pt x="1089" y="144"/>
                    <a:pt x="1092" y="151"/>
                    <a:pt x="1081" y="152"/>
                  </a:cubicBezTo>
                  <a:cubicBezTo>
                    <a:pt x="1069" y="152"/>
                    <a:pt x="1070" y="152"/>
                    <a:pt x="1056" y="159"/>
                  </a:cubicBezTo>
                  <a:cubicBezTo>
                    <a:pt x="1042" y="166"/>
                    <a:pt x="1042" y="172"/>
                    <a:pt x="1031" y="174"/>
                  </a:cubicBezTo>
                  <a:cubicBezTo>
                    <a:pt x="1021" y="176"/>
                    <a:pt x="1008" y="177"/>
                    <a:pt x="997" y="170"/>
                  </a:cubicBezTo>
                  <a:cubicBezTo>
                    <a:pt x="987" y="162"/>
                    <a:pt x="981" y="163"/>
                    <a:pt x="960" y="158"/>
                  </a:cubicBezTo>
                  <a:cubicBezTo>
                    <a:pt x="939" y="152"/>
                    <a:pt x="939" y="147"/>
                    <a:pt x="929" y="141"/>
                  </a:cubicBezTo>
                  <a:cubicBezTo>
                    <a:pt x="919" y="135"/>
                    <a:pt x="922" y="132"/>
                    <a:pt x="921" y="121"/>
                  </a:cubicBezTo>
                  <a:cubicBezTo>
                    <a:pt x="919" y="110"/>
                    <a:pt x="919" y="102"/>
                    <a:pt x="913" y="96"/>
                  </a:cubicBezTo>
                  <a:cubicBezTo>
                    <a:pt x="908" y="91"/>
                    <a:pt x="908" y="83"/>
                    <a:pt x="905" y="73"/>
                  </a:cubicBezTo>
                  <a:cubicBezTo>
                    <a:pt x="901" y="63"/>
                    <a:pt x="888" y="64"/>
                    <a:pt x="873" y="65"/>
                  </a:cubicBezTo>
                  <a:cubicBezTo>
                    <a:pt x="857" y="66"/>
                    <a:pt x="853" y="56"/>
                    <a:pt x="843" y="55"/>
                  </a:cubicBezTo>
                  <a:cubicBezTo>
                    <a:pt x="834" y="54"/>
                    <a:pt x="826" y="49"/>
                    <a:pt x="818" y="42"/>
                  </a:cubicBezTo>
                  <a:cubicBezTo>
                    <a:pt x="810" y="36"/>
                    <a:pt x="803" y="39"/>
                    <a:pt x="787" y="40"/>
                  </a:cubicBezTo>
                  <a:cubicBezTo>
                    <a:pt x="772" y="40"/>
                    <a:pt x="766" y="40"/>
                    <a:pt x="761" y="33"/>
                  </a:cubicBezTo>
                  <a:cubicBezTo>
                    <a:pt x="757" y="26"/>
                    <a:pt x="753" y="26"/>
                    <a:pt x="743" y="24"/>
                  </a:cubicBezTo>
                  <a:cubicBezTo>
                    <a:pt x="732" y="22"/>
                    <a:pt x="727" y="23"/>
                    <a:pt x="715" y="12"/>
                  </a:cubicBezTo>
                  <a:cubicBezTo>
                    <a:pt x="703" y="0"/>
                    <a:pt x="704" y="12"/>
                    <a:pt x="702" y="20"/>
                  </a:cubicBezTo>
                  <a:cubicBezTo>
                    <a:pt x="700" y="29"/>
                    <a:pt x="696" y="30"/>
                    <a:pt x="681" y="35"/>
                  </a:cubicBezTo>
                  <a:cubicBezTo>
                    <a:pt x="667" y="40"/>
                    <a:pt x="663" y="60"/>
                    <a:pt x="654" y="62"/>
                  </a:cubicBezTo>
                  <a:cubicBezTo>
                    <a:pt x="645" y="65"/>
                    <a:pt x="648" y="75"/>
                    <a:pt x="643" y="83"/>
                  </a:cubicBezTo>
                  <a:cubicBezTo>
                    <a:pt x="637" y="91"/>
                    <a:pt x="638" y="94"/>
                    <a:pt x="639" y="104"/>
                  </a:cubicBezTo>
                  <a:cubicBezTo>
                    <a:pt x="639" y="113"/>
                    <a:pt x="647" y="115"/>
                    <a:pt x="650" y="124"/>
                  </a:cubicBezTo>
                  <a:cubicBezTo>
                    <a:pt x="653" y="134"/>
                    <a:pt x="655" y="136"/>
                    <a:pt x="666" y="142"/>
                  </a:cubicBezTo>
                  <a:cubicBezTo>
                    <a:pt x="677" y="149"/>
                    <a:pt x="677" y="155"/>
                    <a:pt x="669" y="160"/>
                  </a:cubicBezTo>
                  <a:cubicBezTo>
                    <a:pt x="661" y="164"/>
                    <a:pt x="663" y="167"/>
                    <a:pt x="659" y="176"/>
                  </a:cubicBezTo>
                  <a:cubicBezTo>
                    <a:pt x="654" y="186"/>
                    <a:pt x="649" y="186"/>
                    <a:pt x="637" y="188"/>
                  </a:cubicBezTo>
                  <a:cubicBezTo>
                    <a:pt x="625" y="190"/>
                    <a:pt x="625" y="194"/>
                    <a:pt x="621" y="200"/>
                  </a:cubicBezTo>
                  <a:cubicBezTo>
                    <a:pt x="617" y="206"/>
                    <a:pt x="609" y="202"/>
                    <a:pt x="607" y="206"/>
                  </a:cubicBezTo>
                  <a:cubicBezTo>
                    <a:pt x="604" y="211"/>
                    <a:pt x="603" y="214"/>
                    <a:pt x="599" y="208"/>
                  </a:cubicBezTo>
                  <a:cubicBezTo>
                    <a:pt x="594" y="202"/>
                    <a:pt x="589" y="208"/>
                    <a:pt x="585" y="199"/>
                  </a:cubicBezTo>
                  <a:cubicBezTo>
                    <a:pt x="581" y="190"/>
                    <a:pt x="561" y="197"/>
                    <a:pt x="547" y="197"/>
                  </a:cubicBezTo>
                  <a:cubicBezTo>
                    <a:pt x="533" y="197"/>
                    <a:pt x="539" y="190"/>
                    <a:pt x="527" y="186"/>
                  </a:cubicBezTo>
                  <a:cubicBezTo>
                    <a:pt x="516" y="183"/>
                    <a:pt x="507" y="186"/>
                    <a:pt x="500" y="194"/>
                  </a:cubicBezTo>
                  <a:cubicBezTo>
                    <a:pt x="493" y="201"/>
                    <a:pt x="485" y="196"/>
                    <a:pt x="477" y="191"/>
                  </a:cubicBezTo>
                  <a:cubicBezTo>
                    <a:pt x="469" y="186"/>
                    <a:pt x="462" y="192"/>
                    <a:pt x="455" y="182"/>
                  </a:cubicBezTo>
                  <a:cubicBezTo>
                    <a:pt x="449" y="173"/>
                    <a:pt x="438" y="180"/>
                    <a:pt x="427" y="176"/>
                  </a:cubicBezTo>
                  <a:cubicBezTo>
                    <a:pt x="415" y="172"/>
                    <a:pt x="413" y="155"/>
                    <a:pt x="417" y="144"/>
                  </a:cubicBezTo>
                  <a:cubicBezTo>
                    <a:pt x="420" y="132"/>
                    <a:pt x="384" y="137"/>
                    <a:pt x="363" y="137"/>
                  </a:cubicBezTo>
                  <a:cubicBezTo>
                    <a:pt x="343" y="137"/>
                    <a:pt x="338" y="138"/>
                    <a:pt x="335" y="131"/>
                  </a:cubicBezTo>
                  <a:cubicBezTo>
                    <a:pt x="331" y="124"/>
                    <a:pt x="329" y="127"/>
                    <a:pt x="322" y="130"/>
                  </a:cubicBezTo>
                  <a:cubicBezTo>
                    <a:pt x="315" y="132"/>
                    <a:pt x="307" y="129"/>
                    <a:pt x="307" y="122"/>
                  </a:cubicBezTo>
                  <a:cubicBezTo>
                    <a:pt x="306" y="116"/>
                    <a:pt x="299" y="116"/>
                    <a:pt x="287" y="117"/>
                  </a:cubicBezTo>
                  <a:cubicBezTo>
                    <a:pt x="274" y="118"/>
                    <a:pt x="276" y="128"/>
                    <a:pt x="259" y="127"/>
                  </a:cubicBezTo>
                  <a:cubicBezTo>
                    <a:pt x="241" y="126"/>
                    <a:pt x="252" y="143"/>
                    <a:pt x="238" y="142"/>
                  </a:cubicBezTo>
                  <a:cubicBezTo>
                    <a:pt x="224" y="142"/>
                    <a:pt x="215" y="144"/>
                    <a:pt x="205" y="153"/>
                  </a:cubicBezTo>
                  <a:cubicBezTo>
                    <a:pt x="196" y="162"/>
                    <a:pt x="183" y="167"/>
                    <a:pt x="165" y="168"/>
                  </a:cubicBezTo>
                  <a:cubicBezTo>
                    <a:pt x="147" y="168"/>
                    <a:pt x="143" y="184"/>
                    <a:pt x="130" y="184"/>
                  </a:cubicBezTo>
                  <a:cubicBezTo>
                    <a:pt x="117" y="184"/>
                    <a:pt x="121" y="196"/>
                    <a:pt x="119" y="204"/>
                  </a:cubicBezTo>
                  <a:cubicBezTo>
                    <a:pt x="116" y="212"/>
                    <a:pt x="112" y="221"/>
                    <a:pt x="102" y="218"/>
                  </a:cubicBezTo>
                  <a:cubicBezTo>
                    <a:pt x="92" y="216"/>
                    <a:pt x="87" y="218"/>
                    <a:pt x="75" y="226"/>
                  </a:cubicBezTo>
                  <a:cubicBezTo>
                    <a:pt x="63" y="234"/>
                    <a:pt x="54" y="227"/>
                    <a:pt x="42" y="227"/>
                  </a:cubicBezTo>
                  <a:cubicBezTo>
                    <a:pt x="30" y="227"/>
                    <a:pt x="20" y="242"/>
                    <a:pt x="11" y="254"/>
                  </a:cubicBezTo>
                  <a:cubicBezTo>
                    <a:pt x="10" y="255"/>
                    <a:pt x="9" y="256"/>
                    <a:pt x="8" y="256"/>
                  </a:cubicBezTo>
                  <a:cubicBezTo>
                    <a:pt x="8" y="257"/>
                    <a:pt x="8" y="257"/>
                    <a:pt x="8" y="257"/>
                  </a:cubicBezTo>
                  <a:cubicBezTo>
                    <a:pt x="7" y="258"/>
                    <a:pt x="6" y="258"/>
                    <a:pt x="6" y="259"/>
                  </a:cubicBezTo>
                  <a:cubicBezTo>
                    <a:pt x="6" y="259"/>
                    <a:pt x="6" y="259"/>
                    <a:pt x="6" y="259"/>
                  </a:cubicBezTo>
                  <a:cubicBezTo>
                    <a:pt x="5" y="260"/>
                    <a:pt x="4" y="260"/>
                    <a:pt x="3" y="261"/>
                  </a:cubicBezTo>
                  <a:cubicBezTo>
                    <a:pt x="3" y="261"/>
                    <a:pt x="3" y="261"/>
                    <a:pt x="3" y="261"/>
                  </a:cubicBezTo>
                  <a:cubicBezTo>
                    <a:pt x="2" y="261"/>
                    <a:pt x="2" y="261"/>
                    <a:pt x="1" y="262"/>
                  </a:cubicBezTo>
                  <a:cubicBezTo>
                    <a:pt x="0" y="268"/>
                    <a:pt x="0" y="274"/>
                    <a:pt x="2" y="278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239" name="Freeform 25324"/>
            <p:cNvSpPr>
              <a:spLocks/>
            </p:cNvSpPr>
            <p:nvPr/>
          </p:nvSpPr>
          <p:spPr bwMode="auto">
            <a:xfrm>
              <a:off x="6376043" y="3184521"/>
              <a:ext cx="111115" cy="140314"/>
            </a:xfrm>
            <a:custGeom>
              <a:avLst/>
              <a:gdLst>
                <a:gd name="T0" fmla="*/ 291 w 298"/>
                <a:gd name="T1" fmla="*/ 356 h 376"/>
                <a:gd name="T2" fmla="*/ 287 w 298"/>
                <a:gd name="T3" fmla="*/ 325 h 376"/>
                <a:gd name="T4" fmla="*/ 286 w 298"/>
                <a:gd name="T5" fmla="*/ 323 h 376"/>
                <a:gd name="T6" fmla="*/ 286 w 298"/>
                <a:gd name="T7" fmla="*/ 321 h 376"/>
                <a:gd name="T8" fmla="*/ 287 w 298"/>
                <a:gd name="T9" fmla="*/ 317 h 376"/>
                <a:gd name="T10" fmla="*/ 288 w 298"/>
                <a:gd name="T11" fmla="*/ 306 h 376"/>
                <a:gd name="T12" fmla="*/ 288 w 298"/>
                <a:gd name="T13" fmla="*/ 304 h 376"/>
                <a:gd name="T14" fmla="*/ 287 w 298"/>
                <a:gd name="T15" fmla="*/ 302 h 376"/>
                <a:gd name="T16" fmla="*/ 286 w 298"/>
                <a:gd name="T17" fmla="*/ 300 h 376"/>
                <a:gd name="T18" fmla="*/ 275 w 298"/>
                <a:gd name="T19" fmla="*/ 250 h 376"/>
                <a:gd name="T20" fmla="*/ 269 w 298"/>
                <a:gd name="T21" fmla="*/ 201 h 376"/>
                <a:gd name="T22" fmla="*/ 239 w 298"/>
                <a:gd name="T23" fmla="*/ 212 h 376"/>
                <a:gd name="T24" fmla="*/ 210 w 298"/>
                <a:gd name="T25" fmla="*/ 236 h 376"/>
                <a:gd name="T26" fmla="*/ 193 w 298"/>
                <a:gd name="T27" fmla="*/ 192 h 376"/>
                <a:gd name="T28" fmla="*/ 219 w 298"/>
                <a:gd name="T29" fmla="*/ 167 h 376"/>
                <a:gd name="T30" fmla="*/ 248 w 298"/>
                <a:gd name="T31" fmla="*/ 151 h 376"/>
                <a:gd name="T32" fmla="*/ 271 w 298"/>
                <a:gd name="T33" fmla="*/ 122 h 376"/>
                <a:gd name="T34" fmla="*/ 261 w 298"/>
                <a:gd name="T35" fmla="*/ 97 h 376"/>
                <a:gd name="T36" fmla="*/ 204 w 298"/>
                <a:gd name="T37" fmla="*/ 96 h 376"/>
                <a:gd name="T38" fmla="*/ 127 w 298"/>
                <a:gd name="T39" fmla="*/ 91 h 376"/>
                <a:gd name="T40" fmla="*/ 108 w 298"/>
                <a:gd name="T41" fmla="*/ 59 h 376"/>
                <a:gd name="T42" fmla="*/ 103 w 298"/>
                <a:gd name="T43" fmla="*/ 26 h 376"/>
                <a:gd name="T44" fmla="*/ 60 w 298"/>
                <a:gd name="T45" fmla="*/ 20 h 376"/>
                <a:gd name="T46" fmla="*/ 39 w 298"/>
                <a:gd name="T47" fmla="*/ 12 h 376"/>
                <a:gd name="T48" fmla="*/ 37 w 298"/>
                <a:gd name="T49" fmla="*/ 12 h 376"/>
                <a:gd name="T50" fmla="*/ 35 w 298"/>
                <a:gd name="T51" fmla="*/ 12 h 376"/>
                <a:gd name="T52" fmla="*/ 34 w 298"/>
                <a:gd name="T53" fmla="*/ 11 h 376"/>
                <a:gd name="T54" fmla="*/ 32 w 298"/>
                <a:gd name="T55" fmla="*/ 11 h 376"/>
                <a:gd name="T56" fmla="*/ 31 w 298"/>
                <a:gd name="T57" fmla="*/ 10 h 376"/>
                <a:gd name="T58" fmla="*/ 30 w 298"/>
                <a:gd name="T59" fmla="*/ 9 h 376"/>
                <a:gd name="T60" fmla="*/ 21 w 298"/>
                <a:gd name="T61" fmla="*/ 0 h 376"/>
                <a:gd name="T62" fmla="*/ 21 w 298"/>
                <a:gd name="T63" fmla="*/ 7 h 376"/>
                <a:gd name="T64" fmla="*/ 7 w 298"/>
                <a:gd name="T65" fmla="*/ 31 h 376"/>
                <a:gd name="T66" fmla="*/ 8 w 298"/>
                <a:gd name="T67" fmla="*/ 48 h 376"/>
                <a:gd name="T68" fmla="*/ 30 w 298"/>
                <a:gd name="T69" fmla="*/ 71 h 376"/>
                <a:gd name="T70" fmla="*/ 51 w 298"/>
                <a:gd name="T71" fmla="*/ 91 h 376"/>
                <a:gd name="T72" fmla="*/ 20 w 298"/>
                <a:gd name="T73" fmla="*/ 106 h 376"/>
                <a:gd name="T74" fmla="*/ 10 w 298"/>
                <a:gd name="T75" fmla="*/ 133 h 376"/>
                <a:gd name="T76" fmla="*/ 38 w 298"/>
                <a:gd name="T77" fmla="*/ 172 h 376"/>
                <a:gd name="T78" fmla="*/ 49 w 298"/>
                <a:gd name="T79" fmla="*/ 231 h 376"/>
                <a:gd name="T80" fmla="*/ 53 w 298"/>
                <a:gd name="T81" fmla="*/ 285 h 376"/>
                <a:gd name="T82" fmla="*/ 61 w 298"/>
                <a:gd name="T83" fmla="*/ 341 h 376"/>
                <a:gd name="T84" fmla="*/ 102 w 298"/>
                <a:gd name="T85" fmla="*/ 319 h 376"/>
                <a:gd name="T86" fmla="*/ 166 w 298"/>
                <a:gd name="T87" fmla="*/ 304 h 376"/>
                <a:gd name="T88" fmla="*/ 191 w 298"/>
                <a:gd name="T89" fmla="*/ 270 h 376"/>
                <a:gd name="T90" fmla="*/ 232 w 298"/>
                <a:gd name="T91" fmla="*/ 286 h 376"/>
                <a:gd name="T92" fmla="*/ 254 w 298"/>
                <a:gd name="T93" fmla="*/ 369 h 376"/>
                <a:gd name="T94" fmla="*/ 269 w 298"/>
                <a:gd name="T95" fmla="*/ 354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98" h="376">
                  <a:moveTo>
                    <a:pt x="269" y="354"/>
                  </a:moveTo>
                  <a:cubicBezTo>
                    <a:pt x="271" y="350"/>
                    <a:pt x="285" y="355"/>
                    <a:pt x="291" y="356"/>
                  </a:cubicBezTo>
                  <a:cubicBezTo>
                    <a:pt x="298" y="356"/>
                    <a:pt x="295" y="346"/>
                    <a:pt x="289" y="340"/>
                  </a:cubicBezTo>
                  <a:cubicBezTo>
                    <a:pt x="282" y="333"/>
                    <a:pt x="289" y="330"/>
                    <a:pt x="287" y="325"/>
                  </a:cubicBezTo>
                  <a:cubicBezTo>
                    <a:pt x="286" y="325"/>
                    <a:pt x="286" y="324"/>
                    <a:pt x="286" y="323"/>
                  </a:cubicBezTo>
                  <a:cubicBezTo>
                    <a:pt x="286" y="323"/>
                    <a:pt x="286" y="323"/>
                    <a:pt x="286" y="323"/>
                  </a:cubicBezTo>
                  <a:cubicBezTo>
                    <a:pt x="286" y="322"/>
                    <a:pt x="286" y="322"/>
                    <a:pt x="286" y="321"/>
                  </a:cubicBezTo>
                  <a:cubicBezTo>
                    <a:pt x="286" y="321"/>
                    <a:pt x="286" y="321"/>
                    <a:pt x="286" y="321"/>
                  </a:cubicBezTo>
                  <a:cubicBezTo>
                    <a:pt x="286" y="320"/>
                    <a:pt x="286" y="319"/>
                    <a:pt x="287" y="319"/>
                  </a:cubicBezTo>
                  <a:cubicBezTo>
                    <a:pt x="287" y="318"/>
                    <a:pt x="287" y="317"/>
                    <a:pt x="287" y="317"/>
                  </a:cubicBezTo>
                  <a:cubicBezTo>
                    <a:pt x="287" y="317"/>
                    <a:pt x="287" y="316"/>
                    <a:pt x="287" y="316"/>
                  </a:cubicBezTo>
                  <a:cubicBezTo>
                    <a:pt x="287" y="313"/>
                    <a:pt x="288" y="310"/>
                    <a:pt x="288" y="306"/>
                  </a:cubicBezTo>
                  <a:cubicBezTo>
                    <a:pt x="288" y="306"/>
                    <a:pt x="288" y="306"/>
                    <a:pt x="288" y="306"/>
                  </a:cubicBezTo>
                  <a:cubicBezTo>
                    <a:pt x="288" y="305"/>
                    <a:pt x="288" y="305"/>
                    <a:pt x="288" y="304"/>
                  </a:cubicBezTo>
                  <a:cubicBezTo>
                    <a:pt x="288" y="304"/>
                    <a:pt x="288" y="304"/>
                    <a:pt x="288" y="304"/>
                  </a:cubicBezTo>
                  <a:cubicBezTo>
                    <a:pt x="287" y="303"/>
                    <a:pt x="287" y="303"/>
                    <a:pt x="287" y="302"/>
                  </a:cubicBezTo>
                  <a:cubicBezTo>
                    <a:pt x="287" y="302"/>
                    <a:pt x="287" y="302"/>
                    <a:pt x="287" y="302"/>
                  </a:cubicBezTo>
                  <a:cubicBezTo>
                    <a:pt x="287" y="301"/>
                    <a:pt x="286" y="301"/>
                    <a:pt x="286" y="300"/>
                  </a:cubicBezTo>
                  <a:cubicBezTo>
                    <a:pt x="281" y="296"/>
                    <a:pt x="285" y="285"/>
                    <a:pt x="285" y="272"/>
                  </a:cubicBezTo>
                  <a:cubicBezTo>
                    <a:pt x="286" y="258"/>
                    <a:pt x="276" y="256"/>
                    <a:pt x="275" y="250"/>
                  </a:cubicBezTo>
                  <a:cubicBezTo>
                    <a:pt x="275" y="244"/>
                    <a:pt x="272" y="238"/>
                    <a:pt x="269" y="234"/>
                  </a:cubicBezTo>
                  <a:cubicBezTo>
                    <a:pt x="265" y="231"/>
                    <a:pt x="269" y="210"/>
                    <a:pt x="269" y="201"/>
                  </a:cubicBezTo>
                  <a:cubicBezTo>
                    <a:pt x="269" y="192"/>
                    <a:pt x="259" y="195"/>
                    <a:pt x="247" y="198"/>
                  </a:cubicBezTo>
                  <a:cubicBezTo>
                    <a:pt x="236" y="200"/>
                    <a:pt x="244" y="210"/>
                    <a:pt x="239" y="212"/>
                  </a:cubicBezTo>
                  <a:cubicBezTo>
                    <a:pt x="235" y="213"/>
                    <a:pt x="237" y="226"/>
                    <a:pt x="233" y="239"/>
                  </a:cubicBezTo>
                  <a:cubicBezTo>
                    <a:pt x="228" y="252"/>
                    <a:pt x="217" y="236"/>
                    <a:pt x="210" y="236"/>
                  </a:cubicBezTo>
                  <a:cubicBezTo>
                    <a:pt x="203" y="236"/>
                    <a:pt x="201" y="232"/>
                    <a:pt x="201" y="223"/>
                  </a:cubicBezTo>
                  <a:cubicBezTo>
                    <a:pt x="201" y="214"/>
                    <a:pt x="195" y="198"/>
                    <a:pt x="193" y="192"/>
                  </a:cubicBezTo>
                  <a:cubicBezTo>
                    <a:pt x="191" y="185"/>
                    <a:pt x="202" y="183"/>
                    <a:pt x="202" y="178"/>
                  </a:cubicBezTo>
                  <a:cubicBezTo>
                    <a:pt x="202" y="172"/>
                    <a:pt x="218" y="171"/>
                    <a:pt x="219" y="167"/>
                  </a:cubicBezTo>
                  <a:cubicBezTo>
                    <a:pt x="219" y="163"/>
                    <a:pt x="227" y="164"/>
                    <a:pt x="233" y="163"/>
                  </a:cubicBezTo>
                  <a:cubicBezTo>
                    <a:pt x="238" y="162"/>
                    <a:pt x="246" y="158"/>
                    <a:pt x="248" y="151"/>
                  </a:cubicBezTo>
                  <a:cubicBezTo>
                    <a:pt x="250" y="144"/>
                    <a:pt x="260" y="140"/>
                    <a:pt x="260" y="134"/>
                  </a:cubicBezTo>
                  <a:cubicBezTo>
                    <a:pt x="260" y="128"/>
                    <a:pt x="261" y="125"/>
                    <a:pt x="271" y="122"/>
                  </a:cubicBezTo>
                  <a:cubicBezTo>
                    <a:pt x="280" y="120"/>
                    <a:pt x="275" y="112"/>
                    <a:pt x="272" y="108"/>
                  </a:cubicBezTo>
                  <a:cubicBezTo>
                    <a:pt x="269" y="105"/>
                    <a:pt x="269" y="98"/>
                    <a:pt x="261" y="97"/>
                  </a:cubicBezTo>
                  <a:cubicBezTo>
                    <a:pt x="253" y="96"/>
                    <a:pt x="247" y="94"/>
                    <a:pt x="229" y="100"/>
                  </a:cubicBezTo>
                  <a:cubicBezTo>
                    <a:pt x="210" y="105"/>
                    <a:pt x="217" y="97"/>
                    <a:pt x="204" y="96"/>
                  </a:cubicBezTo>
                  <a:cubicBezTo>
                    <a:pt x="191" y="94"/>
                    <a:pt x="163" y="98"/>
                    <a:pt x="154" y="98"/>
                  </a:cubicBezTo>
                  <a:cubicBezTo>
                    <a:pt x="145" y="97"/>
                    <a:pt x="132" y="96"/>
                    <a:pt x="127" y="91"/>
                  </a:cubicBezTo>
                  <a:cubicBezTo>
                    <a:pt x="121" y="86"/>
                    <a:pt x="115" y="86"/>
                    <a:pt x="108" y="82"/>
                  </a:cubicBezTo>
                  <a:cubicBezTo>
                    <a:pt x="101" y="78"/>
                    <a:pt x="114" y="65"/>
                    <a:pt x="108" y="59"/>
                  </a:cubicBezTo>
                  <a:cubicBezTo>
                    <a:pt x="102" y="53"/>
                    <a:pt x="112" y="44"/>
                    <a:pt x="112" y="36"/>
                  </a:cubicBezTo>
                  <a:cubicBezTo>
                    <a:pt x="112" y="28"/>
                    <a:pt x="112" y="24"/>
                    <a:pt x="103" y="26"/>
                  </a:cubicBezTo>
                  <a:cubicBezTo>
                    <a:pt x="95" y="28"/>
                    <a:pt x="90" y="38"/>
                    <a:pt x="79" y="36"/>
                  </a:cubicBezTo>
                  <a:cubicBezTo>
                    <a:pt x="67" y="34"/>
                    <a:pt x="64" y="28"/>
                    <a:pt x="60" y="20"/>
                  </a:cubicBezTo>
                  <a:cubicBezTo>
                    <a:pt x="56" y="11"/>
                    <a:pt x="53" y="12"/>
                    <a:pt x="41" y="12"/>
                  </a:cubicBezTo>
                  <a:cubicBezTo>
                    <a:pt x="40" y="12"/>
                    <a:pt x="39" y="12"/>
                    <a:pt x="39" y="12"/>
                  </a:cubicBezTo>
                  <a:cubicBezTo>
                    <a:pt x="38" y="12"/>
                    <a:pt x="38" y="12"/>
                    <a:pt x="38" y="12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36" y="12"/>
                    <a:pt x="35" y="12"/>
                    <a:pt x="35" y="12"/>
                  </a:cubicBezTo>
                  <a:cubicBezTo>
                    <a:pt x="35" y="12"/>
                    <a:pt x="35" y="12"/>
                    <a:pt x="34" y="12"/>
                  </a:cubicBezTo>
                  <a:cubicBezTo>
                    <a:pt x="34" y="11"/>
                    <a:pt x="34" y="11"/>
                    <a:pt x="34" y="11"/>
                  </a:cubicBezTo>
                  <a:cubicBezTo>
                    <a:pt x="33" y="11"/>
                    <a:pt x="33" y="11"/>
                    <a:pt x="33" y="11"/>
                  </a:cubicBezTo>
                  <a:cubicBezTo>
                    <a:pt x="33" y="11"/>
                    <a:pt x="32" y="11"/>
                    <a:pt x="32" y="11"/>
                  </a:cubicBezTo>
                  <a:cubicBezTo>
                    <a:pt x="32" y="11"/>
                    <a:pt x="32" y="11"/>
                    <a:pt x="32" y="10"/>
                  </a:cubicBezTo>
                  <a:cubicBezTo>
                    <a:pt x="31" y="10"/>
                    <a:pt x="31" y="10"/>
                    <a:pt x="31" y="10"/>
                  </a:cubicBezTo>
                  <a:cubicBezTo>
                    <a:pt x="31" y="10"/>
                    <a:pt x="31" y="10"/>
                    <a:pt x="31" y="10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27" y="7"/>
                    <a:pt x="25" y="4"/>
                    <a:pt x="21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0" y="3"/>
                    <a:pt x="20" y="5"/>
                    <a:pt x="21" y="7"/>
                  </a:cubicBezTo>
                  <a:cubicBezTo>
                    <a:pt x="22" y="11"/>
                    <a:pt x="26" y="20"/>
                    <a:pt x="17" y="21"/>
                  </a:cubicBezTo>
                  <a:cubicBezTo>
                    <a:pt x="9" y="23"/>
                    <a:pt x="13" y="30"/>
                    <a:pt x="7" y="31"/>
                  </a:cubicBezTo>
                  <a:cubicBezTo>
                    <a:pt x="1" y="32"/>
                    <a:pt x="0" y="38"/>
                    <a:pt x="0" y="43"/>
                  </a:cubicBezTo>
                  <a:cubicBezTo>
                    <a:pt x="0" y="47"/>
                    <a:pt x="4" y="47"/>
                    <a:pt x="8" y="48"/>
                  </a:cubicBezTo>
                  <a:cubicBezTo>
                    <a:pt x="11" y="50"/>
                    <a:pt x="15" y="51"/>
                    <a:pt x="17" y="56"/>
                  </a:cubicBezTo>
                  <a:cubicBezTo>
                    <a:pt x="19" y="61"/>
                    <a:pt x="24" y="70"/>
                    <a:pt x="30" y="71"/>
                  </a:cubicBezTo>
                  <a:cubicBezTo>
                    <a:pt x="35" y="72"/>
                    <a:pt x="54" y="74"/>
                    <a:pt x="55" y="76"/>
                  </a:cubicBezTo>
                  <a:cubicBezTo>
                    <a:pt x="56" y="77"/>
                    <a:pt x="54" y="84"/>
                    <a:pt x="51" y="91"/>
                  </a:cubicBezTo>
                  <a:cubicBezTo>
                    <a:pt x="48" y="97"/>
                    <a:pt x="42" y="97"/>
                    <a:pt x="33" y="97"/>
                  </a:cubicBezTo>
                  <a:cubicBezTo>
                    <a:pt x="23" y="97"/>
                    <a:pt x="20" y="103"/>
                    <a:pt x="20" y="106"/>
                  </a:cubicBezTo>
                  <a:cubicBezTo>
                    <a:pt x="20" y="109"/>
                    <a:pt x="8" y="110"/>
                    <a:pt x="7" y="116"/>
                  </a:cubicBezTo>
                  <a:cubicBezTo>
                    <a:pt x="6" y="121"/>
                    <a:pt x="5" y="128"/>
                    <a:pt x="10" y="133"/>
                  </a:cubicBezTo>
                  <a:cubicBezTo>
                    <a:pt x="16" y="139"/>
                    <a:pt x="19" y="144"/>
                    <a:pt x="24" y="147"/>
                  </a:cubicBezTo>
                  <a:cubicBezTo>
                    <a:pt x="30" y="150"/>
                    <a:pt x="42" y="162"/>
                    <a:pt x="38" y="172"/>
                  </a:cubicBezTo>
                  <a:cubicBezTo>
                    <a:pt x="35" y="182"/>
                    <a:pt x="35" y="204"/>
                    <a:pt x="38" y="213"/>
                  </a:cubicBezTo>
                  <a:cubicBezTo>
                    <a:pt x="42" y="223"/>
                    <a:pt x="44" y="226"/>
                    <a:pt x="49" y="231"/>
                  </a:cubicBezTo>
                  <a:cubicBezTo>
                    <a:pt x="55" y="235"/>
                    <a:pt x="54" y="242"/>
                    <a:pt x="54" y="250"/>
                  </a:cubicBezTo>
                  <a:cubicBezTo>
                    <a:pt x="54" y="257"/>
                    <a:pt x="51" y="277"/>
                    <a:pt x="53" y="285"/>
                  </a:cubicBezTo>
                  <a:cubicBezTo>
                    <a:pt x="55" y="292"/>
                    <a:pt x="60" y="293"/>
                    <a:pt x="60" y="299"/>
                  </a:cubicBezTo>
                  <a:cubicBezTo>
                    <a:pt x="60" y="304"/>
                    <a:pt x="62" y="328"/>
                    <a:pt x="61" y="341"/>
                  </a:cubicBezTo>
                  <a:cubicBezTo>
                    <a:pt x="68" y="345"/>
                    <a:pt x="72" y="340"/>
                    <a:pt x="75" y="329"/>
                  </a:cubicBezTo>
                  <a:cubicBezTo>
                    <a:pt x="77" y="316"/>
                    <a:pt x="93" y="326"/>
                    <a:pt x="102" y="319"/>
                  </a:cubicBezTo>
                  <a:cubicBezTo>
                    <a:pt x="110" y="311"/>
                    <a:pt x="128" y="313"/>
                    <a:pt x="139" y="316"/>
                  </a:cubicBezTo>
                  <a:cubicBezTo>
                    <a:pt x="151" y="319"/>
                    <a:pt x="162" y="317"/>
                    <a:pt x="166" y="304"/>
                  </a:cubicBezTo>
                  <a:cubicBezTo>
                    <a:pt x="171" y="291"/>
                    <a:pt x="178" y="303"/>
                    <a:pt x="188" y="297"/>
                  </a:cubicBezTo>
                  <a:cubicBezTo>
                    <a:pt x="198" y="291"/>
                    <a:pt x="196" y="284"/>
                    <a:pt x="191" y="270"/>
                  </a:cubicBezTo>
                  <a:cubicBezTo>
                    <a:pt x="185" y="256"/>
                    <a:pt x="202" y="261"/>
                    <a:pt x="214" y="261"/>
                  </a:cubicBezTo>
                  <a:cubicBezTo>
                    <a:pt x="225" y="261"/>
                    <a:pt x="226" y="274"/>
                    <a:pt x="232" y="286"/>
                  </a:cubicBezTo>
                  <a:cubicBezTo>
                    <a:pt x="238" y="297"/>
                    <a:pt x="239" y="304"/>
                    <a:pt x="241" y="326"/>
                  </a:cubicBezTo>
                  <a:cubicBezTo>
                    <a:pt x="242" y="347"/>
                    <a:pt x="249" y="352"/>
                    <a:pt x="254" y="369"/>
                  </a:cubicBezTo>
                  <a:cubicBezTo>
                    <a:pt x="254" y="371"/>
                    <a:pt x="255" y="374"/>
                    <a:pt x="257" y="376"/>
                  </a:cubicBezTo>
                  <a:cubicBezTo>
                    <a:pt x="270" y="371"/>
                    <a:pt x="267" y="358"/>
                    <a:pt x="269" y="354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240" name="Freeform 25325"/>
            <p:cNvSpPr>
              <a:spLocks/>
            </p:cNvSpPr>
            <p:nvPr/>
          </p:nvSpPr>
          <p:spPr bwMode="auto">
            <a:xfrm>
              <a:off x="5732869" y="2907048"/>
              <a:ext cx="408948" cy="349918"/>
            </a:xfrm>
            <a:custGeom>
              <a:avLst/>
              <a:gdLst>
                <a:gd name="T0" fmla="*/ 510 w 1097"/>
                <a:gd name="T1" fmla="*/ 898 h 938"/>
                <a:gd name="T2" fmla="*/ 588 w 1097"/>
                <a:gd name="T3" fmla="*/ 899 h 938"/>
                <a:gd name="T4" fmla="*/ 633 w 1097"/>
                <a:gd name="T5" fmla="*/ 900 h 938"/>
                <a:gd name="T6" fmla="*/ 628 w 1097"/>
                <a:gd name="T7" fmla="*/ 832 h 938"/>
                <a:gd name="T8" fmla="*/ 584 w 1097"/>
                <a:gd name="T9" fmla="*/ 776 h 938"/>
                <a:gd name="T10" fmla="*/ 543 w 1097"/>
                <a:gd name="T11" fmla="*/ 728 h 938"/>
                <a:gd name="T12" fmla="*/ 603 w 1097"/>
                <a:gd name="T13" fmla="*/ 643 h 938"/>
                <a:gd name="T14" fmla="*/ 645 w 1097"/>
                <a:gd name="T15" fmla="*/ 661 h 938"/>
                <a:gd name="T16" fmla="*/ 712 w 1097"/>
                <a:gd name="T17" fmla="*/ 619 h 938"/>
                <a:gd name="T18" fmla="*/ 788 w 1097"/>
                <a:gd name="T19" fmla="*/ 535 h 938"/>
                <a:gd name="T20" fmla="*/ 842 w 1097"/>
                <a:gd name="T21" fmla="*/ 454 h 938"/>
                <a:gd name="T22" fmla="*/ 864 w 1097"/>
                <a:gd name="T23" fmla="*/ 411 h 938"/>
                <a:gd name="T24" fmla="*/ 916 w 1097"/>
                <a:gd name="T25" fmla="*/ 352 h 938"/>
                <a:gd name="T26" fmla="*/ 851 w 1097"/>
                <a:gd name="T27" fmla="*/ 304 h 938"/>
                <a:gd name="T28" fmla="*/ 835 w 1097"/>
                <a:gd name="T29" fmla="*/ 219 h 938"/>
                <a:gd name="T30" fmla="*/ 872 w 1097"/>
                <a:gd name="T31" fmla="*/ 172 h 938"/>
                <a:gd name="T32" fmla="*/ 981 w 1097"/>
                <a:gd name="T33" fmla="*/ 174 h 938"/>
                <a:gd name="T34" fmla="*/ 1079 w 1097"/>
                <a:gd name="T35" fmla="*/ 144 h 938"/>
                <a:gd name="T36" fmla="*/ 1046 w 1097"/>
                <a:gd name="T37" fmla="*/ 117 h 938"/>
                <a:gd name="T38" fmla="*/ 1020 w 1097"/>
                <a:gd name="T39" fmla="*/ 110 h 938"/>
                <a:gd name="T40" fmla="*/ 956 w 1097"/>
                <a:gd name="T41" fmla="*/ 76 h 938"/>
                <a:gd name="T42" fmla="*/ 932 w 1097"/>
                <a:gd name="T43" fmla="*/ 22 h 938"/>
                <a:gd name="T44" fmla="*/ 876 w 1097"/>
                <a:gd name="T45" fmla="*/ 0 h 938"/>
                <a:gd name="T46" fmla="*/ 864 w 1097"/>
                <a:gd name="T47" fmla="*/ 5 h 938"/>
                <a:gd name="T48" fmla="*/ 862 w 1097"/>
                <a:gd name="T49" fmla="*/ 8 h 938"/>
                <a:gd name="T50" fmla="*/ 763 w 1097"/>
                <a:gd name="T51" fmla="*/ 16 h 938"/>
                <a:gd name="T52" fmla="*/ 681 w 1097"/>
                <a:gd name="T53" fmla="*/ 54 h 938"/>
                <a:gd name="T54" fmla="*/ 672 w 1097"/>
                <a:gd name="T55" fmla="*/ 102 h 938"/>
                <a:gd name="T56" fmla="*/ 642 w 1097"/>
                <a:gd name="T57" fmla="*/ 187 h 938"/>
                <a:gd name="T58" fmla="*/ 624 w 1097"/>
                <a:gd name="T59" fmla="*/ 228 h 938"/>
                <a:gd name="T60" fmla="*/ 572 w 1097"/>
                <a:gd name="T61" fmla="*/ 233 h 938"/>
                <a:gd name="T62" fmla="*/ 558 w 1097"/>
                <a:gd name="T63" fmla="*/ 287 h 938"/>
                <a:gd name="T64" fmla="*/ 534 w 1097"/>
                <a:gd name="T65" fmla="*/ 360 h 938"/>
                <a:gd name="T66" fmla="*/ 494 w 1097"/>
                <a:gd name="T67" fmla="*/ 386 h 938"/>
                <a:gd name="T68" fmla="*/ 418 w 1097"/>
                <a:gd name="T69" fmla="*/ 395 h 938"/>
                <a:gd name="T70" fmla="*/ 395 w 1097"/>
                <a:gd name="T71" fmla="*/ 416 h 938"/>
                <a:gd name="T72" fmla="*/ 344 w 1097"/>
                <a:gd name="T73" fmla="*/ 500 h 938"/>
                <a:gd name="T74" fmla="*/ 250 w 1097"/>
                <a:gd name="T75" fmla="*/ 535 h 938"/>
                <a:gd name="T76" fmla="*/ 98 w 1097"/>
                <a:gd name="T77" fmla="*/ 546 h 938"/>
                <a:gd name="T78" fmla="*/ 0 w 1097"/>
                <a:gd name="T79" fmla="*/ 514 h 938"/>
                <a:gd name="T80" fmla="*/ 0 w 1097"/>
                <a:gd name="T81" fmla="*/ 517 h 938"/>
                <a:gd name="T82" fmla="*/ 1 w 1097"/>
                <a:gd name="T83" fmla="*/ 521 h 938"/>
                <a:gd name="T84" fmla="*/ 3 w 1097"/>
                <a:gd name="T85" fmla="*/ 523 h 938"/>
                <a:gd name="T86" fmla="*/ 6 w 1097"/>
                <a:gd name="T87" fmla="*/ 527 h 938"/>
                <a:gd name="T88" fmla="*/ 39 w 1097"/>
                <a:gd name="T89" fmla="*/ 574 h 938"/>
                <a:gd name="T90" fmla="*/ 127 w 1097"/>
                <a:gd name="T91" fmla="*/ 694 h 938"/>
                <a:gd name="T92" fmla="*/ 78 w 1097"/>
                <a:gd name="T93" fmla="*/ 756 h 938"/>
                <a:gd name="T94" fmla="*/ 44 w 1097"/>
                <a:gd name="T95" fmla="*/ 845 h 938"/>
                <a:gd name="T96" fmla="*/ 194 w 1097"/>
                <a:gd name="T97" fmla="*/ 825 h 938"/>
                <a:gd name="T98" fmla="*/ 362 w 1097"/>
                <a:gd name="T99" fmla="*/ 829 h 938"/>
                <a:gd name="T100" fmla="*/ 452 w 1097"/>
                <a:gd name="T101" fmla="*/ 932 h 9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097" h="938">
                  <a:moveTo>
                    <a:pt x="475" y="923"/>
                  </a:moveTo>
                  <a:cubicBezTo>
                    <a:pt x="485" y="923"/>
                    <a:pt x="495" y="924"/>
                    <a:pt x="495" y="916"/>
                  </a:cubicBezTo>
                  <a:cubicBezTo>
                    <a:pt x="495" y="908"/>
                    <a:pt x="498" y="898"/>
                    <a:pt x="510" y="898"/>
                  </a:cubicBezTo>
                  <a:cubicBezTo>
                    <a:pt x="522" y="898"/>
                    <a:pt x="542" y="893"/>
                    <a:pt x="546" y="901"/>
                  </a:cubicBezTo>
                  <a:cubicBezTo>
                    <a:pt x="550" y="909"/>
                    <a:pt x="554" y="909"/>
                    <a:pt x="565" y="909"/>
                  </a:cubicBezTo>
                  <a:cubicBezTo>
                    <a:pt x="576" y="909"/>
                    <a:pt x="578" y="899"/>
                    <a:pt x="588" y="899"/>
                  </a:cubicBezTo>
                  <a:cubicBezTo>
                    <a:pt x="598" y="899"/>
                    <a:pt x="594" y="886"/>
                    <a:pt x="604" y="887"/>
                  </a:cubicBezTo>
                  <a:cubicBezTo>
                    <a:pt x="614" y="888"/>
                    <a:pt x="619" y="892"/>
                    <a:pt x="621" y="899"/>
                  </a:cubicBezTo>
                  <a:cubicBezTo>
                    <a:pt x="623" y="906"/>
                    <a:pt x="625" y="909"/>
                    <a:pt x="633" y="900"/>
                  </a:cubicBezTo>
                  <a:cubicBezTo>
                    <a:pt x="641" y="891"/>
                    <a:pt x="647" y="894"/>
                    <a:pt x="643" y="884"/>
                  </a:cubicBezTo>
                  <a:cubicBezTo>
                    <a:pt x="639" y="874"/>
                    <a:pt x="649" y="875"/>
                    <a:pt x="640" y="863"/>
                  </a:cubicBezTo>
                  <a:cubicBezTo>
                    <a:pt x="631" y="851"/>
                    <a:pt x="639" y="834"/>
                    <a:pt x="628" y="832"/>
                  </a:cubicBezTo>
                  <a:cubicBezTo>
                    <a:pt x="617" y="830"/>
                    <a:pt x="624" y="810"/>
                    <a:pt x="611" y="808"/>
                  </a:cubicBezTo>
                  <a:cubicBezTo>
                    <a:pt x="598" y="806"/>
                    <a:pt x="590" y="801"/>
                    <a:pt x="587" y="795"/>
                  </a:cubicBezTo>
                  <a:cubicBezTo>
                    <a:pt x="584" y="789"/>
                    <a:pt x="578" y="779"/>
                    <a:pt x="584" y="776"/>
                  </a:cubicBezTo>
                  <a:cubicBezTo>
                    <a:pt x="590" y="773"/>
                    <a:pt x="595" y="766"/>
                    <a:pt x="589" y="754"/>
                  </a:cubicBezTo>
                  <a:cubicBezTo>
                    <a:pt x="583" y="742"/>
                    <a:pt x="583" y="743"/>
                    <a:pt x="574" y="742"/>
                  </a:cubicBezTo>
                  <a:cubicBezTo>
                    <a:pt x="565" y="741"/>
                    <a:pt x="544" y="734"/>
                    <a:pt x="543" y="728"/>
                  </a:cubicBezTo>
                  <a:cubicBezTo>
                    <a:pt x="542" y="722"/>
                    <a:pt x="538" y="706"/>
                    <a:pt x="551" y="701"/>
                  </a:cubicBezTo>
                  <a:cubicBezTo>
                    <a:pt x="564" y="696"/>
                    <a:pt x="564" y="695"/>
                    <a:pt x="575" y="676"/>
                  </a:cubicBezTo>
                  <a:cubicBezTo>
                    <a:pt x="586" y="657"/>
                    <a:pt x="593" y="643"/>
                    <a:pt x="603" y="643"/>
                  </a:cubicBezTo>
                  <a:cubicBezTo>
                    <a:pt x="613" y="643"/>
                    <a:pt x="619" y="648"/>
                    <a:pt x="621" y="656"/>
                  </a:cubicBezTo>
                  <a:cubicBezTo>
                    <a:pt x="623" y="664"/>
                    <a:pt x="627" y="668"/>
                    <a:pt x="630" y="668"/>
                  </a:cubicBezTo>
                  <a:cubicBezTo>
                    <a:pt x="633" y="668"/>
                    <a:pt x="643" y="671"/>
                    <a:pt x="645" y="661"/>
                  </a:cubicBezTo>
                  <a:cubicBezTo>
                    <a:pt x="647" y="651"/>
                    <a:pt x="652" y="653"/>
                    <a:pt x="660" y="653"/>
                  </a:cubicBezTo>
                  <a:cubicBezTo>
                    <a:pt x="668" y="653"/>
                    <a:pt x="697" y="654"/>
                    <a:pt x="698" y="641"/>
                  </a:cubicBezTo>
                  <a:cubicBezTo>
                    <a:pt x="699" y="628"/>
                    <a:pt x="703" y="624"/>
                    <a:pt x="712" y="619"/>
                  </a:cubicBezTo>
                  <a:cubicBezTo>
                    <a:pt x="721" y="614"/>
                    <a:pt x="721" y="585"/>
                    <a:pt x="737" y="583"/>
                  </a:cubicBezTo>
                  <a:cubicBezTo>
                    <a:pt x="753" y="581"/>
                    <a:pt x="756" y="582"/>
                    <a:pt x="767" y="565"/>
                  </a:cubicBezTo>
                  <a:cubicBezTo>
                    <a:pt x="778" y="548"/>
                    <a:pt x="786" y="549"/>
                    <a:pt x="788" y="535"/>
                  </a:cubicBezTo>
                  <a:cubicBezTo>
                    <a:pt x="790" y="521"/>
                    <a:pt x="791" y="504"/>
                    <a:pt x="803" y="503"/>
                  </a:cubicBezTo>
                  <a:cubicBezTo>
                    <a:pt x="815" y="502"/>
                    <a:pt x="824" y="509"/>
                    <a:pt x="828" y="489"/>
                  </a:cubicBezTo>
                  <a:cubicBezTo>
                    <a:pt x="832" y="469"/>
                    <a:pt x="831" y="461"/>
                    <a:pt x="842" y="454"/>
                  </a:cubicBezTo>
                  <a:cubicBezTo>
                    <a:pt x="853" y="447"/>
                    <a:pt x="857" y="437"/>
                    <a:pt x="866" y="437"/>
                  </a:cubicBezTo>
                  <a:cubicBezTo>
                    <a:pt x="875" y="437"/>
                    <a:pt x="883" y="429"/>
                    <a:pt x="875" y="427"/>
                  </a:cubicBezTo>
                  <a:cubicBezTo>
                    <a:pt x="867" y="425"/>
                    <a:pt x="864" y="418"/>
                    <a:pt x="864" y="411"/>
                  </a:cubicBezTo>
                  <a:cubicBezTo>
                    <a:pt x="864" y="404"/>
                    <a:pt x="873" y="396"/>
                    <a:pt x="868" y="389"/>
                  </a:cubicBezTo>
                  <a:cubicBezTo>
                    <a:pt x="863" y="382"/>
                    <a:pt x="864" y="369"/>
                    <a:pt x="877" y="366"/>
                  </a:cubicBezTo>
                  <a:cubicBezTo>
                    <a:pt x="890" y="363"/>
                    <a:pt x="915" y="358"/>
                    <a:pt x="916" y="352"/>
                  </a:cubicBezTo>
                  <a:cubicBezTo>
                    <a:pt x="917" y="346"/>
                    <a:pt x="920" y="340"/>
                    <a:pt x="905" y="338"/>
                  </a:cubicBezTo>
                  <a:cubicBezTo>
                    <a:pt x="890" y="336"/>
                    <a:pt x="870" y="335"/>
                    <a:pt x="869" y="325"/>
                  </a:cubicBezTo>
                  <a:cubicBezTo>
                    <a:pt x="868" y="315"/>
                    <a:pt x="851" y="311"/>
                    <a:pt x="851" y="304"/>
                  </a:cubicBezTo>
                  <a:cubicBezTo>
                    <a:pt x="851" y="297"/>
                    <a:pt x="837" y="287"/>
                    <a:pt x="839" y="274"/>
                  </a:cubicBezTo>
                  <a:cubicBezTo>
                    <a:pt x="841" y="261"/>
                    <a:pt x="824" y="246"/>
                    <a:pt x="836" y="238"/>
                  </a:cubicBezTo>
                  <a:cubicBezTo>
                    <a:pt x="848" y="230"/>
                    <a:pt x="846" y="225"/>
                    <a:pt x="835" y="219"/>
                  </a:cubicBezTo>
                  <a:cubicBezTo>
                    <a:pt x="824" y="213"/>
                    <a:pt x="823" y="211"/>
                    <a:pt x="823" y="201"/>
                  </a:cubicBezTo>
                  <a:cubicBezTo>
                    <a:pt x="823" y="191"/>
                    <a:pt x="823" y="166"/>
                    <a:pt x="836" y="166"/>
                  </a:cubicBezTo>
                  <a:cubicBezTo>
                    <a:pt x="849" y="166"/>
                    <a:pt x="858" y="172"/>
                    <a:pt x="872" y="172"/>
                  </a:cubicBezTo>
                  <a:cubicBezTo>
                    <a:pt x="886" y="172"/>
                    <a:pt x="898" y="174"/>
                    <a:pt x="902" y="178"/>
                  </a:cubicBezTo>
                  <a:cubicBezTo>
                    <a:pt x="906" y="182"/>
                    <a:pt x="920" y="190"/>
                    <a:pt x="938" y="186"/>
                  </a:cubicBezTo>
                  <a:cubicBezTo>
                    <a:pt x="956" y="182"/>
                    <a:pt x="961" y="175"/>
                    <a:pt x="981" y="174"/>
                  </a:cubicBezTo>
                  <a:cubicBezTo>
                    <a:pt x="1001" y="173"/>
                    <a:pt x="1012" y="173"/>
                    <a:pt x="1016" y="161"/>
                  </a:cubicBezTo>
                  <a:cubicBezTo>
                    <a:pt x="1020" y="149"/>
                    <a:pt x="1033" y="136"/>
                    <a:pt x="1045" y="136"/>
                  </a:cubicBezTo>
                  <a:cubicBezTo>
                    <a:pt x="1057" y="136"/>
                    <a:pt x="1074" y="135"/>
                    <a:pt x="1079" y="144"/>
                  </a:cubicBezTo>
                  <a:cubicBezTo>
                    <a:pt x="1084" y="153"/>
                    <a:pt x="1095" y="159"/>
                    <a:pt x="1096" y="150"/>
                  </a:cubicBezTo>
                  <a:cubicBezTo>
                    <a:pt x="1097" y="143"/>
                    <a:pt x="1095" y="129"/>
                    <a:pt x="1088" y="116"/>
                  </a:cubicBezTo>
                  <a:cubicBezTo>
                    <a:pt x="1078" y="121"/>
                    <a:pt x="1058" y="118"/>
                    <a:pt x="1046" y="117"/>
                  </a:cubicBezTo>
                  <a:cubicBezTo>
                    <a:pt x="1046" y="117"/>
                    <a:pt x="1046" y="117"/>
                    <a:pt x="1045" y="117"/>
                  </a:cubicBezTo>
                  <a:cubicBezTo>
                    <a:pt x="1045" y="117"/>
                    <a:pt x="1044" y="117"/>
                    <a:pt x="1043" y="117"/>
                  </a:cubicBezTo>
                  <a:cubicBezTo>
                    <a:pt x="1031" y="116"/>
                    <a:pt x="1036" y="112"/>
                    <a:pt x="1020" y="110"/>
                  </a:cubicBezTo>
                  <a:cubicBezTo>
                    <a:pt x="1004" y="108"/>
                    <a:pt x="1008" y="106"/>
                    <a:pt x="1001" y="96"/>
                  </a:cubicBezTo>
                  <a:cubicBezTo>
                    <a:pt x="994" y="86"/>
                    <a:pt x="985" y="90"/>
                    <a:pt x="975" y="90"/>
                  </a:cubicBezTo>
                  <a:cubicBezTo>
                    <a:pt x="965" y="90"/>
                    <a:pt x="964" y="82"/>
                    <a:pt x="956" y="76"/>
                  </a:cubicBezTo>
                  <a:cubicBezTo>
                    <a:pt x="949" y="70"/>
                    <a:pt x="960" y="60"/>
                    <a:pt x="960" y="52"/>
                  </a:cubicBezTo>
                  <a:cubicBezTo>
                    <a:pt x="960" y="43"/>
                    <a:pt x="954" y="36"/>
                    <a:pt x="948" y="33"/>
                  </a:cubicBezTo>
                  <a:cubicBezTo>
                    <a:pt x="942" y="30"/>
                    <a:pt x="944" y="25"/>
                    <a:pt x="932" y="22"/>
                  </a:cubicBezTo>
                  <a:cubicBezTo>
                    <a:pt x="921" y="20"/>
                    <a:pt x="920" y="16"/>
                    <a:pt x="916" y="11"/>
                  </a:cubicBezTo>
                  <a:cubicBezTo>
                    <a:pt x="912" y="6"/>
                    <a:pt x="908" y="7"/>
                    <a:pt x="894" y="7"/>
                  </a:cubicBezTo>
                  <a:cubicBezTo>
                    <a:pt x="885" y="7"/>
                    <a:pt x="879" y="3"/>
                    <a:pt x="876" y="0"/>
                  </a:cubicBezTo>
                  <a:cubicBezTo>
                    <a:pt x="872" y="2"/>
                    <a:pt x="869" y="3"/>
                    <a:pt x="866" y="4"/>
                  </a:cubicBezTo>
                  <a:cubicBezTo>
                    <a:pt x="866" y="4"/>
                    <a:pt x="866" y="4"/>
                    <a:pt x="866" y="4"/>
                  </a:cubicBezTo>
                  <a:cubicBezTo>
                    <a:pt x="865" y="5"/>
                    <a:pt x="865" y="5"/>
                    <a:pt x="864" y="5"/>
                  </a:cubicBezTo>
                  <a:cubicBezTo>
                    <a:pt x="864" y="6"/>
                    <a:pt x="864" y="6"/>
                    <a:pt x="864" y="6"/>
                  </a:cubicBezTo>
                  <a:cubicBezTo>
                    <a:pt x="863" y="6"/>
                    <a:pt x="863" y="7"/>
                    <a:pt x="862" y="7"/>
                  </a:cubicBezTo>
                  <a:cubicBezTo>
                    <a:pt x="862" y="7"/>
                    <a:pt x="862" y="7"/>
                    <a:pt x="862" y="8"/>
                  </a:cubicBezTo>
                  <a:cubicBezTo>
                    <a:pt x="861" y="8"/>
                    <a:pt x="861" y="9"/>
                    <a:pt x="860" y="10"/>
                  </a:cubicBezTo>
                  <a:cubicBezTo>
                    <a:pt x="856" y="16"/>
                    <a:pt x="835" y="16"/>
                    <a:pt x="818" y="15"/>
                  </a:cubicBezTo>
                  <a:cubicBezTo>
                    <a:pt x="802" y="14"/>
                    <a:pt x="783" y="16"/>
                    <a:pt x="763" y="16"/>
                  </a:cubicBezTo>
                  <a:cubicBezTo>
                    <a:pt x="743" y="17"/>
                    <a:pt x="729" y="17"/>
                    <a:pt x="726" y="24"/>
                  </a:cubicBezTo>
                  <a:cubicBezTo>
                    <a:pt x="724" y="30"/>
                    <a:pt x="706" y="36"/>
                    <a:pt x="698" y="42"/>
                  </a:cubicBezTo>
                  <a:cubicBezTo>
                    <a:pt x="690" y="48"/>
                    <a:pt x="692" y="53"/>
                    <a:pt x="681" y="54"/>
                  </a:cubicBezTo>
                  <a:cubicBezTo>
                    <a:pt x="670" y="56"/>
                    <a:pt x="668" y="61"/>
                    <a:pt x="659" y="66"/>
                  </a:cubicBezTo>
                  <a:cubicBezTo>
                    <a:pt x="650" y="72"/>
                    <a:pt x="649" y="80"/>
                    <a:pt x="658" y="82"/>
                  </a:cubicBezTo>
                  <a:cubicBezTo>
                    <a:pt x="666" y="84"/>
                    <a:pt x="666" y="96"/>
                    <a:pt x="672" y="102"/>
                  </a:cubicBezTo>
                  <a:cubicBezTo>
                    <a:pt x="679" y="108"/>
                    <a:pt x="675" y="123"/>
                    <a:pt x="677" y="140"/>
                  </a:cubicBezTo>
                  <a:cubicBezTo>
                    <a:pt x="679" y="158"/>
                    <a:pt x="656" y="164"/>
                    <a:pt x="647" y="172"/>
                  </a:cubicBezTo>
                  <a:cubicBezTo>
                    <a:pt x="638" y="179"/>
                    <a:pt x="636" y="182"/>
                    <a:pt x="642" y="187"/>
                  </a:cubicBezTo>
                  <a:cubicBezTo>
                    <a:pt x="647" y="192"/>
                    <a:pt x="649" y="194"/>
                    <a:pt x="650" y="204"/>
                  </a:cubicBezTo>
                  <a:cubicBezTo>
                    <a:pt x="652" y="214"/>
                    <a:pt x="650" y="218"/>
                    <a:pt x="639" y="219"/>
                  </a:cubicBezTo>
                  <a:cubicBezTo>
                    <a:pt x="628" y="220"/>
                    <a:pt x="632" y="228"/>
                    <a:pt x="624" y="228"/>
                  </a:cubicBezTo>
                  <a:cubicBezTo>
                    <a:pt x="615" y="228"/>
                    <a:pt x="603" y="230"/>
                    <a:pt x="602" y="228"/>
                  </a:cubicBezTo>
                  <a:cubicBezTo>
                    <a:pt x="600" y="225"/>
                    <a:pt x="596" y="220"/>
                    <a:pt x="583" y="220"/>
                  </a:cubicBezTo>
                  <a:cubicBezTo>
                    <a:pt x="570" y="220"/>
                    <a:pt x="570" y="227"/>
                    <a:pt x="572" y="233"/>
                  </a:cubicBezTo>
                  <a:cubicBezTo>
                    <a:pt x="573" y="239"/>
                    <a:pt x="580" y="245"/>
                    <a:pt x="591" y="257"/>
                  </a:cubicBezTo>
                  <a:cubicBezTo>
                    <a:pt x="602" y="269"/>
                    <a:pt x="589" y="272"/>
                    <a:pt x="586" y="279"/>
                  </a:cubicBezTo>
                  <a:cubicBezTo>
                    <a:pt x="582" y="286"/>
                    <a:pt x="577" y="287"/>
                    <a:pt x="558" y="287"/>
                  </a:cubicBezTo>
                  <a:cubicBezTo>
                    <a:pt x="538" y="287"/>
                    <a:pt x="537" y="303"/>
                    <a:pt x="537" y="316"/>
                  </a:cubicBezTo>
                  <a:cubicBezTo>
                    <a:pt x="537" y="328"/>
                    <a:pt x="528" y="331"/>
                    <a:pt x="525" y="339"/>
                  </a:cubicBezTo>
                  <a:cubicBezTo>
                    <a:pt x="522" y="347"/>
                    <a:pt x="534" y="351"/>
                    <a:pt x="534" y="360"/>
                  </a:cubicBezTo>
                  <a:cubicBezTo>
                    <a:pt x="534" y="370"/>
                    <a:pt x="533" y="374"/>
                    <a:pt x="527" y="378"/>
                  </a:cubicBezTo>
                  <a:cubicBezTo>
                    <a:pt x="521" y="382"/>
                    <a:pt x="518" y="384"/>
                    <a:pt x="515" y="392"/>
                  </a:cubicBezTo>
                  <a:cubicBezTo>
                    <a:pt x="512" y="399"/>
                    <a:pt x="501" y="396"/>
                    <a:pt x="494" y="386"/>
                  </a:cubicBezTo>
                  <a:cubicBezTo>
                    <a:pt x="486" y="376"/>
                    <a:pt x="464" y="381"/>
                    <a:pt x="458" y="384"/>
                  </a:cubicBezTo>
                  <a:cubicBezTo>
                    <a:pt x="452" y="388"/>
                    <a:pt x="448" y="394"/>
                    <a:pt x="440" y="392"/>
                  </a:cubicBezTo>
                  <a:cubicBezTo>
                    <a:pt x="432" y="390"/>
                    <a:pt x="420" y="388"/>
                    <a:pt x="418" y="395"/>
                  </a:cubicBezTo>
                  <a:cubicBezTo>
                    <a:pt x="416" y="402"/>
                    <a:pt x="433" y="407"/>
                    <a:pt x="433" y="412"/>
                  </a:cubicBezTo>
                  <a:cubicBezTo>
                    <a:pt x="433" y="418"/>
                    <a:pt x="420" y="421"/>
                    <a:pt x="411" y="421"/>
                  </a:cubicBezTo>
                  <a:cubicBezTo>
                    <a:pt x="402" y="421"/>
                    <a:pt x="402" y="426"/>
                    <a:pt x="395" y="416"/>
                  </a:cubicBezTo>
                  <a:cubicBezTo>
                    <a:pt x="388" y="407"/>
                    <a:pt x="383" y="414"/>
                    <a:pt x="372" y="421"/>
                  </a:cubicBezTo>
                  <a:cubicBezTo>
                    <a:pt x="362" y="428"/>
                    <a:pt x="371" y="430"/>
                    <a:pt x="351" y="442"/>
                  </a:cubicBezTo>
                  <a:cubicBezTo>
                    <a:pt x="331" y="455"/>
                    <a:pt x="343" y="480"/>
                    <a:pt x="344" y="500"/>
                  </a:cubicBezTo>
                  <a:cubicBezTo>
                    <a:pt x="346" y="519"/>
                    <a:pt x="344" y="522"/>
                    <a:pt x="328" y="526"/>
                  </a:cubicBezTo>
                  <a:cubicBezTo>
                    <a:pt x="313" y="530"/>
                    <a:pt x="306" y="529"/>
                    <a:pt x="295" y="532"/>
                  </a:cubicBezTo>
                  <a:cubicBezTo>
                    <a:pt x="284" y="536"/>
                    <a:pt x="266" y="535"/>
                    <a:pt x="250" y="535"/>
                  </a:cubicBezTo>
                  <a:cubicBezTo>
                    <a:pt x="235" y="535"/>
                    <a:pt x="223" y="536"/>
                    <a:pt x="208" y="544"/>
                  </a:cubicBezTo>
                  <a:cubicBezTo>
                    <a:pt x="192" y="551"/>
                    <a:pt x="178" y="546"/>
                    <a:pt x="155" y="546"/>
                  </a:cubicBezTo>
                  <a:cubicBezTo>
                    <a:pt x="132" y="546"/>
                    <a:pt x="109" y="546"/>
                    <a:pt x="98" y="546"/>
                  </a:cubicBezTo>
                  <a:cubicBezTo>
                    <a:pt x="86" y="546"/>
                    <a:pt x="75" y="544"/>
                    <a:pt x="65" y="538"/>
                  </a:cubicBezTo>
                  <a:cubicBezTo>
                    <a:pt x="55" y="532"/>
                    <a:pt x="49" y="532"/>
                    <a:pt x="34" y="529"/>
                  </a:cubicBezTo>
                  <a:cubicBezTo>
                    <a:pt x="25" y="527"/>
                    <a:pt x="10" y="519"/>
                    <a:pt x="0" y="514"/>
                  </a:cubicBezTo>
                  <a:cubicBezTo>
                    <a:pt x="0" y="514"/>
                    <a:pt x="0" y="514"/>
                    <a:pt x="0" y="514"/>
                  </a:cubicBezTo>
                  <a:cubicBezTo>
                    <a:pt x="0" y="515"/>
                    <a:pt x="0" y="516"/>
                    <a:pt x="0" y="517"/>
                  </a:cubicBezTo>
                  <a:cubicBezTo>
                    <a:pt x="0" y="517"/>
                    <a:pt x="0" y="517"/>
                    <a:pt x="0" y="517"/>
                  </a:cubicBezTo>
                  <a:cubicBezTo>
                    <a:pt x="0" y="518"/>
                    <a:pt x="0" y="518"/>
                    <a:pt x="0" y="519"/>
                  </a:cubicBezTo>
                  <a:cubicBezTo>
                    <a:pt x="0" y="519"/>
                    <a:pt x="0" y="519"/>
                    <a:pt x="1" y="519"/>
                  </a:cubicBezTo>
                  <a:cubicBezTo>
                    <a:pt x="1" y="520"/>
                    <a:pt x="1" y="520"/>
                    <a:pt x="1" y="521"/>
                  </a:cubicBezTo>
                  <a:cubicBezTo>
                    <a:pt x="1" y="521"/>
                    <a:pt x="1" y="521"/>
                    <a:pt x="1" y="521"/>
                  </a:cubicBezTo>
                  <a:cubicBezTo>
                    <a:pt x="2" y="522"/>
                    <a:pt x="2" y="522"/>
                    <a:pt x="2" y="523"/>
                  </a:cubicBezTo>
                  <a:cubicBezTo>
                    <a:pt x="3" y="523"/>
                    <a:pt x="3" y="523"/>
                    <a:pt x="3" y="523"/>
                  </a:cubicBezTo>
                  <a:cubicBezTo>
                    <a:pt x="3" y="524"/>
                    <a:pt x="3" y="524"/>
                    <a:pt x="4" y="525"/>
                  </a:cubicBezTo>
                  <a:cubicBezTo>
                    <a:pt x="4" y="525"/>
                    <a:pt x="4" y="525"/>
                    <a:pt x="4" y="525"/>
                  </a:cubicBezTo>
                  <a:cubicBezTo>
                    <a:pt x="5" y="526"/>
                    <a:pt x="5" y="526"/>
                    <a:pt x="6" y="527"/>
                  </a:cubicBezTo>
                  <a:cubicBezTo>
                    <a:pt x="6" y="527"/>
                    <a:pt x="6" y="527"/>
                    <a:pt x="6" y="527"/>
                  </a:cubicBezTo>
                  <a:cubicBezTo>
                    <a:pt x="7" y="528"/>
                    <a:pt x="8" y="528"/>
                    <a:pt x="8" y="529"/>
                  </a:cubicBezTo>
                  <a:cubicBezTo>
                    <a:pt x="30" y="546"/>
                    <a:pt x="36" y="564"/>
                    <a:pt x="39" y="574"/>
                  </a:cubicBezTo>
                  <a:cubicBezTo>
                    <a:pt x="42" y="585"/>
                    <a:pt x="60" y="610"/>
                    <a:pt x="79" y="615"/>
                  </a:cubicBezTo>
                  <a:cubicBezTo>
                    <a:pt x="98" y="620"/>
                    <a:pt x="120" y="624"/>
                    <a:pt x="120" y="646"/>
                  </a:cubicBezTo>
                  <a:cubicBezTo>
                    <a:pt x="120" y="668"/>
                    <a:pt x="116" y="687"/>
                    <a:pt x="127" y="694"/>
                  </a:cubicBezTo>
                  <a:cubicBezTo>
                    <a:pt x="138" y="700"/>
                    <a:pt x="158" y="698"/>
                    <a:pt x="152" y="710"/>
                  </a:cubicBezTo>
                  <a:cubicBezTo>
                    <a:pt x="146" y="721"/>
                    <a:pt x="149" y="734"/>
                    <a:pt x="140" y="737"/>
                  </a:cubicBezTo>
                  <a:cubicBezTo>
                    <a:pt x="130" y="740"/>
                    <a:pt x="90" y="736"/>
                    <a:pt x="78" y="756"/>
                  </a:cubicBezTo>
                  <a:cubicBezTo>
                    <a:pt x="65" y="776"/>
                    <a:pt x="52" y="780"/>
                    <a:pt x="51" y="789"/>
                  </a:cubicBezTo>
                  <a:cubicBezTo>
                    <a:pt x="50" y="798"/>
                    <a:pt x="45" y="825"/>
                    <a:pt x="45" y="833"/>
                  </a:cubicBezTo>
                  <a:cubicBezTo>
                    <a:pt x="45" y="836"/>
                    <a:pt x="45" y="841"/>
                    <a:pt x="44" y="845"/>
                  </a:cubicBezTo>
                  <a:cubicBezTo>
                    <a:pt x="67" y="847"/>
                    <a:pt x="65" y="845"/>
                    <a:pt x="78" y="833"/>
                  </a:cubicBezTo>
                  <a:cubicBezTo>
                    <a:pt x="92" y="820"/>
                    <a:pt x="141" y="842"/>
                    <a:pt x="154" y="835"/>
                  </a:cubicBezTo>
                  <a:cubicBezTo>
                    <a:pt x="167" y="828"/>
                    <a:pt x="177" y="826"/>
                    <a:pt x="194" y="825"/>
                  </a:cubicBezTo>
                  <a:cubicBezTo>
                    <a:pt x="211" y="823"/>
                    <a:pt x="249" y="823"/>
                    <a:pt x="280" y="828"/>
                  </a:cubicBezTo>
                  <a:cubicBezTo>
                    <a:pt x="312" y="832"/>
                    <a:pt x="310" y="816"/>
                    <a:pt x="325" y="815"/>
                  </a:cubicBezTo>
                  <a:cubicBezTo>
                    <a:pt x="339" y="813"/>
                    <a:pt x="355" y="816"/>
                    <a:pt x="362" y="829"/>
                  </a:cubicBezTo>
                  <a:cubicBezTo>
                    <a:pt x="369" y="842"/>
                    <a:pt x="368" y="855"/>
                    <a:pt x="383" y="858"/>
                  </a:cubicBezTo>
                  <a:cubicBezTo>
                    <a:pt x="399" y="861"/>
                    <a:pt x="398" y="878"/>
                    <a:pt x="403" y="898"/>
                  </a:cubicBezTo>
                  <a:cubicBezTo>
                    <a:pt x="409" y="918"/>
                    <a:pt x="432" y="922"/>
                    <a:pt x="452" y="932"/>
                  </a:cubicBezTo>
                  <a:cubicBezTo>
                    <a:pt x="456" y="934"/>
                    <a:pt x="459" y="936"/>
                    <a:pt x="462" y="938"/>
                  </a:cubicBezTo>
                  <a:cubicBezTo>
                    <a:pt x="465" y="931"/>
                    <a:pt x="470" y="923"/>
                    <a:pt x="475" y="923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241" name="Freeform 25326"/>
            <p:cNvSpPr>
              <a:spLocks/>
            </p:cNvSpPr>
            <p:nvPr/>
          </p:nvSpPr>
          <p:spPr bwMode="auto">
            <a:xfrm>
              <a:off x="5905066" y="2936248"/>
              <a:ext cx="689892" cy="705203"/>
            </a:xfrm>
            <a:custGeom>
              <a:avLst/>
              <a:gdLst>
                <a:gd name="T0" fmla="*/ 1790 w 1850"/>
                <a:gd name="T1" fmla="*/ 540 h 1891"/>
                <a:gd name="T2" fmla="*/ 1763 w 1850"/>
                <a:gd name="T3" fmla="*/ 462 h 1891"/>
                <a:gd name="T4" fmla="*/ 1654 w 1850"/>
                <a:gd name="T5" fmla="*/ 487 h 1891"/>
                <a:gd name="T6" fmla="*/ 1519 w 1850"/>
                <a:gd name="T7" fmla="*/ 581 h 1891"/>
                <a:gd name="T8" fmla="*/ 1511 w 1850"/>
                <a:gd name="T9" fmla="*/ 630 h 1891"/>
                <a:gd name="T10" fmla="*/ 1404 w 1850"/>
                <a:gd name="T11" fmla="*/ 644 h 1891"/>
                <a:gd name="T12" fmla="*/ 1308 w 1850"/>
                <a:gd name="T13" fmla="*/ 613 h 1891"/>
                <a:gd name="T14" fmla="*/ 1301 w 1850"/>
                <a:gd name="T15" fmla="*/ 562 h 1891"/>
                <a:gd name="T16" fmla="*/ 1279 w 1850"/>
                <a:gd name="T17" fmla="*/ 571 h 1891"/>
                <a:gd name="T18" fmla="*/ 1273 w 1850"/>
                <a:gd name="T19" fmla="*/ 571 h 1891"/>
                <a:gd name="T20" fmla="*/ 1262 w 1850"/>
                <a:gd name="T21" fmla="*/ 637 h 1891"/>
                <a:gd name="T22" fmla="*/ 1180 w 1850"/>
                <a:gd name="T23" fmla="*/ 672 h 1891"/>
                <a:gd name="T24" fmla="*/ 1038 w 1850"/>
                <a:gd name="T25" fmla="*/ 612 h 1891"/>
                <a:gd name="T26" fmla="*/ 914 w 1850"/>
                <a:gd name="T27" fmla="*/ 591 h 1891"/>
                <a:gd name="T28" fmla="*/ 797 w 1850"/>
                <a:gd name="T29" fmla="*/ 532 h 1891"/>
                <a:gd name="T30" fmla="*/ 797 w 1850"/>
                <a:gd name="T31" fmla="*/ 430 h 1891"/>
                <a:gd name="T32" fmla="*/ 765 w 1850"/>
                <a:gd name="T33" fmla="*/ 389 h 1891"/>
                <a:gd name="T34" fmla="*/ 654 w 1850"/>
                <a:gd name="T35" fmla="*/ 268 h 1891"/>
                <a:gd name="T36" fmla="*/ 715 w 1850"/>
                <a:gd name="T37" fmla="*/ 226 h 1891"/>
                <a:gd name="T38" fmla="*/ 696 w 1850"/>
                <a:gd name="T39" fmla="*/ 142 h 1891"/>
                <a:gd name="T40" fmla="*/ 755 w 1850"/>
                <a:gd name="T41" fmla="*/ 34 h 1891"/>
                <a:gd name="T42" fmla="*/ 627 w 1850"/>
                <a:gd name="T43" fmla="*/ 37 h 1891"/>
                <a:gd name="T44" fmla="*/ 519 w 1850"/>
                <a:gd name="T45" fmla="*/ 96 h 1891"/>
                <a:gd name="T46" fmla="*/ 373 w 1850"/>
                <a:gd name="T47" fmla="*/ 141 h 1891"/>
                <a:gd name="T48" fmla="*/ 454 w 1850"/>
                <a:gd name="T49" fmla="*/ 274 h 1891"/>
                <a:gd name="T50" fmla="*/ 380 w 1850"/>
                <a:gd name="T51" fmla="*/ 376 h 1891"/>
                <a:gd name="T52" fmla="*/ 250 w 1850"/>
                <a:gd name="T53" fmla="*/ 541 h 1891"/>
                <a:gd name="T54" fmla="*/ 141 w 1850"/>
                <a:gd name="T55" fmla="*/ 565 h 1891"/>
                <a:gd name="T56" fmla="*/ 122 w 1850"/>
                <a:gd name="T57" fmla="*/ 698 h 1891"/>
                <a:gd name="T58" fmla="*/ 171 w 1850"/>
                <a:gd name="T59" fmla="*/ 822 h 1891"/>
                <a:gd name="T60" fmla="*/ 48 w 1850"/>
                <a:gd name="T61" fmla="*/ 820 h 1891"/>
                <a:gd name="T62" fmla="*/ 134 w 1850"/>
                <a:gd name="T63" fmla="*/ 917 h 1891"/>
                <a:gd name="T64" fmla="*/ 192 w 1850"/>
                <a:gd name="T65" fmla="*/ 1056 h 1891"/>
                <a:gd name="T66" fmla="*/ 303 w 1850"/>
                <a:gd name="T67" fmla="*/ 1056 h 1891"/>
                <a:gd name="T68" fmla="*/ 424 w 1850"/>
                <a:gd name="T69" fmla="*/ 1575 h 1891"/>
                <a:gd name="T70" fmla="*/ 648 w 1850"/>
                <a:gd name="T71" fmla="*/ 1835 h 1891"/>
                <a:gd name="T72" fmla="*/ 750 w 1850"/>
                <a:gd name="T73" fmla="*/ 1640 h 1891"/>
                <a:gd name="T74" fmla="*/ 770 w 1850"/>
                <a:gd name="T75" fmla="*/ 1405 h 1891"/>
                <a:gd name="T76" fmla="*/ 1002 w 1850"/>
                <a:gd name="T77" fmla="*/ 1225 h 1891"/>
                <a:gd name="T78" fmla="*/ 1213 w 1850"/>
                <a:gd name="T79" fmla="*/ 1006 h 1891"/>
                <a:gd name="T80" fmla="*/ 1323 w 1850"/>
                <a:gd name="T81" fmla="*/ 965 h 1891"/>
                <a:gd name="T82" fmla="*/ 1287 w 1850"/>
                <a:gd name="T83" fmla="*/ 813 h 1891"/>
                <a:gd name="T84" fmla="*/ 1318 w 1850"/>
                <a:gd name="T85" fmla="*/ 742 h 1891"/>
                <a:gd name="T86" fmla="*/ 1280 w 1850"/>
                <a:gd name="T87" fmla="*/ 687 h 1891"/>
                <a:gd name="T88" fmla="*/ 1294 w 1850"/>
                <a:gd name="T89" fmla="*/ 676 h 1891"/>
                <a:gd name="T90" fmla="*/ 1297 w 1850"/>
                <a:gd name="T91" fmla="*/ 678 h 1891"/>
                <a:gd name="T92" fmla="*/ 1304 w 1850"/>
                <a:gd name="T93" fmla="*/ 678 h 1891"/>
                <a:gd name="T94" fmla="*/ 1371 w 1850"/>
                <a:gd name="T95" fmla="*/ 748 h 1891"/>
                <a:gd name="T96" fmla="*/ 1535 w 1850"/>
                <a:gd name="T97" fmla="*/ 774 h 1891"/>
                <a:gd name="T98" fmla="*/ 1465 w 1850"/>
                <a:gd name="T99" fmla="*/ 844 h 1891"/>
                <a:gd name="T100" fmla="*/ 1510 w 1850"/>
                <a:gd name="T101" fmla="*/ 864 h 1891"/>
                <a:gd name="T102" fmla="*/ 1550 w 1850"/>
                <a:gd name="T103" fmla="*/ 968 h 1891"/>
                <a:gd name="T104" fmla="*/ 1592 w 1850"/>
                <a:gd name="T105" fmla="*/ 957 h 1891"/>
                <a:gd name="T106" fmla="*/ 1601 w 1850"/>
                <a:gd name="T107" fmla="*/ 848 h 1891"/>
                <a:gd name="T108" fmla="*/ 1671 w 1850"/>
                <a:gd name="T109" fmla="*/ 802 h 1891"/>
                <a:gd name="T110" fmla="*/ 1707 w 1850"/>
                <a:gd name="T111" fmla="*/ 720 h 1891"/>
                <a:gd name="T112" fmla="*/ 1818 w 1850"/>
                <a:gd name="T113" fmla="*/ 622 h 18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850" h="1891">
                  <a:moveTo>
                    <a:pt x="1850" y="546"/>
                  </a:moveTo>
                  <a:cubicBezTo>
                    <a:pt x="1849" y="546"/>
                    <a:pt x="1849" y="546"/>
                    <a:pt x="1848" y="546"/>
                  </a:cubicBezTo>
                  <a:cubicBezTo>
                    <a:pt x="1848" y="546"/>
                    <a:pt x="1847" y="546"/>
                    <a:pt x="1847" y="546"/>
                  </a:cubicBezTo>
                  <a:cubicBezTo>
                    <a:pt x="1841" y="543"/>
                    <a:pt x="1835" y="546"/>
                    <a:pt x="1830" y="547"/>
                  </a:cubicBezTo>
                  <a:cubicBezTo>
                    <a:pt x="1825" y="549"/>
                    <a:pt x="1824" y="545"/>
                    <a:pt x="1819" y="540"/>
                  </a:cubicBezTo>
                  <a:cubicBezTo>
                    <a:pt x="1815" y="534"/>
                    <a:pt x="1802" y="541"/>
                    <a:pt x="1790" y="540"/>
                  </a:cubicBezTo>
                  <a:cubicBezTo>
                    <a:pt x="1777" y="538"/>
                    <a:pt x="1788" y="526"/>
                    <a:pt x="1794" y="523"/>
                  </a:cubicBezTo>
                  <a:cubicBezTo>
                    <a:pt x="1799" y="519"/>
                    <a:pt x="1799" y="514"/>
                    <a:pt x="1798" y="509"/>
                  </a:cubicBezTo>
                  <a:cubicBezTo>
                    <a:pt x="1798" y="504"/>
                    <a:pt x="1794" y="500"/>
                    <a:pt x="1787" y="496"/>
                  </a:cubicBezTo>
                  <a:cubicBezTo>
                    <a:pt x="1780" y="493"/>
                    <a:pt x="1785" y="484"/>
                    <a:pt x="1785" y="480"/>
                  </a:cubicBezTo>
                  <a:cubicBezTo>
                    <a:pt x="1784" y="476"/>
                    <a:pt x="1779" y="472"/>
                    <a:pt x="1774" y="471"/>
                  </a:cubicBezTo>
                  <a:cubicBezTo>
                    <a:pt x="1769" y="470"/>
                    <a:pt x="1769" y="462"/>
                    <a:pt x="1763" y="462"/>
                  </a:cubicBezTo>
                  <a:cubicBezTo>
                    <a:pt x="1757" y="463"/>
                    <a:pt x="1756" y="473"/>
                    <a:pt x="1749" y="473"/>
                  </a:cubicBezTo>
                  <a:cubicBezTo>
                    <a:pt x="1743" y="473"/>
                    <a:pt x="1734" y="489"/>
                    <a:pt x="1731" y="493"/>
                  </a:cubicBezTo>
                  <a:cubicBezTo>
                    <a:pt x="1727" y="498"/>
                    <a:pt x="1721" y="496"/>
                    <a:pt x="1716" y="492"/>
                  </a:cubicBezTo>
                  <a:cubicBezTo>
                    <a:pt x="1711" y="488"/>
                    <a:pt x="1709" y="491"/>
                    <a:pt x="1699" y="491"/>
                  </a:cubicBezTo>
                  <a:cubicBezTo>
                    <a:pt x="1690" y="491"/>
                    <a:pt x="1689" y="482"/>
                    <a:pt x="1682" y="474"/>
                  </a:cubicBezTo>
                  <a:cubicBezTo>
                    <a:pt x="1675" y="467"/>
                    <a:pt x="1665" y="481"/>
                    <a:pt x="1654" y="487"/>
                  </a:cubicBezTo>
                  <a:cubicBezTo>
                    <a:pt x="1642" y="494"/>
                    <a:pt x="1640" y="500"/>
                    <a:pt x="1632" y="511"/>
                  </a:cubicBezTo>
                  <a:cubicBezTo>
                    <a:pt x="1624" y="522"/>
                    <a:pt x="1611" y="522"/>
                    <a:pt x="1600" y="522"/>
                  </a:cubicBezTo>
                  <a:cubicBezTo>
                    <a:pt x="1589" y="521"/>
                    <a:pt x="1588" y="527"/>
                    <a:pt x="1585" y="535"/>
                  </a:cubicBezTo>
                  <a:cubicBezTo>
                    <a:pt x="1581" y="544"/>
                    <a:pt x="1574" y="550"/>
                    <a:pt x="1563" y="552"/>
                  </a:cubicBezTo>
                  <a:cubicBezTo>
                    <a:pt x="1552" y="554"/>
                    <a:pt x="1554" y="566"/>
                    <a:pt x="1551" y="576"/>
                  </a:cubicBezTo>
                  <a:cubicBezTo>
                    <a:pt x="1548" y="586"/>
                    <a:pt x="1528" y="583"/>
                    <a:pt x="1519" y="581"/>
                  </a:cubicBezTo>
                  <a:cubicBezTo>
                    <a:pt x="1511" y="580"/>
                    <a:pt x="1504" y="585"/>
                    <a:pt x="1497" y="587"/>
                  </a:cubicBezTo>
                  <a:cubicBezTo>
                    <a:pt x="1496" y="587"/>
                    <a:pt x="1496" y="587"/>
                    <a:pt x="1495" y="587"/>
                  </a:cubicBezTo>
                  <a:cubicBezTo>
                    <a:pt x="1492" y="589"/>
                    <a:pt x="1488" y="587"/>
                    <a:pt x="1486" y="588"/>
                  </a:cubicBezTo>
                  <a:cubicBezTo>
                    <a:pt x="1482" y="590"/>
                    <a:pt x="1482" y="595"/>
                    <a:pt x="1484" y="598"/>
                  </a:cubicBezTo>
                  <a:cubicBezTo>
                    <a:pt x="1485" y="600"/>
                    <a:pt x="1493" y="606"/>
                    <a:pt x="1503" y="607"/>
                  </a:cubicBezTo>
                  <a:cubicBezTo>
                    <a:pt x="1512" y="609"/>
                    <a:pt x="1510" y="626"/>
                    <a:pt x="1511" y="630"/>
                  </a:cubicBezTo>
                  <a:cubicBezTo>
                    <a:pt x="1512" y="634"/>
                    <a:pt x="1518" y="638"/>
                    <a:pt x="1524" y="644"/>
                  </a:cubicBezTo>
                  <a:cubicBezTo>
                    <a:pt x="1530" y="650"/>
                    <a:pt x="1506" y="647"/>
                    <a:pt x="1494" y="647"/>
                  </a:cubicBezTo>
                  <a:cubicBezTo>
                    <a:pt x="1482" y="647"/>
                    <a:pt x="1472" y="647"/>
                    <a:pt x="1463" y="647"/>
                  </a:cubicBezTo>
                  <a:cubicBezTo>
                    <a:pt x="1453" y="647"/>
                    <a:pt x="1436" y="647"/>
                    <a:pt x="1433" y="653"/>
                  </a:cubicBezTo>
                  <a:cubicBezTo>
                    <a:pt x="1429" y="660"/>
                    <a:pt x="1417" y="657"/>
                    <a:pt x="1416" y="651"/>
                  </a:cubicBezTo>
                  <a:cubicBezTo>
                    <a:pt x="1416" y="646"/>
                    <a:pt x="1411" y="644"/>
                    <a:pt x="1404" y="644"/>
                  </a:cubicBezTo>
                  <a:cubicBezTo>
                    <a:pt x="1396" y="644"/>
                    <a:pt x="1395" y="645"/>
                    <a:pt x="1392" y="653"/>
                  </a:cubicBezTo>
                  <a:cubicBezTo>
                    <a:pt x="1389" y="661"/>
                    <a:pt x="1378" y="659"/>
                    <a:pt x="1371" y="660"/>
                  </a:cubicBezTo>
                  <a:cubicBezTo>
                    <a:pt x="1364" y="660"/>
                    <a:pt x="1352" y="658"/>
                    <a:pt x="1350" y="654"/>
                  </a:cubicBezTo>
                  <a:cubicBezTo>
                    <a:pt x="1348" y="651"/>
                    <a:pt x="1334" y="648"/>
                    <a:pt x="1324" y="648"/>
                  </a:cubicBezTo>
                  <a:cubicBezTo>
                    <a:pt x="1315" y="648"/>
                    <a:pt x="1317" y="635"/>
                    <a:pt x="1310" y="632"/>
                  </a:cubicBezTo>
                  <a:cubicBezTo>
                    <a:pt x="1304" y="630"/>
                    <a:pt x="1309" y="623"/>
                    <a:pt x="1308" y="613"/>
                  </a:cubicBezTo>
                  <a:cubicBezTo>
                    <a:pt x="1308" y="609"/>
                    <a:pt x="1309" y="605"/>
                    <a:pt x="1311" y="601"/>
                  </a:cubicBezTo>
                  <a:cubicBezTo>
                    <a:pt x="1311" y="601"/>
                    <a:pt x="1310" y="600"/>
                    <a:pt x="1310" y="600"/>
                  </a:cubicBezTo>
                  <a:cubicBezTo>
                    <a:pt x="1310" y="600"/>
                    <a:pt x="1310" y="600"/>
                    <a:pt x="1310" y="600"/>
                  </a:cubicBezTo>
                  <a:cubicBezTo>
                    <a:pt x="1309" y="599"/>
                    <a:pt x="1309" y="599"/>
                    <a:pt x="1309" y="599"/>
                  </a:cubicBezTo>
                  <a:cubicBezTo>
                    <a:pt x="1307" y="594"/>
                    <a:pt x="1310" y="579"/>
                    <a:pt x="1310" y="573"/>
                  </a:cubicBezTo>
                  <a:cubicBezTo>
                    <a:pt x="1310" y="568"/>
                    <a:pt x="1309" y="563"/>
                    <a:pt x="1301" y="562"/>
                  </a:cubicBezTo>
                  <a:cubicBezTo>
                    <a:pt x="1294" y="562"/>
                    <a:pt x="1288" y="565"/>
                    <a:pt x="1284" y="569"/>
                  </a:cubicBezTo>
                  <a:cubicBezTo>
                    <a:pt x="1283" y="569"/>
                    <a:pt x="1283" y="570"/>
                    <a:pt x="1282" y="570"/>
                  </a:cubicBezTo>
                  <a:cubicBezTo>
                    <a:pt x="1282" y="570"/>
                    <a:pt x="1282" y="570"/>
                    <a:pt x="1282" y="570"/>
                  </a:cubicBezTo>
                  <a:cubicBezTo>
                    <a:pt x="1282" y="570"/>
                    <a:pt x="1281" y="570"/>
                    <a:pt x="1281" y="570"/>
                  </a:cubicBezTo>
                  <a:cubicBezTo>
                    <a:pt x="1281" y="571"/>
                    <a:pt x="1281" y="571"/>
                    <a:pt x="1281" y="571"/>
                  </a:cubicBezTo>
                  <a:cubicBezTo>
                    <a:pt x="1280" y="571"/>
                    <a:pt x="1280" y="571"/>
                    <a:pt x="1279" y="571"/>
                  </a:cubicBezTo>
                  <a:cubicBezTo>
                    <a:pt x="1279" y="571"/>
                    <a:pt x="1279" y="571"/>
                    <a:pt x="1279" y="571"/>
                  </a:cubicBezTo>
                  <a:cubicBezTo>
                    <a:pt x="1278" y="571"/>
                    <a:pt x="1278" y="571"/>
                    <a:pt x="1278" y="571"/>
                  </a:cubicBezTo>
                  <a:cubicBezTo>
                    <a:pt x="1277" y="571"/>
                    <a:pt x="1277" y="571"/>
                    <a:pt x="1277" y="571"/>
                  </a:cubicBezTo>
                  <a:cubicBezTo>
                    <a:pt x="1276" y="571"/>
                    <a:pt x="1276" y="571"/>
                    <a:pt x="1276" y="571"/>
                  </a:cubicBezTo>
                  <a:cubicBezTo>
                    <a:pt x="1275" y="571"/>
                    <a:pt x="1275" y="571"/>
                    <a:pt x="1275" y="571"/>
                  </a:cubicBezTo>
                  <a:cubicBezTo>
                    <a:pt x="1274" y="571"/>
                    <a:pt x="1274" y="571"/>
                    <a:pt x="1273" y="571"/>
                  </a:cubicBezTo>
                  <a:cubicBezTo>
                    <a:pt x="1273" y="571"/>
                    <a:pt x="1273" y="571"/>
                    <a:pt x="1273" y="571"/>
                  </a:cubicBezTo>
                  <a:cubicBezTo>
                    <a:pt x="1271" y="571"/>
                    <a:pt x="1269" y="571"/>
                    <a:pt x="1268" y="571"/>
                  </a:cubicBezTo>
                  <a:cubicBezTo>
                    <a:pt x="1268" y="576"/>
                    <a:pt x="1268" y="582"/>
                    <a:pt x="1268" y="584"/>
                  </a:cubicBezTo>
                  <a:cubicBezTo>
                    <a:pt x="1268" y="590"/>
                    <a:pt x="1270" y="597"/>
                    <a:pt x="1264" y="598"/>
                  </a:cubicBezTo>
                  <a:cubicBezTo>
                    <a:pt x="1259" y="598"/>
                    <a:pt x="1257" y="603"/>
                    <a:pt x="1258" y="608"/>
                  </a:cubicBezTo>
                  <a:cubicBezTo>
                    <a:pt x="1259" y="613"/>
                    <a:pt x="1257" y="635"/>
                    <a:pt x="1262" y="637"/>
                  </a:cubicBezTo>
                  <a:cubicBezTo>
                    <a:pt x="1266" y="639"/>
                    <a:pt x="1267" y="643"/>
                    <a:pt x="1267" y="649"/>
                  </a:cubicBezTo>
                  <a:cubicBezTo>
                    <a:pt x="1267" y="653"/>
                    <a:pt x="1271" y="655"/>
                    <a:pt x="1273" y="661"/>
                  </a:cubicBezTo>
                  <a:cubicBezTo>
                    <a:pt x="1266" y="661"/>
                    <a:pt x="1260" y="668"/>
                    <a:pt x="1256" y="674"/>
                  </a:cubicBezTo>
                  <a:cubicBezTo>
                    <a:pt x="1250" y="681"/>
                    <a:pt x="1240" y="673"/>
                    <a:pt x="1229" y="674"/>
                  </a:cubicBezTo>
                  <a:cubicBezTo>
                    <a:pt x="1218" y="676"/>
                    <a:pt x="1216" y="676"/>
                    <a:pt x="1204" y="670"/>
                  </a:cubicBezTo>
                  <a:cubicBezTo>
                    <a:pt x="1192" y="664"/>
                    <a:pt x="1191" y="672"/>
                    <a:pt x="1180" y="672"/>
                  </a:cubicBezTo>
                  <a:cubicBezTo>
                    <a:pt x="1170" y="672"/>
                    <a:pt x="1156" y="665"/>
                    <a:pt x="1140" y="664"/>
                  </a:cubicBezTo>
                  <a:cubicBezTo>
                    <a:pt x="1123" y="662"/>
                    <a:pt x="1122" y="661"/>
                    <a:pt x="1118" y="654"/>
                  </a:cubicBezTo>
                  <a:cubicBezTo>
                    <a:pt x="1114" y="648"/>
                    <a:pt x="1112" y="650"/>
                    <a:pt x="1096" y="652"/>
                  </a:cubicBezTo>
                  <a:cubicBezTo>
                    <a:pt x="1080" y="654"/>
                    <a:pt x="1082" y="646"/>
                    <a:pt x="1072" y="644"/>
                  </a:cubicBezTo>
                  <a:cubicBezTo>
                    <a:pt x="1061" y="642"/>
                    <a:pt x="1054" y="639"/>
                    <a:pt x="1052" y="631"/>
                  </a:cubicBezTo>
                  <a:cubicBezTo>
                    <a:pt x="1050" y="623"/>
                    <a:pt x="1044" y="622"/>
                    <a:pt x="1038" y="612"/>
                  </a:cubicBezTo>
                  <a:cubicBezTo>
                    <a:pt x="1033" y="602"/>
                    <a:pt x="1026" y="604"/>
                    <a:pt x="1017" y="604"/>
                  </a:cubicBezTo>
                  <a:cubicBezTo>
                    <a:pt x="1008" y="603"/>
                    <a:pt x="1007" y="607"/>
                    <a:pt x="1000" y="612"/>
                  </a:cubicBezTo>
                  <a:cubicBezTo>
                    <a:pt x="994" y="616"/>
                    <a:pt x="984" y="610"/>
                    <a:pt x="976" y="607"/>
                  </a:cubicBezTo>
                  <a:cubicBezTo>
                    <a:pt x="968" y="604"/>
                    <a:pt x="962" y="609"/>
                    <a:pt x="952" y="612"/>
                  </a:cubicBezTo>
                  <a:cubicBezTo>
                    <a:pt x="943" y="614"/>
                    <a:pt x="940" y="608"/>
                    <a:pt x="936" y="600"/>
                  </a:cubicBezTo>
                  <a:cubicBezTo>
                    <a:pt x="932" y="591"/>
                    <a:pt x="924" y="590"/>
                    <a:pt x="914" y="591"/>
                  </a:cubicBezTo>
                  <a:cubicBezTo>
                    <a:pt x="905" y="592"/>
                    <a:pt x="895" y="587"/>
                    <a:pt x="890" y="578"/>
                  </a:cubicBezTo>
                  <a:cubicBezTo>
                    <a:pt x="884" y="568"/>
                    <a:pt x="880" y="574"/>
                    <a:pt x="876" y="578"/>
                  </a:cubicBezTo>
                  <a:cubicBezTo>
                    <a:pt x="872" y="581"/>
                    <a:pt x="866" y="582"/>
                    <a:pt x="860" y="576"/>
                  </a:cubicBezTo>
                  <a:cubicBezTo>
                    <a:pt x="854" y="569"/>
                    <a:pt x="844" y="566"/>
                    <a:pt x="838" y="555"/>
                  </a:cubicBezTo>
                  <a:cubicBezTo>
                    <a:pt x="833" y="544"/>
                    <a:pt x="824" y="543"/>
                    <a:pt x="816" y="542"/>
                  </a:cubicBezTo>
                  <a:cubicBezTo>
                    <a:pt x="808" y="540"/>
                    <a:pt x="801" y="539"/>
                    <a:pt x="797" y="532"/>
                  </a:cubicBezTo>
                  <a:cubicBezTo>
                    <a:pt x="793" y="526"/>
                    <a:pt x="782" y="527"/>
                    <a:pt x="771" y="525"/>
                  </a:cubicBezTo>
                  <a:cubicBezTo>
                    <a:pt x="760" y="523"/>
                    <a:pt x="761" y="515"/>
                    <a:pt x="758" y="502"/>
                  </a:cubicBezTo>
                  <a:cubicBezTo>
                    <a:pt x="754" y="488"/>
                    <a:pt x="762" y="488"/>
                    <a:pt x="767" y="484"/>
                  </a:cubicBezTo>
                  <a:cubicBezTo>
                    <a:pt x="772" y="479"/>
                    <a:pt x="773" y="476"/>
                    <a:pt x="772" y="468"/>
                  </a:cubicBezTo>
                  <a:cubicBezTo>
                    <a:pt x="772" y="459"/>
                    <a:pt x="776" y="456"/>
                    <a:pt x="779" y="446"/>
                  </a:cubicBezTo>
                  <a:cubicBezTo>
                    <a:pt x="782" y="437"/>
                    <a:pt x="786" y="436"/>
                    <a:pt x="797" y="430"/>
                  </a:cubicBezTo>
                  <a:cubicBezTo>
                    <a:pt x="806" y="424"/>
                    <a:pt x="808" y="420"/>
                    <a:pt x="806" y="414"/>
                  </a:cubicBezTo>
                  <a:cubicBezTo>
                    <a:pt x="806" y="413"/>
                    <a:pt x="806" y="413"/>
                    <a:pt x="805" y="412"/>
                  </a:cubicBezTo>
                  <a:cubicBezTo>
                    <a:pt x="805" y="412"/>
                    <a:pt x="805" y="412"/>
                    <a:pt x="805" y="412"/>
                  </a:cubicBezTo>
                  <a:cubicBezTo>
                    <a:pt x="805" y="411"/>
                    <a:pt x="805" y="410"/>
                    <a:pt x="804" y="410"/>
                  </a:cubicBezTo>
                  <a:cubicBezTo>
                    <a:pt x="800" y="401"/>
                    <a:pt x="796" y="405"/>
                    <a:pt x="790" y="400"/>
                  </a:cubicBezTo>
                  <a:cubicBezTo>
                    <a:pt x="783" y="394"/>
                    <a:pt x="778" y="394"/>
                    <a:pt x="765" y="389"/>
                  </a:cubicBezTo>
                  <a:cubicBezTo>
                    <a:pt x="752" y="384"/>
                    <a:pt x="754" y="379"/>
                    <a:pt x="746" y="367"/>
                  </a:cubicBezTo>
                  <a:cubicBezTo>
                    <a:pt x="739" y="355"/>
                    <a:pt x="735" y="362"/>
                    <a:pt x="723" y="362"/>
                  </a:cubicBezTo>
                  <a:cubicBezTo>
                    <a:pt x="711" y="362"/>
                    <a:pt x="709" y="354"/>
                    <a:pt x="703" y="341"/>
                  </a:cubicBezTo>
                  <a:cubicBezTo>
                    <a:pt x="697" y="328"/>
                    <a:pt x="688" y="336"/>
                    <a:pt x="677" y="336"/>
                  </a:cubicBezTo>
                  <a:cubicBezTo>
                    <a:pt x="666" y="336"/>
                    <a:pt x="669" y="299"/>
                    <a:pt x="666" y="287"/>
                  </a:cubicBezTo>
                  <a:cubicBezTo>
                    <a:pt x="662" y="275"/>
                    <a:pt x="660" y="278"/>
                    <a:pt x="654" y="268"/>
                  </a:cubicBezTo>
                  <a:cubicBezTo>
                    <a:pt x="648" y="259"/>
                    <a:pt x="651" y="251"/>
                    <a:pt x="657" y="251"/>
                  </a:cubicBezTo>
                  <a:cubicBezTo>
                    <a:pt x="663" y="251"/>
                    <a:pt x="670" y="246"/>
                    <a:pt x="673" y="248"/>
                  </a:cubicBezTo>
                  <a:cubicBezTo>
                    <a:pt x="676" y="250"/>
                    <a:pt x="678" y="261"/>
                    <a:pt x="681" y="267"/>
                  </a:cubicBezTo>
                  <a:cubicBezTo>
                    <a:pt x="684" y="273"/>
                    <a:pt x="696" y="263"/>
                    <a:pt x="701" y="256"/>
                  </a:cubicBezTo>
                  <a:cubicBezTo>
                    <a:pt x="706" y="250"/>
                    <a:pt x="714" y="250"/>
                    <a:pt x="720" y="244"/>
                  </a:cubicBezTo>
                  <a:cubicBezTo>
                    <a:pt x="726" y="238"/>
                    <a:pt x="720" y="232"/>
                    <a:pt x="715" y="226"/>
                  </a:cubicBezTo>
                  <a:cubicBezTo>
                    <a:pt x="710" y="221"/>
                    <a:pt x="710" y="218"/>
                    <a:pt x="710" y="214"/>
                  </a:cubicBezTo>
                  <a:cubicBezTo>
                    <a:pt x="709" y="210"/>
                    <a:pt x="702" y="203"/>
                    <a:pt x="694" y="200"/>
                  </a:cubicBezTo>
                  <a:cubicBezTo>
                    <a:pt x="685" y="196"/>
                    <a:pt x="677" y="182"/>
                    <a:pt x="680" y="173"/>
                  </a:cubicBezTo>
                  <a:cubicBezTo>
                    <a:pt x="684" y="164"/>
                    <a:pt x="680" y="162"/>
                    <a:pt x="672" y="154"/>
                  </a:cubicBezTo>
                  <a:cubicBezTo>
                    <a:pt x="664" y="145"/>
                    <a:pt x="670" y="138"/>
                    <a:pt x="678" y="134"/>
                  </a:cubicBezTo>
                  <a:cubicBezTo>
                    <a:pt x="685" y="129"/>
                    <a:pt x="692" y="135"/>
                    <a:pt x="696" y="142"/>
                  </a:cubicBezTo>
                  <a:cubicBezTo>
                    <a:pt x="701" y="148"/>
                    <a:pt x="708" y="142"/>
                    <a:pt x="720" y="138"/>
                  </a:cubicBezTo>
                  <a:cubicBezTo>
                    <a:pt x="733" y="135"/>
                    <a:pt x="739" y="115"/>
                    <a:pt x="744" y="107"/>
                  </a:cubicBezTo>
                  <a:cubicBezTo>
                    <a:pt x="750" y="99"/>
                    <a:pt x="754" y="96"/>
                    <a:pt x="762" y="94"/>
                  </a:cubicBezTo>
                  <a:cubicBezTo>
                    <a:pt x="770" y="92"/>
                    <a:pt x="770" y="76"/>
                    <a:pt x="768" y="66"/>
                  </a:cubicBezTo>
                  <a:cubicBezTo>
                    <a:pt x="767" y="57"/>
                    <a:pt x="773" y="56"/>
                    <a:pt x="776" y="46"/>
                  </a:cubicBezTo>
                  <a:cubicBezTo>
                    <a:pt x="780" y="37"/>
                    <a:pt x="767" y="36"/>
                    <a:pt x="755" y="34"/>
                  </a:cubicBezTo>
                  <a:cubicBezTo>
                    <a:pt x="743" y="31"/>
                    <a:pt x="737" y="23"/>
                    <a:pt x="728" y="12"/>
                  </a:cubicBezTo>
                  <a:cubicBezTo>
                    <a:pt x="720" y="0"/>
                    <a:pt x="706" y="2"/>
                    <a:pt x="693" y="2"/>
                  </a:cubicBezTo>
                  <a:cubicBezTo>
                    <a:pt x="680" y="2"/>
                    <a:pt x="679" y="5"/>
                    <a:pt x="668" y="8"/>
                  </a:cubicBezTo>
                  <a:cubicBezTo>
                    <a:pt x="658" y="12"/>
                    <a:pt x="658" y="20"/>
                    <a:pt x="647" y="20"/>
                  </a:cubicBezTo>
                  <a:cubicBezTo>
                    <a:pt x="636" y="21"/>
                    <a:pt x="637" y="27"/>
                    <a:pt x="628" y="36"/>
                  </a:cubicBezTo>
                  <a:cubicBezTo>
                    <a:pt x="628" y="36"/>
                    <a:pt x="627" y="36"/>
                    <a:pt x="627" y="37"/>
                  </a:cubicBezTo>
                  <a:cubicBezTo>
                    <a:pt x="626" y="37"/>
                    <a:pt x="626" y="37"/>
                    <a:pt x="626" y="38"/>
                  </a:cubicBezTo>
                  <a:cubicBezTo>
                    <a:pt x="633" y="51"/>
                    <a:pt x="635" y="65"/>
                    <a:pt x="634" y="72"/>
                  </a:cubicBezTo>
                  <a:cubicBezTo>
                    <a:pt x="633" y="81"/>
                    <a:pt x="622" y="75"/>
                    <a:pt x="617" y="66"/>
                  </a:cubicBezTo>
                  <a:cubicBezTo>
                    <a:pt x="612" y="57"/>
                    <a:pt x="595" y="58"/>
                    <a:pt x="583" y="58"/>
                  </a:cubicBezTo>
                  <a:cubicBezTo>
                    <a:pt x="571" y="58"/>
                    <a:pt x="558" y="71"/>
                    <a:pt x="554" y="83"/>
                  </a:cubicBezTo>
                  <a:cubicBezTo>
                    <a:pt x="550" y="95"/>
                    <a:pt x="539" y="95"/>
                    <a:pt x="519" y="96"/>
                  </a:cubicBezTo>
                  <a:cubicBezTo>
                    <a:pt x="499" y="97"/>
                    <a:pt x="494" y="104"/>
                    <a:pt x="476" y="108"/>
                  </a:cubicBezTo>
                  <a:cubicBezTo>
                    <a:pt x="458" y="112"/>
                    <a:pt x="444" y="104"/>
                    <a:pt x="440" y="100"/>
                  </a:cubicBezTo>
                  <a:cubicBezTo>
                    <a:pt x="436" y="96"/>
                    <a:pt x="424" y="94"/>
                    <a:pt x="410" y="94"/>
                  </a:cubicBezTo>
                  <a:cubicBezTo>
                    <a:pt x="396" y="94"/>
                    <a:pt x="387" y="88"/>
                    <a:pt x="374" y="88"/>
                  </a:cubicBezTo>
                  <a:cubicBezTo>
                    <a:pt x="361" y="88"/>
                    <a:pt x="361" y="113"/>
                    <a:pt x="361" y="123"/>
                  </a:cubicBezTo>
                  <a:cubicBezTo>
                    <a:pt x="361" y="133"/>
                    <a:pt x="362" y="135"/>
                    <a:pt x="373" y="141"/>
                  </a:cubicBezTo>
                  <a:cubicBezTo>
                    <a:pt x="384" y="147"/>
                    <a:pt x="386" y="152"/>
                    <a:pt x="374" y="160"/>
                  </a:cubicBezTo>
                  <a:cubicBezTo>
                    <a:pt x="362" y="168"/>
                    <a:pt x="379" y="183"/>
                    <a:pt x="377" y="196"/>
                  </a:cubicBezTo>
                  <a:cubicBezTo>
                    <a:pt x="375" y="209"/>
                    <a:pt x="389" y="219"/>
                    <a:pt x="389" y="226"/>
                  </a:cubicBezTo>
                  <a:cubicBezTo>
                    <a:pt x="389" y="233"/>
                    <a:pt x="406" y="237"/>
                    <a:pt x="407" y="247"/>
                  </a:cubicBezTo>
                  <a:cubicBezTo>
                    <a:pt x="408" y="257"/>
                    <a:pt x="428" y="258"/>
                    <a:pt x="443" y="260"/>
                  </a:cubicBezTo>
                  <a:cubicBezTo>
                    <a:pt x="458" y="262"/>
                    <a:pt x="455" y="268"/>
                    <a:pt x="454" y="274"/>
                  </a:cubicBezTo>
                  <a:cubicBezTo>
                    <a:pt x="453" y="280"/>
                    <a:pt x="428" y="285"/>
                    <a:pt x="415" y="288"/>
                  </a:cubicBezTo>
                  <a:cubicBezTo>
                    <a:pt x="402" y="291"/>
                    <a:pt x="401" y="304"/>
                    <a:pt x="406" y="311"/>
                  </a:cubicBezTo>
                  <a:cubicBezTo>
                    <a:pt x="411" y="318"/>
                    <a:pt x="402" y="326"/>
                    <a:pt x="402" y="333"/>
                  </a:cubicBezTo>
                  <a:cubicBezTo>
                    <a:pt x="402" y="340"/>
                    <a:pt x="405" y="347"/>
                    <a:pt x="413" y="349"/>
                  </a:cubicBezTo>
                  <a:cubicBezTo>
                    <a:pt x="421" y="351"/>
                    <a:pt x="413" y="359"/>
                    <a:pt x="404" y="359"/>
                  </a:cubicBezTo>
                  <a:cubicBezTo>
                    <a:pt x="395" y="359"/>
                    <a:pt x="391" y="369"/>
                    <a:pt x="380" y="376"/>
                  </a:cubicBezTo>
                  <a:cubicBezTo>
                    <a:pt x="369" y="383"/>
                    <a:pt x="370" y="391"/>
                    <a:pt x="366" y="411"/>
                  </a:cubicBezTo>
                  <a:cubicBezTo>
                    <a:pt x="362" y="431"/>
                    <a:pt x="353" y="424"/>
                    <a:pt x="341" y="425"/>
                  </a:cubicBezTo>
                  <a:cubicBezTo>
                    <a:pt x="329" y="426"/>
                    <a:pt x="328" y="443"/>
                    <a:pt x="326" y="457"/>
                  </a:cubicBezTo>
                  <a:cubicBezTo>
                    <a:pt x="324" y="471"/>
                    <a:pt x="316" y="470"/>
                    <a:pt x="305" y="487"/>
                  </a:cubicBezTo>
                  <a:cubicBezTo>
                    <a:pt x="294" y="504"/>
                    <a:pt x="291" y="503"/>
                    <a:pt x="275" y="505"/>
                  </a:cubicBezTo>
                  <a:cubicBezTo>
                    <a:pt x="259" y="507"/>
                    <a:pt x="259" y="536"/>
                    <a:pt x="250" y="541"/>
                  </a:cubicBezTo>
                  <a:cubicBezTo>
                    <a:pt x="241" y="546"/>
                    <a:pt x="237" y="550"/>
                    <a:pt x="236" y="563"/>
                  </a:cubicBezTo>
                  <a:cubicBezTo>
                    <a:pt x="235" y="576"/>
                    <a:pt x="206" y="575"/>
                    <a:pt x="198" y="575"/>
                  </a:cubicBezTo>
                  <a:cubicBezTo>
                    <a:pt x="190" y="575"/>
                    <a:pt x="185" y="573"/>
                    <a:pt x="183" y="583"/>
                  </a:cubicBezTo>
                  <a:cubicBezTo>
                    <a:pt x="181" y="593"/>
                    <a:pt x="171" y="590"/>
                    <a:pt x="168" y="590"/>
                  </a:cubicBezTo>
                  <a:cubicBezTo>
                    <a:pt x="165" y="590"/>
                    <a:pt x="161" y="586"/>
                    <a:pt x="159" y="578"/>
                  </a:cubicBezTo>
                  <a:cubicBezTo>
                    <a:pt x="157" y="570"/>
                    <a:pt x="151" y="565"/>
                    <a:pt x="141" y="565"/>
                  </a:cubicBezTo>
                  <a:cubicBezTo>
                    <a:pt x="131" y="565"/>
                    <a:pt x="124" y="579"/>
                    <a:pt x="113" y="598"/>
                  </a:cubicBezTo>
                  <a:cubicBezTo>
                    <a:pt x="102" y="617"/>
                    <a:pt x="102" y="618"/>
                    <a:pt x="89" y="623"/>
                  </a:cubicBezTo>
                  <a:cubicBezTo>
                    <a:pt x="76" y="628"/>
                    <a:pt x="80" y="644"/>
                    <a:pt x="81" y="650"/>
                  </a:cubicBezTo>
                  <a:cubicBezTo>
                    <a:pt x="82" y="656"/>
                    <a:pt x="103" y="663"/>
                    <a:pt x="112" y="664"/>
                  </a:cubicBezTo>
                  <a:cubicBezTo>
                    <a:pt x="121" y="665"/>
                    <a:pt x="121" y="664"/>
                    <a:pt x="127" y="676"/>
                  </a:cubicBezTo>
                  <a:cubicBezTo>
                    <a:pt x="133" y="688"/>
                    <a:pt x="128" y="695"/>
                    <a:pt x="122" y="698"/>
                  </a:cubicBezTo>
                  <a:cubicBezTo>
                    <a:pt x="116" y="701"/>
                    <a:pt x="122" y="711"/>
                    <a:pt x="125" y="717"/>
                  </a:cubicBezTo>
                  <a:cubicBezTo>
                    <a:pt x="128" y="723"/>
                    <a:pt x="136" y="728"/>
                    <a:pt x="149" y="730"/>
                  </a:cubicBezTo>
                  <a:cubicBezTo>
                    <a:pt x="162" y="732"/>
                    <a:pt x="155" y="752"/>
                    <a:pt x="166" y="754"/>
                  </a:cubicBezTo>
                  <a:cubicBezTo>
                    <a:pt x="177" y="756"/>
                    <a:pt x="169" y="773"/>
                    <a:pt x="178" y="785"/>
                  </a:cubicBezTo>
                  <a:cubicBezTo>
                    <a:pt x="187" y="797"/>
                    <a:pt x="177" y="796"/>
                    <a:pt x="181" y="806"/>
                  </a:cubicBezTo>
                  <a:cubicBezTo>
                    <a:pt x="185" y="816"/>
                    <a:pt x="179" y="813"/>
                    <a:pt x="171" y="822"/>
                  </a:cubicBezTo>
                  <a:cubicBezTo>
                    <a:pt x="163" y="831"/>
                    <a:pt x="161" y="828"/>
                    <a:pt x="159" y="821"/>
                  </a:cubicBezTo>
                  <a:cubicBezTo>
                    <a:pt x="157" y="814"/>
                    <a:pt x="152" y="810"/>
                    <a:pt x="142" y="809"/>
                  </a:cubicBezTo>
                  <a:cubicBezTo>
                    <a:pt x="132" y="808"/>
                    <a:pt x="136" y="821"/>
                    <a:pt x="126" y="821"/>
                  </a:cubicBezTo>
                  <a:cubicBezTo>
                    <a:pt x="116" y="821"/>
                    <a:pt x="114" y="831"/>
                    <a:pt x="103" y="831"/>
                  </a:cubicBezTo>
                  <a:cubicBezTo>
                    <a:pt x="92" y="831"/>
                    <a:pt x="88" y="831"/>
                    <a:pt x="84" y="823"/>
                  </a:cubicBezTo>
                  <a:cubicBezTo>
                    <a:pt x="80" y="815"/>
                    <a:pt x="60" y="820"/>
                    <a:pt x="48" y="820"/>
                  </a:cubicBezTo>
                  <a:cubicBezTo>
                    <a:pt x="36" y="820"/>
                    <a:pt x="33" y="830"/>
                    <a:pt x="33" y="838"/>
                  </a:cubicBezTo>
                  <a:cubicBezTo>
                    <a:pt x="33" y="846"/>
                    <a:pt x="23" y="845"/>
                    <a:pt x="13" y="845"/>
                  </a:cubicBezTo>
                  <a:cubicBezTo>
                    <a:pt x="8" y="845"/>
                    <a:pt x="3" y="853"/>
                    <a:pt x="0" y="860"/>
                  </a:cubicBezTo>
                  <a:cubicBezTo>
                    <a:pt x="11" y="868"/>
                    <a:pt x="13" y="876"/>
                    <a:pt x="19" y="887"/>
                  </a:cubicBezTo>
                  <a:cubicBezTo>
                    <a:pt x="26" y="902"/>
                    <a:pt x="58" y="904"/>
                    <a:pt x="73" y="917"/>
                  </a:cubicBezTo>
                  <a:cubicBezTo>
                    <a:pt x="89" y="930"/>
                    <a:pt x="115" y="904"/>
                    <a:pt x="134" y="917"/>
                  </a:cubicBezTo>
                  <a:cubicBezTo>
                    <a:pt x="152" y="930"/>
                    <a:pt x="132" y="935"/>
                    <a:pt x="113" y="937"/>
                  </a:cubicBezTo>
                  <a:cubicBezTo>
                    <a:pt x="95" y="940"/>
                    <a:pt x="96" y="949"/>
                    <a:pt x="82" y="947"/>
                  </a:cubicBezTo>
                  <a:cubicBezTo>
                    <a:pt x="68" y="946"/>
                    <a:pt x="55" y="943"/>
                    <a:pt x="55" y="953"/>
                  </a:cubicBezTo>
                  <a:cubicBezTo>
                    <a:pt x="55" y="963"/>
                    <a:pt x="88" y="993"/>
                    <a:pt x="99" y="1010"/>
                  </a:cubicBezTo>
                  <a:cubicBezTo>
                    <a:pt x="111" y="1028"/>
                    <a:pt x="128" y="1042"/>
                    <a:pt x="151" y="1055"/>
                  </a:cubicBezTo>
                  <a:cubicBezTo>
                    <a:pt x="174" y="1068"/>
                    <a:pt x="179" y="1072"/>
                    <a:pt x="192" y="1056"/>
                  </a:cubicBezTo>
                  <a:cubicBezTo>
                    <a:pt x="205" y="1041"/>
                    <a:pt x="225" y="1042"/>
                    <a:pt x="241" y="1032"/>
                  </a:cubicBezTo>
                  <a:cubicBezTo>
                    <a:pt x="257" y="1022"/>
                    <a:pt x="264" y="1012"/>
                    <a:pt x="258" y="1002"/>
                  </a:cubicBezTo>
                  <a:cubicBezTo>
                    <a:pt x="253" y="992"/>
                    <a:pt x="260" y="966"/>
                    <a:pt x="260" y="955"/>
                  </a:cubicBezTo>
                  <a:cubicBezTo>
                    <a:pt x="260" y="943"/>
                    <a:pt x="277" y="959"/>
                    <a:pt x="281" y="973"/>
                  </a:cubicBezTo>
                  <a:cubicBezTo>
                    <a:pt x="285" y="988"/>
                    <a:pt x="287" y="988"/>
                    <a:pt x="284" y="1003"/>
                  </a:cubicBezTo>
                  <a:cubicBezTo>
                    <a:pt x="281" y="1019"/>
                    <a:pt x="300" y="1043"/>
                    <a:pt x="303" y="1056"/>
                  </a:cubicBezTo>
                  <a:cubicBezTo>
                    <a:pt x="306" y="1069"/>
                    <a:pt x="304" y="1075"/>
                    <a:pt x="285" y="1098"/>
                  </a:cubicBezTo>
                  <a:cubicBezTo>
                    <a:pt x="267" y="1121"/>
                    <a:pt x="285" y="1145"/>
                    <a:pt x="287" y="1164"/>
                  </a:cubicBezTo>
                  <a:cubicBezTo>
                    <a:pt x="288" y="1182"/>
                    <a:pt x="320" y="1270"/>
                    <a:pt x="324" y="1303"/>
                  </a:cubicBezTo>
                  <a:cubicBezTo>
                    <a:pt x="328" y="1336"/>
                    <a:pt x="338" y="1376"/>
                    <a:pt x="354" y="1403"/>
                  </a:cubicBezTo>
                  <a:cubicBezTo>
                    <a:pt x="370" y="1430"/>
                    <a:pt x="389" y="1466"/>
                    <a:pt x="403" y="1501"/>
                  </a:cubicBezTo>
                  <a:cubicBezTo>
                    <a:pt x="417" y="1535"/>
                    <a:pt x="422" y="1552"/>
                    <a:pt x="424" y="1575"/>
                  </a:cubicBezTo>
                  <a:cubicBezTo>
                    <a:pt x="427" y="1598"/>
                    <a:pt x="445" y="1621"/>
                    <a:pt x="465" y="1651"/>
                  </a:cubicBezTo>
                  <a:cubicBezTo>
                    <a:pt x="485" y="1681"/>
                    <a:pt x="500" y="1707"/>
                    <a:pt x="510" y="1737"/>
                  </a:cubicBezTo>
                  <a:cubicBezTo>
                    <a:pt x="521" y="1767"/>
                    <a:pt x="521" y="1784"/>
                    <a:pt x="525" y="1809"/>
                  </a:cubicBezTo>
                  <a:cubicBezTo>
                    <a:pt x="529" y="1833"/>
                    <a:pt x="559" y="1856"/>
                    <a:pt x="566" y="1873"/>
                  </a:cubicBezTo>
                  <a:cubicBezTo>
                    <a:pt x="574" y="1891"/>
                    <a:pt x="607" y="1889"/>
                    <a:pt x="615" y="1878"/>
                  </a:cubicBezTo>
                  <a:cubicBezTo>
                    <a:pt x="624" y="1866"/>
                    <a:pt x="647" y="1850"/>
                    <a:pt x="648" y="1835"/>
                  </a:cubicBezTo>
                  <a:cubicBezTo>
                    <a:pt x="650" y="1819"/>
                    <a:pt x="660" y="1822"/>
                    <a:pt x="681" y="1816"/>
                  </a:cubicBezTo>
                  <a:cubicBezTo>
                    <a:pt x="703" y="1810"/>
                    <a:pt x="695" y="1796"/>
                    <a:pt x="694" y="1787"/>
                  </a:cubicBezTo>
                  <a:cubicBezTo>
                    <a:pt x="693" y="1779"/>
                    <a:pt x="711" y="1752"/>
                    <a:pt x="721" y="1743"/>
                  </a:cubicBezTo>
                  <a:cubicBezTo>
                    <a:pt x="731" y="1734"/>
                    <a:pt x="747" y="1736"/>
                    <a:pt x="748" y="1727"/>
                  </a:cubicBezTo>
                  <a:cubicBezTo>
                    <a:pt x="750" y="1719"/>
                    <a:pt x="744" y="1691"/>
                    <a:pt x="741" y="1680"/>
                  </a:cubicBezTo>
                  <a:cubicBezTo>
                    <a:pt x="738" y="1668"/>
                    <a:pt x="746" y="1654"/>
                    <a:pt x="750" y="1640"/>
                  </a:cubicBezTo>
                  <a:cubicBezTo>
                    <a:pt x="754" y="1625"/>
                    <a:pt x="761" y="1610"/>
                    <a:pt x="770" y="1598"/>
                  </a:cubicBezTo>
                  <a:cubicBezTo>
                    <a:pt x="779" y="1587"/>
                    <a:pt x="779" y="1574"/>
                    <a:pt x="777" y="1561"/>
                  </a:cubicBezTo>
                  <a:cubicBezTo>
                    <a:pt x="776" y="1548"/>
                    <a:pt x="776" y="1534"/>
                    <a:pt x="776" y="1518"/>
                  </a:cubicBezTo>
                  <a:cubicBezTo>
                    <a:pt x="776" y="1502"/>
                    <a:pt x="764" y="1501"/>
                    <a:pt x="768" y="1489"/>
                  </a:cubicBezTo>
                  <a:cubicBezTo>
                    <a:pt x="773" y="1478"/>
                    <a:pt x="767" y="1462"/>
                    <a:pt x="763" y="1452"/>
                  </a:cubicBezTo>
                  <a:cubicBezTo>
                    <a:pt x="758" y="1442"/>
                    <a:pt x="764" y="1425"/>
                    <a:pt x="770" y="1405"/>
                  </a:cubicBezTo>
                  <a:cubicBezTo>
                    <a:pt x="776" y="1385"/>
                    <a:pt x="776" y="1389"/>
                    <a:pt x="797" y="1389"/>
                  </a:cubicBezTo>
                  <a:cubicBezTo>
                    <a:pt x="819" y="1389"/>
                    <a:pt x="830" y="1377"/>
                    <a:pt x="842" y="1359"/>
                  </a:cubicBezTo>
                  <a:cubicBezTo>
                    <a:pt x="853" y="1340"/>
                    <a:pt x="872" y="1352"/>
                    <a:pt x="890" y="1340"/>
                  </a:cubicBezTo>
                  <a:cubicBezTo>
                    <a:pt x="909" y="1329"/>
                    <a:pt x="909" y="1299"/>
                    <a:pt x="918" y="1290"/>
                  </a:cubicBezTo>
                  <a:cubicBezTo>
                    <a:pt x="926" y="1281"/>
                    <a:pt x="949" y="1277"/>
                    <a:pt x="958" y="1266"/>
                  </a:cubicBezTo>
                  <a:cubicBezTo>
                    <a:pt x="966" y="1254"/>
                    <a:pt x="992" y="1233"/>
                    <a:pt x="1002" y="1225"/>
                  </a:cubicBezTo>
                  <a:cubicBezTo>
                    <a:pt x="1012" y="1218"/>
                    <a:pt x="1032" y="1207"/>
                    <a:pt x="1052" y="1182"/>
                  </a:cubicBezTo>
                  <a:cubicBezTo>
                    <a:pt x="1072" y="1158"/>
                    <a:pt x="1082" y="1138"/>
                    <a:pt x="1100" y="1134"/>
                  </a:cubicBezTo>
                  <a:cubicBezTo>
                    <a:pt x="1117" y="1129"/>
                    <a:pt x="1130" y="1125"/>
                    <a:pt x="1145" y="1119"/>
                  </a:cubicBezTo>
                  <a:cubicBezTo>
                    <a:pt x="1161" y="1114"/>
                    <a:pt x="1177" y="1088"/>
                    <a:pt x="1190" y="1076"/>
                  </a:cubicBezTo>
                  <a:cubicBezTo>
                    <a:pt x="1203" y="1065"/>
                    <a:pt x="1194" y="1051"/>
                    <a:pt x="1196" y="1036"/>
                  </a:cubicBezTo>
                  <a:cubicBezTo>
                    <a:pt x="1197" y="1022"/>
                    <a:pt x="1200" y="1006"/>
                    <a:pt x="1213" y="1006"/>
                  </a:cubicBezTo>
                  <a:cubicBezTo>
                    <a:pt x="1226" y="1006"/>
                    <a:pt x="1243" y="1003"/>
                    <a:pt x="1247" y="995"/>
                  </a:cubicBezTo>
                  <a:cubicBezTo>
                    <a:pt x="1252" y="986"/>
                    <a:pt x="1262" y="980"/>
                    <a:pt x="1266" y="995"/>
                  </a:cubicBezTo>
                  <a:cubicBezTo>
                    <a:pt x="1270" y="1009"/>
                    <a:pt x="1287" y="1005"/>
                    <a:pt x="1287" y="1005"/>
                  </a:cubicBezTo>
                  <a:cubicBezTo>
                    <a:pt x="1287" y="1005"/>
                    <a:pt x="1313" y="998"/>
                    <a:pt x="1322" y="1005"/>
                  </a:cubicBezTo>
                  <a:cubicBezTo>
                    <a:pt x="1323" y="1005"/>
                    <a:pt x="1323" y="1006"/>
                    <a:pt x="1324" y="1007"/>
                  </a:cubicBezTo>
                  <a:cubicBezTo>
                    <a:pt x="1325" y="994"/>
                    <a:pt x="1323" y="970"/>
                    <a:pt x="1323" y="965"/>
                  </a:cubicBezTo>
                  <a:cubicBezTo>
                    <a:pt x="1323" y="959"/>
                    <a:pt x="1318" y="958"/>
                    <a:pt x="1316" y="951"/>
                  </a:cubicBezTo>
                  <a:cubicBezTo>
                    <a:pt x="1314" y="943"/>
                    <a:pt x="1317" y="923"/>
                    <a:pt x="1317" y="916"/>
                  </a:cubicBezTo>
                  <a:cubicBezTo>
                    <a:pt x="1317" y="908"/>
                    <a:pt x="1318" y="901"/>
                    <a:pt x="1312" y="897"/>
                  </a:cubicBezTo>
                  <a:cubicBezTo>
                    <a:pt x="1307" y="892"/>
                    <a:pt x="1305" y="889"/>
                    <a:pt x="1301" y="879"/>
                  </a:cubicBezTo>
                  <a:cubicBezTo>
                    <a:pt x="1298" y="870"/>
                    <a:pt x="1298" y="848"/>
                    <a:pt x="1301" y="838"/>
                  </a:cubicBezTo>
                  <a:cubicBezTo>
                    <a:pt x="1305" y="828"/>
                    <a:pt x="1293" y="816"/>
                    <a:pt x="1287" y="813"/>
                  </a:cubicBezTo>
                  <a:cubicBezTo>
                    <a:pt x="1282" y="810"/>
                    <a:pt x="1279" y="805"/>
                    <a:pt x="1273" y="799"/>
                  </a:cubicBezTo>
                  <a:cubicBezTo>
                    <a:pt x="1268" y="794"/>
                    <a:pt x="1269" y="787"/>
                    <a:pt x="1270" y="782"/>
                  </a:cubicBezTo>
                  <a:cubicBezTo>
                    <a:pt x="1271" y="776"/>
                    <a:pt x="1283" y="775"/>
                    <a:pt x="1283" y="772"/>
                  </a:cubicBezTo>
                  <a:cubicBezTo>
                    <a:pt x="1283" y="769"/>
                    <a:pt x="1286" y="763"/>
                    <a:pt x="1296" y="763"/>
                  </a:cubicBezTo>
                  <a:cubicBezTo>
                    <a:pt x="1305" y="763"/>
                    <a:pt x="1311" y="763"/>
                    <a:pt x="1314" y="757"/>
                  </a:cubicBezTo>
                  <a:cubicBezTo>
                    <a:pt x="1317" y="750"/>
                    <a:pt x="1319" y="743"/>
                    <a:pt x="1318" y="742"/>
                  </a:cubicBezTo>
                  <a:cubicBezTo>
                    <a:pt x="1317" y="740"/>
                    <a:pt x="1298" y="738"/>
                    <a:pt x="1293" y="737"/>
                  </a:cubicBezTo>
                  <a:cubicBezTo>
                    <a:pt x="1287" y="736"/>
                    <a:pt x="1282" y="727"/>
                    <a:pt x="1280" y="722"/>
                  </a:cubicBezTo>
                  <a:cubicBezTo>
                    <a:pt x="1278" y="717"/>
                    <a:pt x="1274" y="716"/>
                    <a:pt x="1271" y="714"/>
                  </a:cubicBezTo>
                  <a:cubicBezTo>
                    <a:pt x="1267" y="713"/>
                    <a:pt x="1263" y="713"/>
                    <a:pt x="1263" y="709"/>
                  </a:cubicBezTo>
                  <a:cubicBezTo>
                    <a:pt x="1263" y="704"/>
                    <a:pt x="1264" y="698"/>
                    <a:pt x="1270" y="697"/>
                  </a:cubicBezTo>
                  <a:cubicBezTo>
                    <a:pt x="1276" y="696"/>
                    <a:pt x="1272" y="689"/>
                    <a:pt x="1280" y="687"/>
                  </a:cubicBezTo>
                  <a:cubicBezTo>
                    <a:pt x="1289" y="686"/>
                    <a:pt x="1285" y="677"/>
                    <a:pt x="1284" y="673"/>
                  </a:cubicBezTo>
                  <a:cubicBezTo>
                    <a:pt x="1283" y="671"/>
                    <a:pt x="1283" y="669"/>
                    <a:pt x="1283" y="666"/>
                  </a:cubicBezTo>
                  <a:cubicBezTo>
                    <a:pt x="1283" y="666"/>
                    <a:pt x="1283" y="666"/>
                    <a:pt x="1284" y="666"/>
                  </a:cubicBezTo>
                  <a:cubicBezTo>
                    <a:pt x="1288" y="670"/>
                    <a:pt x="1290" y="673"/>
                    <a:pt x="1293" y="675"/>
                  </a:cubicBezTo>
                  <a:cubicBezTo>
                    <a:pt x="1293" y="675"/>
                    <a:pt x="1293" y="675"/>
                    <a:pt x="1293" y="675"/>
                  </a:cubicBezTo>
                  <a:cubicBezTo>
                    <a:pt x="1293" y="675"/>
                    <a:pt x="1293" y="675"/>
                    <a:pt x="1294" y="676"/>
                  </a:cubicBezTo>
                  <a:cubicBezTo>
                    <a:pt x="1294" y="676"/>
                    <a:pt x="1294" y="676"/>
                    <a:pt x="1294" y="676"/>
                  </a:cubicBezTo>
                  <a:cubicBezTo>
                    <a:pt x="1294" y="676"/>
                    <a:pt x="1294" y="676"/>
                    <a:pt x="1295" y="676"/>
                  </a:cubicBezTo>
                  <a:cubicBezTo>
                    <a:pt x="1295" y="677"/>
                    <a:pt x="1295" y="677"/>
                    <a:pt x="1295" y="677"/>
                  </a:cubicBezTo>
                  <a:cubicBezTo>
                    <a:pt x="1295" y="677"/>
                    <a:pt x="1296" y="677"/>
                    <a:pt x="1296" y="677"/>
                  </a:cubicBezTo>
                  <a:cubicBezTo>
                    <a:pt x="1296" y="677"/>
                    <a:pt x="1296" y="677"/>
                    <a:pt x="1297" y="677"/>
                  </a:cubicBezTo>
                  <a:cubicBezTo>
                    <a:pt x="1297" y="677"/>
                    <a:pt x="1297" y="677"/>
                    <a:pt x="1297" y="678"/>
                  </a:cubicBezTo>
                  <a:cubicBezTo>
                    <a:pt x="1298" y="678"/>
                    <a:pt x="1298" y="678"/>
                    <a:pt x="1298" y="678"/>
                  </a:cubicBezTo>
                  <a:cubicBezTo>
                    <a:pt x="1298" y="678"/>
                    <a:pt x="1299" y="678"/>
                    <a:pt x="1299" y="678"/>
                  </a:cubicBezTo>
                  <a:cubicBezTo>
                    <a:pt x="1299" y="678"/>
                    <a:pt x="1299" y="678"/>
                    <a:pt x="1300" y="678"/>
                  </a:cubicBezTo>
                  <a:cubicBezTo>
                    <a:pt x="1300" y="678"/>
                    <a:pt x="1300" y="678"/>
                    <a:pt x="1301" y="678"/>
                  </a:cubicBezTo>
                  <a:cubicBezTo>
                    <a:pt x="1301" y="678"/>
                    <a:pt x="1301" y="678"/>
                    <a:pt x="1302" y="678"/>
                  </a:cubicBezTo>
                  <a:cubicBezTo>
                    <a:pt x="1302" y="678"/>
                    <a:pt x="1303" y="678"/>
                    <a:pt x="1304" y="678"/>
                  </a:cubicBezTo>
                  <a:cubicBezTo>
                    <a:pt x="1316" y="678"/>
                    <a:pt x="1319" y="677"/>
                    <a:pt x="1323" y="686"/>
                  </a:cubicBezTo>
                  <a:cubicBezTo>
                    <a:pt x="1327" y="694"/>
                    <a:pt x="1330" y="700"/>
                    <a:pt x="1342" y="702"/>
                  </a:cubicBezTo>
                  <a:cubicBezTo>
                    <a:pt x="1353" y="704"/>
                    <a:pt x="1358" y="694"/>
                    <a:pt x="1366" y="692"/>
                  </a:cubicBezTo>
                  <a:cubicBezTo>
                    <a:pt x="1375" y="690"/>
                    <a:pt x="1375" y="694"/>
                    <a:pt x="1375" y="702"/>
                  </a:cubicBezTo>
                  <a:cubicBezTo>
                    <a:pt x="1375" y="710"/>
                    <a:pt x="1365" y="719"/>
                    <a:pt x="1371" y="725"/>
                  </a:cubicBezTo>
                  <a:cubicBezTo>
                    <a:pt x="1377" y="731"/>
                    <a:pt x="1364" y="744"/>
                    <a:pt x="1371" y="748"/>
                  </a:cubicBezTo>
                  <a:cubicBezTo>
                    <a:pt x="1378" y="752"/>
                    <a:pt x="1384" y="752"/>
                    <a:pt x="1390" y="757"/>
                  </a:cubicBezTo>
                  <a:cubicBezTo>
                    <a:pt x="1395" y="762"/>
                    <a:pt x="1408" y="763"/>
                    <a:pt x="1417" y="764"/>
                  </a:cubicBezTo>
                  <a:cubicBezTo>
                    <a:pt x="1426" y="764"/>
                    <a:pt x="1454" y="760"/>
                    <a:pt x="1467" y="762"/>
                  </a:cubicBezTo>
                  <a:cubicBezTo>
                    <a:pt x="1480" y="763"/>
                    <a:pt x="1473" y="771"/>
                    <a:pt x="1492" y="766"/>
                  </a:cubicBezTo>
                  <a:cubicBezTo>
                    <a:pt x="1510" y="760"/>
                    <a:pt x="1516" y="762"/>
                    <a:pt x="1524" y="763"/>
                  </a:cubicBezTo>
                  <a:cubicBezTo>
                    <a:pt x="1532" y="764"/>
                    <a:pt x="1532" y="771"/>
                    <a:pt x="1535" y="774"/>
                  </a:cubicBezTo>
                  <a:cubicBezTo>
                    <a:pt x="1538" y="778"/>
                    <a:pt x="1543" y="786"/>
                    <a:pt x="1534" y="788"/>
                  </a:cubicBezTo>
                  <a:cubicBezTo>
                    <a:pt x="1524" y="791"/>
                    <a:pt x="1523" y="794"/>
                    <a:pt x="1523" y="800"/>
                  </a:cubicBezTo>
                  <a:cubicBezTo>
                    <a:pt x="1523" y="806"/>
                    <a:pt x="1513" y="810"/>
                    <a:pt x="1511" y="817"/>
                  </a:cubicBezTo>
                  <a:cubicBezTo>
                    <a:pt x="1509" y="824"/>
                    <a:pt x="1501" y="828"/>
                    <a:pt x="1496" y="829"/>
                  </a:cubicBezTo>
                  <a:cubicBezTo>
                    <a:pt x="1490" y="830"/>
                    <a:pt x="1482" y="829"/>
                    <a:pt x="1482" y="833"/>
                  </a:cubicBezTo>
                  <a:cubicBezTo>
                    <a:pt x="1481" y="837"/>
                    <a:pt x="1465" y="838"/>
                    <a:pt x="1465" y="844"/>
                  </a:cubicBezTo>
                  <a:cubicBezTo>
                    <a:pt x="1465" y="849"/>
                    <a:pt x="1454" y="851"/>
                    <a:pt x="1456" y="858"/>
                  </a:cubicBezTo>
                  <a:cubicBezTo>
                    <a:pt x="1458" y="864"/>
                    <a:pt x="1464" y="880"/>
                    <a:pt x="1464" y="889"/>
                  </a:cubicBezTo>
                  <a:cubicBezTo>
                    <a:pt x="1464" y="898"/>
                    <a:pt x="1466" y="902"/>
                    <a:pt x="1473" y="902"/>
                  </a:cubicBezTo>
                  <a:cubicBezTo>
                    <a:pt x="1480" y="902"/>
                    <a:pt x="1491" y="918"/>
                    <a:pt x="1496" y="905"/>
                  </a:cubicBezTo>
                  <a:cubicBezTo>
                    <a:pt x="1500" y="892"/>
                    <a:pt x="1498" y="879"/>
                    <a:pt x="1502" y="878"/>
                  </a:cubicBezTo>
                  <a:cubicBezTo>
                    <a:pt x="1507" y="876"/>
                    <a:pt x="1499" y="866"/>
                    <a:pt x="1510" y="864"/>
                  </a:cubicBezTo>
                  <a:cubicBezTo>
                    <a:pt x="1522" y="861"/>
                    <a:pt x="1532" y="858"/>
                    <a:pt x="1532" y="867"/>
                  </a:cubicBezTo>
                  <a:cubicBezTo>
                    <a:pt x="1532" y="876"/>
                    <a:pt x="1528" y="897"/>
                    <a:pt x="1532" y="900"/>
                  </a:cubicBezTo>
                  <a:cubicBezTo>
                    <a:pt x="1535" y="904"/>
                    <a:pt x="1538" y="910"/>
                    <a:pt x="1538" y="916"/>
                  </a:cubicBezTo>
                  <a:cubicBezTo>
                    <a:pt x="1539" y="922"/>
                    <a:pt x="1549" y="924"/>
                    <a:pt x="1548" y="938"/>
                  </a:cubicBezTo>
                  <a:cubicBezTo>
                    <a:pt x="1548" y="951"/>
                    <a:pt x="1544" y="962"/>
                    <a:pt x="1549" y="966"/>
                  </a:cubicBezTo>
                  <a:cubicBezTo>
                    <a:pt x="1549" y="967"/>
                    <a:pt x="1550" y="967"/>
                    <a:pt x="1550" y="968"/>
                  </a:cubicBezTo>
                  <a:cubicBezTo>
                    <a:pt x="1550" y="968"/>
                    <a:pt x="1550" y="968"/>
                    <a:pt x="1550" y="968"/>
                  </a:cubicBezTo>
                  <a:cubicBezTo>
                    <a:pt x="1550" y="969"/>
                    <a:pt x="1550" y="969"/>
                    <a:pt x="1551" y="970"/>
                  </a:cubicBezTo>
                  <a:cubicBezTo>
                    <a:pt x="1551" y="970"/>
                    <a:pt x="1551" y="970"/>
                    <a:pt x="1551" y="970"/>
                  </a:cubicBezTo>
                  <a:cubicBezTo>
                    <a:pt x="1554" y="970"/>
                    <a:pt x="1558" y="970"/>
                    <a:pt x="1562" y="972"/>
                  </a:cubicBezTo>
                  <a:cubicBezTo>
                    <a:pt x="1571" y="976"/>
                    <a:pt x="1579" y="978"/>
                    <a:pt x="1580" y="970"/>
                  </a:cubicBezTo>
                  <a:cubicBezTo>
                    <a:pt x="1580" y="962"/>
                    <a:pt x="1592" y="964"/>
                    <a:pt x="1592" y="957"/>
                  </a:cubicBezTo>
                  <a:cubicBezTo>
                    <a:pt x="1592" y="951"/>
                    <a:pt x="1590" y="943"/>
                    <a:pt x="1585" y="943"/>
                  </a:cubicBezTo>
                  <a:cubicBezTo>
                    <a:pt x="1581" y="943"/>
                    <a:pt x="1579" y="943"/>
                    <a:pt x="1579" y="935"/>
                  </a:cubicBezTo>
                  <a:cubicBezTo>
                    <a:pt x="1579" y="926"/>
                    <a:pt x="1578" y="914"/>
                    <a:pt x="1585" y="910"/>
                  </a:cubicBezTo>
                  <a:cubicBezTo>
                    <a:pt x="1593" y="907"/>
                    <a:pt x="1598" y="903"/>
                    <a:pt x="1598" y="893"/>
                  </a:cubicBezTo>
                  <a:cubicBezTo>
                    <a:pt x="1598" y="882"/>
                    <a:pt x="1597" y="864"/>
                    <a:pt x="1602" y="861"/>
                  </a:cubicBezTo>
                  <a:cubicBezTo>
                    <a:pt x="1608" y="858"/>
                    <a:pt x="1607" y="852"/>
                    <a:pt x="1601" y="848"/>
                  </a:cubicBezTo>
                  <a:cubicBezTo>
                    <a:pt x="1596" y="844"/>
                    <a:pt x="1593" y="836"/>
                    <a:pt x="1604" y="836"/>
                  </a:cubicBezTo>
                  <a:cubicBezTo>
                    <a:pt x="1614" y="836"/>
                    <a:pt x="1613" y="843"/>
                    <a:pt x="1625" y="843"/>
                  </a:cubicBezTo>
                  <a:cubicBezTo>
                    <a:pt x="1637" y="842"/>
                    <a:pt x="1641" y="850"/>
                    <a:pt x="1642" y="854"/>
                  </a:cubicBezTo>
                  <a:cubicBezTo>
                    <a:pt x="1643" y="859"/>
                    <a:pt x="1651" y="854"/>
                    <a:pt x="1650" y="845"/>
                  </a:cubicBezTo>
                  <a:cubicBezTo>
                    <a:pt x="1650" y="836"/>
                    <a:pt x="1645" y="820"/>
                    <a:pt x="1659" y="819"/>
                  </a:cubicBezTo>
                  <a:cubicBezTo>
                    <a:pt x="1673" y="819"/>
                    <a:pt x="1659" y="803"/>
                    <a:pt x="1671" y="802"/>
                  </a:cubicBezTo>
                  <a:cubicBezTo>
                    <a:pt x="1684" y="800"/>
                    <a:pt x="1680" y="790"/>
                    <a:pt x="1680" y="783"/>
                  </a:cubicBezTo>
                  <a:cubicBezTo>
                    <a:pt x="1681" y="776"/>
                    <a:pt x="1689" y="772"/>
                    <a:pt x="1684" y="767"/>
                  </a:cubicBezTo>
                  <a:cubicBezTo>
                    <a:pt x="1678" y="763"/>
                    <a:pt x="1673" y="762"/>
                    <a:pt x="1674" y="758"/>
                  </a:cubicBezTo>
                  <a:cubicBezTo>
                    <a:pt x="1674" y="753"/>
                    <a:pt x="1679" y="756"/>
                    <a:pt x="1679" y="747"/>
                  </a:cubicBezTo>
                  <a:cubicBezTo>
                    <a:pt x="1680" y="739"/>
                    <a:pt x="1686" y="738"/>
                    <a:pt x="1691" y="737"/>
                  </a:cubicBezTo>
                  <a:cubicBezTo>
                    <a:pt x="1695" y="736"/>
                    <a:pt x="1706" y="729"/>
                    <a:pt x="1707" y="720"/>
                  </a:cubicBezTo>
                  <a:cubicBezTo>
                    <a:pt x="1707" y="711"/>
                    <a:pt x="1718" y="708"/>
                    <a:pt x="1712" y="701"/>
                  </a:cubicBezTo>
                  <a:cubicBezTo>
                    <a:pt x="1706" y="694"/>
                    <a:pt x="1705" y="697"/>
                    <a:pt x="1707" y="684"/>
                  </a:cubicBezTo>
                  <a:cubicBezTo>
                    <a:pt x="1710" y="672"/>
                    <a:pt x="1713" y="658"/>
                    <a:pt x="1728" y="657"/>
                  </a:cubicBezTo>
                  <a:cubicBezTo>
                    <a:pt x="1742" y="656"/>
                    <a:pt x="1752" y="643"/>
                    <a:pt x="1758" y="631"/>
                  </a:cubicBezTo>
                  <a:cubicBezTo>
                    <a:pt x="1765" y="618"/>
                    <a:pt x="1784" y="616"/>
                    <a:pt x="1792" y="616"/>
                  </a:cubicBezTo>
                  <a:cubicBezTo>
                    <a:pt x="1800" y="616"/>
                    <a:pt x="1812" y="612"/>
                    <a:pt x="1818" y="622"/>
                  </a:cubicBezTo>
                  <a:cubicBezTo>
                    <a:pt x="1825" y="633"/>
                    <a:pt x="1833" y="627"/>
                    <a:pt x="1832" y="619"/>
                  </a:cubicBezTo>
                  <a:cubicBezTo>
                    <a:pt x="1832" y="611"/>
                    <a:pt x="1819" y="611"/>
                    <a:pt x="1821" y="600"/>
                  </a:cubicBezTo>
                  <a:cubicBezTo>
                    <a:pt x="1823" y="588"/>
                    <a:pt x="1824" y="580"/>
                    <a:pt x="1836" y="577"/>
                  </a:cubicBezTo>
                  <a:cubicBezTo>
                    <a:pt x="1847" y="574"/>
                    <a:pt x="1850" y="570"/>
                    <a:pt x="1850" y="561"/>
                  </a:cubicBezTo>
                  <a:cubicBezTo>
                    <a:pt x="1850" y="555"/>
                    <a:pt x="1850" y="551"/>
                    <a:pt x="1850" y="546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242" name="Freeform 25334"/>
            <p:cNvSpPr>
              <a:spLocks/>
            </p:cNvSpPr>
            <p:nvPr/>
          </p:nvSpPr>
          <p:spPr bwMode="auto">
            <a:xfrm>
              <a:off x="6186168" y="3084612"/>
              <a:ext cx="193504" cy="105591"/>
            </a:xfrm>
            <a:custGeom>
              <a:avLst/>
              <a:gdLst>
                <a:gd name="T0" fmla="*/ 508 w 519"/>
                <a:gd name="T1" fmla="*/ 239 h 283"/>
                <a:gd name="T2" fmla="*/ 504 w 519"/>
                <a:gd name="T3" fmla="*/ 210 h 283"/>
                <a:gd name="T4" fmla="*/ 510 w 519"/>
                <a:gd name="T5" fmla="*/ 200 h 283"/>
                <a:gd name="T6" fmla="*/ 514 w 519"/>
                <a:gd name="T7" fmla="*/ 186 h 283"/>
                <a:gd name="T8" fmla="*/ 514 w 519"/>
                <a:gd name="T9" fmla="*/ 173 h 283"/>
                <a:gd name="T10" fmla="*/ 498 w 519"/>
                <a:gd name="T11" fmla="*/ 173 h 283"/>
                <a:gd name="T12" fmla="*/ 480 w 519"/>
                <a:gd name="T13" fmla="*/ 182 h 283"/>
                <a:gd name="T14" fmla="*/ 459 w 519"/>
                <a:gd name="T15" fmla="*/ 183 h 283"/>
                <a:gd name="T16" fmla="*/ 435 w 519"/>
                <a:gd name="T17" fmla="*/ 168 h 283"/>
                <a:gd name="T18" fmla="*/ 419 w 519"/>
                <a:gd name="T19" fmla="*/ 174 h 283"/>
                <a:gd name="T20" fmla="*/ 396 w 519"/>
                <a:gd name="T21" fmla="*/ 169 h 283"/>
                <a:gd name="T22" fmla="*/ 382 w 519"/>
                <a:gd name="T23" fmla="*/ 156 h 283"/>
                <a:gd name="T24" fmla="*/ 348 w 519"/>
                <a:gd name="T25" fmla="*/ 147 h 283"/>
                <a:gd name="T26" fmla="*/ 330 w 519"/>
                <a:gd name="T27" fmla="*/ 135 h 283"/>
                <a:gd name="T28" fmla="*/ 304 w 519"/>
                <a:gd name="T29" fmla="*/ 125 h 283"/>
                <a:gd name="T30" fmla="*/ 283 w 519"/>
                <a:gd name="T31" fmla="*/ 108 h 283"/>
                <a:gd name="T32" fmla="*/ 250 w 519"/>
                <a:gd name="T33" fmla="*/ 103 h 283"/>
                <a:gd name="T34" fmla="*/ 225 w 519"/>
                <a:gd name="T35" fmla="*/ 85 h 283"/>
                <a:gd name="T36" fmla="*/ 205 w 519"/>
                <a:gd name="T37" fmla="*/ 69 h 283"/>
                <a:gd name="T38" fmla="*/ 170 w 519"/>
                <a:gd name="T39" fmla="*/ 41 h 283"/>
                <a:gd name="T40" fmla="*/ 148 w 519"/>
                <a:gd name="T41" fmla="*/ 34 h 283"/>
                <a:gd name="T42" fmla="*/ 135 w 519"/>
                <a:gd name="T43" fmla="*/ 17 h 283"/>
                <a:gd name="T44" fmla="*/ 114 w 519"/>
                <a:gd name="T45" fmla="*/ 9 h 283"/>
                <a:gd name="T46" fmla="*/ 98 w 519"/>
                <a:gd name="T47" fmla="*/ 0 h 283"/>
                <a:gd name="T48" fmla="*/ 86 w 519"/>
                <a:gd name="T49" fmla="*/ 10 h 283"/>
                <a:gd name="T50" fmla="*/ 78 w 519"/>
                <a:gd name="T51" fmla="*/ 26 h 283"/>
                <a:gd name="T52" fmla="*/ 63 w 519"/>
                <a:gd name="T53" fmla="*/ 19 h 283"/>
                <a:gd name="T54" fmla="*/ 52 w 519"/>
                <a:gd name="T55" fmla="*/ 16 h 283"/>
                <a:gd name="T56" fmla="*/ 43 w 519"/>
                <a:gd name="T57" fmla="*/ 32 h 283"/>
                <a:gd name="T58" fmla="*/ 25 w 519"/>
                <a:gd name="T59" fmla="*/ 48 h 283"/>
                <a:gd name="T60" fmla="*/ 18 w 519"/>
                <a:gd name="T61" fmla="*/ 70 h 283"/>
                <a:gd name="T62" fmla="*/ 13 w 519"/>
                <a:gd name="T63" fmla="*/ 86 h 283"/>
                <a:gd name="T64" fmla="*/ 4 w 519"/>
                <a:gd name="T65" fmla="*/ 104 h 283"/>
                <a:gd name="T66" fmla="*/ 17 w 519"/>
                <a:gd name="T67" fmla="*/ 127 h 283"/>
                <a:gd name="T68" fmla="*/ 43 w 519"/>
                <a:gd name="T69" fmla="*/ 134 h 283"/>
                <a:gd name="T70" fmla="*/ 62 w 519"/>
                <a:gd name="T71" fmla="*/ 144 h 283"/>
                <a:gd name="T72" fmla="*/ 84 w 519"/>
                <a:gd name="T73" fmla="*/ 157 h 283"/>
                <a:gd name="T74" fmla="*/ 106 w 519"/>
                <a:gd name="T75" fmla="*/ 178 h 283"/>
                <a:gd name="T76" fmla="*/ 122 w 519"/>
                <a:gd name="T77" fmla="*/ 180 h 283"/>
                <a:gd name="T78" fmla="*/ 136 w 519"/>
                <a:gd name="T79" fmla="*/ 180 h 283"/>
                <a:gd name="T80" fmla="*/ 160 w 519"/>
                <a:gd name="T81" fmla="*/ 193 h 283"/>
                <a:gd name="T82" fmla="*/ 182 w 519"/>
                <a:gd name="T83" fmla="*/ 202 h 283"/>
                <a:gd name="T84" fmla="*/ 198 w 519"/>
                <a:gd name="T85" fmla="*/ 214 h 283"/>
                <a:gd name="T86" fmla="*/ 222 w 519"/>
                <a:gd name="T87" fmla="*/ 209 h 283"/>
                <a:gd name="T88" fmla="*/ 246 w 519"/>
                <a:gd name="T89" fmla="*/ 214 h 283"/>
                <a:gd name="T90" fmla="*/ 263 w 519"/>
                <a:gd name="T91" fmla="*/ 206 h 283"/>
                <a:gd name="T92" fmla="*/ 284 w 519"/>
                <a:gd name="T93" fmla="*/ 214 h 283"/>
                <a:gd name="T94" fmla="*/ 298 w 519"/>
                <a:gd name="T95" fmla="*/ 233 h 283"/>
                <a:gd name="T96" fmla="*/ 318 w 519"/>
                <a:gd name="T97" fmla="*/ 246 h 283"/>
                <a:gd name="T98" fmla="*/ 342 w 519"/>
                <a:gd name="T99" fmla="*/ 254 h 283"/>
                <a:gd name="T100" fmla="*/ 364 w 519"/>
                <a:gd name="T101" fmla="*/ 256 h 283"/>
                <a:gd name="T102" fmla="*/ 386 w 519"/>
                <a:gd name="T103" fmla="*/ 266 h 283"/>
                <a:gd name="T104" fmla="*/ 426 w 519"/>
                <a:gd name="T105" fmla="*/ 274 h 283"/>
                <a:gd name="T106" fmla="*/ 450 w 519"/>
                <a:gd name="T107" fmla="*/ 272 h 283"/>
                <a:gd name="T108" fmla="*/ 475 w 519"/>
                <a:gd name="T109" fmla="*/ 276 h 283"/>
                <a:gd name="T110" fmla="*/ 502 w 519"/>
                <a:gd name="T111" fmla="*/ 276 h 283"/>
                <a:gd name="T112" fmla="*/ 519 w 519"/>
                <a:gd name="T113" fmla="*/ 263 h 283"/>
                <a:gd name="T114" fmla="*/ 513 w 519"/>
                <a:gd name="T115" fmla="*/ 251 h 283"/>
                <a:gd name="T116" fmla="*/ 508 w 519"/>
                <a:gd name="T117" fmla="*/ 239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19" h="283">
                  <a:moveTo>
                    <a:pt x="508" y="239"/>
                  </a:moveTo>
                  <a:cubicBezTo>
                    <a:pt x="503" y="237"/>
                    <a:pt x="505" y="215"/>
                    <a:pt x="504" y="210"/>
                  </a:cubicBezTo>
                  <a:cubicBezTo>
                    <a:pt x="503" y="205"/>
                    <a:pt x="505" y="200"/>
                    <a:pt x="510" y="200"/>
                  </a:cubicBezTo>
                  <a:cubicBezTo>
                    <a:pt x="516" y="199"/>
                    <a:pt x="514" y="192"/>
                    <a:pt x="514" y="186"/>
                  </a:cubicBezTo>
                  <a:cubicBezTo>
                    <a:pt x="514" y="184"/>
                    <a:pt x="514" y="178"/>
                    <a:pt x="514" y="173"/>
                  </a:cubicBezTo>
                  <a:cubicBezTo>
                    <a:pt x="509" y="173"/>
                    <a:pt x="503" y="173"/>
                    <a:pt x="498" y="173"/>
                  </a:cubicBezTo>
                  <a:cubicBezTo>
                    <a:pt x="487" y="173"/>
                    <a:pt x="487" y="182"/>
                    <a:pt x="480" y="182"/>
                  </a:cubicBezTo>
                  <a:cubicBezTo>
                    <a:pt x="474" y="182"/>
                    <a:pt x="462" y="184"/>
                    <a:pt x="459" y="183"/>
                  </a:cubicBezTo>
                  <a:cubicBezTo>
                    <a:pt x="455" y="183"/>
                    <a:pt x="442" y="175"/>
                    <a:pt x="435" y="168"/>
                  </a:cubicBezTo>
                  <a:cubicBezTo>
                    <a:pt x="429" y="161"/>
                    <a:pt x="422" y="168"/>
                    <a:pt x="419" y="174"/>
                  </a:cubicBezTo>
                  <a:cubicBezTo>
                    <a:pt x="416" y="180"/>
                    <a:pt x="404" y="170"/>
                    <a:pt x="396" y="169"/>
                  </a:cubicBezTo>
                  <a:cubicBezTo>
                    <a:pt x="387" y="169"/>
                    <a:pt x="386" y="160"/>
                    <a:pt x="382" y="156"/>
                  </a:cubicBezTo>
                  <a:cubicBezTo>
                    <a:pt x="378" y="152"/>
                    <a:pt x="355" y="147"/>
                    <a:pt x="348" y="147"/>
                  </a:cubicBezTo>
                  <a:cubicBezTo>
                    <a:pt x="340" y="146"/>
                    <a:pt x="334" y="143"/>
                    <a:pt x="330" y="135"/>
                  </a:cubicBezTo>
                  <a:cubicBezTo>
                    <a:pt x="326" y="126"/>
                    <a:pt x="314" y="127"/>
                    <a:pt x="304" y="125"/>
                  </a:cubicBezTo>
                  <a:cubicBezTo>
                    <a:pt x="293" y="123"/>
                    <a:pt x="291" y="116"/>
                    <a:pt x="283" y="108"/>
                  </a:cubicBezTo>
                  <a:cubicBezTo>
                    <a:pt x="276" y="99"/>
                    <a:pt x="265" y="103"/>
                    <a:pt x="250" y="103"/>
                  </a:cubicBezTo>
                  <a:cubicBezTo>
                    <a:pt x="236" y="103"/>
                    <a:pt x="233" y="92"/>
                    <a:pt x="225" y="85"/>
                  </a:cubicBezTo>
                  <a:cubicBezTo>
                    <a:pt x="217" y="77"/>
                    <a:pt x="217" y="73"/>
                    <a:pt x="205" y="69"/>
                  </a:cubicBezTo>
                  <a:cubicBezTo>
                    <a:pt x="193" y="66"/>
                    <a:pt x="174" y="46"/>
                    <a:pt x="170" y="41"/>
                  </a:cubicBezTo>
                  <a:cubicBezTo>
                    <a:pt x="166" y="35"/>
                    <a:pt x="156" y="36"/>
                    <a:pt x="148" y="34"/>
                  </a:cubicBezTo>
                  <a:cubicBezTo>
                    <a:pt x="140" y="33"/>
                    <a:pt x="137" y="23"/>
                    <a:pt x="135" y="17"/>
                  </a:cubicBezTo>
                  <a:cubicBezTo>
                    <a:pt x="132" y="11"/>
                    <a:pt x="121" y="9"/>
                    <a:pt x="114" y="9"/>
                  </a:cubicBezTo>
                  <a:cubicBezTo>
                    <a:pt x="107" y="9"/>
                    <a:pt x="105" y="0"/>
                    <a:pt x="98" y="0"/>
                  </a:cubicBezTo>
                  <a:cubicBezTo>
                    <a:pt x="92" y="1"/>
                    <a:pt x="93" y="9"/>
                    <a:pt x="86" y="10"/>
                  </a:cubicBezTo>
                  <a:cubicBezTo>
                    <a:pt x="80" y="11"/>
                    <a:pt x="82" y="26"/>
                    <a:pt x="78" y="26"/>
                  </a:cubicBezTo>
                  <a:cubicBezTo>
                    <a:pt x="73" y="25"/>
                    <a:pt x="72" y="24"/>
                    <a:pt x="63" y="19"/>
                  </a:cubicBezTo>
                  <a:cubicBezTo>
                    <a:pt x="59" y="17"/>
                    <a:pt x="55" y="16"/>
                    <a:pt x="52" y="16"/>
                  </a:cubicBezTo>
                  <a:cubicBezTo>
                    <a:pt x="54" y="22"/>
                    <a:pt x="52" y="26"/>
                    <a:pt x="43" y="32"/>
                  </a:cubicBezTo>
                  <a:cubicBezTo>
                    <a:pt x="32" y="38"/>
                    <a:pt x="28" y="39"/>
                    <a:pt x="25" y="48"/>
                  </a:cubicBezTo>
                  <a:cubicBezTo>
                    <a:pt x="22" y="58"/>
                    <a:pt x="18" y="61"/>
                    <a:pt x="18" y="70"/>
                  </a:cubicBezTo>
                  <a:cubicBezTo>
                    <a:pt x="19" y="78"/>
                    <a:pt x="18" y="81"/>
                    <a:pt x="13" y="86"/>
                  </a:cubicBezTo>
                  <a:cubicBezTo>
                    <a:pt x="8" y="90"/>
                    <a:pt x="0" y="90"/>
                    <a:pt x="4" y="104"/>
                  </a:cubicBezTo>
                  <a:cubicBezTo>
                    <a:pt x="7" y="117"/>
                    <a:pt x="6" y="125"/>
                    <a:pt x="17" y="127"/>
                  </a:cubicBezTo>
                  <a:cubicBezTo>
                    <a:pt x="28" y="129"/>
                    <a:pt x="39" y="128"/>
                    <a:pt x="43" y="134"/>
                  </a:cubicBezTo>
                  <a:cubicBezTo>
                    <a:pt x="47" y="141"/>
                    <a:pt x="54" y="142"/>
                    <a:pt x="62" y="144"/>
                  </a:cubicBezTo>
                  <a:cubicBezTo>
                    <a:pt x="70" y="145"/>
                    <a:pt x="79" y="146"/>
                    <a:pt x="84" y="157"/>
                  </a:cubicBezTo>
                  <a:cubicBezTo>
                    <a:pt x="90" y="168"/>
                    <a:pt x="100" y="171"/>
                    <a:pt x="106" y="178"/>
                  </a:cubicBezTo>
                  <a:cubicBezTo>
                    <a:pt x="112" y="184"/>
                    <a:pt x="118" y="183"/>
                    <a:pt x="122" y="180"/>
                  </a:cubicBezTo>
                  <a:cubicBezTo>
                    <a:pt x="126" y="176"/>
                    <a:pt x="130" y="170"/>
                    <a:pt x="136" y="180"/>
                  </a:cubicBezTo>
                  <a:cubicBezTo>
                    <a:pt x="141" y="189"/>
                    <a:pt x="151" y="194"/>
                    <a:pt x="160" y="193"/>
                  </a:cubicBezTo>
                  <a:cubicBezTo>
                    <a:pt x="170" y="192"/>
                    <a:pt x="178" y="193"/>
                    <a:pt x="182" y="202"/>
                  </a:cubicBezTo>
                  <a:cubicBezTo>
                    <a:pt x="186" y="210"/>
                    <a:pt x="189" y="216"/>
                    <a:pt x="198" y="214"/>
                  </a:cubicBezTo>
                  <a:cubicBezTo>
                    <a:pt x="208" y="211"/>
                    <a:pt x="214" y="206"/>
                    <a:pt x="222" y="209"/>
                  </a:cubicBezTo>
                  <a:cubicBezTo>
                    <a:pt x="230" y="212"/>
                    <a:pt x="240" y="218"/>
                    <a:pt x="246" y="214"/>
                  </a:cubicBezTo>
                  <a:cubicBezTo>
                    <a:pt x="253" y="209"/>
                    <a:pt x="254" y="205"/>
                    <a:pt x="263" y="206"/>
                  </a:cubicBezTo>
                  <a:cubicBezTo>
                    <a:pt x="272" y="206"/>
                    <a:pt x="279" y="204"/>
                    <a:pt x="284" y="214"/>
                  </a:cubicBezTo>
                  <a:cubicBezTo>
                    <a:pt x="290" y="224"/>
                    <a:pt x="296" y="225"/>
                    <a:pt x="298" y="233"/>
                  </a:cubicBezTo>
                  <a:cubicBezTo>
                    <a:pt x="300" y="241"/>
                    <a:pt x="307" y="244"/>
                    <a:pt x="318" y="246"/>
                  </a:cubicBezTo>
                  <a:cubicBezTo>
                    <a:pt x="328" y="248"/>
                    <a:pt x="326" y="256"/>
                    <a:pt x="342" y="254"/>
                  </a:cubicBezTo>
                  <a:cubicBezTo>
                    <a:pt x="358" y="252"/>
                    <a:pt x="360" y="250"/>
                    <a:pt x="364" y="256"/>
                  </a:cubicBezTo>
                  <a:cubicBezTo>
                    <a:pt x="368" y="263"/>
                    <a:pt x="369" y="264"/>
                    <a:pt x="386" y="266"/>
                  </a:cubicBezTo>
                  <a:cubicBezTo>
                    <a:pt x="402" y="267"/>
                    <a:pt x="416" y="274"/>
                    <a:pt x="426" y="274"/>
                  </a:cubicBezTo>
                  <a:cubicBezTo>
                    <a:pt x="437" y="274"/>
                    <a:pt x="438" y="266"/>
                    <a:pt x="450" y="272"/>
                  </a:cubicBezTo>
                  <a:cubicBezTo>
                    <a:pt x="462" y="278"/>
                    <a:pt x="464" y="278"/>
                    <a:pt x="475" y="276"/>
                  </a:cubicBezTo>
                  <a:cubicBezTo>
                    <a:pt x="486" y="275"/>
                    <a:pt x="496" y="283"/>
                    <a:pt x="502" y="276"/>
                  </a:cubicBezTo>
                  <a:cubicBezTo>
                    <a:pt x="506" y="270"/>
                    <a:pt x="512" y="263"/>
                    <a:pt x="519" y="263"/>
                  </a:cubicBezTo>
                  <a:cubicBezTo>
                    <a:pt x="517" y="257"/>
                    <a:pt x="513" y="255"/>
                    <a:pt x="513" y="251"/>
                  </a:cubicBezTo>
                  <a:cubicBezTo>
                    <a:pt x="513" y="245"/>
                    <a:pt x="512" y="241"/>
                    <a:pt x="508" y="2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243" name="Freeform 25335"/>
            <p:cNvSpPr>
              <a:spLocks/>
            </p:cNvSpPr>
            <p:nvPr/>
          </p:nvSpPr>
          <p:spPr bwMode="auto">
            <a:xfrm>
              <a:off x="6391353" y="3136381"/>
              <a:ext cx="84283" cy="46245"/>
            </a:xfrm>
            <a:custGeom>
              <a:avLst/>
              <a:gdLst>
                <a:gd name="T0" fmla="*/ 4 w 226"/>
                <a:gd name="T1" fmla="*/ 76 h 124"/>
                <a:gd name="T2" fmla="*/ 6 w 226"/>
                <a:gd name="T3" fmla="*/ 95 h 124"/>
                <a:gd name="T4" fmla="*/ 20 w 226"/>
                <a:gd name="T5" fmla="*/ 111 h 124"/>
                <a:gd name="T6" fmla="*/ 46 w 226"/>
                <a:gd name="T7" fmla="*/ 117 h 124"/>
                <a:gd name="T8" fmla="*/ 67 w 226"/>
                <a:gd name="T9" fmla="*/ 123 h 124"/>
                <a:gd name="T10" fmla="*/ 88 w 226"/>
                <a:gd name="T11" fmla="*/ 116 h 124"/>
                <a:gd name="T12" fmla="*/ 100 w 226"/>
                <a:gd name="T13" fmla="*/ 107 h 124"/>
                <a:gd name="T14" fmla="*/ 112 w 226"/>
                <a:gd name="T15" fmla="*/ 114 h 124"/>
                <a:gd name="T16" fmla="*/ 129 w 226"/>
                <a:gd name="T17" fmla="*/ 116 h 124"/>
                <a:gd name="T18" fmla="*/ 159 w 226"/>
                <a:gd name="T19" fmla="*/ 110 h 124"/>
                <a:gd name="T20" fmla="*/ 190 w 226"/>
                <a:gd name="T21" fmla="*/ 110 h 124"/>
                <a:gd name="T22" fmla="*/ 220 w 226"/>
                <a:gd name="T23" fmla="*/ 107 h 124"/>
                <a:gd name="T24" fmla="*/ 207 w 226"/>
                <a:gd name="T25" fmla="*/ 93 h 124"/>
                <a:gd name="T26" fmla="*/ 199 w 226"/>
                <a:gd name="T27" fmla="*/ 70 h 124"/>
                <a:gd name="T28" fmla="*/ 180 w 226"/>
                <a:gd name="T29" fmla="*/ 61 h 124"/>
                <a:gd name="T30" fmla="*/ 182 w 226"/>
                <a:gd name="T31" fmla="*/ 51 h 124"/>
                <a:gd name="T32" fmla="*/ 191 w 226"/>
                <a:gd name="T33" fmla="*/ 50 h 124"/>
                <a:gd name="T34" fmla="*/ 183 w 226"/>
                <a:gd name="T35" fmla="*/ 36 h 124"/>
                <a:gd name="T36" fmla="*/ 170 w 226"/>
                <a:gd name="T37" fmla="*/ 25 h 124"/>
                <a:gd name="T38" fmla="*/ 142 w 226"/>
                <a:gd name="T39" fmla="*/ 27 h 124"/>
                <a:gd name="T40" fmla="*/ 118 w 226"/>
                <a:gd name="T41" fmla="*/ 29 h 124"/>
                <a:gd name="T42" fmla="*/ 100 w 226"/>
                <a:gd name="T43" fmla="*/ 13 h 124"/>
                <a:gd name="T44" fmla="*/ 83 w 226"/>
                <a:gd name="T45" fmla="*/ 5 h 124"/>
                <a:gd name="T46" fmla="*/ 68 w 226"/>
                <a:gd name="T47" fmla="*/ 9 h 124"/>
                <a:gd name="T48" fmla="*/ 46 w 226"/>
                <a:gd name="T49" fmla="*/ 27 h 124"/>
                <a:gd name="T50" fmla="*/ 32 w 226"/>
                <a:gd name="T51" fmla="*/ 43 h 124"/>
                <a:gd name="T52" fmla="*/ 21 w 226"/>
                <a:gd name="T53" fmla="*/ 61 h 124"/>
                <a:gd name="T54" fmla="*/ 7 w 226"/>
                <a:gd name="T55" fmla="*/ 64 h 124"/>
                <a:gd name="T56" fmla="*/ 4 w 226"/>
                <a:gd name="T57" fmla="*/ 76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26" h="124">
                  <a:moveTo>
                    <a:pt x="4" y="76"/>
                  </a:moveTo>
                  <a:cubicBezTo>
                    <a:pt x="5" y="86"/>
                    <a:pt x="0" y="93"/>
                    <a:pt x="6" y="95"/>
                  </a:cubicBezTo>
                  <a:cubicBezTo>
                    <a:pt x="13" y="98"/>
                    <a:pt x="11" y="111"/>
                    <a:pt x="20" y="111"/>
                  </a:cubicBezTo>
                  <a:cubicBezTo>
                    <a:pt x="30" y="111"/>
                    <a:pt x="44" y="114"/>
                    <a:pt x="46" y="117"/>
                  </a:cubicBezTo>
                  <a:cubicBezTo>
                    <a:pt x="48" y="121"/>
                    <a:pt x="60" y="123"/>
                    <a:pt x="67" y="123"/>
                  </a:cubicBezTo>
                  <a:cubicBezTo>
                    <a:pt x="74" y="122"/>
                    <a:pt x="85" y="124"/>
                    <a:pt x="88" y="116"/>
                  </a:cubicBezTo>
                  <a:cubicBezTo>
                    <a:pt x="91" y="108"/>
                    <a:pt x="92" y="107"/>
                    <a:pt x="100" y="107"/>
                  </a:cubicBezTo>
                  <a:cubicBezTo>
                    <a:pt x="107" y="107"/>
                    <a:pt x="112" y="109"/>
                    <a:pt x="112" y="114"/>
                  </a:cubicBezTo>
                  <a:cubicBezTo>
                    <a:pt x="113" y="120"/>
                    <a:pt x="125" y="123"/>
                    <a:pt x="129" y="116"/>
                  </a:cubicBezTo>
                  <a:cubicBezTo>
                    <a:pt x="132" y="110"/>
                    <a:pt x="149" y="110"/>
                    <a:pt x="159" y="110"/>
                  </a:cubicBezTo>
                  <a:cubicBezTo>
                    <a:pt x="168" y="110"/>
                    <a:pt x="178" y="110"/>
                    <a:pt x="190" y="110"/>
                  </a:cubicBezTo>
                  <a:cubicBezTo>
                    <a:pt x="202" y="110"/>
                    <a:pt x="226" y="113"/>
                    <a:pt x="220" y="107"/>
                  </a:cubicBezTo>
                  <a:cubicBezTo>
                    <a:pt x="214" y="101"/>
                    <a:pt x="208" y="97"/>
                    <a:pt x="207" y="93"/>
                  </a:cubicBezTo>
                  <a:cubicBezTo>
                    <a:pt x="206" y="89"/>
                    <a:pt x="208" y="72"/>
                    <a:pt x="199" y="70"/>
                  </a:cubicBezTo>
                  <a:cubicBezTo>
                    <a:pt x="189" y="69"/>
                    <a:pt x="181" y="63"/>
                    <a:pt x="180" y="61"/>
                  </a:cubicBezTo>
                  <a:cubicBezTo>
                    <a:pt x="178" y="58"/>
                    <a:pt x="178" y="53"/>
                    <a:pt x="182" y="51"/>
                  </a:cubicBezTo>
                  <a:cubicBezTo>
                    <a:pt x="184" y="50"/>
                    <a:pt x="188" y="52"/>
                    <a:pt x="191" y="50"/>
                  </a:cubicBezTo>
                  <a:cubicBezTo>
                    <a:pt x="187" y="49"/>
                    <a:pt x="189" y="38"/>
                    <a:pt x="183" y="36"/>
                  </a:cubicBezTo>
                  <a:cubicBezTo>
                    <a:pt x="175" y="33"/>
                    <a:pt x="178" y="30"/>
                    <a:pt x="170" y="25"/>
                  </a:cubicBezTo>
                  <a:cubicBezTo>
                    <a:pt x="161" y="20"/>
                    <a:pt x="149" y="28"/>
                    <a:pt x="142" y="27"/>
                  </a:cubicBezTo>
                  <a:cubicBezTo>
                    <a:pt x="135" y="26"/>
                    <a:pt x="127" y="29"/>
                    <a:pt x="118" y="29"/>
                  </a:cubicBezTo>
                  <a:cubicBezTo>
                    <a:pt x="110" y="30"/>
                    <a:pt x="107" y="15"/>
                    <a:pt x="100" y="13"/>
                  </a:cubicBezTo>
                  <a:cubicBezTo>
                    <a:pt x="92" y="11"/>
                    <a:pt x="87" y="9"/>
                    <a:pt x="83" y="5"/>
                  </a:cubicBezTo>
                  <a:cubicBezTo>
                    <a:pt x="78" y="0"/>
                    <a:pt x="73" y="8"/>
                    <a:pt x="68" y="9"/>
                  </a:cubicBezTo>
                  <a:cubicBezTo>
                    <a:pt x="63" y="10"/>
                    <a:pt x="54" y="25"/>
                    <a:pt x="46" y="27"/>
                  </a:cubicBezTo>
                  <a:cubicBezTo>
                    <a:pt x="39" y="30"/>
                    <a:pt x="37" y="41"/>
                    <a:pt x="32" y="43"/>
                  </a:cubicBezTo>
                  <a:cubicBezTo>
                    <a:pt x="27" y="45"/>
                    <a:pt x="25" y="50"/>
                    <a:pt x="21" y="61"/>
                  </a:cubicBezTo>
                  <a:cubicBezTo>
                    <a:pt x="17" y="70"/>
                    <a:pt x="11" y="68"/>
                    <a:pt x="7" y="64"/>
                  </a:cubicBezTo>
                  <a:cubicBezTo>
                    <a:pt x="5" y="68"/>
                    <a:pt x="4" y="72"/>
                    <a:pt x="4" y="76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244" name="Freeform 25336"/>
            <p:cNvSpPr>
              <a:spLocks/>
            </p:cNvSpPr>
            <p:nvPr/>
          </p:nvSpPr>
          <p:spPr bwMode="auto">
            <a:xfrm>
              <a:off x="6744427" y="3793129"/>
              <a:ext cx="14205" cy="10102"/>
            </a:xfrm>
            <a:custGeom>
              <a:avLst/>
              <a:gdLst>
                <a:gd name="T0" fmla="*/ 28 w 38"/>
                <a:gd name="T1" fmla="*/ 2 h 27"/>
                <a:gd name="T2" fmla="*/ 7 w 38"/>
                <a:gd name="T3" fmla="*/ 8 h 27"/>
                <a:gd name="T4" fmla="*/ 0 w 38"/>
                <a:gd name="T5" fmla="*/ 23 h 27"/>
                <a:gd name="T6" fmla="*/ 38 w 38"/>
                <a:gd name="T7" fmla="*/ 6 h 27"/>
                <a:gd name="T8" fmla="*/ 28 w 38"/>
                <a:gd name="T9" fmla="*/ 2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27">
                  <a:moveTo>
                    <a:pt x="28" y="2"/>
                  </a:moveTo>
                  <a:cubicBezTo>
                    <a:pt x="24" y="0"/>
                    <a:pt x="17" y="6"/>
                    <a:pt x="7" y="8"/>
                  </a:cubicBezTo>
                  <a:cubicBezTo>
                    <a:pt x="2" y="10"/>
                    <a:pt x="0" y="17"/>
                    <a:pt x="0" y="23"/>
                  </a:cubicBezTo>
                  <a:cubicBezTo>
                    <a:pt x="11" y="27"/>
                    <a:pt x="33" y="20"/>
                    <a:pt x="38" y="6"/>
                  </a:cubicBezTo>
                  <a:cubicBezTo>
                    <a:pt x="34" y="5"/>
                    <a:pt x="32" y="3"/>
                    <a:pt x="28" y="2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245" name="Freeform 25337"/>
            <p:cNvSpPr>
              <a:spLocks/>
            </p:cNvSpPr>
            <p:nvPr/>
          </p:nvSpPr>
          <p:spPr bwMode="auto">
            <a:xfrm>
              <a:off x="6178750" y="3594415"/>
              <a:ext cx="61871" cy="99278"/>
            </a:xfrm>
            <a:custGeom>
              <a:avLst/>
              <a:gdLst>
                <a:gd name="T0" fmla="*/ 154 w 166"/>
                <a:gd name="T1" fmla="*/ 130 h 266"/>
                <a:gd name="T2" fmla="*/ 118 w 166"/>
                <a:gd name="T3" fmla="*/ 108 h 266"/>
                <a:gd name="T4" fmla="*/ 69 w 166"/>
                <a:gd name="T5" fmla="*/ 25 h 266"/>
                <a:gd name="T6" fmla="*/ 28 w 166"/>
                <a:gd name="T7" fmla="*/ 2 h 266"/>
                <a:gd name="T8" fmla="*/ 23 w 166"/>
                <a:gd name="T9" fmla="*/ 19 h 266"/>
                <a:gd name="T10" fmla="*/ 29 w 166"/>
                <a:gd name="T11" fmla="*/ 42 h 266"/>
                <a:gd name="T12" fmla="*/ 24 w 166"/>
                <a:gd name="T13" fmla="*/ 62 h 266"/>
                <a:gd name="T14" fmla="*/ 6 w 166"/>
                <a:gd name="T15" fmla="*/ 76 h 266"/>
                <a:gd name="T16" fmla="*/ 4 w 166"/>
                <a:gd name="T17" fmla="*/ 104 h 266"/>
                <a:gd name="T18" fmla="*/ 2 w 166"/>
                <a:gd name="T19" fmla="*/ 133 h 266"/>
                <a:gd name="T20" fmla="*/ 2 w 166"/>
                <a:gd name="T21" fmla="*/ 177 h 266"/>
                <a:gd name="T22" fmla="*/ 6 w 166"/>
                <a:gd name="T23" fmla="*/ 201 h 266"/>
                <a:gd name="T24" fmla="*/ 12 w 166"/>
                <a:gd name="T25" fmla="*/ 227 h 266"/>
                <a:gd name="T26" fmla="*/ 29 w 166"/>
                <a:gd name="T27" fmla="*/ 251 h 266"/>
                <a:gd name="T28" fmla="*/ 50 w 166"/>
                <a:gd name="T29" fmla="*/ 264 h 266"/>
                <a:gd name="T30" fmla="*/ 71 w 166"/>
                <a:gd name="T31" fmla="*/ 261 h 266"/>
                <a:gd name="T32" fmla="*/ 100 w 166"/>
                <a:gd name="T33" fmla="*/ 248 h 266"/>
                <a:gd name="T34" fmla="*/ 142 w 166"/>
                <a:gd name="T35" fmla="*/ 216 h 266"/>
                <a:gd name="T36" fmla="*/ 146 w 166"/>
                <a:gd name="T37" fmla="*/ 178 h 266"/>
                <a:gd name="T38" fmla="*/ 154 w 166"/>
                <a:gd name="T39" fmla="*/ 130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66" h="266">
                  <a:moveTo>
                    <a:pt x="154" y="130"/>
                  </a:moveTo>
                  <a:cubicBezTo>
                    <a:pt x="142" y="122"/>
                    <a:pt x="120" y="126"/>
                    <a:pt x="118" y="108"/>
                  </a:cubicBezTo>
                  <a:cubicBezTo>
                    <a:pt x="115" y="89"/>
                    <a:pt x="79" y="33"/>
                    <a:pt x="69" y="25"/>
                  </a:cubicBezTo>
                  <a:cubicBezTo>
                    <a:pt x="58" y="18"/>
                    <a:pt x="46" y="0"/>
                    <a:pt x="28" y="2"/>
                  </a:cubicBezTo>
                  <a:cubicBezTo>
                    <a:pt x="28" y="2"/>
                    <a:pt x="14" y="12"/>
                    <a:pt x="23" y="19"/>
                  </a:cubicBezTo>
                  <a:cubicBezTo>
                    <a:pt x="32" y="26"/>
                    <a:pt x="30" y="26"/>
                    <a:pt x="29" y="42"/>
                  </a:cubicBezTo>
                  <a:cubicBezTo>
                    <a:pt x="29" y="58"/>
                    <a:pt x="33" y="58"/>
                    <a:pt x="24" y="62"/>
                  </a:cubicBezTo>
                  <a:cubicBezTo>
                    <a:pt x="15" y="66"/>
                    <a:pt x="5" y="65"/>
                    <a:pt x="6" y="76"/>
                  </a:cubicBezTo>
                  <a:cubicBezTo>
                    <a:pt x="7" y="86"/>
                    <a:pt x="8" y="98"/>
                    <a:pt x="4" y="104"/>
                  </a:cubicBezTo>
                  <a:cubicBezTo>
                    <a:pt x="1" y="110"/>
                    <a:pt x="3" y="126"/>
                    <a:pt x="2" y="133"/>
                  </a:cubicBezTo>
                  <a:cubicBezTo>
                    <a:pt x="0" y="140"/>
                    <a:pt x="2" y="166"/>
                    <a:pt x="2" y="177"/>
                  </a:cubicBezTo>
                  <a:cubicBezTo>
                    <a:pt x="2" y="187"/>
                    <a:pt x="1" y="191"/>
                    <a:pt x="6" y="201"/>
                  </a:cubicBezTo>
                  <a:cubicBezTo>
                    <a:pt x="10" y="211"/>
                    <a:pt x="10" y="217"/>
                    <a:pt x="12" y="227"/>
                  </a:cubicBezTo>
                  <a:cubicBezTo>
                    <a:pt x="14" y="237"/>
                    <a:pt x="22" y="242"/>
                    <a:pt x="29" y="251"/>
                  </a:cubicBezTo>
                  <a:cubicBezTo>
                    <a:pt x="36" y="260"/>
                    <a:pt x="42" y="261"/>
                    <a:pt x="50" y="264"/>
                  </a:cubicBezTo>
                  <a:cubicBezTo>
                    <a:pt x="58" y="266"/>
                    <a:pt x="66" y="265"/>
                    <a:pt x="71" y="261"/>
                  </a:cubicBezTo>
                  <a:cubicBezTo>
                    <a:pt x="75" y="256"/>
                    <a:pt x="90" y="251"/>
                    <a:pt x="100" y="248"/>
                  </a:cubicBezTo>
                  <a:cubicBezTo>
                    <a:pt x="111" y="246"/>
                    <a:pt x="141" y="225"/>
                    <a:pt x="142" y="216"/>
                  </a:cubicBezTo>
                  <a:cubicBezTo>
                    <a:pt x="144" y="208"/>
                    <a:pt x="142" y="189"/>
                    <a:pt x="146" y="178"/>
                  </a:cubicBezTo>
                  <a:cubicBezTo>
                    <a:pt x="150" y="167"/>
                    <a:pt x="166" y="138"/>
                    <a:pt x="154" y="13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246" name="Freeform 25379"/>
            <p:cNvSpPr>
              <a:spLocks/>
            </p:cNvSpPr>
            <p:nvPr/>
          </p:nvSpPr>
          <p:spPr bwMode="auto">
            <a:xfrm>
              <a:off x="5296932" y="3375499"/>
              <a:ext cx="249062" cy="156256"/>
            </a:xfrm>
            <a:custGeom>
              <a:avLst/>
              <a:gdLst>
                <a:gd name="T0" fmla="*/ 595 w 668"/>
                <a:gd name="T1" fmla="*/ 0 h 419"/>
                <a:gd name="T2" fmla="*/ 365 w 668"/>
                <a:gd name="T3" fmla="*/ 81 h 419"/>
                <a:gd name="T4" fmla="*/ 295 w 668"/>
                <a:gd name="T5" fmla="*/ 168 h 419"/>
                <a:gd name="T6" fmla="*/ 233 w 668"/>
                <a:gd name="T7" fmla="*/ 133 h 419"/>
                <a:gd name="T8" fmla="*/ 121 w 668"/>
                <a:gd name="T9" fmla="*/ 99 h 419"/>
                <a:gd name="T10" fmla="*/ 100 w 668"/>
                <a:gd name="T11" fmla="*/ 103 h 419"/>
                <a:gd name="T12" fmla="*/ 82 w 668"/>
                <a:gd name="T13" fmla="*/ 106 h 419"/>
                <a:gd name="T14" fmla="*/ 69 w 668"/>
                <a:gd name="T15" fmla="*/ 100 h 419"/>
                <a:gd name="T16" fmla="*/ 56 w 668"/>
                <a:gd name="T17" fmla="*/ 93 h 419"/>
                <a:gd name="T18" fmla="*/ 40 w 668"/>
                <a:gd name="T19" fmla="*/ 104 h 419"/>
                <a:gd name="T20" fmla="*/ 27 w 668"/>
                <a:gd name="T21" fmla="*/ 124 h 419"/>
                <a:gd name="T22" fmla="*/ 34 w 668"/>
                <a:gd name="T23" fmla="*/ 150 h 419"/>
                <a:gd name="T24" fmla="*/ 9 w 668"/>
                <a:gd name="T25" fmla="*/ 162 h 419"/>
                <a:gd name="T26" fmla="*/ 4 w 668"/>
                <a:gd name="T27" fmla="*/ 224 h 419"/>
                <a:gd name="T28" fmla="*/ 23 w 668"/>
                <a:gd name="T29" fmla="*/ 288 h 419"/>
                <a:gd name="T30" fmla="*/ 39 w 668"/>
                <a:gd name="T31" fmla="*/ 366 h 419"/>
                <a:gd name="T32" fmla="*/ 67 w 668"/>
                <a:gd name="T33" fmla="*/ 410 h 419"/>
                <a:gd name="T34" fmla="*/ 112 w 668"/>
                <a:gd name="T35" fmla="*/ 407 h 419"/>
                <a:gd name="T36" fmla="*/ 148 w 668"/>
                <a:gd name="T37" fmla="*/ 403 h 419"/>
                <a:gd name="T38" fmla="*/ 184 w 668"/>
                <a:gd name="T39" fmla="*/ 370 h 419"/>
                <a:gd name="T40" fmla="*/ 261 w 668"/>
                <a:gd name="T41" fmla="*/ 356 h 419"/>
                <a:gd name="T42" fmla="*/ 308 w 668"/>
                <a:gd name="T43" fmla="*/ 338 h 419"/>
                <a:gd name="T44" fmla="*/ 351 w 668"/>
                <a:gd name="T45" fmla="*/ 320 h 419"/>
                <a:gd name="T46" fmla="*/ 410 w 668"/>
                <a:gd name="T47" fmla="*/ 294 h 419"/>
                <a:gd name="T48" fmla="*/ 464 w 668"/>
                <a:gd name="T49" fmla="*/ 267 h 419"/>
                <a:gd name="T50" fmla="*/ 530 w 668"/>
                <a:gd name="T51" fmla="*/ 254 h 419"/>
                <a:gd name="T52" fmla="*/ 591 w 668"/>
                <a:gd name="T53" fmla="*/ 224 h 419"/>
                <a:gd name="T54" fmla="*/ 615 w 668"/>
                <a:gd name="T55" fmla="*/ 179 h 419"/>
                <a:gd name="T56" fmla="*/ 647 w 668"/>
                <a:gd name="T57" fmla="*/ 158 h 419"/>
                <a:gd name="T58" fmla="*/ 668 w 668"/>
                <a:gd name="T59" fmla="*/ 151 h 419"/>
                <a:gd name="T60" fmla="*/ 597 w 668"/>
                <a:gd name="T61" fmla="*/ 0 h 419"/>
                <a:gd name="T62" fmla="*/ 595 w 668"/>
                <a:gd name="T63" fmla="*/ 0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668" h="419">
                  <a:moveTo>
                    <a:pt x="595" y="0"/>
                  </a:moveTo>
                  <a:cubicBezTo>
                    <a:pt x="595" y="0"/>
                    <a:pt x="407" y="60"/>
                    <a:pt x="365" y="81"/>
                  </a:cubicBezTo>
                  <a:cubicBezTo>
                    <a:pt x="322" y="102"/>
                    <a:pt x="323" y="109"/>
                    <a:pt x="295" y="168"/>
                  </a:cubicBezTo>
                  <a:cubicBezTo>
                    <a:pt x="267" y="226"/>
                    <a:pt x="254" y="150"/>
                    <a:pt x="233" y="133"/>
                  </a:cubicBezTo>
                  <a:cubicBezTo>
                    <a:pt x="211" y="116"/>
                    <a:pt x="128" y="105"/>
                    <a:pt x="121" y="99"/>
                  </a:cubicBezTo>
                  <a:cubicBezTo>
                    <a:pt x="115" y="93"/>
                    <a:pt x="104" y="98"/>
                    <a:pt x="100" y="103"/>
                  </a:cubicBezTo>
                  <a:cubicBezTo>
                    <a:pt x="95" y="107"/>
                    <a:pt x="89" y="106"/>
                    <a:pt x="82" y="106"/>
                  </a:cubicBezTo>
                  <a:cubicBezTo>
                    <a:pt x="75" y="106"/>
                    <a:pt x="71" y="105"/>
                    <a:pt x="69" y="100"/>
                  </a:cubicBezTo>
                  <a:cubicBezTo>
                    <a:pt x="66" y="94"/>
                    <a:pt x="64" y="95"/>
                    <a:pt x="56" y="93"/>
                  </a:cubicBezTo>
                  <a:cubicBezTo>
                    <a:pt x="48" y="91"/>
                    <a:pt x="41" y="94"/>
                    <a:pt x="40" y="104"/>
                  </a:cubicBezTo>
                  <a:cubicBezTo>
                    <a:pt x="40" y="114"/>
                    <a:pt x="35" y="117"/>
                    <a:pt x="27" y="124"/>
                  </a:cubicBezTo>
                  <a:cubicBezTo>
                    <a:pt x="20" y="130"/>
                    <a:pt x="33" y="140"/>
                    <a:pt x="34" y="150"/>
                  </a:cubicBezTo>
                  <a:cubicBezTo>
                    <a:pt x="34" y="156"/>
                    <a:pt x="20" y="160"/>
                    <a:pt x="9" y="162"/>
                  </a:cubicBezTo>
                  <a:cubicBezTo>
                    <a:pt x="12" y="178"/>
                    <a:pt x="7" y="199"/>
                    <a:pt x="4" y="224"/>
                  </a:cubicBezTo>
                  <a:cubicBezTo>
                    <a:pt x="0" y="260"/>
                    <a:pt x="9" y="261"/>
                    <a:pt x="23" y="288"/>
                  </a:cubicBezTo>
                  <a:cubicBezTo>
                    <a:pt x="37" y="315"/>
                    <a:pt x="42" y="343"/>
                    <a:pt x="39" y="366"/>
                  </a:cubicBezTo>
                  <a:cubicBezTo>
                    <a:pt x="36" y="389"/>
                    <a:pt x="56" y="403"/>
                    <a:pt x="67" y="410"/>
                  </a:cubicBezTo>
                  <a:cubicBezTo>
                    <a:pt x="79" y="417"/>
                    <a:pt x="102" y="419"/>
                    <a:pt x="112" y="407"/>
                  </a:cubicBezTo>
                  <a:cubicBezTo>
                    <a:pt x="122" y="396"/>
                    <a:pt x="129" y="404"/>
                    <a:pt x="148" y="403"/>
                  </a:cubicBezTo>
                  <a:cubicBezTo>
                    <a:pt x="166" y="402"/>
                    <a:pt x="176" y="381"/>
                    <a:pt x="184" y="370"/>
                  </a:cubicBezTo>
                  <a:cubicBezTo>
                    <a:pt x="191" y="358"/>
                    <a:pt x="242" y="359"/>
                    <a:pt x="261" y="356"/>
                  </a:cubicBezTo>
                  <a:cubicBezTo>
                    <a:pt x="280" y="353"/>
                    <a:pt x="295" y="348"/>
                    <a:pt x="308" y="338"/>
                  </a:cubicBezTo>
                  <a:cubicBezTo>
                    <a:pt x="321" y="328"/>
                    <a:pt x="331" y="314"/>
                    <a:pt x="351" y="320"/>
                  </a:cubicBezTo>
                  <a:cubicBezTo>
                    <a:pt x="371" y="326"/>
                    <a:pt x="393" y="320"/>
                    <a:pt x="410" y="294"/>
                  </a:cubicBezTo>
                  <a:cubicBezTo>
                    <a:pt x="427" y="268"/>
                    <a:pt x="440" y="283"/>
                    <a:pt x="464" y="267"/>
                  </a:cubicBezTo>
                  <a:cubicBezTo>
                    <a:pt x="489" y="251"/>
                    <a:pt x="495" y="261"/>
                    <a:pt x="530" y="254"/>
                  </a:cubicBezTo>
                  <a:cubicBezTo>
                    <a:pt x="566" y="247"/>
                    <a:pt x="566" y="228"/>
                    <a:pt x="591" y="224"/>
                  </a:cubicBezTo>
                  <a:cubicBezTo>
                    <a:pt x="615" y="219"/>
                    <a:pt x="611" y="192"/>
                    <a:pt x="615" y="179"/>
                  </a:cubicBezTo>
                  <a:cubicBezTo>
                    <a:pt x="619" y="166"/>
                    <a:pt x="632" y="165"/>
                    <a:pt x="647" y="158"/>
                  </a:cubicBezTo>
                  <a:cubicBezTo>
                    <a:pt x="654" y="154"/>
                    <a:pt x="661" y="153"/>
                    <a:pt x="668" y="151"/>
                  </a:cubicBezTo>
                  <a:cubicBezTo>
                    <a:pt x="597" y="0"/>
                    <a:pt x="597" y="0"/>
                    <a:pt x="597" y="0"/>
                  </a:cubicBezTo>
                  <a:cubicBezTo>
                    <a:pt x="596" y="0"/>
                    <a:pt x="595" y="0"/>
                    <a:pt x="595" y="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247" name="Freeform 25380"/>
            <p:cNvSpPr>
              <a:spLocks/>
            </p:cNvSpPr>
            <p:nvPr/>
          </p:nvSpPr>
          <p:spPr bwMode="auto">
            <a:xfrm>
              <a:off x="5549308" y="3525757"/>
              <a:ext cx="32514" cy="12311"/>
            </a:xfrm>
            <a:custGeom>
              <a:avLst/>
              <a:gdLst>
                <a:gd name="T0" fmla="*/ 79 w 87"/>
                <a:gd name="T1" fmla="*/ 11 h 33"/>
                <a:gd name="T2" fmla="*/ 57 w 87"/>
                <a:gd name="T3" fmla="*/ 2 h 33"/>
                <a:gd name="T4" fmla="*/ 31 w 87"/>
                <a:gd name="T5" fmla="*/ 3 h 33"/>
                <a:gd name="T6" fmla="*/ 15 w 87"/>
                <a:gd name="T7" fmla="*/ 6 h 33"/>
                <a:gd name="T8" fmla="*/ 2 w 87"/>
                <a:gd name="T9" fmla="*/ 17 h 33"/>
                <a:gd name="T10" fmla="*/ 15 w 87"/>
                <a:gd name="T11" fmla="*/ 25 h 33"/>
                <a:gd name="T12" fmla="*/ 31 w 87"/>
                <a:gd name="T13" fmla="*/ 32 h 33"/>
                <a:gd name="T14" fmla="*/ 46 w 87"/>
                <a:gd name="T15" fmla="*/ 28 h 33"/>
                <a:gd name="T16" fmla="*/ 63 w 87"/>
                <a:gd name="T17" fmla="*/ 25 h 33"/>
                <a:gd name="T18" fmla="*/ 75 w 87"/>
                <a:gd name="T19" fmla="*/ 18 h 33"/>
                <a:gd name="T20" fmla="*/ 79 w 87"/>
                <a:gd name="T21" fmla="*/ 1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7" h="33">
                  <a:moveTo>
                    <a:pt x="79" y="11"/>
                  </a:moveTo>
                  <a:cubicBezTo>
                    <a:pt x="71" y="8"/>
                    <a:pt x="66" y="3"/>
                    <a:pt x="57" y="2"/>
                  </a:cubicBezTo>
                  <a:cubicBezTo>
                    <a:pt x="48" y="2"/>
                    <a:pt x="43" y="3"/>
                    <a:pt x="31" y="3"/>
                  </a:cubicBezTo>
                  <a:cubicBezTo>
                    <a:pt x="31" y="3"/>
                    <a:pt x="19" y="0"/>
                    <a:pt x="15" y="6"/>
                  </a:cubicBezTo>
                  <a:cubicBezTo>
                    <a:pt x="11" y="11"/>
                    <a:pt x="0" y="9"/>
                    <a:pt x="2" y="17"/>
                  </a:cubicBezTo>
                  <a:cubicBezTo>
                    <a:pt x="4" y="24"/>
                    <a:pt x="13" y="20"/>
                    <a:pt x="15" y="25"/>
                  </a:cubicBezTo>
                  <a:cubicBezTo>
                    <a:pt x="18" y="30"/>
                    <a:pt x="24" y="32"/>
                    <a:pt x="31" y="32"/>
                  </a:cubicBezTo>
                  <a:cubicBezTo>
                    <a:pt x="39" y="33"/>
                    <a:pt x="39" y="28"/>
                    <a:pt x="46" y="28"/>
                  </a:cubicBezTo>
                  <a:cubicBezTo>
                    <a:pt x="54" y="27"/>
                    <a:pt x="60" y="29"/>
                    <a:pt x="63" y="25"/>
                  </a:cubicBezTo>
                  <a:cubicBezTo>
                    <a:pt x="66" y="20"/>
                    <a:pt x="69" y="18"/>
                    <a:pt x="75" y="18"/>
                  </a:cubicBezTo>
                  <a:cubicBezTo>
                    <a:pt x="81" y="18"/>
                    <a:pt x="87" y="13"/>
                    <a:pt x="79" y="11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248" name="Freeform 25381"/>
            <p:cNvSpPr>
              <a:spLocks/>
            </p:cNvSpPr>
            <p:nvPr/>
          </p:nvSpPr>
          <p:spPr bwMode="auto">
            <a:xfrm>
              <a:off x="5514743" y="3535859"/>
              <a:ext cx="13416" cy="7103"/>
            </a:xfrm>
            <a:custGeom>
              <a:avLst/>
              <a:gdLst>
                <a:gd name="T0" fmla="*/ 19 w 36"/>
                <a:gd name="T1" fmla="*/ 2 h 19"/>
                <a:gd name="T2" fmla="*/ 2 w 36"/>
                <a:gd name="T3" fmla="*/ 3 h 19"/>
                <a:gd name="T4" fmla="*/ 8 w 36"/>
                <a:gd name="T5" fmla="*/ 10 h 19"/>
                <a:gd name="T6" fmla="*/ 20 w 36"/>
                <a:gd name="T7" fmla="*/ 17 h 19"/>
                <a:gd name="T8" fmla="*/ 36 w 36"/>
                <a:gd name="T9" fmla="*/ 14 h 19"/>
                <a:gd name="T10" fmla="*/ 19 w 36"/>
                <a:gd name="T11" fmla="*/ 2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6" h="19">
                  <a:moveTo>
                    <a:pt x="19" y="2"/>
                  </a:moveTo>
                  <a:cubicBezTo>
                    <a:pt x="19" y="2"/>
                    <a:pt x="3" y="0"/>
                    <a:pt x="2" y="3"/>
                  </a:cubicBezTo>
                  <a:cubicBezTo>
                    <a:pt x="0" y="6"/>
                    <a:pt x="5" y="5"/>
                    <a:pt x="8" y="10"/>
                  </a:cubicBezTo>
                  <a:cubicBezTo>
                    <a:pt x="11" y="15"/>
                    <a:pt x="15" y="17"/>
                    <a:pt x="20" y="17"/>
                  </a:cubicBezTo>
                  <a:cubicBezTo>
                    <a:pt x="25" y="17"/>
                    <a:pt x="36" y="19"/>
                    <a:pt x="36" y="14"/>
                  </a:cubicBezTo>
                  <a:cubicBezTo>
                    <a:pt x="36" y="8"/>
                    <a:pt x="30" y="3"/>
                    <a:pt x="19" y="2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249" name="Freeform 25382"/>
            <p:cNvSpPr>
              <a:spLocks/>
            </p:cNvSpPr>
            <p:nvPr/>
          </p:nvSpPr>
          <p:spPr bwMode="auto">
            <a:xfrm>
              <a:off x="5109425" y="3038366"/>
              <a:ext cx="497335" cy="421417"/>
            </a:xfrm>
            <a:custGeom>
              <a:avLst/>
              <a:gdLst>
                <a:gd name="T0" fmla="*/ 764 w 1334"/>
                <a:gd name="T1" fmla="*/ 217 h 1130"/>
                <a:gd name="T2" fmla="*/ 758 w 1334"/>
                <a:gd name="T3" fmla="*/ 217 h 1130"/>
                <a:gd name="T4" fmla="*/ 753 w 1334"/>
                <a:gd name="T5" fmla="*/ 217 h 1130"/>
                <a:gd name="T6" fmla="*/ 748 w 1334"/>
                <a:gd name="T7" fmla="*/ 217 h 1130"/>
                <a:gd name="T8" fmla="*/ 742 w 1334"/>
                <a:gd name="T9" fmla="*/ 217 h 1130"/>
                <a:gd name="T10" fmla="*/ 725 w 1334"/>
                <a:gd name="T11" fmla="*/ 217 h 1130"/>
                <a:gd name="T12" fmla="*/ 718 w 1334"/>
                <a:gd name="T13" fmla="*/ 217 h 1130"/>
                <a:gd name="T14" fmla="*/ 706 w 1334"/>
                <a:gd name="T15" fmla="*/ 216 h 1130"/>
                <a:gd name="T16" fmla="*/ 698 w 1334"/>
                <a:gd name="T17" fmla="*/ 216 h 1130"/>
                <a:gd name="T18" fmla="*/ 686 w 1334"/>
                <a:gd name="T19" fmla="*/ 215 h 1130"/>
                <a:gd name="T20" fmla="*/ 678 w 1334"/>
                <a:gd name="T21" fmla="*/ 215 h 1130"/>
                <a:gd name="T22" fmla="*/ 667 w 1334"/>
                <a:gd name="T23" fmla="*/ 214 h 1130"/>
                <a:gd name="T24" fmla="*/ 661 w 1334"/>
                <a:gd name="T25" fmla="*/ 214 h 1130"/>
                <a:gd name="T26" fmla="*/ 510 w 1334"/>
                <a:gd name="T27" fmla="*/ 112 h 1130"/>
                <a:gd name="T28" fmla="*/ 301 w 1334"/>
                <a:gd name="T29" fmla="*/ 6 h 1130"/>
                <a:gd name="T30" fmla="*/ 170 w 1334"/>
                <a:gd name="T31" fmla="*/ 60 h 1130"/>
                <a:gd name="T32" fmla="*/ 196 w 1334"/>
                <a:gd name="T33" fmla="*/ 124 h 1130"/>
                <a:gd name="T34" fmla="*/ 89 w 1334"/>
                <a:gd name="T35" fmla="*/ 205 h 1130"/>
                <a:gd name="T36" fmla="*/ 10 w 1334"/>
                <a:gd name="T37" fmla="*/ 195 h 1130"/>
                <a:gd name="T38" fmla="*/ 9 w 1334"/>
                <a:gd name="T39" fmla="*/ 201 h 1130"/>
                <a:gd name="T40" fmla="*/ 5 w 1334"/>
                <a:gd name="T41" fmla="*/ 210 h 1130"/>
                <a:gd name="T42" fmla="*/ 20 w 1334"/>
                <a:gd name="T43" fmla="*/ 282 h 1130"/>
                <a:gd name="T44" fmla="*/ 143 w 1334"/>
                <a:gd name="T45" fmla="*/ 458 h 1130"/>
                <a:gd name="T46" fmla="*/ 206 w 1334"/>
                <a:gd name="T47" fmla="*/ 556 h 1130"/>
                <a:gd name="T48" fmla="*/ 275 w 1334"/>
                <a:gd name="T49" fmla="*/ 682 h 1130"/>
                <a:gd name="T50" fmla="*/ 307 w 1334"/>
                <a:gd name="T51" fmla="*/ 795 h 1130"/>
                <a:gd name="T52" fmla="*/ 414 w 1334"/>
                <a:gd name="T53" fmla="*/ 914 h 1130"/>
                <a:gd name="T54" fmla="*/ 505 w 1334"/>
                <a:gd name="T55" fmla="*/ 1048 h 1130"/>
                <a:gd name="T56" fmla="*/ 530 w 1334"/>
                <a:gd name="T57" fmla="*/ 1028 h 1130"/>
                <a:gd name="T58" fmla="*/ 572 w 1334"/>
                <a:gd name="T59" fmla="*/ 1004 h 1130"/>
                <a:gd name="T60" fmla="*/ 624 w 1334"/>
                <a:gd name="T61" fmla="*/ 1003 h 1130"/>
                <a:gd name="T62" fmla="*/ 868 w 1334"/>
                <a:gd name="T63" fmla="*/ 985 h 1130"/>
                <a:gd name="T64" fmla="*/ 1100 w 1334"/>
                <a:gd name="T65" fmla="*/ 904 h 1130"/>
                <a:gd name="T66" fmla="*/ 1309 w 1334"/>
                <a:gd name="T67" fmla="*/ 780 h 1130"/>
                <a:gd name="T68" fmla="*/ 1310 w 1334"/>
                <a:gd name="T69" fmla="*/ 668 h 1130"/>
                <a:gd name="T70" fmla="*/ 1308 w 1334"/>
                <a:gd name="T71" fmla="*/ 663 h 1130"/>
                <a:gd name="T72" fmla="*/ 1307 w 1334"/>
                <a:gd name="T73" fmla="*/ 657 h 1130"/>
                <a:gd name="T74" fmla="*/ 1193 w 1334"/>
                <a:gd name="T75" fmla="*/ 640 h 1130"/>
                <a:gd name="T76" fmla="*/ 1097 w 1334"/>
                <a:gd name="T77" fmla="*/ 594 h 1130"/>
                <a:gd name="T78" fmla="*/ 1064 w 1334"/>
                <a:gd name="T79" fmla="*/ 521 h 1130"/>
                <a:gd name="T80" fmla="*/ 1034 w 1334"/>
                <a:gd name="T81" fmla="*/ 525 h 1130"/>
                <a:gd name="T82" fmla="*/ 1013 w 1334"/>
                <a:gd name="T83" fmla="*/ 493 h 1130"/>
                <a:gd name="T84" fmla="*/ 976 w 1334"/>
                <a:gd name="T85" fmla="*/ 380 h 1130"/>
                <a:gd name="T86" fmla="*/ 886 w 1334"/>
                <a:gd name="T87" fmla="*/ 268 h 1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334" h="1130">
                  <a:moveTo>
                    <a:pt x="853" y="258"/>
                  </a:moveTo>
                  <a:cubicBezTo>
                    <a:pt x="837" y="258"/>
                    <a:pt x="822" y="260"/>
                    <a:pt x="818" y="240"/>
                  </a:cubicBezTo>
                  <a:cubicBezTo>
                    <a:pt x="814" y="220"/>
                    <a:pt x="781" y="217"/>
                    <a:pt x="764" y="217"/>
                  </a:cubicBezTo>
                  <a:cubicBezTo>
                    <a:pt x="763" y="217"/>
                    <a:pt x="762" y="217"/>
                    <a:pt x="761" y="217"/>
                  </a:cubicBezTo>
                  <a:cubicBezTo>
                    <a:pt x="760" y="217"/>
                    <a:pt x="760" y="217"/>
                    <a:pt x="759" y="217"/>
                  </a:cubicBezTo>
                  <a:cubicBezTo>
                    <a:pt x="759" y="217"/>
                    <a:pt x="759" y="217"/>
                    <a:pt x="758" y="217"/>
                  </a:cubicBezTo>
                  <a:cubicBezTo>
                    <a:pt x="758" y="217"/>
                    <a:pt x="757" y="217"/>
                    <a:pt x="757" y="217"/>
                  </a:cubicBezTo>
                  <a:cubicBezTo>
                    <a:pt x="756" y="217"/>
                    <a:pt x="755" y="217"/>
                    <a:pt x="754" y="217"/>
                  </a:cubicBezTo>
                  <a:cubicBezTo>
                    <a:pt x="754" y="217"/>
                    <a:pt x="753" y="217"/>
                    <a:pt x="753" y="217"/>
                  </a:cubicBezTo>
                  <a:cubicBezTo>
                    <a:pt x="753" y="217"/>
                    <a:pt x="752" y="217"/>
                    <a:pt x="752" y="217"/>
                  </a:cubicBezTo>
                  <a:cubicBezTo>
                    <a:pt x="752" y="217"/>
                    <a:pt x="752" y="217"/>
                    <a:pt x="752" y="217"/>
                  </a:cubicBezTo>
                  <a:cubicBezTo>
                    <a:pt x="750" y="217"/>
                    <a:pt x="749" y="217"/>
                    <a:pt x="748" y="217"/>
                  </a:cubicBezTo>
                  <a:cubicBezTo>
                    <a:pt x="748" y="217"/>
                    <a:pt x="747" y="217"/>
                    <a:pt x="747" y="217"/>
                  </a:cubicBezTo>
                  <a:cubicBezTo>
                    <a:pt x="746" y="217"/>
                    <a:pt x="744" y="217"/>
                    <a:pt x="743" y="217"/>
                  </a:cubicBezTo>
                  <a:cubicBezTo>
                    <a:pt x="742" y="217"/>
                    <a:pt x="742" y="217"/>
                    <a:pt x="742" y="217"/>
                  </a:cubicBezTo>
                  <a:cubicBezTo>
                    <a:pt x="740" y="217"/>
                    <a:pt x="739" y="217"/>
                    <a:pt x="737" y="217"/>
                  </a:cubicBezTo>
                  <a:cubicBezTo>
                    <a:pt x="737" y="217"/>
                    <a:pt x="737" y="217"/>
                    <a:pt x="736" y="217"/>
                  </a:cubicBezTo>
                  <a:cubicBezTo>
                    <a:pt x="733" y="217"/>
                    <a:pt x="729" y="217"/>
                    <a:pt x="725" y="217"/>
                  </a:cubicBezTo>
                  <a:cubicBezTo>
                    <a:pt x="725" y="217"/>
                    <a:pt x="725" y="217"/>
                    <a:pt x="724" y="217"/>
                  </a:cubicBezTo>
                  <a:cubicBezTo>
                    <a:pt x="723" y="217"/>
                    <a:pt x="721" y="217"/>
                    <a:pt x="719" y="217"/>
                  </a:cubicBezTo>
                  <a:cubicBezTo>
                    <a:pt x="718" y="217"/>
                    <a:pt x="718" y="217"/>
                    <a:pt x="718" y="217"/>
                  </a:cubicBezTo>
                  <a:cubicBezTo>
                    <a:pt x="716" y="217"/>
                    <a:pt x="714" y="216"/>
                    <a:pt x="712" y="216"/>
                  </a:cubicBezTo>
                  <a:cubicBezTo>
                    <a:pt x="712" y="216"/>
                    <a:pt x="712" y="216"/>
                    <a:pt x="712" y="216"/>
                  </a:cubicBezTo>
                  <a:cubicBezTo>
                    <a:pt x="710" y="216"/>
                    <a:pt x="708" y="216"/>
                    <a:pt x="706" y="216"/>
                  </a:cubicBezTo>
                  <a:cubicBezTo>
                    <a:pt x="706" y="216"/>
                    <a:pt x="705" y="216"/>
                    <a:pt x="705" y="216"/>
                  </a:cubicBezTo>
                  <a:cubicBezTo>
                    <a:pt x="703" y="216"/>
                    <a:pt x="701" y="216"/>
                    <a:pt x="699" y="216"/>
                  </a:cubicBezTo>
                  <a:cubicBezTo>
                    <a:pt x="699" y="216"/>
                    <a:pt x="698" y="216"/>
                    <a:pt x="698" y="216"/>
                  </a:cubicBezTo>
                  <a:cubicBezTo>
                    <a:pt x="696" y="216"/>
                    <a:pt x="694" y="216"/>
                    <a:pt x="692" y="216"/>
                  </a:cubicBezTo>
                  <a:cubicBezTo>
                    <a:pt x="692" y="216"/>
                    <a:pt x="692" y="216"/>
                    <a:pt x="692" y="216"/>
                  </a:cubicBezTo>
                  <a:cubicBezTo>
                    <a:pt x="690" y="216"/>
                    <a:pt x="688" y="216"/>
                    <a:pt x="686" y="215"/>
                  </a:cubicBezTo>
                  <a:cubicBezTo>
                    <a:pt x="686" y="215"/>
                    <a:pt x="685" y="215"/>
                    <a:pt x="685" y="215"/>
                  </a:cubicBezTo>
                  <a:cubicBezTo>
                    <a:pt x="683" y="215"/>
                    <a:pt x="681" y="215"/>
                    <a:pt x="680" y="215"/>
                  </a:cubicBezTo>
                  <a:cubicBezTo>
                    <a:pt x="679" y="215"/>
                    <a:pt x="679" y="215"/>
                    <a:pt x="678" y="215"/>
                  </a:cubicBezTo>
                  <a:cubicBezTo>
                    <a:pt x="677" y="215"/>
                    <a:pt x="675" y="215"/>
                    <a:pt x="673" y="215"/>
                  </a:cubicBezTo>
                  <a:cubicBezTo>
                    <a:pt x="673" y="215"/>
                    <a:pt x="673" y="215"/>
                    <a:pt x="673" y="215"/>
                  </a:cubicBezTo>
                  <a:cubicBezTo>
                    <a:pt x="671" y="214"/>
                    <a:pt x="669" y="214"/>
                    <a:pt x="667" y="214"/>
                  </a:cubicBezTo>
                  <a:cubicBezTo>
                    <a:pt x="667" y="214"/>
                    <a:pt x="667" y="214"/>
                    <a:pt x="666" y="214"/>
                  </a:cubicBezTo>
                  <a:cubicBezTo>
                    <a:pt x="665" y="214"/>
                    <a:pt x="663" y="214"/>
                    <a:pt x="661" y="214"/>
                  </a:cubicBezTo>
                  <a:cubicBezTo>
                    <a:pt x="661" y="214"/>
                    <a:pt x="661" y="214"/>
                    <a:pt x="661" y="214"/>
                  </a:cubicBezTo>
                  <a:cubicBezTo>
                    <a:pt x="659" y="213"/>
                    <a:pt x="657" y="213"/>
                    <a:pt x="656" y="213"/>
                  </a:cubicBezTo>
                  <a:cubicBezTo>
                    <a:pt x="622" y="209"/>
                    <a:pt x="609" y="193"/>
                    <a:pt x="594" y="180"/>
                  </a:cubicBezTo>
                  <a:cubicBezTo>
                    <a:pt x="580" y="166"/>
                    <a:pt x="526" y="122"/>
                    <a:pt x="510" y="112"/>
                  </a:cubicBezTo>
                  <a:cubicBezTo>
                    <a:pt x="494" y="101"/>
                    <a:pt x="462" y="69"/>
                    <a:pt x="444" y="64"/>
                  </a:cubicBezTo>
                  <a:cubicBezTo>
                    <a:pt x="425" y="58"/>
                    <a:pt x="410" y="56"/>
                    <a:pt x="384" y="30"/>
                  </a:cubicBezTo>
                  <a:cubicBezTo>
                    <a:pt x="357" y="5"/>
                    <a:pt x="325" y="13"/>
                    <a:pt x="301" y="6"/>
                  </a:cubicBezTo>
                  <a:cubicBezTo>
                    <a:pt x="277" y="0"/>
                    <a:pt x="268" y="4"/>
                    <a:pt x="258" y="12"/>
                  </a:cubicBezTo>
                  <a:cubicBezTo>
                    <a:pt x="249" y="20"/>
                    <a:pt x="226" y="21"/>
                    <a:pt x="205" y="25"/>
                  </a:cubicBezTo>
                  <a:cubicBezTo>
                    <a:pt x="184" y="29"/>
                    <a:pt x="174" y="41"/>
                    <a:pt x="170" y="60"/>
                  </a:cubicBezTo>
                  <a:cubicBezTo>
                    <a:pt x="166" y="78"/>
                    <a:pt x="176" y="82"/>
                    <a:pt x="185" y="88"/>
                  </a:cubicBezTo>
                  <a:cubicBezTo>
                    <a:pt x="194" y="93"/>
                    <a:pt x="194" y="98"/>
                    <a:pt x="200" y="105"/>
                  </a:cubicBezTo>
                  <a:cubicBezTo>
                    <a:pt x="205" y="112"/>
                    <a:pt x="204" y="122"/>
                    <a:pt x="196" y="124"/>
                  </a:cubicBezTo>
                  <a:cubicBezTo>
                    <a:pt x="188" y="125"/>
                    <a:pt x="184" y="132"/>
                    <a:pt x="182" y="145"/>
                  </a:cubicBezTo>
                  <a:cubicBezTo>
                    <a:pt x="181" y="158"/>
                    <a:pt x="160" y="156"/>
                    <a:pt x="141" y="156"/>
                  </a:cubicBezTo>
                  <a:cubicBezTo>
                    <a:pt x="122" y="156"/>
                    <a:pt x="104" y="193"/>
                    <a:pt x="89" y="205"/>
                  </a:cubicBezTo>
                  <a:cubicBezTo>
                    <a:pt x="74" y="217"/>
                    <a:pt x="69" y="209"/>
                    <a:pt x="54" y="201"/>
                  </a:cubicBezTo>
                  <a:cubicBezTo>
                    <a:pt x="44" y="195"/>
                    <a:pt x="21" y="195"/>
                    <a:pt x="10" y="195"/>
                  </a:cubicBezTo>
                  <a:cubicBezTo>
                    <a:pt x="10" y="195"/>
                    <a:pt x="10" y="195"/>
                    <a:pt x="10" y="195"/>
                  </a:cubicBezTo>
                  <a:cubicBezTo>
                    <a:pt x="10" y="196"/>
                    <a:pt x="10" y="197"/>
                    <a:pt x="10" y="198"/>
                  </a:cubicBezTo>
                  <a:cubicBezTo>
                    <a:pt x="10" y="198"/>
                    <a:pt x="9" y="198"/>
                    <a:pt x="9" y="199"/>
                  </a:cubicBezTo>
                  <a:cubicBezTo>
                    <a:pt x="9" y="199"/>
                    <a:pt x="9" y="200"/>
                    <a:pt x="9" y="201"/>
                  </a:cubicBezTo>
                  <a:cubicBezTo>
                    <a:pt x="8" y="202"/>
                    <a:pt x="8" y="202"/>
                    <a:pt x="8" y="203"/>
                  </a:cubicBezTo>
                  <a:cubicBezTo>
                    <a:pt x="8" y="204"/>
                    <a:pt x="8" y="204"/>
                    <a:pt x="7" y="205"/>
                  </a:cubicBezTo>
                  <a:cubicBezTo>
                    <a:pt x="7" y="207"/>
                    <a:pt x="6" y="208"/>
                    <a:pt x="5" y="210"/>
                  </a:cubicBezTo>
                  <a:cubicBezTo>
                    <a:pt x="11" y="211"/>
                    <a:pt x="6" y="223"/>
                    <a:pt x="10" y="239"/>
                  </a:cubicBezTo>
                  <a:cubicBezTo>
                    <a:pt x="14" y="258"/>
                    <a:pt x="3" y="255"/>
                    <a:pt x="1" y="272"/>
                  </a:cubicBezTo>
                  <a:cubicBezTo>
                    <a:pt x="0" y="289"/>
                    <a:pt x="4" y="282"/>
                    <a:pt x="20" y="282"/>
                  </a:cubicBezTo>
                  <a:cubicBezTo>
                    <a:pt x="36" y="282"/>
                    <a:pt x="43" y="305"/>
                    <a:pt x="57" y="327"/>
                  </a:cubicBezTo>
                  <a:cubicBezTo>
                    <a:pt x="72" y="348"/>
                    <a:pt x="80" y="364"/>
                    <a:pt x="93" y="390"/>
                  </a:cubicBezTo>
                  <a:cubicBezTo>
                    <a:pt x="106" y="415"/>
                    <a:pt x="129" y="437"/>
                    <a:pt x="143" y="458"/>
                  </a:cubicBezTo>
                  <a:cubicBezTo>
                    <a:pt x="158" y="480"/>
                    <a:pt x="158" y="473"/>
                    <a:pt x="158" y="493"/>
                  </a:cubicBezTo>
                  <a:cubicBezTo>
                    <a:pt x="158" y="513"/>
                    <a:pt x="161" y="511"/>
                    <a:pt x="171" y="531"/>
                  </a:cubicBezTo>
                  <a:cubicBezTo>
                    <a:pt x="181" y="552"/>
                    <a:pt x="185" y="552"/>
                    <a:pt x="206" y="556"/>
                  </a:cubicBezTo>
                  <a:cubicBezTo>
                    <a:pt x="228" y="560"/>
                    <a:pt x="236" y="576"/>
                    <a:pt x="245" y="595"/>
                  </a:cubicBezTo>
                  <a:cubicBezTo>
                    <a:pt x="254" y="613"/>
                    <a:pt x="265" y="625"/>
                    <a:pt x="272" y="640"/>
                  </a:cubicBezTo>
                  <a:cubicBezTo>
                    <a:pt x="280" y="656"/>
                    <a:pt x="282" y="669"/>
                    <a:pt x="275" y="682"/>
                  </a:cubicBezTo>
                  <a:cubicBezTo>
                    <a:pt x="268" y="695"/>
                    <a:pt x="272" y="701"/>
                    <a:pt x="278" y="716"/>
                  </a:cubicBezTo>
                  <a:cubicBezTo>
                    <a:pt x="284" y="732"/>
                    <a:pt x="279" y="741"/>
                    <a:pt x="282" y="751"/>
                  </a:cubicBezTo>
                  <a:cubicBezTo>
                    <a:pt x="285" y="761"/>
                    <a:pt x="298" y="782"/>
                    <a:pt x="307" y="795"/>
                  </a:cubicBezTo>
                  <a:cubicBezTo>
                    <a:pt x="315" y="808"/>
                    <a:pt x="321" y="808"/>
                    <a:pt x="343" y="812"/>
                  </a:cubicBezTo>
                  <a:cubicBezTo>
                    <a:pt x="364" y="817"/>
                    <a:pt x="376" y="837"/>
                    <a:pt x="387" y="853"/>
                  </a:cubicBezTo>
                  <a:cubicBezTo>
                    <a:pt x="398" y="868"/>
                    <a:pt x="410" y="893"/>
                    <a:pt x="414" y="914"/>
                  </a:cubicBezTo>
                  <a:cubicBezTo>
                    <a:pt x="419" y="936"/>
                    <a:pt x="446" y="972"/>
                    <a:pt x="464" y="982"/>
                  </a:cubicBezTo>
                  <a:cubicBezTo>
                    <a:pt x="483" y="992"/>
                    <a:pt x="482" y="997"/>
                    <a:pt x="484" y="1012"/>
                  </a:cubicBezTo>
                  <a:cubicBezTo>
                    <a:pt x="487" y="1026"/>
                    <a:pt x="490" y="1032"/>
                    <a:pt x="505" y="1048"/>
                  </a:cubicBezTo>
                  <a:cubicBezTo>
                    <a:pt x="509" y="1052"/>
                    <a:pt x="511" y="1059"/>
                    <a:pt x="512" y="1066"/>
                  </a:cubicBezTo>
                  <a:cubicBezTo>
                    <a:pt x="523" y="1064"/>
                    <a:pt x="537" y="1060"/>
                    <a:pt x="537" y="1054"/>
                  </a:cubicBezTo>
                  <a:cubicBezTo>
                    <a:pt x="536" y="1044"/>
                    <a:pt x="523" y="1034"/>
                    <a:pt x="530" y="1028"/>
                  </a:cubicBezTo>
                  <a:cubicBezTo>
                    <a:pt x="538" y="1021"/>
                    <a:pt x="543" y="1018"/>
                    <a:pt x="543" y="1008"/>
                  </a:cubicBezTo>
                  <a:cubicBezTo>
                    <a:pt x="544" y="998"/>
                    <a:pt x="551" y="995"/>
                    <a:pt x="559" y="997"/>
                  </a:cubicBezTo>
                  <a:cubicBezTo>
                    <a:pt x="567" y="999"/>
                    <a:pt x="569" y="998"/>
                    <a:pt x="572" y="1004"/>
                  </a:cubicBezTo>
                  <a:cubicBezTo>
                    <a:pt x="574" y="1009"/>
                    <a:pt x="578" y="1010"/>
                    <a:pt x="585" y="1010"/>
                  </a:cubicBezTo>
                  <a:cubicBezTo>
                    <a:pt x="592" y="1010"/>
                    <a:pt x="598" y="1011"/>
                    <a:pt x="603" y="1007"/>
                  </a:cubicBezTo>
                  <a:cubicBezTo>
                    <a:pt x="607" y="1002"/>
                    <a:pt x="618" y="997"/>
                    <a:pt x="624" y="1003"/>
                  </a:cubicBezTo>
                  <a:cubicBezTo>
                    <a:pt x="631" y="1009"/>
                    <a:pt x="714" y="1020"/>
                    <a:pt x="736" y="1037"/>
                  </a:cubicBezTo>
                  <a:cubicBezTo>
                    <a:pt x="757" y="1054"/>
                    <a:pt x="770" y="1130"/>
                    <a:pt x="798" y="1072"/>
                  </a:cubicBezTo>
                  <a:cubicBezTo>
                    <a:pt x="826" y="1013"/>
                    <a:pt x="825" y="1006"/>
                    <a:pt x="868" y="985"/>
                  </a:cubicBezTo>
                  <a:cubicBezTo>
                    <a:pt x="910" y="964"/>
                    <a:pt x="1098" y="904"/>
                    <a:pt x="1098" y="904"/>
                  </a:cubicBezTo>
                  <a:cubicBezTo>
                    <a:pt x="1098" y="904"/>
                    <a:pt x="1099" y="904"/>
                    <a:pt x="1100" y="904"/>
                  </a:cubicBezTo>
                  <a:cubicBezTo>
                    <a:pt x="1100" y="904"/>
                    <a:pt x="1100" y="904"/>
                    <a:pt x="1100" y="904"/>
                  </a:cubicBezTo>
                  <a:cubicBezTo>
                    <a:pt x="1100" y="904"/>
                    <a:pt x="1189" y="869"/>
                    <a:pt x="1204" y="866"/>
                  </a:cubicBezTo>
                  <a:cubicBezTo>
                    <a:pt x="1218" y="862"/>
                    <a:pt x="1289" y="842"/>
                    <a:pt x="1294" y="823"/>
                  </a:cubicBezTo>
                  <a:cubicBezTo>
                    <a:pt x="1300" y="804"/>
                    <a:pt x="1303" y="786"/>
                    <a:pt x="1309" y="780"/>
                  </a:cubicBezTo>
                  <a:cubicBezTo>
                    <a:pt x="1315" y="773"/>
                    <a:pt x="1314" y="742"/>
                    <a:pt x="1323" y="736"/>
                  </a:cubicBezTo>
                  <a:cubicBezTo>
                    <a:pt x="1332" y="729"/>
                    <a:pt x="1334" y="709"/>
                    <a:pt x="1332" y="700"/>
                  </a:cubicBezTo>
                  <a:cubicBezTo>
                    <a:pt x="1330" y="692"/>
                    <a:pt x="1312" y="676"/>
                    <a:pt x="1310" y="668"/>
                  </a:cubicBezTo>
                  <a:cubicBezTo>
                    <a:pt x="1309" y="668"/>
                    <a:pt x="1309" y="667"/>
                    <a:pt x="1309" y="666"/>
                  </a:cubicBezTo>
                  <a:cubicBezTo>
                    <a:pt x="1309" y="665"/>
                    <a:pt x="1309" y="664"/>
                    <a:pt x="1308" y="663"/>
                  </a:cubicBezTo>
                  <a:cubicBezTo>
                    <a:pt x="1308" y="663"/>
                    <a:pt x="1308" y="663"/>
                    <a:pt x="1308" y="663"/>
                  </a:cubicBezTo>
                  <a:cubicBezTo>
                    <a:pt x="1308" y="662"/>
                    <a:pt x="1308" y="661"/>
                    <a:pt x="1308" y="660"/>
                  </a:cubicBezTo>
                  <a:cubicBezTo>
                    <a:pt x="1308" y="660"/>
                    <a:pt x="1308" y="660"/>
                    <a:pt x="1308" y="660"/>
                  </a:cubicBezTo>
                  <a:cubicBezTo>
                    <a:pt x="1307" y="659"/>
                    <a:pt x="1307" y="658"/>
                    <a:pt x="1307" y="657"/>
                  </a:cubicBezTo>
                  <a:cubicBezTo>
                    <a:pt x="1307" y="657"/>
                    <a:pt x="1307" y="657"/>
                    <a:pt x="1307" y="657"/>
                  </a:cubicBezTo>
                  <a:cubicBezTo>
                    <a:pt x="1285" y="655"/>
                    <a:pt x="1240" y="652"/>
                    <a:pt x="1230" y="652"/>
                  </a:cubicBezTo>
                  <a:cubicBezTo>
                    <a:pt x="1216" y="652"/>
                    <a:pt x="1206" y="643"/>
                    <a:pt x="1193" y="640"/>
                  </a:cubicBezTo>
                  <a:cubicBezTo>
                    <a:pt x="1180" y="636"/>
                    <a:pt x="1166" y="641"/>
                    <a:pt x="1149" y="643"/>
                  </a:cubicBezTo>
                  <a:cubicBezTo>
                    <a:pt x="1132" y="645"/>
                    <a:pt x="1126" y="630"/>
                    <a:pt x="1121" y="624"/>
                  </a:cubicBezTo>
                  <a:cubicBezTo>
                    <a:pt x="1116" y="618"/>
                    <a:pt x="1104" y="602"/>
                    <a:pt x="1097" y="594"/>
                  </a:cubicBezTo>
                  <a:cubicBezTo>
                    <a:pt x="1094" y="589"/>
                    <a:pt x="1092" y="579"/>
                    <a:pt x="1092" y="571"/>
                  </a:cubicBezTo>
                  <a:cubicBezTo>
                    <a:pt x="1086" y="565"/>
                    <a:pt x="1082" y="555"/>
                    <a:pt x="1076" y="549"/>
                  </a:cubicBezTo>
                  <a:cubicBezTo>
                    <a:pt x="1066" y="539"/>
                    <a:pt x="1061" y="531"/>
                    <a:pt x="1064" y="521"/>
                  </a:cubicBezTo>
                  <a:cubicBezTo>
                    <a:pt x="1064" y="521"/>
                    <a:pt x="1064" y="520"/>
                    <a:pt x="1064" y="520"/>
                  </a:cubicBezTo>
                  <a:cubicBezTo>
                    <a:pt x="1058" y="521"/>
                    <a:pt x="1056" y="523"/>
                    <a:pt x="1049" y="526"/>
                  </a:cubicBezTo>
                  <a:cubicBezTo>
                    <a:pt x="1041" y="529"/>
                    <a:pt x="1039" y="527"/>
                    <a:pt x="1034" y="525"/>
                  </a:cubicBezTo>
                  <a:cubicBezTo>
                    <a:pt x="1030" y="524"/>
                    <a:pt x="1025" y="513"/>
                    <a:pt x="1024" y="509"/>
                  </a:cubicBezTo>
                  <a:cubicBezTo>
                    <a:pt x="1023" y="505"/>
                    <a:pt x="1018" y="503"/>
                    <a:pt x="1015" y="501"/>
                  </a:cubicBezTo>
                  <a:cubicBezTo>
                    <a:pt x="1014" y="499"/>
                    <a:pt x="1013" y="496"/>
                    <a:pt x="1013" y="493"/>
                  </a:cubicBezTo>
                  <a:cubicBezTo>
                    <a:pt x="1010" y="493"/>
                    <a:pt x="1008" y="490"/>
                    <a:pt x="1006" y="484"/>
                  </a:cubicBezTo>
                  <a:cubicBezTo>
                    <a:pt x="1002" y="468"/>
                    <a:pt x="998" y="456"/>
                    <a:pt x="980" y="438"/>
                  </a:cubicBezTo>
                  <a:cubicBezTo>
                    <a:pt x="963" y="421"/>
                    <a:pt x="980" y="404"/>
                    <a:pt x="976" y="380"/>
                  </a:cubicBezTo>
                  <a:cubicBezTo>
                    <a:pt x="972" y="355"/>
                    <a:pt x="955" y="351"/>
                    <a:pt x="943" y="347"/>
                  </a:cubicBezTo>
                  <a:cubicBezTo>
                    <a:pt x="932" y="342"/>
                    <a:pt x="923" y="331"/>
                    <a:pt x="907" y="322"/>
                  </a:cubicBezTo>
                  <a:cubicBezTo>
                    <a:pt x="892" y="314"/>
                    <a:pt x="889" y="289"/>
                    <a:pt x="886" y="268"/>
                  </a:cubicBezTo>
                  <a:cubicBezTo>
                    <a:pt x="885" y="259"/>
                    <a:pt x="882" y="254"/>
                    <a:pt x="879" y="251"/>
                  </a:cubicBezTo>
                  <a:cubicBezTo>
                    <a:pt x="874" y="258"/>
                    <a:pt x="865" y="258"/>
                    <a:pt x="853" y="258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250" name="Freeform 25383"/>
            <p:cNvSpPr>
              <a:spLocks/>
            </p:cNvSpPr>
            <p:nvPr/>
          </p:nvSpPr>
          <p:spPr bwMode="auto">
            <a:xfrm>
              <a:off x="5272625" y="3418430"/>
              <a:ext cx="14521" cy="16415"/>
            </a:xfrm>
            <a:custGeom>
              <a:avLst/>
              <a:gdLst>
                <a:gd name="T0" fmla="*/ 26 w 39"/>
                <a:gd name="T1" fmla="*/ 22 h 44"/>
                <a:gd name="T2" fmla="*/ 21 w 39"/>
                <a:gd name="T3" fmla="*/ 14 h 44"/>
                <a:gd name="T4" fmla="*/ 10 w 39"/>
                <a:gd name="T5" fmla="*/ 1 h 44"/>
                <a:gd name="T6" fmla="*/ 9 w 39"/>
                <a:gd name="T7" fmla="*/ 14 h 44"/>
                <a:gd name="T8" fmla="*/ 2 w 39"/>
                <a:gd name="T9" fmla="*/ 18 h 44"/>
                <a:gd name="T10" fmla="*/ 7 w 39"/>
                <a:gd name="T11" fmla="*/ 28 h 44"/>
                <a:gd name="T12" fmla="*/ 22 w 39"/>
                <a:gd name="T13" fmla="*/ 36 h 44"/>
                <a:gd name="T14" fmla="*/ 36 w 39"/>
                <a:gd name="T15" fmla="*/ 40 h 44"/>
                <a:gd name="T16" fmla="*/ 26 w 39"/>
                <a:gd name="T17" fmla="*/ 22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9" h="44">
                  <a:moveTo>
                    <a:pt x="26" y="22"/>
                  </a:moveTo>
                  <a:cubicBezTo>
                    <a:pt x="26" y="22"/>
                    <a:pt x="21" y="18"/>
                    <a:pt x="21" y="14"/>
                  </a:cubicBezTo>
                  <a:cubicBezTo>
                    <a:pt x="21" y="9"/>
                    <a:pt x="14" y="0"/>
                    <a:pt x="10" y="1"/>
                  </a:cubicBezTo>
                  <a:cubicBezTo>
                    <a:pt x="7" y="1"/>
                    <a:pt x="10" y="12"/>
                    <a:pt x="9" y="14"/>
                  </a:cubicBezTo>
                  <a:cubicBezTo>
                    <a:pt x="9" y="16"/>
                    <a:pt x="4" y="16"/>
                    <a:pt x="2" y="18"/>
                  </a:cubicBezTo>
                  <a:cubicBezTo>
                    <a:pt x="0" y="20"/>
                    <a:pt x="2" y="26"/>
                    <a:pt x="7" y="28"/>
                  </a:cubicBezTo>
                  <a:cubicBezTo>
                    <a:pt x="12" y="30"/>
                    <a:pt x="18" y="32"/>
                    <a:pt x="22" y="36"/>
                  </a:cubicBezTo>
                  <a:cubicBezTo>
                    <a:pt x="27" y="40"/>
                    <a:pt x="35" y="44"/>
                    <a:pt x="36" y="40"/>
                  </a:cubicBezTo>
                  <a:cubicBezTo>
                    <a:pt x="36" y="35"/>
                    <a:pt x="39" y="32"/>
                    <a:pt x="26" y="22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251" name="Freeform 25384"/>
            <p:cNvSpPr>
              <a:spLocks/>
            </p:cNvSpPr>
            <p:nvPr/>
          </p:nvSpPr>
          <p:spPr bwMode="auto">
            <a:xfrm>
              <a:off x="7277591" y="2998118"/>
              <a:ext cx="21624" cy="12311"/>
            </a:xfrm>
            <a:custGeom>
              <a:avLst/>
              <a:gdLst>
                <a:gd name="T0" fmla="*/ 29 w 58"/>
                <a:gd name="T1" fmla="*/ 12 h 33"/>
                <a:gd name="T2" fmla="*/ 6 w 58"/>
                <a:gd name="T3" fmla="*/ 13 h 33"/>
                <a:gd name="T4" fmla="*/ 18 w 58"/>
                <a:gd name="T5" fmla="*/ 32 h 33"/>
                <a:gd name="T6" fmla="*/ 44 w 58"/>
                <a:gd name="T7" fmla="*/ 26 h 33"/>
                <a:gd name="T8" fmla="*/ 50 w 58"/>
                <a:gd name="T9" fmla="*/ 9 h 33"/>
                <a:gd name="T10" fmla="*/ 29 w 58"/>
                <a:gd name="T11" fmla="*/ 1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8" h="33">
                  <a:moveTo>
                    <a:pt x="29" y="12"/>
                  </a:moveTo>
                  <a:cubicBezTo>
                    <a:pt x="29" y="12"/>
                    <a:pt x="13" y="11"/>
                    <a:pt x="6" y="13"/>
                  </a:cubicBezTo>
                  <a:cubicBezTo>
                    <a:pt x="0" y="15"/>
                    <a:pt x="0" y="31"/>
                    <a:pt x="18" y="32"/>
                  </a:cubicBezTo>
                  <a:cubicBezTo>
                    <a:pt x="36" y="33"/>
                    <a:pt x="41" y="33"/>
                    <a:pt x="44" y="26"/>
                  </a:cubicBezTo>
                  <a:cubicBezTo>
                    <a:pt x="47" y="18"/>
                    <a:pt x="58" y="17"/>
                    <a:pt x="50" y="9"/>
                  </a:cubicBezTo>
                  <a:cubicBezTo>
                    <a:pt x="43" y="0"/>
                    <a:pt x="35" y="1"/>
                    <a:pt x="29" y="12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252" name="Freeform 25385"/>
            <p:cNvSpPr>
              <a:spLocks/>
            </p:cNvSpPr>
            <p:nvPr/>
          </p:nvSpPr>
          <p:spPr bwMode="auto">
            <a:xfrm>
              <a:off x="7350668" y="2963711"/>
              <a:ext cx="9312" cy="18782"/>
            </a:xfrm>
            <a:custGeom>
              <a:avLst/>
              <a:gdLst>
                <a:gd name="T0" fmla="*/ 18 w 25"/>
                <a:gd name="T1" fmla="*/ 37 h 50"/>
                <a:gd name="T2" fmla="*/ 9 w 25"/>
                <a:gd name="T3" fmla="*/ 19 h 50"/>
                <a:gd name="T4" fmla="*/ 4 w 25"/>
                <a:gd name="T5" fmla="*/ 38 h 50"/>
                <a:gd name="T6" fmla="*/ 18 w 25"/>
                <a:gd name="T7" fmla="*/ 37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" h="50">
                  <a:moveTo>
                    <a:pt x="18" y="37"/>
                  </a:moveTo>
                  <a:cubicBezTo>
                    <a:pt x="18" y="26"/>
                    <a:pt x="25" y="0"/>
                    <a:pt x="9" y="19"/>
                  </a:cubicBezTo>
                  <a:cubicBezTo>
                    <a:pt x="9" y="19"/>
                    <a:pt x="0" y="25"/>
                    <a:pt x="4" y="38"/>
                  </a:cubicBezTo>
                  <a:cubicBezTo>
                    <a:pt x="8" y="50"/>
                    <a:pt x="18" y="47"/>
                    <a:pt x="18" y="37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253" name="Freeform 25386"/>
            <p:cNvSpPr>
              <a:spLocks/>
            </p:cNvSpPr>
            <p:nvPr/>
          </p:nvSpPr>
          <p:spPr bwMode="auto">
            <a:xfrm>
              <a:off x="7276170" y="2862697"/>
              <a:ext cx="86493" cy="117113"/>
            </a:xfrm>
            <a:custGeom>
              <a:avLst/>
              <a:gdLst>
                <a:gd name="T0" fmla="*/ 133 w 232"/>
                <a:gd name="T1" fmla="*/ 21 h 314"/>
                <a:gd name="T2" fmla="*/ 87 w 232"/>
                <a:gd name="T3" fmla="*/ 21 h 314"/>
                <a:gd name="T4" fmla="*/ 44 w 232"/>
                <a:gd name="T5" fmla="*/ 52 h 314"/>
                <a:gd name="T6" fmla="*/ 35 w 232"/>
                <a:gd name="T7" fmla="*/ 70 h 314"/>
                <a:gd name="T8" fmla="*/ 43 w 232"/>
                <a:gd name="T9" fmla="*/ 110 h 314"/>
                <a:gd name="T10" fmla="*/ 23 w 232"/>
                <a:gd name="T11" fmla="*/ 128 h 314"/>
                <a:gd name="T12" fmla="*/ 23 w 232"/>
                <a:gd name="T13" fmla="*/ 148 h 314"/>
                <a:gd name="T14" fmla="*/ 34 w 232"/>
                <a:gd name="T15" fmla="*/ 196 h 314"/>
                <a:gd name="T16" fmla="*/ 18 w 232"/>
                <a:gd name="T17" fmla="*/ 240 h 314"/>
                <a:gd name="T18" fmla="*/ 21 w 232"/>
                <a:gd name="T19" fmla="*/ 271 h 314"/>
                <a:gd name="T20" fmla="*/ 10 w 232"/>
                <a:gd name="T21" fmla="*/ 300 h 314"/>
                <a:gd name="T22" fmla="*/ 37 w 232"/>
                <a:gd name="T23" fmla="*/ 302 h 314"/>
                <a:gd name="T24" fmla="*/ 83 w 232"/>
                <a:gd name="T25" fmla="*/ 303 h 314"/>
                <a:gd name="T26" fmla="*/ 119 w 232"/>
                <a:gd name="T27" fmla="*/ 277 h 314"/>
                <a:gd name="T28" fmla="*/ 165 w 232"/>
                <a:gd name="T29" fmla="*/ 273 h 314"/>
                <a:gd name="T30" fmla="*/ 203 w 232"/>
                <a:gd name="T31" fmla="*/ 249 h 314"/>
                <a:gd name="T32" fmla="*/ 220 w 232"/>
                <a:gd name="T33" fmla="*/ 191 h 314"/>
                <a:gd name="T34" fmla="*/ 216 w 232"/>
                <a:gd name="T35" fmla="*/ 121 h 314"/>
                <a:gd name="T36" fmla="*/ 182 w 232"/>
                <a:gd name="T37" fmla="*/ 67 h 314"/>
                <a:gd name="T38" fmla="*/ 153 w 232"/>
                <a:gd name="T39" fmla="*/ 9 h 314"/>
                <a:gd name="T40" fmla="*/ 149 w 232"/>
                <a:gd name="T41" fmla="*/ 0 h 314"/>
                <a:gd name="T42" fmla="*/ 133 w 232"/>
                <a:gd name="T43" fmla="*/ 21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2" h="314">
                  <a:moveTo>
                    <a:pt x="133" y="21"/>
                  </a:moveTo>
                  <a:cubicBezTo>
                    <a:pt x="126" y="34"/>
                    <a:pt x="107" y="24"/>
                    <a:pt x="87" y="21"/>
                  </a:cubicBezTo>
                  <a:cubicBezTo>
                    <a:pt x="68" y="19"/>
                    <a:pt x="53" y="37"/>
                    <a:pt x="44" y="52"/>
                  </a:cubicBezTo>
                  <a:cubicBezTo>
                    <a:pt x="40" y="59"/>
                    <a:pt x="37" y="65"/>
                    <a:pt x="35" y="70"/>
                  </a:cubicBezTo>
                  <a:cubicBezTo>
                    <a:pt x="38" y="79"/>
                    <a:pt x="38" y="92"/>
                    <a:pt x="43" y="110"/>
                  </a:cubicBezTo>
                  <a:cubicBezTo>
                    <a:pt x="50" y="138"/>
                    <a:pt x="41" y="125"/>
                    <a:pt x="23" y="128"/>
                  </a:cubicBezTo>
                  <a:cubicBezTo>
                    <a:pt x="4" y="131"/>
                    <a:pt x="13" y="140"/>
                    <a:pt x="23" y="148"/>
                  </a:cubicBezTo>
                  <a:cubicBezTo>
                    <a:pt x="33" y="157"/>
                    <a:pt x="27" y="167"/>
                    <a:pt x="34" y="196"/>
                  </a:cubicBezTo>
                  <a:cubicBezTo>
                    <a:pt x="41" y="224"/>
                    <a:pt x="28" y="226"/>
                    <a:pt x="18" y="240"/>
                  </a:cubicBezTo>
                  <a:cubicBezTo>
                    <a:pt x="8" y="254"/>
                    <a:pt x="14" y="254"/>
                    <a:pt x="21" y="271"/>
                  </a:cubicBezTo>
                  <a:cubicBezTo>
                    <a:pt x="28" y="289"/>
                    <a:pt x="20" y="287"/>
                    <a:pt x="10" y="300"/>
                  </a:cubicBezTo>
                  <a:cubicBezTo>
                    <a:pt x="0" y="313"/>
                    <a:pt x="14" y="314"/>
                    <a:pt x="37" y="302"/>
                  </a:cubicBezTo>
                  <a:cubicBezTo>
                    <a:pt x="60" y="289"/>
                    <a:pt x="66" y="314"/>
                    <a:pt x="83" y="303"/>
                  </a:cubicBezTo>
                  <a:cubicBezTo>
                    <a:pt x="100" y="292"/>
                    <a:pt x="103" y="283"/>
                    <a:pt x="119" y="277"/>
                  </a:cubicBezTo>
                  <a:cubicBezTo>
                    <a:pt x="134" y="271"/>
                    <a:pt x="140" y="284"/>
                    <a:pt x="165" y="273"/>
                  </a:cubicBezTo>
                  <a:cubicBezTo>
                    <a:pt x="189" y="261"/>
                    <a:pt x="175" y="254"/>
                    <a:pt x="203" y="249"/>
                  </a:cubicBezTo>
                  <a:cubicBezTo>
                    <a:pt x="232" y="243"/>
                    <a:pt x="213" y="220"/>
                    <a:pt x="220" y="191"/>
                  </a:cubicBezTo>
                  <a:cubicBezTo>
                    <a:pt x="228" y="163"/>
                    <a:pt x="220" y="140"/>
                    <a:pt x="216" y="121"/>
                  </a:cubicBezTo>
                  <a:cubicBezTo>
                    <a:pt x="212" y="102"/>
                    <a:pt x="200" y="91"/>
                    <a:pt x="182" y="67"/>
                  </a:cubicBezTo>
                  <a:cubicBezTo>
                    <a:pt x="163" y="42"/>
                    <a:pt x="160" y="32"/>
                    <a:pt x="153" y="9"/>
                  </a:cubicBezTo>
                  <a:cubicBezTo>
                    <a:pt x="152" y="6"/>
                    <a:pt x="151" y="3"/>
                    <a:pt x="149" y="0"/>
                  </a:cubicBezTo>
                  <a:cubicBezTo>
                    <a:pt x="143" y="5"/>
                    <a:pt x="139" y="12"/>
                    <a:pt x="133" y="21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254" name="Freeform 25387"/>
            <p:cNvSpPr>
              <a:spLocks/>
            </p:cNvSpPr>
            <p:nvPr/>
          </p:nvSpPr>
          <p:spPr bwMode="auto">
            <a:xfrm>
              <a:off x="7231030" y="2738166"/>
              <a:ext cx="153572" cy="153257"/>
            </a:xfrm>
            <a:custGeom>
              <a:avLst/>
              <a:gdLst>
                <a:gd name="T0" fmla="*/ 402 w 412"/>
                <a:gd name="T1" fmla="*/ 31 h 411"/>
                <a:gd name="T2" fmla="*/ 402 w 412"/>
                <a:gd name="T3" fmla="*/ 31 h 411"/>
                <a:gd name="T4" fmla="*/ 398 w 412"/>
                <a:gd name="T5" fmla="*/ 32 h 411"/>
                <a:gd name="T6" fmla="*/ 397 w 412"/>
                <a:gd name="T7" fmla="*/ 32 h 411"/>
                <a:gd name="T8" fmla="*/ 395 w 412"/>
                <a:gd name="T9" fmla="*/ 32 h 411"/>
                <a:gd name="T10" fmla="*/ 393 w 412"/>
                <a:gd name="T11" fmla="*/ 31 h 411"/>
                <a:gd name="T12" fmla="*/ 387 w 412"/>
                <a:gd name="T13" fmla="*/ 15 h 411"/>
                <a:gd name="T14" fmla="*/ 366 w 412"/>
                <a:gd name="T15" fmla="*/ 3 h 411"/>
                <a:gd name="T16" fmla="*/ 360 w 412"/>
                <a:gd name="T17" fmla="*/ 19 h 411"/>
                <a:gd name="T18" fmla="*/ 351 w 412"/>
                <a:gd name="T19" fmla="*/ 34 h 411"/>
                <a:gd name="T20" fmla="*/ 332 w 412"/>
                <a:gd name="T21" fmla="*/ 49 h 411"/>
                <a:gd name="T22" fmla="*/ 316 w 412"/>
                <a:gd name="T23" fmla="*/ 67 h 411"/>
                <a:gd name="T24" fmla="*/ 267 w 412"/>
                <a:gd name="T25" fmla="*/ 78 h 411"/>
                <a:gd name="T26" fmla="*/ 248 w 412"/>
                <a:gd name="T27" fmla="*/ 90 h 411"/>
                <a:gd name="T28" fmla="*/ 254 w 412"/>
                <a:gd name="T29" fmla="*/ 110 h 411"/>
                <a:gd name="T30" fmla="*/ 255 w 412"/>
                <a:gd name="T31" fmla="*/ 123 h 411"/>
                <a:gd name="T32" fmla="*/ 236 w 412"/>
                <a:gd name="T33" fmla="*/ 127 h 411"/>
                <a:gd name="T34" fmla="*/ 209 w 412"/>
                <a:gd name="T35" fmla="*/ 125 h 411"/>
                <a:gd name="T36" fmla="*/ 186 w 412"/>
                <a:gd name="T37" fmla="*/ 111 h 411"/>
                <a:gd name="T38" fmla="*/ 172 w 412"/>
                <a:gd name="T39" fmla="*/ 95 h 411"/>
                <a:gd name="T40" fmla="*/ 154 w 412"/>
                <a:gd name="T41" fmla="*/ 112 h 411"/>
                <a:gd name="T42" fmla="*/ 134 w 412"/>
                <a:gd name="T43" fmla="*/ 146 h 411"/>
                <a:gd name="T44" fmla="*/ 106 w 412"/>
                <a:gd name="T45" fmla="*/ 164 h 411"/>
                <a:gd name="T46" fmla="*/ 88 w 412"/>
                <a:gd name="T47" fmla="*/ 179 h 411"/>
                <a:gd name="T48" fmla="*/ 61 w 412"/>
                <a:gd name="T49" fmla="*/ 190 h 411"/>
                <a:gd name="T50" fmla="*/ 16 w 412"/>
                <a:gd name="T51" fmla="*/ 215 h 411"/>
                <a:gd name="T52" fmla="*/ 0 w 412"/>
                <a:gd name="T53" fmla="*/ 242 h 411"/>
                <a:gd name="T54" fmla="*/ 49 w 412"/>
                <a:gd name="T55" fmla="*/ 259 h 411"/>
                <a:gd name="T56" fmla="*/ 76 w 412"/>
                <a:gd name="T57" fmla="*/ 280 h 411"/>
                <a:gd name="T58" fmla="*/ 71 w 412"/>
                <a:gd name="T59" fmla="*/ 316 h 411"/>
                <a:gd name="T60" fmla="*/ 48 w 412"/>
                <a:gd name="T61" fmla="*/ 347 h 411"/>
                <a:gd name="T62" fmla="*/ 58 w 412"/>
                <a:gd name="T63" fmla="*/ 389 h 411"/>
                <a:gd name="T64" fmla="*/ 88 w 412"/>
                <a:gd name="T65" fmla="*/ 390 h 411"/>
                <a:gd name="T66" fmla="*/ 144 w 412"/>
                <a:gd name="T67" fmla="*/ 393 h 411"/>
                <a:gd name="T68" fmla="*/ 156 w 412"/>
                <a:gd name="T69" fmla="*/ 404 h 411"/>
                <a:gd name="T70" fmla="*/ 165 w 412"/>
                <a:gd name="T71" fmla="*/ 386 h 411"/>
                <a:gd name="T72" fmla="*/ 208 w 412"/>
                <a:gd name="T73" fmla="*/ 355 h 411"/>
                <a:gd name="T74" fmla="*/ 254 w 412"/>
                <a:gd name="T75" fmla="*/ 355 h 411"/>
                <a:gd name="T76" fmla="*/ 270 w 412"/>
                <a:gd name="T77" fmla="*/ 334 h 411"/>
                <a:gd name="T78" fmla="*/ 220 w 412"/>
                <a:gd name="T79" fmla="*/ 297 h 411"/>
                <a:gd name="T80" fmla="*/ 235 w 412"/>
                <a:gd name="T81" fmla="*/ 244 h 411"/>
                <a:gd name="T82" fmla="*/ 271 w 412"/>
                <a:gd name="T83" fmla="*/ 216 h 411"/>
                <a:gd name="T84" fmla="*/ 327 w 412"/>
                <a:gd name="T85" fmla="*/ 181 h 411"/>
                <a:gd name="T86" fmla="*/ 354 w 412"/>
                <a:gd name="T87" fmla="*/ 144 h 411"/>
                <a:gd name="T88" fmla="*/ 360 w 412"/>
                <a:gd name="T89" fmla="*/ 97 h 411"/>
                <a:gd name="T90" fmla="*/ 412 w 412"/>
                <a:gd name="T91" fmla="*/ 48 h 411"/>
                <a:gd name="T92" fmla="*/ 412 w 412"/>
                <a:gd name="T93" fmla="*/ 47 h 411"/>
                <a:gd name="T94" fmla="*/ 405 w 412"/>
                <a:gd name="T95" fmla="*/ 38 h 411"/>
                <a:gd name="T96" fmla="*/ 402 w 412"/>
                <a:gd name="T97" fmla="*/ 31 h 4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12" h="411">
                  <a:moveTo>
                    <a:pt x="402" y="31"/>
                  </a:moveTo>
                  <a:cubicBezTo>
                    <a:pt x="402" y="31"/>
                    <a:pt x="402" y="31"/>
                    <a:pt x="402" y="31"/>
                  </a:cubicBezTo>
                  <a:cubicBezTo>
                    <a:pt x="401" y="32"/>
                    <a:pt x="399" y="32"/>
                    <a:pt x="398" y="32"/>
                  </a:cubicBezTo>
                  <a:cubicBezTo>
                    <a:pt x="397" y="32"/>
                    <a:pt x="397" y="32"/>
                    <a:pt x="397" y="32"/>
                  </a:cubicBezTo>
                  <a:cubicBezTo>
                    <a:pt x="396" y="32"/>
                    <a:pt x="396" y="32"/>
                    <a:pt x="395" y="32"/>
                  </a:cubicBezTo>
                  <a:cubicBezTo>
                    <a:pt x="395" y="32"/>
                    <a:pt x="394" y="32"/>
                    <a:pt x="393" y="31"/>
                  </a:cubicBezTo>
                  <a:cubicBezTo>
                    <a:pt x="387" y="28"/>
                    <a:pt x="388" y="20"/>
                    <a:pt x="387" y="15"/>
                  </a:cubicBezTo>
                  <a:cubicBezTo>
                    <a:pt x="386" y="9"/>
                    <a:pt x="375" y="0"/>
                    <a:pt x="366" y="3"/>
                  </a:cubicBezTo>
                  <a:cubicBezTo>
                    <a:pt x="356" y="5"/>
                    <a:pt x="368" y="15"/>
                    <a:pt x="360" y="19"/>
                  </a:cubicBezTo>
                  <a:cubicBezTo>
                    <a:pt x="352" y="23"/>
                    <a:pt x="351" y="25"/>
                    <a:pt x="351" y="34"/>
                  </a:cubicBezTo>
                  <a:cubicBezTo>
                    <a:pt x="351" y="43"/>
                    <a:pt x="340" y="49"/>
                    <a:pt x="332" y="49"/>
                  </a:cubicBezTo>
                  <a:cubicBezTo>
                    <a:pt x="324" y="49"/>
                    <a:pt x="320" y="59"/>
                    <a:pt x="316" y="67"/>
                  </a:cubicBezTo>
                  <a:cubicBezTo>
                    <a:pt x="312" y="75"/>
                    <a:pt x="285" y="79"/>
                    <a:pt x="267" y="78"/>
                  </a:cubicBezTo>
                  <a:cubicBezTo>
                    <a:pt x="249" y="77"/>
                    <a:pt x="241" y="83"/>
                    <a:pt x="248" y="90"/>
                  </a:cubicBezTo>
                  <a:cubicBezTo>
                    <a:pt x="256" y="97"/>
                    <a:pt x="250" y="107"/>
                    <a:pt x="254" y="110"/>
                  </a:cubicBezTo>
                  <a:cubicBezTo>
                    <a:pt x="259" y="113"/>
                    <a:pt x="261" y="122"/>
                    <a:pt x="255" y="123"/>
                  </a:cubicBezTo>
                  <a:cubicBezTo>
                    <a:pt x="249" y="125"/>
                    <a:pt x="240" y="122"/>
                    <a:pt x="236" y="127"/>
                  </a:cubicBezTo>
                  <a:cubicBezTo>
                    <a:pt x="232" y="133"/>
                    <a:pt x="214" y="132"/>
                    <a:pt x="209" y="125"/>
                  </a:cubicBezTo>
                  <a:cubicBezTo>
                    <a:pt x="204" y="119"/>
                    <a:pt x="190" y="111"/>
                    <a:pt x="186" y="111"/>
                  </a:cubicBezTo>
                  <a:cubicBezTo>
                    <a:pt x="182" y="111"/>
                    <a:pt x="187" y="95"/>
                    <a:pt x="172" y="95"/>
                  </a:cubicBezTo>
                  <a:cubicBezTo>
                    <a:pt x="158" y="95"/>
                    <a:pt x="156" y="101"/>
                    <a:pt x="154" y="112"/>
                  </a:cubicBezTo>
                  <a:cubicBezTo>
                    <a:pt x="152" y="123"/>
                    <a:pt x="144" y="137"/>
                    <a:pt x="134" y="146"/>
                  </a:cubicBezTo>
                  <a:cubicBezTo>
                    <a:pt x="124" y="155"/>
                    <a:pt x="114" y="162"/>
                    <a:pt x="106" y="164"/>
                  </a:cubicBezTo>
                  <a:cubicBezTo>
                    <a:pt x="97" y="166"/>
                    <a:pt x="95" y="173"/>
                    <a:pt x="88" y="179"/>
                  </a:cubicBezTo>
                  <a:cubicBezTo>
                    <a:pt x="82" y="185"/>
                    <a:pt x="69" y="183"/>
                    <a:pt x="61" y="190"/>
                  </a:cubicBezTo>
                  <a:cubicBezTo>
                    <a:pt x="53" y="197"/>
                    <a:pt x="26" y="207"/>
                    <a:pt x="16" y="215"/>
                  </a:cubicBezTo>
                  <a:cubicBezTo>
                    <a:pt x="8" y="222"/>
                    <a:pt x="3" y="230"/>
                    <a:pt x="0" y="242"/>
                  </a:cubicBezTo>
                  <a:cubicBezTo>
                    <a:pt x="13" y="245"/>
                    <a:pt x="29" y="250"/>
                    <a:pt x="49" y="259"/>
                  </a:cubicBezTo>
                  <a:cubicBezTo>
                    <a:pt x="91" y="277"/>
                    <a:pt x="72" y="264"/>
                    <a:pt x="76" y="280"/>
                  </a:cubicBezTo>
                  <a:cubicBezTo>
                    <a:pt x="81" y="296"/>
                    <a:pt x="71" y="304"/>
                    <a:pt x="71" y="316"/>
                  </a:cubicBezTo>
                  <a:cubicBezTo>
                    <a:pt x="71" y="327"/>
                    <a:pt x="66" y="330"/>
                    <a:pt x="48" y="347"/>
                  </a:cubicBezTo>
                  <a:cubicBezTo>
                    <a:pt x="29" y="365"/>
                    <a:pt x="45" y="368"/>
                    <a:pt x="58" y="389"/>
                  </a:cubicBezTo>
                  <a:cubicBezTo>
                    <a:pt x="71" y="411"/>
                    <a:pt x="81" y="405"/>
                    <a:pt x="88" y="390"/>
                  </a:cubicBezTo>
                  <a:cubicBezTo>
                    <a:pt x="95" y="376"/>
                    <a:pt x="126" y="388"/>
                    <a:pt x="144" y="393"/>
                  </a:cubicBezTo>
                  <a:cubicBezTo>
                    <a:pt x="150" y="396"/>
                    <a:pt x="154" y="399"/>
                    <a:pt x="156" y="404"/>
                  </a:cubicBezTo>
                  <a:cubicBezTo>
                    <a:pt x="158" y="399"/>
                    <a:pt x="161" y="393"/>
                    <a:pt x="165" y="386"/>
                  </a:cubicBezTo>
                  <a:cubicBezTo>
                    <a:pt x="174" y="371"/>
                    <a:pt x="189" y="353"/>
                    <a:pt x="208" y="355"/>
                  </a:cubicBezTo>
                  <a:cubicBezTo>
                    <a:pt x="228" y="358"/>
                    <a:pt x="247" y="368"/>
                    <a:pt x="254" y="355"/>
                  </a:cubicBezTo>
                  <a:cubicBezTo>
                    <a:pt x="260" y="346"/>
                    <a:pt x="264" y="339"/>
                    <a:pt x="270" y="334"/>
                  </a:cubicBezTo>
                  <a:cubicBezTo>
                    <a:pt x="260" y="318"/>
                    <a:pt x="241" y="311"/>
                    <a:pt x="220" y="297"/>
                  </a:cubicBezTo>
                  <a:cubicBezTo>
                    <a:pt x="195" y="282"/>
                    <a:pt x="217" y="259"/>
                    <a:pt x="235" y="244"/>
                  </a:cubicBezTo>
                  <a:cubicBezTo>
                    <a:pt x="254" y="230"/>
                    <a:pt x="261" y="227"/>
                    <a:pt x="271" y="216"/>
                  </a:cubicBezTo>
                  <a:cubicBezTo>
                    <a:pt x="281" y="204"/>
                    <a:pt x="310" y="191"/>
                    <a:pt x="327" y="181"/>
                  </a:cubicBezTo>
                  <a:cubicBezTo>
                    <a:pt x="344" y="171"/>
                    <a:pt x="354" y="161"/>
                    <a:pt x="354" y="144"/>
                  </a:cubicBezTo>
                  <a:cubicBezTo>
                    <a:pt x="354" y="127"/>
                    <a:pt x="351" y="115"/>
                    <a:pt x="360" y="97"/>
                  </a:cubicBezTo>
                  <a:cubicBezTo>
                    <a:pt x="369" y="78"/>
                    <a:pt x="400" y="68"/>
                    <a:pt x="412" y="48"/>
                  </a:cubicBezTo>
                  <a:cubicBezTo>
                    <a:pt x="412" y="48"/>
                    <a:pt x="412" y="47"/>
                    <a:pt x="412" y="47"/>
                  </a:cubicBezTo>
                  <a:cubicBezTo>
                    <a:pt x="410" y="44"/>
                    <a:pt x="408" y="42"/>
                    <a:pt x="405" y="38"/>
                  </a:cubicBezTo>
                  <a:cubicBezTo>
                    <a:pt x="403" y="36"/>
                    <a:pt x="403" y="34"/>
                    <a:pt x="402" y="31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255" name="Freeform 25388"/>
            <p:cNvSpPr>
              <a:spLocks/>
            </p:cNvSpPr>
            <p:nvPr/>
          </p:nvSpPr>
          <p:spPr bwMode="auto">
            <a:xfrm>
              <a:off x="5479546" y="3190834"/>
              <a:ext cx="10102" cy="13889"/>
            </a:xfrm>
            <a:custGeom>
              <a:avLst/>
              <a:gdLst>
                <a:gd name="T0" fmla="*/ 6 w 27"/>
                <a:gd name="T1" fmla="*/ 10 h 37"/>
                <a:gd name="T2" fmla="*/ 1 w 27"/>
                <a:gd name="T3" fmla="*/ 17 h 37"/>
                <a:gd name="T4" fmla="*/ 4 w 27"/>
                <a:gd name="T5" fmla="*/ 26 h 37"/>
                <a:gd name="T6" fmla="*/ 10 w 27"/>
                <a:gd name="T7" fmla="*/ 30 h 37"/>
                <a:gd name="T8" fmla="*/ 14 w 27"/>
                <a:gd name="T9" fmla="*/ 34 h 37"/>
                <a:gd name="T10" fmla="*/ 21 w 27"/>
                <a:gd name="T11" fmla="*/ 33 h 37"/>
                <a:gd name="T12" fmla="*/ 23 w 27"/>
                <a:gd name="T13" fmla="*/ 25 h 37"/>
                <a:gd name="T14" fmla="*/ 26 w 27"/>
                <a:gd name="T15" fmla="*/ 17 h 37"/>
                <a:gd name="T16" fmla="*/ 21 w 27"/>
                <a:gd name="T17" fmla="*/ 9 h 37"/>
                <a:gd name="T18" fmla="*/ 19 w 27"/>
                <a:gd name="T19" fmla="*/ 4 h 37"/>
                <a:gd name="T20" fmla="*/ 13 w 27"/>
                <a:gd name="T21" fmla="*/ 0 h 37"/>
                <a:gd name="T22" fmla="*/ 9 w 27"/>
                <a:gd name="T23" fmla="*/ 6 h 37"/>
                <a:gd name="T24" fmla="*/ 6 w 27"/>
                <a:gd name="T25" fmla="*/ 1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" h="37">
                  <a:moveTo>
                    <a:pt x="6" y="10"/>
                  </a:moveTo>
                  <a:cubicBezTo>
                    <a:pt x="1" y="11"/>
                    <a:pt x="1" y="14"/>
                    <a:pt x="1" y="17"/>
                  </a:cubicBezTo>
                  <a:cubicBezTo>
                    <a:pt x="1" y="20"/>
                    <a:pt x="0" y="26"/>
                    <a:pt x="4" y="26"/>
                  </a:cubicBezTo>
                  <a:cubicBezTo>
                    <a:pt x="8" y="26"/>
                    <a:pt x="9" y="27"/>
                    <a:pt x="10" y="30"/>
                  </a:cubicBezTo>
                  <a:cubicBezTo>
                    <a:pt x="10" y="32"/>
                    <a:pt x="11" y="33"/>
                    <a:pt x="14" y="34"/>
                  </a:cubicBezTo>
                  <a:cubicBezTo>
                    <a:pt x="16" y="34"/>
                    <a:pt x="21" y="37"/>
                    <a:pt x="21" y="33"/>
                  </a:cubicBezTo>
                  <a:cubicBezTo>
                    <a:pt x="21" y="29"/>
                    <a:pt x="21" y="27"/>
                    <a:pt x="23" y="25"/>
                  </a:cubicBezTo>
                  <a:cubicBezTo>
                    <a:pt x="26" y="22"/>
                    <a:pt x="26" y="20"/>
                    <a:pt x="26" y="17"/>
                  </a:cubicBezTo>
                  <a:cubicBezTo>
                    <a:pt x="26" y="15"/>
                    <a:pt x="27" y="11"/>
                    <a:pt x="21" y="9"/>
                  </a:cubicBezTo>
                  <a:cubicBezTo>
                    <a:pt x="21" y="9"/>
                    <a:pt x="20" y="8"/>
                    <a:pt x="19" y="4"/>
                  </a:cubicBezTo>
                  <a:cubicBezTo>
                    <a:pt x="18" y="0"/>
                    <a:pt x="16" y="0"/>
                    <a:pt x="13" y="0"/>
                  </a:cubicBezTo>
                  <a:cubicBezTo>
                    <a:pt x="10" y="1"/>
                    <a:pt x="9" y="4"/>
                    <a:pt x="9" y="6"/>
                  </a:cubicBezTo>
                  <a:cubicBezTo>
                    <a:pt x="9" y="8"/>
                    <a:pt x="10" y="9"/>
                    <a:pt x="6" y="1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256" name="Freeform 25389"/>
            <p:cNvSpPr>
              <a:spLocks/>
            </p:cNvSpPr>
            <p:nvPr/>
          </p:nvSpPr>
          <p:spPr bwMode="auto">
            <a:xfrm>
              <a:off x="7179260" y="3333042"/>
              <a:ext cx="2999" cy="6629"/>
            </a:xfrm>
            <a:custGeom>
              <a:avLst/>
              <a:gdLst>
                <a:gd name="T0" fmla="*/ 8 w 8"/>
                <a:gd name="T1" fmla="*/ 13 h 18"/>
                <a:gd name="T2" fmla="*/ 5 w 8"/>
                <a:gd name="T3" fmla="*/ 2 h 18"/>
                <a:gd name="T4" fmla="*/ 1 w 8"/>
                <a:gd name="T5" fmla="*/ 13 h 18"/>
                <a:gd name="T6" fmla="*/ 8 w 8"/>
                <a:gd name="T7" fmla="*/ 13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18">
                  <a:moveTo>
                    <a:pt x="8" y="13"/>
                  </a:moveTo>
                  <a:cubicBezTo>
                    <a:pt x="8" y="8"/>
                    <a:pt x="8" y="0"/>
                    <a:pt x="5" y="2"/>
                  </a:cubicBezTo>
                  <a:cubicBezTo>
                    <a:pt x="5" y="2"/>
                    <a:pt x="0" y="9"/>
                    <a:pt x="1" y="13"/>
                  </a:cubicBezTo>
                  <a:cubicBezTo>
                    <a:pt x="1" y="17"/>
                    <a:pt x="8" y="18"/>
                    <a:pt x="8" y="13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rnd">
              <a:solidFill>
                <a:schemeClr val="bg1">
                  <a:lumMod val="9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257" name="Freeform 25390"/>
            <p:cNvSpPr>
              <a:spLocks/>
            </p:cNvSpPr>
            <p:nvPr/>
          </p:nvSpPr>
          <p:spPr bwMode="auto">
            <a:xfrm>
              <a:off x="7164581" y="3362873"/>
              <a:ext cx="5367" cy="4104"/>
            </a:xfrm>
            <a:custGeom>
              <a:avLst/>
              <a:gdLst>
                <a:gd name="T0" fmla="*/ 2 w 14"/>
                <a:gd name="T1" fmla="*/ 3 h 11"/>
                <a:gd name="T2" fmla="*/ 4 w 14"/>
                <a:gd name="T3" fmla="*/ 10 h 11"/>
                <a:gd name="T4" fmla="*/ 12 w 14"/>
                <a:gd name="T5" fmla="*/ 9 h 11"/>
                <a:gd name="T6" fmla="*/ 10 w 14"/>
                <a:gd name="T7" fmla="*/ 2 h 11"/>
                <a:gd name="T8" fmla="*/ 2 w 14"/>
                <a:gd name="T9" fmla="*/ 3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1">
                  <a:moveTo>
                    <a:pt x="2" y="3"/>
                  </a:moveTo>
                  <a:cubicBezTo>
                    <a:pt x="0" y="5"/>
                    <a:pt x="0" y="10"/>
                    <a:pt x="4" y="10"/>
                  </a:cubicBezTo>
                  <a:cubicBezTo>
                    <a:pt x="8" y="10"/>
                    <a:pt x="12" y="11"/>
                    <a:pt x="12" y="9"/>
                  </a:cubicBezTo>
                  <a:cubicBezTo>
                    <a:pt x="13" y="7"/>
                    <a:pt x="14" y="3"/>
                    <a:pt x="10" y="2"/>
                  </a:cubicBezTo>
                  <a:cubicBezTo>
                    <a:pt x="10" y="2"/>
                    <a:pt x="3" y="0"/>
                    <a:pt x="2" y="3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rnd">
              <a:solidFill>
                <a:schemeClr val="bg1">
                  <a:lumMod val="9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258" name="Freeform 25391"/>
            <p:cNvSpPr>
              <a:spLocks/>
            </p:cNvSpPr>
            <p:nvPr/>
          </p:nvSpPr>
          <p:spPr bwMode="auto">
            <a:xfrm>
              <a:off x="7175788" y="3371711"/>
              <a:ext cx="3473" cy="7892"/>
            </a:xfrm>
            <a:custGeom>
              <a:avLst/>
              <a:gdLst>
                <a:gd name="T0" fmla="*/ 2 w 9"/>
                <a:gd name="T1" fmla="*/ 18 h 21"/>
                <a:gd name="T2" fmla="*/ 9 w 9"/>
                <a:gd name="T3" fmla="*/ 16 h 21"/>
                <a:gd name="T4" fmla="*/ 6 w 9"/>
                <a:gd name="T5" fmla="*/ 5 h 21"/>
                <a:gd name="T6" fmla="*/ 2 w 9"/>
                <a:gd name="T7" fmla="*/ 3 h 21"/>
                <a:gd name="T8" fmla="*/ 1 w 9"/>
                <a:gd name="T9" fmla="*/ 8 h 21"/>
                <a:gd name="T10" fmla="*/ 2 w 9"/>
                <a:gd name="T11" fmla="*/ 18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21">
                  <a:moveTo>
                    <a:pt x="2" y="18"/>
                  </a:moveTo>
                  <a:cubicBezTo>
                    <a:pt x="4" y="20"/>
                    <a:pt x="8" y="21"/>
                    <a:pt x="9" y="16"/>
                  </a:cubicBezTo>
                  <a:cubicBezTo>
                    <a:pt x="9" y="11"/>
                    <a:pt x="9" y="7"/>
                    <a:pt x="6" y="5"/>
                  </a:cubicBezTo>
                  <a:cubicBezTo>
                    <a:pt x="4" y="2"/>
                    <a:pt x="3" y="0"/>
                    <a:pt x="2" y="3"/>
                  </a:cubicBezTo>
                  <a:cubicBezTo>
                    <a:pt x="2" y="3"/>
                    <a:pt x="0" y="5"/>
                    <a:pt x="1" y="8"/>
                  </a:cubicBezTo>
                  <a:cubicBezTo>
                    <a:pt x="2" y="11"/>
                    <a:pt x="0" y="16"/>
                    <a:pt x="2" y="18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rnd">
              <a:solidFill>
                <a:schemeClr val="bg1">
                  <a:lumMod val="9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259" name="Freeform 25392"/>
            <p:cNvSpPr>
              <a:spLocks/>
            </p:cNvSpPr>
            <p:nvPr/>
          </p:nvSpPr>
          <p:spPr bwMode="auto">
            <a:xfrm>
              <a:off x="7125912" y="3385127"/>
              <a:ext cx="104802" cy="142840"/>
            </a:xfrm>
            <a:custGeom>
              <a:avLst/>
              <a:gdLst>
                <a:gd name="T0" fmla="*/ 3 w 281"/>
                <a:gd name="T1" fmla="*/ 145 h 383"/>
                <a:gd name="T2" fmla="*/ 23 w 281"/>
                <a:gd name="T3" fmla="*/ 213 h 383"/>
                <a:gd name="T4" fmla="*/ 45 w 281"/>
                <a:gd name="T5" fmla="*/ 255 h 383"/>
                <a:gd name="T6" fmla="*/ 52 w 281"/>
                <a:gd name="T7" fmla="*/ 245 h 383"/>
                <a:gd name="T8" fmla="*/ 72 w 281"/>
                <a:gd name="T9" fmla="*/ 235 h 383"/>
                <a:gd name="T10" fmla="*/ 84 w 281"/>
                <a:gd name="T11" fmla="*/ 244 h 383"/>
                <a:gd name="T12" fmla="*/ 71 w 281"/>
                <a:gd name="T13" fmla="*/ 264 h 383"/>
                <a:gd name="T14" fmla="*/ 66 w 281"/>
                <a:gd name="T15" fmla="*/ 280 h 383"/>
                <a:gd name="T16" fmla="*/ 86 w 281"/>
                <a:gd name="T17" fmla="*/ 305 h 383"/>
                <a:gd name="T18" fmla="*/ 113 w 281"/>
                <a:gd name="T19" fmla="*/ 304 h 383"/>
                <a:gd name="T20" fmla="*/ 132 w 281"/>
                <a:gd name="T21" fmla="*/ 300 h 383"/>
                <a:gd name="T22" fmla="*/ 179 w 281"/>
                <a:gd name="T23" fmla="*/ 336 h 383"/>
                <a:gd name="T24" fmla="*/ 187 w 281"/>
                <a:gd name="T25" fmla="*/ 333 h 383"/>
                <a:gd name="T26" fmla="*/ 175 w 281"/>
                <a:gd name="T27" fmla="*/ 309 h 383"/>
                <a:gd name="T28" fmla="*/ 182 w 281"/>
                <a:gd name="T29" fmla="*/ 300 h 383"/>
                <a:gd name="T30" fmla="*/ 194 w 281"/>
                <a:gd name="T31" fmla="*/ 317 h 383"/>
                <a:gd name="T32" fmla="*/ 232 w 281"/>
                <a:gd name="T33" fmla="*/ 349 h 383"/>
                <a:gd name="T34" fmla="*/ 253 w 281"/>
                <a:gd name="T35" fmla="*/ 373 h 383"/>
                <a:gd name="T36" fmla="*/ 271 w 281"/>
                <a:gd name="T37" fmla="*/ 382 h 383"/>
                <a:gd name="T38" fmla="*/ 281 w 281"/>
                <a:gd name="T39" fmla="*/ 351 h 383"/>
                <a:gd name="T40" fmla="*/ 254 w 281"/>
                <a:gd name="T41" fmla="*/ 329 h 383"/>
                <a:gd name="T42" fmla="*/ 242 w 281"/>
                <a:gd name="T43" fmla="*/ 314 h 383"/>
                <a:gd name="T44" fmla="*/ 257 w 281"/>
                <a:gd name="T45" fmla="*/ 310 h 383"/>
                <a:gd name="T46" fmla="*/ 251 w 281"/>
                <a:gd name="T47" fmla="*/ 290 h 383"/>
                <a:gd name="T48" fmla="*/ 217 w 281"/>
                <a:gd name="T49" fmla="*/ 294 h 383"/>
                <a:gd name="T50" fmla="*/ 203 w 281"/>
                <a:gd name="T51" fmla="*/ 283 h 383"/>
                <a:gd name="T52" fmla="*/ 179 w 281"/>
                <a:gd name="T53" fmla="*/ 269 h 383"/>
                <a:gd name="T54" fmla="*/ 163 w 281"/>
                <a:gd name="T55" fmla="*/ 279 h 383"/>
                <a:gd name="T56" fmla="*/ 135 w 281"/>
                <a:gd name="T57" fmla="*/ 284 h 383"/>
                <a:gd name="T58" fmla="*/ 130 w 281"/>
                <a:gd name="T59" fmla="*/ 252 h 383"/>
                <a:gd name="T60" fmla="*/ 144 w 281"/>
                <a:gd name="T61" fmla="*/ 244 h 383"/>
                <a:gd name="T62" fmla="*/ 149 w 281"/>
                <a:gd name="T63" fmla="*/ 228 h 383"/>
                <a:gd name="T64" fmla="*/ 136 w 281"/>
                <a:gd name="T65" fmla="*/ 219 h 383"/>
                <a:gd name="T66" fmla="*/ 126 w 281"/>
                <a:gd name="T67" fmla="*/ 229 h 383"/>
                <a:gd name="T68" fmla="*/ 113 w 281"/>
                <a:gd name="T69" fmla="*/ 206 h 383"/>
                <a:gd name="T70" fmla="*/ 134 w 281"/>
                <a:gd name="T71" fmla="*/ 157 h 383"/>
                <a:gd name="T72" fmla="*/ 161 w 281"/>
                <a:gd name="T73" fmla="*/ 132 h 383"/>
                <a:gd name="T74" fmla="*/ 169 w 281"/>
                <a:gd name="T75" fmla="*/ 100 h 383"/>
                <a:gd name="T76" fmla="*/ 160 w 281"/>
                <a:gd name="T77" fmla="*/ 69 h 383"/>
                <a:gd name="T78" fmla="*/ 156 w 281"/>
                <a:gd name="T79" fmla="*/ 43 h 383"/>
                <a:gd name="T80" fmla="*/ 158 w 281"/>
                <a:gd name="T81" fmla="*/ 17 h 383"/>
                <a:gd name="T82" fmla="*/ 133 w 281"/>
                <a:gd name="T83" fmla="*/ 23 h 383"/>
                <a:gd name="T84" fmla="*/ 113 w 281"/>
                <a:gd name="T85" fmla="*/ 11 h 383"/>
                <a:gd name="T86" fmla="*/ 84 w 281"/>
                <a:gd name="T87" fmla="*/ 0 h 383"/>
                <a:gd name="T88" fmla="*/ 57 w 281"/>
                <a:gd name="T89" fmla="*/ 14 h 383"/>
                <a:gd name="T90" fmla="*/ 48 w 281"/>
                <a:gd name="T91" fmla="*/ 56 h 383"/>
                <a:gd name="T92" fmla="*/ 44 w 281"/>
                <a:gd name="T93" fmla="*/ 136 h 383"/>
                <a:gd name="T94" fmla="*/ 31 w 281"/>
                <a:gd name="T95" fmla="*/ 158 h 383"/>
                <a:gd name="T96" fmla="*/ 7 w 281"/>
                <a:gd name="T97" fmla="*/ 142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81" h="383">
                  <a:moveTo>
                    <a:pt x="7" y="142"/>
                  </a:moveTo>
                  <a:cubicBezTo>
                    <a:pt x="6" y="142"/>
                    <a:pt x="4" y="143"/>
                    <a:pt x="3" y="144"/>
                  </a:cubicBezTo>
                  <a:cubicBezTo>
                    <a:pt x="3" y="145"/>
                    <a:pt x="3" y="145"/>
                    <a:pt x="3" y="145"/>
                  </a:cubicBezTo>
                  <a:cubicBezTo>
                    <a:pt x="1" y="147"/>
                    <a:pt x="0" y="151"/>
                    <a:pt x="2" y="154"/>
                  </a:cubicBezTo>
                  <a:cubicBezTo>
                    <a:pt x="11" y="175"/>
                    <a:pt x="11" y="175"/>
                    <a:pt x="11" y="175"/>
                  </a:cubicBezTo>
                  <a:cubicBezTo>
                    <a:pt x="23" y="213"/>
                    <a:pt x="23" y="213"/>
                    <a:pt x="23" y="213"/>
                  </a:cubicBezTo>
                  <a:cubicBezTo>
                    <a:pt x="32" y="240"/>
                    <a:pt x="32" y="240"/>
                    <a:pt x="32" y="240"/>
                  </a:cubicBezTo>
                  <a:cubicBezTo>
                    <a:pt x="33" y="242"/>
                    <a:pt x="34" y="243"/>
                    <a:pt x="35" y="244"/>
                  </a:cubicBezTo>
                  <a:cubicBezTo>
                    <a:pt x="45" y="255"/>
                    <a:pt x="45" y="255"/>
                    <a:pt x="45" y="255"/>
                  </a:cubicBezTo>
                  <a:cubicBezTo>
                    <a:pt x="46" y="256"/>
                    <a:pt x="48" y="256"/>
                    <a:pt x="50" y="256"/>
                  </a:cubicBezTo>
                  <a:cubicBezTo>
                    <a:pt x="51" y="255"/>
                    <a:pt x="52" y="254"/>
                    <a:pt x="52" y="252"/>
                  </a:cubicBezTo>
                  <a:cubicBezTo>
                    <a:pt x="52" y="245"/>
                    <a:pt x="52" y="245"/>
                    <a:pt x="52" y="245"/>
                  </a:cubicBezTo>
                  <a:cubicBezTo>
                    <a:pt x="52" y="241"/>
                    <a:pt x="54" y="238"/>
                    <a:pt x="57" y="237"/>
                  </a:cubicBezTo>
                  <a:cubicBezTo>
                    <a:pt x="65" y="234"/>
                    <a:pt x="65" y="234"/>
                    <a:pt x="65" y="234"/>
                  </a:cubicBezTo>
                  <a:cubicBezTo>
                    <a:pt x="67" y="233"/>
                    <a:pt x="69" y="233"/>
                    <a:pt x="72" y="235"/>
                  </a:cubicBezTo>
                  <a:cubicBezTo>
                    <a:pt x="80" y="240"/>
                    <a:pt x="80" y="240"/>
                    <a:pt x="80" y="240"/>
                  </a:cubicBezTo>
                  <a:cubicBezTo>
                    <a:pt x="81" y="241"/>
                    <a:pt x="81" y="241"/>
                    <a:pt x="82" y="241"/>
                  </a:cubicBezTo>
                  <a:cubicBezTo>
                    <a:pt x="84" y="244"/>
                    <a:pt x="84" y="244"/>
                    <a:pt x="84" y="244"/>
                  </a:cubicBezTo>
                  <a:cubicBezTo>
                    <a:pt x="86" y="246"/>
                    <a:pt x="86" y="248"/>
                    <a:pt x="86" y="251"/>
                  </a:cubicBezTo>
                  <a:cubicBezTo>
                    <a:pt x="85" y="254"/>
                    <a:pt x="84" y="256"/>
                    <a:pt x="81" y="257"/>
                  </a:cubicBezTo>
                  <a:cubicBezTo>
                    <a:pt x="71" y="264"/>
                    <a:pt x="71" y="264"/>
                    <a:pt x="71" y="264"/>
                  </a:cubicBezTo>
                  <a:cubicBezTo>
                    <a:pt x="69" y="265"/>
                    <a:pt x="68" y="267"/>
                    <a:pt x="67" y="269"/>
                  </a:cubicBezTo>
                  <a:cubicBezTo>
                    <a:pt x="66" y="271"/>
                    <a:pt x="66" y="271"/>
                    <a:pt x="66" y="271"/>
                  </a:cubicBezTo>
                  <a:cubicBezTo>
                    <a:pt x="65" y="274"/>
                    <a:pt x="65" y="277"/>
                    <a:pt x="66" y="280"/>
                  </a:cubicBezTo>
                  <a:cubicBezTo>
                    <a:pt x="72" y="296"/>
                    <a:pt x="72" y="296"/>
                    <a:pt x="72" y="296"/>
                  </a:cubicBezTo>
                  <a:cubicBezTo>
                    <a:pt x="73" y="298"/>
                    <a:pt x="74" y="300"/>
                    <a:pt x="77" y="301"/>
                  </a:cubicBezTo>
                  <a:cubicBezTo>
                    <a:pt x="86" y="305"/>
                    <a:pt x="86" y="305"/>
                    <a:pt x="86" y="305"/>
                  </a:cubicBezTo>
                  <a:cubicBezTo>
                    <a:pt x="102" y="313"/>
                    <a:pt x="102" y="313"/>
                    <a:pt x="102" y="313"/>
                  </a:cubicBezTo>
                  <a:cubicBezTo>
                    <a:pt x="110" y="308"/>
                    <a:pt x="110" y="308"/>
                    <a:pt x="110" y="308"/>
                  </a:cubicBezTo>
                  <a:cubicBezTo>
                    <a:pt x="113" y="304"/>
                    <a:pt x="113" y="304"/>
                    <a:pt x="113" y="304"/>
                  </a:cubicBezTo>
                  <a:cubicBezTo>
                    <a:pt x="114" y="301"/>
                    <a:pt x="116" y="300"/>
                    <a:pt x="119" y="299"/>
                  </a:cubicBezTo>
                  <a:cubicBezTo>
                    <a:pt x="125" y="299"/>
                    <a:pt x="125" y="299"/>
                    <a:pt x="125" y="299"/>
                  </a:cubicBezTo>
                  <a:cubicBezTo>
                    <a:pt x="128" y="298"/>
                    <a:pt x="130" y="299"/>
                    <a:pt x="132" y="300"/>
                  </a:cubicBezTo>
                  <a:cubicBezTo>
                    <a:pt x="150" y="311"/>
                    <a:pt x="150" y="311"/>
                    <a:pt x="150" y="311"/>
                  </a:cubicBezTo>
                  <a:cubicBezTo>
                    <a:pt x="168" y="321"/>
                    <a:pt x="168" y="321"/>
                    <a:pt x="168" y="321"/>
                  </a:cubicBezTo>
                  <a:cubicBezTo>
                    <a:pt x="179" y="336"/>
                    <a:pt x="179" y="336"/>
                    <a:pt x="179" y="336"/>
                  </a:cubicBezTo>
                  <a:cubicBezTo>
                    <a:pt x="179" y="336"/>
                    <a:pt x="179" y="336"/>
                    <a:pt x="179" y="336"/>
                  </a:cubicBezTo>
                  <a:cubicBezTo>
                    <a:pt x="180" y="338"/>
                    <a:pt x="182" y="338"/>
                    <a:pt x="184" y="337"/>
                  </a:cubicBezTo>
                  <a:cubicBezTo>
                    <a:pt x="186" y="337"/>
                    <a:pt x="187" y="335"/>
                    <a:pt x="187" y="333"/>
                  </a:cubicBezTo>
                  <a:cubicBezTo>
                    <a:pt x="187" y="333"/>
                    <a:pt x="187" y="333"/>
                    <a:pt x="187" y="333"/>
                  </a:cubicBezTo>
                  <a:cubicBezTo>
                    <a:pt x="179" y="316"/>
                    <a:pt x="179" y="316"/>
                    <a:pt x="179" y="316"/>
                  </a:cubicBezTo>
                  <a:cubicBezTo>
                    <a:pt x="175" y="309"/>
                    <a:pt x="175" y="309"/>
                    <a:pt x="175" y="309"/>
                  </a:cubicBezTo>
                  <a:cubicBezTo>
                    <a:pt x="175" y="307"/>
                    <a:pt x="175" y="305"/>
                    <a:pt x="176" y="303"/>
                  </a:cubicBezTo>
                  <a:cubicBezTo>
                    <a:pt x="177" y="302"/>
                    <a:pt x="178" y="301"/>
                    <a:pt x="180" y="301"/>
                  </a:cubicBezTo>
                  <a:cubicBezTo>
                    <a:pt x="182" y="300"/>
                    <a:pt x="182" y="300"/>
                    <a:pt x="182" y="300"/>
                  </a:cubicBezTo>
                  <a:cubicBezTo>
                    <a:pt x="185" y="300"/>
                    <a:pt x="187" y="302"/>
                    <a:pt x="188" y="305"/>
                  </a:cubicBezTo>
                  <a:cubicBezTo>
                    <a:pt x="191" y="313"/>
                    <a:pt x="191" y="313"/>
                    <a:pt x="191" y="313"/>
                  </a:cubicBezTo>
                  <a:cubicBezTo>
                    <a:pt x="191" y="315"/>
                    <a:pt x="193" y="317"/>
                    <a:pt x="194" y="317"/>
                  </a:cubicBezTo>
                  <a:cubicBezTo>
                    <a:pt x="204" y="321"/>
                    <a:pt x="204" y="321"/>
                    <a:pt x="204" y="321"/>
                  </a:cubicBezTo>
                  <a:cubicBezTo>
                    <a:pt x="212" y="331"/>
                    <a:pt x="212" y="331"/>
                    <a:pt x="212" y="331"/>
                  </a:cubicBezTo>
                  <a:cubicBezTo>
                    <a:pt x="232" y="349"/>
                    <a:pt x="232" y="349"/>
                    <a:pt x="232" y="349"/>
                  </a:cubicBezTo>
                  <a:cubicBezTo>
                    <a:pt x="247" y="360"/>
                    <a:pt x="247" y="360"/>
                    <a:pt x="247" y="360"/>
                  </a:cubicBezTo>
                  <a:cubicBezTo>
                    <a:pt x="248" y="362"/>
                    <a:pt x="250" y="363"/>
                    <a:pt x="250" y="365"/>
                  </a:cubicBezTo>
                  <a:cubicBezTo>
                    <a:pt x="253" y="373"/>
                    <a:pt x="253" y="373"/>
                    <a:pt x="253" y="373"/>
                  </a:cubicBezTo>
                  <a:cubicBezTo>
                    <a:pt x="254" y="376"/>
                    <a:pt x="255" y="378"/>
                    <a:pt x="258" y="379"/>
                  </a:cubicBezTo>
                  <a:cubicBezTo>
                    <a:pt x="263" y="382"/>
                    <a:pt x="263" y="382"/>
                    <a:pt x="263" y="382"/>
                  </a:cubicBezTo>
                  <a:cubicBezTo>
                    <a:pt x="265" y="383"/>
                    <a:pt x="268" y="383"/>
                    <a:pt x="271" y="382"/>
                  </a:cubicBezTo>
                  <a:cubicBezTo>
                    <a:pt x="273" y="380"/>
                    <a:pt x="275" y="378"/>
                    <a:pt x="275" y="375"/>
                  </a:cubicBezTo>
                  <a:cubicBezTo>
                    <a:pt x="276" y="359"/>
                    <a:pt x="276" y="359"/>
                    <a:pt x="276" y="359"/>
                  </a:cubicBezTo>
                  <a:cubicBezTo>
                    <a:pt x="281" y="351"/>
                    <a:pt x="281" y="351"/>
                    <a:pt x="281" y="351"/>
                  </a:cubicBezTo>
                  <a:cubicBezTo>
                    <a:pt x="277" y="335"/>
                    <a:pt x="277" y="335"/>
                    <a:pt x="277" y="335"/>
                  </a:cubicBezTo>
                  <a:cubicBezTo>
                    <a:pt x="276" y="332"/>
                    <a:pt x="273" y="329"/>
                    <a:pt x="269" y="329"/>
                  </a:cubicBezTo>
                  <a:cubicBezTo>
                    <a:pt x="254" y="329"/>
                    <a:pt x="254" y="329"/>
                    <a:pt x="254" y="329"/>
                  </a:cubicBezTo>
                  <a:cubicBezTo>
                    <a:pt x="248" y="321"/>
                    <a:pt x="248" y="321"/>
                    <a:pt x="248" y="321"/>
                  </a:cubicBezTo>
                  <a:cubicBezTo>
                    <a:pt x="243" y="318"/>
                    <a:pt x="243" y="318"/>
                    <a:pt x="243" y="318"/>
                  </a:cubicBezTo>
                  <a:cubicBezTo>
                    <a:pt x="242" y="317"/>
                    <a:pt x="242" y="315"/>
                    <a:pt x="242" y="314"/>
                  </a:cubicBezTo>
                  <a:cubicBezTo>
                    <a:pt x="242" y="312"/>
                    <a:pt x="243" y="311"/>
                    <a:pt x="245" y="311"/>
                  </a:cubicBezTo>
                  <a:cubicBezTo>
                    <a:pt x="248" y="310"/>
                    <a:pt x="248" y="310"/>
                    <a:pt x="248" y="310"/>
                  </a:cubicBezTo>
                  <a:cubicBezTo>
                    <a:pt x="257" y="310"/>
                    <a:pt x="257" y="310"/>
                    <a:pt x="257" y="310"/>
                  </a:cubicBezTo>
                  <a:cubicBezTo>
                    <a:pt x="258" y="309"/>
                    <a:pt x="258" y="309"/>
                    <a:pt x="258" y="309"/>
                  </a:cubicBezTo>
                  <a:cubicBezTo>
                    <a:pt x="260" y="305"/>
                    <a:pt x="260" y="299"/>
                    <a:pt x="256" y="295"/>
                  </a:cubicBezTo>
                  <a:cubicBezTo>
                    <a:pt x="251" y="290"/>
                    <a:pt x="251" y="290"/>
                    <a:pt x="251" y="290"/>
                  </a:cubicBezTo>
                  <a:cubicBezTo>
                    <a:pt x="230" y="287"/>
                    <a:pt x="230" y="287"/>
                    <a:pt x="230" y="287"/>
                  </a:cubicBezTo>
                  <a:cubicBezTo>
                    <a:pt x="219" y="292"/>
                    <a:pt x="219" y="292"/>
                    <a:pt x="219" y="292"/>
                  </a:cubicBezTo>
                  <a:cubicBezTo>
                    <a:pt x="217" y="294"/>
                    <a:pt x="217" y="294"/>
                    <a:pt x="217" y="294"/>
                  </a:cubicBezTo>
                  <a:cubicBezTo>
                    <a:pt x="216" y="295"/>
                    <a:pt x="214" y="296"/>
                    <a:pt x="213" y="296"/>
                  </a:cubicBezTo>
                  <a:cubicBezTo>
                    <a:pt x="211" y="296"/>
                    <a:pt x="210" y="295"/>
                    <a:pt x="209" y="294"/>
                  </a:cubicBezTo>
                  <a:cubicBezTo>
                    <a:pt x="203" y="283"/>
                    <a:pt x="203" y="283"/>
                    <a:pt x="203" y="283"/>
                  </a:cubicBezTo>
                  <a:cubicBezTo>
                    <a:pt x="203" y="280"/>
                    <a:pt x="203" y="280"/>
                    <a:pt x="203" y="280"/>
                  </a:cubicBezTo>
                  <a:cubicBezTo>
                    <a:pt x="203" y="275"/>
                    <a:pt x="199" y="272"/>
                    <a:pt x="195" y="271"/>
                  </a:cubicBezTo>
                  <a:cubicBezTo>
                    <a:pt x="179" y="269"/>
                    <a:pt x="179" y="269"/>
                    <a:pt x="179" y="269"/>
                  </a:cubicBezTo>
                  <a:cubicBezTo>
                    <a:pt x="170" y="269"/>
                    <a:pt x="170" y="269"/>
                    <a:pt x="170" y="269"/>
                  </a:cubicBezTo>
                  <a:cubicBezTo>
                    <a:pt x="167" y="269"/>
                    <a:pt x="164" y="271"/>
                    <a:pt x="163" y="274"/>
                  </a:cubicBezTo>
                  <a:cubicBezTo>
                    <a:pt x="163" y="279"/>
                    <a:pt x="163" y="279"/>
                    <a:pt x="163" y="279"/>
                  </a:cubicBezTo>
                  <a:cubicBezTo>
                    <a:pt x="156" y="287"/>
                    <a:pt x="156" y="287"/>
                    <a:pt x="156" y="287"/>
                  </a:cubicBezTo>
                  <a:cubicBezTo>
                    <a:pt x="142" y="285"/>
                    <a:pt x="142" y="285"/>
                    <a:pt x="142" y="285"/>
                  </a:cubicBezTo>
                  <a:cubicBezTo>
                    <a:pt x="135" y="284"/>
                    <a:pt x="135" y="284"/>
                    <a:pt x="135" y="284"/>
                  </a:cubicBezTo>
                  <a:cubicBezTo>
                    <a:pt x="130" y="283"/>
                    <a:pt x="127" y="279"/>
                    <a:pt x="127" y="274"/>
                  </a:cubicBezTo>
                  <a:cubicBezTo>
                    <a:pt x="126" y="261"/>
                    <a:pt x="126" y="261"/>
                    <a:pt x="126" y="261"/>
                  </a:cubicBezTo>
                  <a:cubicBezTo>
                    <a:pt x="126" y="257"/>
                    <a:pt x="127" y="254"/>
                    <a:pt x="130" y="252"/>
                  </a:cubicBezTo>
                  <a:cubicBezTo>
                    <a:pt x="134" y="248"/>
                    <a:pt x="134" y="248"/>
                    <a:pt x="134" y="248"/>
                  </a:cubicBezTo>
                  <a:cubicBezTo>
                    <a:pt x="136" y="245"/>
                    <a:pt x="139" y="244"/>
                    <a:pt x="142" y="244"/>
                  </a:cubicBezTo>
                  <a:cubicBezTo>
                    <a:pt x="144" y="244"/>
                    <a:pt x="144" y="244"/>
                    <a:pt x="144" y="244"/>
                  </a:cubicBezTo>
                  <a:cubicBezTo>
                    <a:pt x="146" y="244"/>
                    <a:pt x="148" y="243"/>
                    <a:pt x="149" y="241"/>
                  </a:cubicBezTo>
                  <a:cubicBezTo>
                    <a:pt x="151" y="239"/>
                    <a:pt x="151" y="237"/>
                    <a:pt x="151" y="235"/>
                  </a:cubicBezTo>
                  <a:cubicBezTo>
                    <a:pt x="149" y="228"/>
                    <a:pt x="149" y="228"/>
                    <a:pt x="149" y="228"/>
                  </a:cubicBezTo>
                  <a:cubicBezTo>
                    <a:pt x="149" y="226"/>
                    <a:pt x="147" y="224"/>
                    <a:pt x="145" y="223"/>
                  </a:cubicBezTo>
                  <a:cubicBezTo>
                    <a:pt x="140" y="219"/>
                    <a:pt x="140" y="219"/>
                    <a:pt x="140" y="219"/>
                  </a:cubicBezTo>
                  <a:cubicBezTo>
                    <a:pt x="139" y="218"/>
                    <a:pt x="138" y="218"/>
                    <a:pt x="136" y="219"/>
                  </a:cubicBezTo>
                  <a:cubicBezTo>
                    <a:pt x="135" y="219"/>
                    <a:pt x="134" y="220"/>
                    <a:pt x="134" y="221"/>
                  </a:cubicBezTo>
                  <a:cubicBezTo>
                    <a:pt x="132" y="225"/>
                    <a:pt x="132" y="225"/>
                    <a:pt x="132" y="225"/>
                  </a:cubicBezTo>
                  <a:cubicBezTo>
                    <a:pt x="131" y="228"/>
                    <a:pt x="129" y="229"/>
                    <a:pt x="126" y="229"/>
                  </a:cubicBezTo>
                  <a:cubicBezTo>
                    <a:pt x="124" y="229"/>
                    <a:pt x="124" y="229"/>
                    <a:pt x="124" y="229"/>
                  </a:cubicBezTo>
                  <a:cubicBezTo>
                    <a:pt x="115" y="218"/>
                    <a:pt x="115" y="218"/>
                    <a:pt x="115" y="218"/>
                  </a:cubicBezTo>
                  <a:cubicBezTo>
                    <a:pt x="113" y="206"/>
                    <a:pt x="113" y="206"/>
                    <a:pt x="113" y="206"/>
                  </a:cubicBezTo>
                  <a:cubicBezTo>
                    <a:pt x="116" y="190"/>
                    <a:pt x="116" y="190"/>
                    <a:pt x="116" y="190"/>
                  </a:cubicBezTo>
                  <a:cubicBezTo>
                    <a:pt x="121" y="170"/>
                    <a:pt x="121" y="170"/>
                    <a:pt x="121" y="170"/>
                  </a:cubicBezTo>
                  <a:cubicBezTo>
                    <a:pt x="121" y="170"/>
                    <a:pt x="129" y="159"/>
                    <a:pt x="134" y="157"/>
                  </a:cubicBezTo>
                  <a:cubicBezTo>
                    <a:pt x="139" y="156"/>
                    <a:pt x="142" y="151"/>
                    <a:pt x="142" y="151"/>
                  </a:cubicBezTo>
                  <a:cubicBezTo>
                    <a:pt x="156" y="139"/>
                    <a:pt x="156" y="139"/>
                    <a:pt x="156" y="139"/>
                  </a:cubicBezTo>
                  <a:cubicBezTo>
                    <a:pt x="158" y="137"/>
                    <a:pt x="160" y="134"/>
                    <a:pt x="161" y="132"/>
                  </a:cubicBezTo>
                  <a:cubicBezTo>
                    <a:pt x="164" y="123"/>
                    <a:pt x="164" y="123"/>
                    <a:pt x="164" y="123"/>
                  </a:cubicBezTo>
                  <a:cubicBezTo>
                    <a:pt x="169" y="105"/>
                    <a:pt x="169" y="105"/>
                    <a:pt x="169" y="105"/>
                  </a:cubicBezTo>
                  <a:cubicBezTo>
                    <a:pt x="169" y="104"/>
                    <a:pt x="169" y="102"/>
                    <a:pt x="169" y="100"/>
                  </a:cubicBezTo>
                  <a:cubicBezTo>
                    <a:pt x="169" y="84"/>
                    <a:pt x="169" y="84"/>
                    <a:pt x="169" y="84"/>
                  </a:cubicBezTo>
                  <a:cubicBezTo>
                    <a:pt x="169" y="79"/>
                    <a:pt x="167" y="75"/>
                    <a:pt x="164" y="72"/>
                  </a:cubicBezTo>
                  <a:cubicBezTo>
                    <a:pt x="160" y="69"/>
                    <a:pt x="160" y="69"/>
                    <a:pt x="160" y="69"/>
                  </a:cubicBezTo>
                  <a:cubicBezTo>
                    <a:pt x="155" y="65"/>
                    <a:pt x="153" y="58"/>
                    <a:pt x="154" y="52"/>
                  </a:cubicBezTo>
                  <a:cubicBezTo>
                    <a:pt x="156" y="48"/>
                    <a:pt x="156" y="48"/>
                    <a:pt x="156" y="48"/>
                  </a:cubicBezTo>
                  <a:cubicBezTo>
                    <a:pt x="156" y="46"/>
                    <a:pt x="156" y="45"/>
                    <a:pt x="156" y="43"/>
                  </a:cubicBezTo>
                  <a:cubicBezTo>
                    <a:pt x="155" y="39"/>
                    <a:pt x="154" y="30"/>
                    <a:pt x="158" y="28"/>
                  </a:cubicBezTo>
                  <a:cubicBezTo>
                    <a:pt x="159" y="27"/>
                    <a:pt x="160" y="25"/>
                    <a:pt x="160" y="24"/>
                  </a:cubicBezTo>
                  <a:cubicBezTo>
                    <a:pt x="161" y="21"/>
                    <a:pt x="160" y="19"/>
                    <a:pt x="158" y="17"/>
                  </a:cubicBezTo>
                  <a:cubicBezTo>
                    <a:pt x="157" y="16"/>
                    <a:pt x="154" y="15"/>
                    <a:pt x="152" y="17"/>
                  </a:cubicBezTo>
                  <a:cubicBezTo>
                    <a:pt x="144" y="21"/>
                    <a:pt x="144" y="21"/>
                    <a:pt x="144" y="21"/>
                  </a:cubicBezTo>
                  <a:cubicBezTo>
                    <a:pt x="141" y="23"/>
                    <a:pt x="137" y="24"/>
                    <a:pt x="133" y="23"/>
                  </a:cubicBezTo>
                  <a:cubicBezTo>
                    <a:pt x="126" y="21"/>
                    <a:pt x="126" y="21"/>
                    <a:pt x="126" y="21"/>
                  </a:cubicBezTo>
                  <a:cubicBezTo>
                    <a:pt x="123" y="20"/>
                    <a:pt x="120" y="18"/>
                    <a:pt x="117" y="16"/>
                  </a:cubicBezTo>
                  <a:cubicBezTo>
                    <a:pt x="113" y="11"/>
                    <a:pt x="113" y="11"/>
                    <a:pt x="113" y="11"/>
                  </a:cubicBezTo>
                  <a:cubicBezTo>
                    <a:pt x="111" y="9"/>
                    <a:pt x="109" y="7"/>
                    <a:pt x="106" y="6"/>
                  </a:cubicBezTo>
                  <a:cubicBezTo>
                    <a:pt x="93" y="1"/>
                    <a:pt x="93" y="1"/>
                    <a:pt x="93" y="1"/>
                  </a:cubicBezTo>
                  <a:cubicBezTo>
                    <a:pt x="91" y="0"/>
                    <a:pt x="87" y="0"/>
                    <a:pt x="84" y="0"/>
                  </a:cubicBezTo>
                  <a:cubicBezTo>
                    <a:pt x="72" y="2"/>
                    <a:pt x="72" y="2"/>
                    <a:pt x="72" y="2"/>
                  </a:cubicBezTo>
                  <a:cubicBezTo>
                    <a:pt x="70" y="3"/>
                    <a:pt x="67" y="4"/>
                    <a:pt x="65" y="6"/>
                  </a:cubicBezTo>
                  <a:cubicBezTo>
                    <a:pt x="57" y="14"/>
                    <a:pt x="57" y="14"/>
                    <a:pt x="57" y="14"/>
                  </a:cubicBezTo>
                  <a:cubicBezTo>
                    <a:pt x="47" y="33"/>
                    <a:pt x="47" y="33"/>
                    <a:pt x="47" y="33"/>
                  </a:cubicBezTo>
                  <a:cubicBezTo>
                    <a:pt x="45" y="37"/>
                    <a:pt x="45" y="41"/>
                    <a:pt x="46" y="45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49" y="58"/>
                    <a:pt x="49" y="60"/>
                    <a:pt x="49" y="61"/>
                  </a:cubicBezTo>
                  <a:cubicBezTo>
                    <a:pt x="44" y="93"/>
                    <a:pt x="44" y="93"/>
                    <a:pt x="44" y="93"/>
                  </a:cubicBezTo>
                  <a:cubicBezTo>
                    <a:pt x="44" y="136"/>
                    <a:pt x="44" y="136"/>
                    <a:pt x="44" y="136"/>
                  </a:cubicBezTo>
                  <a:cubicBezTo>
                    <a:pt x="43" y="150"/>
                    <a:pt x="43" y="150"/>
                    <a:pt x="43" y="150"/>
                  </a:cubicBezTo>
                  <a:cubicBezTo>
                    <a:pt x="43" y="153"/>
                    <a:pt x="42" y="155"/>
                    <a:pt x="39" y="157"/>
                  </a:cubicBezTo>
                  <a:cubicBezTo>
                    <a:pt x="37" y="159"/>
                    <a:pt x="34" y="159"/>
                    <a:pt x="31" y="158"/>
                  </a:cubicBezTo>
                  <a:cubicBezTo>
                    <a:pt x="28" y="158"/>
                    <a:pt x="25" y="156"/>
                    <a:pt x="23" y="154"/>
                  </a:cubicBezTo>
                  <a:cubicBezTo>
                    <a:pt x="12" y="144"/>
                    <a:pt x="12" y="144"/>
                    <a:pt x="12" y="144"/>
                  </a:cubicBezTo>
                  <a:cubicBezTo>
                    <a:pt x="11" y="143"/>
                    <a:pt x="9" y="142"/>
                    <a:pt x="7" y="142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rnd">
              <a:solidFill>
                <a:schemeClr val="bg1">
                  <a:lumMod val="9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260" name="Freeform 25393"/>
            <p:cNvSpPr>
              <a:spLocks/>
            </p:cNvSpPr>
            <p:nvPr/>
          </p:nvSpPr>
          <p:spPr bwMode="auto">
            <a:xfrm>
              <a:off x="7220928" y="3498926"/>
              <a:ext cx="9312" cy="8997"/>
            </a:xfrm>
            <a:custGeom>
              <a:avLst/>
              <a:gdLst>
                <a:gd name="T0" fmla="*/ 8 w 25"/>
                <a:gd name="T1" fmla="*/ 0 h 24"/>
                <a:gd name="T2" fmla="*/ 3 w 25"/>
                <a:gd name="T3" fmla="*/ 6 h 24"/>
                <a:gd name="T4" fmla="*/ 1 w 25"/>
                <a:gd name="T5" fmla="*/ 11 h 24"/>
                <a:gd name="T6" fmla="*/ 1 w 25"/>
                <a:gd name="T7" fmla="*/ 14 h 24"/>
                <a:gd name="T8" fmla="*/ 8 w 25"/>
                <a:gd name="T9" fmla="*/ 23 h 24"/>
                <a:gd name="T10" fmla="*/ 11 w 25"/>
                <a:gd name="T11" fmla="*/ 24 h 24"/>
                <a:gd name="T12" fmla="*/ 17 w 25"/>
                <a:gd name="T13" fmla="*/ 23 h 24"/>
                <a:gd name="T14" fmla="*/ 24 w 25"/>
                <a:gd name="T15" fmla="*/ 17 h 24"/>
                <a:gd name="T16" fmla="*/ 24 w 25"/>
                <a:gd name="T17" fmla="*/ 13 h 24"/>
                <a:gd name="T18" fmla="*/ 22 w 25"/>
                <a:gd name="T19" fmla="*/ 7 h 24"/>
                <a:gd name="T20" fmla="*/ 16 w 25"/>
                <a:gd name="T21" fmla="*/ 2 h 24"/>
                <a:gd name="T22" fmla="*/ 8 w 25"/>
                <a:gd name="T23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" h="24">
                  <a:moveTo>
                    <a:pt x="8" y="0"/>
                  </a:moveTo>
                  <a:cubicBezTo>
                    <a:pt x="6" y="1"/>
                    <a:pt x="4" y="3"/>
                    <a:pt x="3" y="6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0" y="18"/>
                    <a:pt x="4" y="23"/>
                    <a:pt x="8" y="23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20" y="23"/>
                    <a:pt x="23" y="20"/>
                    <a:pt x="24" y="17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5" y="11"/>
                    <a:pt x="24" y="8"/>
                    <a:pt x="22" y="7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4" y="0"/>
                    <a:pt x="11" y="0"/>
                    <a:pt x="8" y="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rnd">
              <a:solidFill>
                <a:schemeClr val="bg1">
                  <a:lumMod val="9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261" name="Freeform 25394"/>
            <p:cNvSpPr>
              <a:spLocks/>
            </p:cNvSpPr>
            <p:nvPr/>
          </p:nvSpPr>
          <p:spPr bwMode="auto">
            <a:xfrm>
              <a:off x="7140749" y="3505712"/>
              <a:ext cx="27937" cy="30462"/>
            </a:xfrm>
            <a:custGeom>
              <a:avLst/>
              <a:gdLst>
                <a:gd name="T0" fmla="*/ 66 w 75"/>
                <a:gd name="T1" fmla="*/ 74 h 82"/>
                <a:gd name="T2" fmla="*/ 74 w 75"/>
                <a:gd name="T3" fmla="*/ 61 h 82"/>
                <a:gd name="T4" fmla="*/ 75 w 75"/>
                <a:gd name="T5" fmla="*/ 33 h 82"/>
                <a:gd name="T6" fmla="*/ 68 w 75"/>
                <a:gd name="T7" fmla="*/ 22 h 82"/>
                <a:gd name="T8" fmla="*/ 56 w 75"/>
                <a:gd name="T9" fmla="*/ 18 h 82"/>
                <a:gd name="T10" fmla="*/ 51 w 75"/>
                <a:gd name="T11" fmla="*/ 15 h 82"/>
                <a:gd name="T12" fmla="*/ 39 w 75"/>
                <a:gd name="T13" fmla="*/ 5 h 82"/>
                <a:gd name="T14" fmla="*/ 24 w 75"/>
                <a:gd name="T15" fmla="*/ 3 h 82"/>
                <a:gd name="T16" fmla="*/ 18 w 75"/>
                <a:gd name="T17" fmla="*/ 7 h 82"/>
                <a:gd name="T18" fmla="*/ 6 w 75"/>
                <a:gd name="T19" fmla="*/ 2 h 82"/>
                <a:gd name="T20" fmla="*/ 2 w 75"/>
                <a:gd name="T21" fmla="*/ 3 h 82"/>
                <a:gd name="T22" fmla="*/ 0 w 75"/>
                <a:gd name="T23" fmla="*/ 6 h 82"/>
                <a:gd name="T24" fmla="*/ 0 w 75"/>
                <a:gd name="T25" fmla="*/ 9 h 82"/>
                <a:gd name="T26" fmla="*/ 4 w 75"/>
                <a:gd name="T27" fmla="*/ 16 h 82"/>
                <a:gd name="T28" fmla="*/ 17 w 75"/>
                <a:gd name="T29" fmla="*/ 24 h 82"/>
                <a:gd name="T30" fmla="*/ 23 w 75"/>
                <a:gd name="T31" fmla="*/ 30 h 82"/>
                <a:gd name="T32" fmla="*/ 27 w 75"/>
                <a:gd name="T33" fmla="*/ 41 h 82"/>
                <a:gd name="T34" fmla="*/ 27 w 75"/>
                <a:gd name="T35" fmla="*/ 50 h 82"/>
                <a:gd name="T36" fmla="*/ 39 w 75"/>
                <a:gd name="T37" fmla="*/ 63 h 82"/>
                <a:gd name="T38" fmla="*/ 39 w 75"/>
                <a:gd name="T39" fmla="*/ 69 h 82"/>
                <a:gd name="T40" fmla="*/ 48 w 75"/>
                <a:gd name="T41" fmla="*/ 80 h 82"/>
                <a:gd name="T42" fmla="*/ 56 w 75"/>
                <a:gd name="T43" fmla="*/ 81 h 82"/>
                <a:gd name="T44" fmla="*/ 65 w 75"/>
                <a:gd name="T45" fmla="*/ 76 h 82"/>
                <a:gd name="T46" fmla="*/ 66 w 75"/>
                <a:gd name="T47" fmla="*/ 74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5" h="82">
                  <a:moveTo>
                    <a:pt x="66" y="74"/>
                  </a:moveTo>
                  <a:cubicBezTo>
                    <a:pt x="74" y="61"/>
                    <a:pt x="74" y="61"/>
                    <a:pt x="74" y="61"/>
                  </a:cubicBezTo>
                  <a:cubicBezTo>
                    <a:pt x="75" y="33"/>
                    <a:pt x="75" y="33"/>
                    <a:pt x="75" y="33"/>
                  </a:cubicBezTo>
                  <a:cubicBezTo>
                    <a:pt x="75" y="28"/>
                    <a:pt x="72" y="24"/>
                    <a:pt x="68" y="22"/>
                  </a:cubicBezTo>
                  <a:cubicBezTo>
                    <a:pt x="56" y="18"/>
                    <a:pt x="56" y="18"/>
                    <a:pt x="56" y="18"/>
                  </a:cubicBezTo>
                  <a:cubicBezTo>
                    <a:pt x="54" y="17"/>
                    <a:pt x="52" y="16"/>
                    <a:pt x="51" y="15"/>
                  </a:cubicBezTo>
                  <a:cubicBezTo>
                    <a:pt x="39" y="5"/>
                    <a:pt x="39" y="5"/>
                    <a:pt x="39" y="5"/>
                  </a:cubicBezTo>
                  <a:cubicBezTo>
                    <a:pt x="35" y="1"/>
                    <a:pt x="29" y="0"/>
                    <a:pt x="24" y="3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4" y="2"/>
                    <a:pt x="3" y="2"/>
                    <a:pt x="2" y="3"/>
                  </a:cubicBezTo>
                  <a:cubicBezTo>
                    <a:pt x="1" y="4"/>
                    <a:pt x="0" y="5"/>
                    <a:pt x="0" y="6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2"/>
                    <a:pt x="2" y="14"/>
                    <a:pt x="4" y="16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20" y="26"/>
                    <a:pt x="22" y="28"/>
                    <a:pt x="23" y="30"/>
                  </a:cubicBezTo>
                  <a:cubicBezTo>
                    <a:pt x="27" y="41"/>
                    <a:pt x="27" y="41"/>
                    <a:pt x="27" y="41"/>
                  </a:cubicBezTo>
                  <a:cubicBezTo>
                    <a:pt x="27" y="50"/>
                    <a:pt x="27" y="50"/>
                    <a:pt x="27" y="50"/>
                  </a:cubicBezTo>
                  <a:cubicBezTo>
                    <a:pt x="27" y="56"/>
                    <a:pt x="32" y="62"/>
                    <a:pt x="39" y="63"/>
                  </a:cubicBezTo>
                  <a:cubicBezTo>
                    <a:pt x="39" y="69"/>
                    <a:pt x="39" y="69"/>
                    <a:pt x="39" y="69"/>
                  </a:cubicBezTo>
                  <a:cubicBezTo>
                    <a:pt x="39" y="75"/>
                    <a:pt x="43" y="80"/>
                    <a:pt x="48" y="80"/>
                  </a:cubicBezTo>
                  <a:cubicBezTo>
                    <a:pt x="56" y="81"/>
                    <a:pt x="56" y="81"/>
                    <a:pt x="56" y="81"/>
                  </a:cubicBezTo>
                  <a:cubicBezTo>
                    <a:pt x="60" y="82"/>
                    <a:pt x="64" y="80"/>
                    <a:pt x="65" y="76"/>
                  </a:cubicBezTo>
                  <a:lnTo>
                    <a:pt x="66" y="74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rnd">
              <a:solidFill>
                <a:schemeClr val="bg1">
                  <a:lumMod val="9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262" name="Freeform 25395"/>
            <p:cNvSpPr>
              <a:spLocks/>
            </p:cNvSpPr>
            <p:nvPr/>
          </p:nvSpPr>
          <p:spPr bwMode="auto">
            <a:xfrm>
              <a:off x="7175157" y="3506344"/>
              <a:ext cx="7103" cy="10891"/>
            </a:xfrm>
            <a:custGeom>
              <a:avLst/>
              <a:gdLst>
                <a:gd name="T0" fmla="*/ 18 w 19"/>
                <a:gd name="T1" fmla="*/ 3 h 29"/>
                <a:gd name="T2" fmla="*/ 3 w 19"/>
                <a:gd name="T3" fmla="*/ 15 h 29"/>
                <a:gd name="T4" fmla="*/ 18 w 19"/>
                <a:gd name="T5" fmla="*/ 15 h 29"/>
                <a:gd name="T6" fmla="*/ 19 w 19"/>
                <a:gd name="T7" fmla="*/ 12 h 29"/>
                <a:gd name="T8" fmla="*/ 18 w 19"/>
                <a:gd name="T9" fmla="*/ 7 h 29"/>
                <a:gd name="T10" fmla="*/ 19 w 19"/>
                <a:gd name="T11" fmla="*/ 5 h 29"/>
                <a:gd name="T12" fmla="*/ 18 w 19"/>
                <a:gd name="T13" fmla="*/ 3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29">
                  <a:moveTo>
                    <a:pt x="18" y="3"/>
                  </a:moveTo>
                  <a:cubicBezTo>
                    <a:pt x="14" y="3"/>
                    <a:pt x="0" y="0"/>
                    <a:pt x="3" y="15"/>
                  </a:cubicBezTo>
                  <a:cubicBezTo>
                    <a:pt x="6" y="29"/>
                    <a:pt x="16" y="19"/>
                    <a:pt x="18" y="15"/>
                  </a:cubicBezTo>
                  <a:cubicBezTo>
                    <a:pt x="19" y="14"/>
                    <a:pt x="19" y="13"/>
                    <a:pt x="19" y="12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8" y="6"/>
                    <a:pt x="18" y="5"/>
                    <a:pt x="19" y="5"/>
                  </a:cubicBezTo>
                  <a:cubicBezTo>
                    <a:pt x="19" y="5"/>
                    <a:pt x="19" y="3"/>
                    <a:pt x="18" y="3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rnd">
              <a:solidFill>
                <a:schemeClr val="bg1">
                  <a:lumMod val="9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263" name="Freeform 25396"/>
            <p:cNvSpPr>
              <a:spLocks/>
            </p:cNvSpPr>
            <p:nvPr/>
          </p:nvSpPr>
          <p:spPr bwMode="auto">
            <a:xfrm>
              <a:off x="7171368" y="3529545"/>
              <a:ext cx="8997" cy="10733"/>
            </a:xfrm>
            <a:custGeom>
              <a:avLst/>
              <a:gdLst>
                <a:gd name="T0" fmla="*/ 1 w 24"/>
                <a:gd name="T1" fmla="*/ 7 h 29"/>
                <a:gd name="T2" fmla="*/ 0 w 24"/>
                <a:gd name="T3" fmla="*/ 26 h 29"/>
                <a:gd name="T4" fmla="*/ 13 w 24"/>
                <a:gd name="T5" fmla="*/ 29 h 29"/>
                <a:gd name="T6" fmla="*/ 24 w 24"/>
                <a:gd name="T7" fmla="*/ 8 h 29"/>
                <a:gd name="T8" fmla="*/ 22 w 24"/>
                <a:gd name="T9" fmla="*/ 2 h 29"/>
                <a:gd name="T10" fmla="*/ 16 w 24"/>
                <a:gd name="T11" fmla="*/ 1 h 29"/>
                <a:gd name="T12" fmla="*/ 6 w 24"/>
                <a:gd name="T13" fmla="*/ 2 h 29"/>
                <a:gd name="T14" fmla="*/ 1 w 24"/>
                <a:gd name="T15" fmla="*/ 7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29">
                  <a:moveTo>
                    <a:pt x="1" y="7"/>
                  </a:moveTo>
                  <a:cubicBezTo>
                    <a:pt x="0" y="26"/>
                    <a:pt x="0" y="26"/>
                    <a:pt x="0" y="26"/>
                  </a:cubicBezTo>
                  <a:cubicBezTo>
                    <a:pt x="0" y="26"/>
                    <a:pt x="0" y="29"/>
                    <a:pt x="13" y="29"/>
                  </a:cubicBezTo>
                  <a:cubicBezTo>
                    <a:pt x="21" y="29"/>
                    <a:pt x="23" y="17"/>
                    <a:pt x="24" y="8"/>
                  </a:cubicBezTo>
                  <a:cubicBezTo>
                    <a:pt x="24" y="6"/>
                    <a:pt x="23" y="4"/>
                    <a:pt x="22" y="2"/>
                  </a:cubicBezTo>
                  <a:cubicBezTo>
                    <a:pt x="20" y="1"/>
                    <a:pt x="18" y="0"/>
                    <a:pt x="16" y="1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3" y="2"/>
                    <a:pt x="1" y="4"/>
                    <a:pt x="1" y="7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rnd">
              <a:solidFill>
                <a:schemeClr val="bg1">
                  <a:lumMod val="9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264" name="Freeform 25397"/>
            <p:cNvSpPr>
              <a:spLocks/>
            </p:cNvSpPr>
            <p:nvPr/>
          </p:nvSpPr>
          <p:spPr bwMode="auto">
            <a:xfrm>
              <a:off x="7186363" y="3532544"/>
              <a:ext cx="4735" cy="5209"/>
            </a:xfrm>
            <a:custGeom>
              <a:avLst/>
              <a:gdLst>
                <a:gd name="T0" fmla="*/ 4 w 13"/>
                <a:gd name="T1" fmla="*/ 13 h 14"/>
                <a:gd name="T2" fmla="*/ 6 w 13"/>
                <a:gd name="T3" fmla="*/ 14 h 14"/>
                <a:gd name="T4" fmla="*/ 9 w 13"/>
                <a:gd name="T5" fmla="*/ 13 h 14"/>
                <a:gd name="T6" fmla="*/ 12 w 13"/>
                <a:gd name="T7" fmla="*/ 8 h 14"/>
                <a:gd name="T8" fmla="*/ 13 w 13"/>
                <a:gd name="T9" fmla="*/ 4 h 14"/>
                <a:gd name="T10" fmla="*/ 10 w 13"/>
                <a:gd name="T11" fmla="*/ 0 h 14"/>
                <a:gd name="T12" fmla="*/ 8 w 13"/>
                <a:gd name="T13" fmla="*/ 0 h 14"/>
                <a:gd name="T14" fmla="*/ 4 w 13"/>
                <a:gd name="T15" fmla="*/ 1 h 14"/>
                <a:gd name="T16" fmla="*/ 0 w 13"/>
                <a:gd name="T17" fmla="*/ 5 h 14"/>
                <a:gd name="T18" fmla="*/ 2 w 13"/>
                <a:gd name="T19" fmla="*/ 10 h 14"/>
                <a:gd name="T20" fmla="*/ 4 w 13"/>
                <a:gd name="T21" fmla="*/ 1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" h="14">
                  <a:moveTo>
                    <a:pt x="4" y="13"/>
                  </a:moveTo>
                  <a:cubicBezTo>
                    <a:pt x="4" y="14"/>
                    <a:pt x="5" y="14"/>
                    <a:pt x="6" y="14"/>
                  </a:cubicBezTo>
                  <a:cubicBezTo>
                    <a:pt x="7" y="14"/>
                    <a:pt x="8" y="14"/>
                    <a:pt x="9" y="13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3" y="7"/>
                    <a:pt x="13" y="5"/>
                    <a:pt x="13" y="4"/>
                  </a:cubicBezTo>
                  <a:cubicBezTo>
                    <a:pt x="12" y="2"/>
                    <a:pt x="11" y="1"/>
                    <a:pt x="1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2" y="2"/>
                    <a:pt x="1" y="4"/>
                    <a:pt x="0" y="5"/>
                  </a:cubicBezTo>
                  <a:cubicBezTo>
                    <a:pt x="0" y="7"/>
                    <a:pt x="0" y="9"/>
                    <a:pt x="2" y="10"/>
                  </a:cubicBezTo>
                  <a:lnTo>
                    <a:pt x="4" y="13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rnd">
              <a:solidFill>
                <a:schemeClr val="bg1">
                  <a:lumMod val="9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265" name="Freeform 25398"/>
            <p:cNvSpPr>
              <a:spLocks/>
            </p:cNvSpPr>
            <p:nvPr/>
          </p:nvSpPr>
          <p:spPr bwMode="auto">
            <a:xfrm>
              <a:off x="7210196" y="3538068"/>
              <a:ext cx="18625" cy="17520"/>
            </a:xfrm>
            <a:custGeom>
              <a:avLst/>
              <a:gdLst>
                <a:gd name="T0" fmla="*/ 35 w 50"/>
                <a:gd name="T1" fmla="*/ 22 h 47"/>
                <a:gd name="T2" fmla="*/ 31 w 50"/>
                <a:gd name="T3" fmla="*/ 13 h 47"/>
                <a:gd name="T4" fmla="*/ 29 w 50"/>
                <a:gd name="T5" fmla="*/ 10 h 47"/>
                <a:gd name="T6" fmla="*/ 15 w 50"/>
                <a:gd name="T7" fmla="*/ 2 h 47"/>
                <a:gd name="T8" fmla="*/ 8 w 50"/>
                <a:gd name="T9" fmla="*/ 3 h 47"/>
                <a:gd name="T10" fmla="*/ 2 w 50"/>
                <a:gd name="T11" fmla="*/ 9 h 47"/>
                <a:gd name="T12" fmla="*/ 2 w 50"/>
                <a:gd name="T13" fmla="*/ 17 h 47"/>
                <a:gd name="T14" fmla="*/ 3 w 50"/>
                <a:gd name="T15" fmla="*/ 19 h 47"/>
                <a:gd name="T16" fmla="*/ 19 w 50"/>
                <a:gd name="T17" fmla="*/ 22 h 47"/>
                <a:gd name="T18" fmla="*/ 23 w 50"/>
                <a:gd name="T19" fmla="*/ 26 h 47"/>
                <a:gd name="T20" fmla="*/ 24 w 50"/>
                <a:gd name="T21" fmla="*/ 30 h 47"/>
                <a:gd name="T22" fmla="*/ 26 w 50"/>
                <a:gd name="T23" fmla="*/ 40 h 47"/>
                <a:gd name="T24" fmla="*/ 31 w 50"/>
                <a:gd name="T25" fmla="*/ 44 h 47"/>
                <a:gd name="T26" fmla="*/ 43 w 50"/>
                <a:gd name="T27" fmla="*/ 47 h 47"/>
                <a:gd name="T28" fmla="*/ 47 w 50"/>
                <a:gd name="T29" fmla="*/ 42 h 47"/>
                <a:gd name="T30" fmla="*/ 47 w 50"/>
                <a:gd name="T31" fmla="*/ 33 h 47"/>
                <a:gd name="T32" fmla="*/ 35 w 50"/>
                <a:gd name="T33" fmla="*/ 22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0" h="47">
                  <a:moveTo>
                    <a:pt x="35" y="22"/>
                  </a:moveTo>
                  <a:cubicBezTo>
                    <a:pt x="31" y="13"/>
                    <a:pt x="31" y="13"/>
                    <a:pt x="31" y="13"/>
                  </a:cubicBezTo>
                  <a:cubicBezTo>
                    <a:pt x="31" y="11"/>
                    <a:pt x="30" y="10"/>
                    <a:pt x="29" y="10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3" y="0"/>
                    <a:pt x="10" y="1"/>
                    <a:pt x="8" y="3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0" y="11"/>
                    <a:pt x="0" y="14"/>
                    <a:pt x="2" y="17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19" y="22"/>
                    <a:pt x="19" y="22"/>
                    <a:pt x="19" y="22"/>
                  </a:cubicBezTo>
                  <a:cubicBezTo>
                    <a:pt x="21" y="22"/>
                    <a:pt x="23" y="24"/>
                    <a:pt x="23" y="26"/>
                  </a:cubicBezTo>
                  <a:cubicBezTo>
                    <a:pt x="24" y="30"/>
                    <a:pt x="24" y="30"/>
                    <a:pt x="24" y="30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7" y="42"/>
                    <a:pt x="29" y="44"/>
                    <a:pt x="31" y="44"/>
                  </a:cubicBezTo>
                  <a:cubicBezTo>
                    <a:pt x="43" y="47"/>
                    <a:pt x="43" y="47"/>
                    <a:pt x="43" y="47"/>
                  </a:cubicBezTo>
                  <a:cubicBezTo>
                    <a:pt x="47" y="42"/>
                    <a:pt x="47" y="42"/>
                    <a:pt x="47" y="42"/>
                  </a:cubicBezTo>
                  <a:cubicBezTo>
                    <a:pt x="50" y="39"/>
                    <a:pt x="49" y="35"/>
                    <a:pt x="47" y="33"/>
                  </a:cubicBezTo>
                  <a:lnTo>
                    <a:pt x="35" y="22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rnd">
              <a:solidFill>
                <a:schemeClr val="bg1">
                  <a:lumMod val="9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266" name="Freeform 25399"/>
            <p:cNvSpPr>
              <a:spLocks/>
            </p:cNvSpPr>
            <p:nvPr/>
          </p:nvSpPr>
          <p:spPr bwMode="auto">
            <a:xfrm>
              <a:off x="7176893" y="3547854"/>
              <a:ext cx="26516" cy="32829"/>
            </a:xfrm>
            <a:custGeom>
              <a:avLst/>
              <a:gdLst>
                <a:gd name="T0" fmla="*/ 11 w 71"/>
                <a:gd name="T1" fmla="*/ 1 h 88"/>
                <a:gd name="T2" fmla="*/ 4 w 71"/>
                <a:gd name="T3" fmla="*/ 5 h 88"/>
                <a:gd name="T4" fmla="*/ 4 w 71"/>
                <a:gd name="T5" fmla="*/ 13 h 88"/>
                <a:gd name="T6" fmla="*/ 7 w 71"/>
                <a:gd name="T7" fmla="*/ 19 h 88"/>
                <a:gd name="T8" fmla="*/ 9 w 71"/>
                <a:gd name="T9" fmla="*/ 28 h 88"/>
                <a:gd name="T10" fmla="*/ 9 w 71"/>
                <a:gd name="T11" fmla="*/ 46 h 88"/>
                <a:gd name="T12" fmla="*/ 6 w 71"/>
                <a:gd name="T13" fmla="*/ 55 h 88"/>
                <a:gd name="T14" fmla="*/ 3 w 71"/>
                <a:gd name="T15" fmla="*/ 58 h 88"/>
                <a:gd name="T16" fmla="*/ 1 w 71"/>
                <a:gd name="T17" fmla="*/ 65 h 88"/>
                <a:gd name="T18" fmla="*/ 3 w 71"/>
                <a:gd name="T19" fmla="*/ 78 h 88"/>
                <a:gd name="T20" fmla="*/ 7 w 71"/>
                <a:gd name="T21" fmla="*/ 85 h 88"/>
                <a:gd name="T22" fmla="*/ 15 w 71"/>
                <a:gd name="T23" fmla="*/ 84 h 88"/>
                <a:gd name="T24" fmla="*/ 18 w 71"/>
                <a:gd name="T25" fmla="*/ 83 h 88"/>
                <a:gd name="T26" fmla="*/ 27 w 71"/>
                <a:gd name="T27" fmla="*/ 80 h 88"/>
                <a:gd name="T28" fmla="*/ 39 w 71"/>
                <a:gd name="T29" fmla="*/ 85 h 88"/>
                <a:gd name="T30" fmla="*/ 39 w 71"/>
                <a:gd name="T31" fmla="*/ 85 h 88"/>
                <a:gd name="T32" fmla="*/ 43 w 71"/>
                <a:gd name="T33" fmla="*/ 88 h 88"/>
                <a:gd name="T34" fmla="*/ 48 w 71"/>
                <a:gd name="T35" fmla="*/ 86 h 88"/>
                <a:gd name="T36" fmla="*/ 50 w 71"/>
                <a:gd name="T37" fmla="*/ 82 h 88"/>
                <a:gd name="T38" fmla="*/ 49 w 71"/>
                <a:gd name="T39" fmla="*/ 74 h 88"/>
                <a:gd name="T40" fmla="*/ 48 w 71"/>
                <a:gd name="T41" fmla="*/ 69 h 88"/>
                <a:gd name="T42" fmla="*/ 56 w 71"/>
                <a:gd name="T43" fmla="*/ 61 h 88"/>
                <a:gd name="T44" fmla="*/ 66 w 71"/>
                <a:gd name="T45" fmla="*/ 50 h 88"/>
                <a:gd name="T46" fmla="*/ 70 w 71"/>
                <a:gd name="T47" fmla="*/ 39 h 88"/>
                <a:gd name="T48" fmla="*/ 69 w 71"/>
                <a:gd name="T49" fmla="*/ 31 h 88"/>
                <a:gd name="T50" fmla="*/ 63 w 71"/>
                <a:gd name="T51" fmla="*/ 26 h 88"/>
                <a:gd name="T52" fmla="*/ 54 w 71"/>
                <a:gd name="T53" fmla="*/ 23 h 88"/>
                <a:gd name="T54" fmla="*/ 46 w 71"/>
                <a:gd name="T55" fmla="*/ 22 h 88"/>
                <a:gd name="T56" fmla="*/ 35 w 71"/>
                <a:gd name="T57" fmla="*/ 20 h 88"/>
                <a:gd name="T58" fmla="*/ 28 w 71"/>
                <a:gd name="T59" fmla="*/ 14 h 88"/>
                <a:gd name="T60" fmla="*/ 26 w 71"/>
                <a:gd name="T61" fmla="*/ 9 h 88"/>
                <a:gd name="T62" fmla="*/ 13 w 71"/>
                <a:gd name="T63" fmla="*/ 0 h 88"/>
                <a:gd name="T64" fmla="*/ 11 w 71"/>
                <a:gd name="T65" fmla="*/ 1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1" h="88">
                  <a:moveTo>
                    <a:pt x="11" y="1"/>
                  </a:moveTo>
                  <a:cubicBezTo>
                    <a:pt x="8" y="1"/>
                    <a:pt x="5" y="3"/>
                    <a:pt x="4" y="5"/>
                  </a:cubicBezTo>
                  <a:cubicBezTo>
                    <a:pt x="3" y="8"/>
                    <a:pt x="3" y="11"/>
                    <a:pt x="4" y="13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9" y="22"/>
                    <a:pt x="9" y="25"/>
                    <a:pt x="9" y="28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50"/>
                    <a:pt x="8" y="53"/>
                    <a:pt x="6" y="55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1" y="60"/>
                    <a:pt x="0" y="63"/>
                    <a:pt x="1" y="65"/>
                  </a:cubicBezTo>
                  <a:cubicBezTo>
                    <a:pt x="3" y="78"/>
                    <a:pt x="3" y="78"/>
                    <a:pt x="3" y="78"/>
                  </a:cubicBezTo>
                  <a:cubicBezTo>
                    <a:pt x="3" y="81"/>
                    <a:pt x="5" y="83"/>
                    <a:pt x="7" y="85"/>
                  </a:cubicBezTo>
                  <a:cubicBezTo>
                    <a:pt x="10" y="86"/>
                    <a:pt x="13" y="86"/>
                    <a:pt x="15" y="84"/>
                  </a:cubicBezTo>
                  <a:cubicBezTo>
                    <a:pt x="18" y="83"/>
                    <a:pt x="18" y="83"/>
                    <a:pt x="18" y="83"/>
                  </a:cubicBezTo>
                  <a:cubicBezTo>
                    <a:pt x="27" y="80"/>
                    <a:pt x="27" y="80"/>
                    <a:pt x="27" y="80"/>
                  </a:cubicBezTo>
                  <a:cubicBezTo>
                    <a:pt x="32" y="79"/>
                    <a:pt x="37" y="81"/>
                    <a:pt x="39" y="85"/>
                  </a:cubicBezTo>
                  <a:cubicBezTo>
                    <a:pt x="39" y="85"/>
                    <a:pt x="39" y="85"/>
                    <a:pt x="39" y="85"/>
                  </a:cubicBezTo>
                  <a:cubicBezTo>
                    <a:pt x="40" y="87"/>
                    <a:pt x="42" y="88"/>
                    <a:pt x="43" y="88"/>
                  </a:cubicBezTo>
                  <a:cubicBezTo>
                    <a:pt x="45" y="88"/>
                    <a:pt x="47" y="87"/>
                    <a:pt x="48" y="86"/>
                  </a:cubicBezTo>
                  <a:cubicBezTo>
                    <a:pt x="50" y="82"/>
                    <a:pt x="50" y="82"/>
                    <a:pt x="50" y="82"/>
                  </a:cubicBezTo>
                  <a:cubicBezTo>
                    <a:pt x="52" y="79"/>
                    <a:pt x="51" y="76"/>
                    <a:pt x="49" y="74"/>
                  </a:cubicBezTo>
                  <a:cubicBezTo>
                    <a:pt x="47" y="72"/>
                    <a:pt x="45" y="69"/>
                    <a:pt x="48" y="69"/>
                  </a:cubicBezTo>
                  <a:cubicBezTo>
                    <a:pt x="53" y="69"/>
                    <a:pt x="56" y="61"/>
                    <a:pt x="56" y="61"/>
                  </a:cubicBezTo>
                  <a:cubicBezTo>
                    <a:pt x="66" y="50"/>
                    <a:pt x="66" y="50"/>
                    <a:pt x="66" y="50"/>
                  </a:cubicBezTo>
                  <a:cubicBezTo>
                    <a:pt x="70" y="39"/>
                    <a:pt x="70" y="39"/>
                    <a:pt x="70" y="39"/>
                  </a:cubicBezTo>
                  <a:cubicBezTo>
                    <a:pt x="71" y="36"/>
                    <a:pt x="70" y="33"/>
                    <a:pt x="69" y="31"/>
                  </a:cubicBezTo>
                  <a:cubicBezTo>
                    <a:pt x="68" y="28"/>
                    <a:pt x="65" y="26"/>
                    <a:pt x="63" y="26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46" y="22"/>
                    <a:pt x="46" y="22"/>
                    <a:pt x="46" y="22"/>
                  </a:cubicBezTo>
                  <a:cubicBezTo>
                    <a:pt x="35" y="20"/>
                    <a:pt x="35" y="20"/>
                    <a:pt x="35" y="20"/>
                  </a:cubicBezTo>
                  <a:cubicBezTo>
                    <a:pt x="32" y="19"/>
                    <a:pt x="30" y="17"/>
                    <a:pt x="28" y="14"/>
                  </a:cubicBezTo>
                  <a:cubicBezTo>
                    <a:pt x="26" y="9"/>
                    <a:pt x="26" y="9"/>
                    <a:pt x="26" y="9"/>
                  </a:cubicBezTo>
                  <a:cubicBezTo>
                    <a:pt x="13" y="0"/>
                    <a:pt x="13" y="0"/>
                    <a:pt x="13" y="0"/>
                  </a:cubicBezTo>
                  <a:lnTo>
                    <a:pt x="11" y="1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rnd">
              <a:solidFill>
                <a:schemeClr val="bg1">
                  <a:lumMod val="9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267" name="Freeform 25400"/>
            <p:cNvSpPr>
              <a:spLocks/>
            </p:cNvSpPr>
            <p:nvPr/>
          </p:nvSpPr>
          <p:spPr bwMode="auto">
            <a:xfrm>
              <a:off x="7188099" y="3569004"/>
              <a:ext cx="26516" cy="45140"/>
            </a:xfrm>
            <a:custGeom>
              <a:avLst/>
              <a:gdLst>
                <a:gd name="T0" fmla="*/ 48 w 71"/>
                <a:gd name="T1" fmla="*/ 3 h 121"/>
                <a:gd name="T2" fmla="*/ 41 w 71"/>
                <a:gd name="T3" fmla="*/ 10 h 121"/>
                <a:gd name="T4" fmla="*/ 37 w 71"/>
                <a:gd name="T5" fmla="*/ 23 h 121"/>
                <a:gd name="T6" fmla="*/ 31 w 71"/>
                <a:gd name="T7" fmla="*/ 32 h 121"/>
                <a:gd name="T8" fmla="*/ 29 w 71"/>
                <a:gd name="T9" fmla="*/ 38 h 121"/>
                <a:gd name="T10" fmla="*/ 29 w 71"/>
                <a:gd name="T11" fmla="*/ 54 h 121"/>
                <a:gd name="T12" fmla="*/ 24 w 71"/>
                <a:gd name="T13" fmla="*/ 61 h 121"/>
                <a:gd name="T14" fmla="*/ 9 w 71"/>
                <a:gd name="T15" fmla="*/ 66 h 121"/>
                <a:gd name="T16" fmla="*/ 4 w 71"/>
                <a:gd name="T17" fmla="*/ 69 h 121"/>
                <a:gd name="T18" fmla="*/ 1 w 71"/>
                <a:gd name="T19" fmla="*/ 77 h 121"/>
                <a:gd name="T20" fmla="*/ 2 w 71"/>
                <a:gd name="T21" fmla="*/ 83 h 121"/>
                <a:gd name="T22" fmla="*/ 7 w 71"/>
                <a:gd name="T23" fmla="*/ 88 h 121"/>
                <a:gd name="T24" fmla="*/ 8 w 71"/>
                <a:gd name="T25" fmla="*/ 89 h 121"/>
                <a:gd name="T26" fmla="*/ 19 w 71"/>
                <a:gd name="T27" fmla="*/ 97 h 121"/>
                <a:gd name="T28" fmla="*/ 30 w 71"/>
                <a:gd name="T29" fmla="*/ 110 h 121"/>
                <a:gd name="T30" fmla="*/ 33 w 71"/>
                <a:gd name="T31" fmla="*/ 118 h 121"/>
                <a:gd name="T32" fmla="*/ 39 w 71"/>
                <a:gd name="T33" fmla="*/ 120 h 121"/>
                <a:gd name="T34" fmla="*/ 54 w 71"/>
                <a:gd name="T35" fmla="*/ 116 h 121"/>
                <a:gd name="T36" fmla="*/ 57 w 71"/>
                <a:gd name="T37" fmla="*/ 112 h 121"/>
                <a:gd name="T38" fmla="*/ 58 w 71"/>
                <a:gd name="T39" fmla="*/ 104 h 121"/>
                <a:gd name="T40" fmla="*/ 51 w 71"/>
                <a:gd name="T41" fmla="*/ 93 h 121"/>
                <a:gd name="T42" fmla="*/ 48 w 71"/>
                <a:gd name="T43" fmla="*/ 75 h 121"/>
                <a:gd name="T44" fmla="*/ 49 w 71"/>
                <a:gd name="T45" fmla="*/ 69 h 121"/>
                <a:gd name="T46" fmla="*/ 54 w 71"/>
                <a:gd name="T47" fmla="*/ 56 h 121"/>
                <a:gd name="T48" fmla="*/ 61 w 71"/>
                <a:gd name="T49" fmla="*/ 41 h 121"/>
                <a:gd name="T50" fmla="*/ 67 w 71"/>
                <a:gd name="T51" fmla="*/ 31 h 121"/>
                <a:gd name="T52" fmla="*/ 69 w 71"/>
                <a:gd name="T53" fmla="*/ 28 h 121"/>
                <a:gd name="T54" fmla="*/ 71 w 71"/>
                <a:gd name="T55" fmla="*/ 12 h 121"/>
                <a:gd name="T56" fmla="*/ 65 w 71"/>
                <a:gd name="T57" fmla="*/ 3 h 121"/>
                <a:gd name="T58" fmla="*/ 55 w 71"/>
                <a:gd name="T59" fmla="*/ 1 h 121"/>
                <a:gd name="T60" fmla="*/ 48 w 71"/>
                <a:gd name="T61" fmla="*/ 3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71" h="121">
                  <a:moveTo>
                    <a:pt x="48" y="3"/>
                  </a:moveTo>
                  <a:cubicBezTo>
                    <a:pt x="41" y="10"/>
                    <a:pt x="41" y="10"/>
                    <a:pt x="41" y="10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29" y="33"/>
                    <a:pt x="29" y="36"/>
                    <a:pt x="29" y="38"/>
                  </a:cubicBezTo>
                  <a:cubicBezTo>
                    <a:pt x="29" y="54"/>
                    <a:pt x="29" y="54"/>
                    <a:pt x="29" y="54"/>
                  </a:cubicBezTo>
                  <a:cubicBezTo>
                    <a:pt x="29" y="57"/>
                    <a:pt x="27" y="60"/>
                    <a:pt x="24" y="61"/>
                  </a:cubicBezTo>
                  <a:cubicBezTo>
                    <a:pt x="9" y="66"/>
                    <a:pt x="9" y="66"/>
                    <a:pt x="9" y="66"/>
                  </a:cubicBezTo>
                  <a:cubicBezTo>
                    <a:pt x="4" y="69"/>
                    <a:pt x="4" y="69"/>
                    <a:pt x="4" y="69"/>
                  </a:cubicBezTo>
                  <a:cubicBezTo>
                    <a:pt x="1" y="71"/>
                    <a:pt x="0" y="74"/>
                    <a:pt x="1" y="77"/>
                  </a:cubicBezTo>
                  <a:cubicBezTo>
                    <a:pt x="2" y="83"/>
                    <a:pt x="2" y="83"/>
                    <a:pt x="2" y="83"/>
                  </a:cubicBezTo>
                  <a:cubicBezTo>
                    <a:pt x="3" y="85"/>
                    <a:pt x="4" y="87"/>
                    <a:pt x="7" y="88"/>
                  </a:cubicBezTo>
                  <a:cubicBezTo>
                    <a:pt x="8" y="89"/>
                    <a:pt x="8" y="89"/>
                    <a:pt x="8" y="89"/>
                  </a:cubicBezTo>
                  <a:cubicBezTo>
                    <a:pt x="19" y="97"/>
                    <a:pt x="19" y="97"/>
                    <a:pt x="19" y="97"/>
                  </a:cubicBezTo>
                  <a:cubicBezTo>
                    <a:pt x="30" y="110"/>
                    <a:pt x="30" y="110"/>
                    <a:pt x="30" y="110"/>
                  </a:cubicBezTo>
                  <a:cubicBezTo>
                    <a:pt x="33" y="118"/>
                    <a:pt x="33" y="118"/>
                    <a:pt x="33" y="118"/>
                  </a:cubicBezTo>
                  <a:cubicBezTo>
                    <a:pt x="34" y="120"/>
                    <a:pt x="37" y="121"/>
                    <a:pt x="39" y="120"/>
                  </a:cubicBezTo>
                  <a:cubicBezTo>
                    <a:pt x="54" y="116"/>
                    <a:pt x="54" y="116"/>
                    <a:pt x="54" y="116"/>
                  </a:cubicBezTo>
                  <a:cubicBezTo>
                    <a:pt x="57" y="112"/>
                    <a:pt x="57" y="112"/>
                    <a:pt x="57" y="112"/>
                  </a:cubicBezTo>
                  <a:cubicBezTo>
                    <a:pt x="59" y="110"/>
                    <a:pt x="59" y="107"/>
                    <a:pt x="58" y="104"/>
                  </a:cubicBezTo>
                  <a:cubicBezTo>
                    <a:pt x="51" y="93"/>
                    <a:pt x="51" y="93"/>
                    <a:pt x="51" y="93"/>
                  </a:cubicBezTo>
                  <a:cubicBezTo>
                    <a:pt x="48" y="75"/>
                    <a:pt x="48" y="75"/>
                    <a:pt x="48" y="75"/>
                  </a:cubicBezTo>
                  <a:cubicBezTo>
                    <a:pt x="48" y="73"/>
                    <a:pt x="48" y="71"/>
                    <a:pt x="49" y="69"/>
                  </a:cubicBezTo>
                  <a:cubicBezTo>
                    <a:pt x="54" y="56"/>
                    <a:pt x="54" y="56"/>
                    <a:pt x="54" y="56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67" y="31"/>
                    <a:pt x="67" y="31"/>
                    <a:pt x="67" y="31"/>
                  </a:cubicBezTo>
                  <a:cubicBezTo>
                    <a:pt x="68" y="30"/>
                    <a:pt x="69" y="29"/>
                    <a:pt x="69" y="28"/>
                  </a:cubicBezTo>
                  <a:cubicBezTo>
                    <a:pt x="71" y="12"/>
                    <a:pt x="71" y="12"/>
                    <a:pt x="71" y="12"/>
                  </a:cubicBezTo>
                  <a:cubicBezTo>
                    <a:pt x="71" y="8"/>
                    <a:pt x="69" y="4"/>
                    <a:pt x="65" y="3"/>
                  </a:cubicBezTo>
                  <a:cubicBezTo>
                    <a:pt x="55" y="1"/>
                    <a:pt x="55" y="1"/>
                    <a:pt x="55" y="1"/>
                  </a:cubicBezTo>
                  <a:cubicBezTo>
                    <a:pt x="52" y="0"/>
                    <a:pt x="50" y="1"/>
                    <a:pt x="48" y="3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rnd">
              <a:solidFill>
                <a:schemeClr val="bg1">
                  <a:lumMod val="9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268" name="Freeform 25401"/>
            <p:cNvSpPr>
              <a:spLocks/>
            </p:cNvSpPr>
            <p:nvPr/>
          </p:nvSpPr>
          <p:spPr bwMode="auto">
            <a:xfrm>
              <a:off x="7234344" y="3526862"/>
              <a:ext cx="32829" cy="65659"/>
            </a:xfrm>
            <a:custGeom>
              <a:avLst/>
              <a:gdLst>
                <a:gd name="T0" fmla="*/ 87 w 88"/>
                <a:gd name="T1" fmla="*/ 35 h 176"/>
                <a:gd name="T2" fmla="*/ 82 w 88"/>
                <a:gd name="T3" fmla="*/ 24 h 176"/>
                <a:gd name="T4" fmla="*/ 77 w 88"/>
                <a:gd name="T5" fmla="*/ 22 h 176"/>
                <a:gd name="T6" fmla="*/ 72 w 88"/>
                <a:gd name="T7" fmla="*/ 18 h 176"/>
                <a:gd name="T8" fmla="*/ 70 w 88"/>
                <a:gd name="T9" fmla="*/ 14 h 176"/>
                <a:gd name="T10" fmla="*/ 66 w 88"/>
                <a:gd name="T11" fmla="*/ 11 h 176"/>
                <a:gd name="T12" fmla="*/ 49 w 88"/>
                <a:gd name="T13" fmla="*/ 4 h 176"/>
                <a:gd name="T14" fmla="*/ 36 w 88"/>
                <a:gd name="T15" fmla="*/ 4 h 176"/>
                <a:gd name="T16" fmla="*/ 25 w 88"/>
                <a:gd name="T17" fmla="*/ 8 h 176"/>
                <a:gd name="T18" fmla="*/ 7 w 88"/>
                <a:gd name="T19" fmla="*/ 7 h 176"/>
                <a:gd name="T20" fmla="*/ 4 w 88"/>
                <a:gd name="T21" fmla="*/ 16 h 176"/>
                <a:gd name="T22" fmla="*/ 11 w 88"/>
                <a:gd name="T23" fmla="*/ 33 h 176"/>
                <a:gd name="T24" fmla="*/ 16 w 88"/>
                <a:gd name="T25" fmla="*/ 37 h 176"/>
                <a:gd name="T26" fmla="*/ 21 w 88"/>
                <a:gd name="T27" fmla="*/ 38 h 176"/>
                <a:gd name="T28" fmla="*/ 28 w 88"/>
                <a:gd name="T29" fmla="*/ 36 h 176"/>
                <a:gd name="T30" fmla="*/ 31 w 88"/>
                <a:gd name="T31" fmla="*/ 33 h 176"/>
                <a:gd name="T32" fmla="*/ 33 w 88"/>
                <a:gd name="T33" fmla="*/ 32 h 176"/>
                <a:gd name="T34" fmla="*/ 35 w 88"/>
                <a:gd name="T35" fmla="*/ 34 h 176"/>
                <a:gd name="T36" fmla="*/ 37 w 88"/>
                <a:gd name="T37" fmla="*/ 42 h 176"/>
                <a:gd name="T38" fmla="*/ 40 w 88"/>
                <a:gd name="T39" fmla="*/ 48 h 176"/>
                <a:gd name="T40" fmla="*/ 37 w 88"/>
                <a:gd name="T41" fmla="*/ 66 h 176"/>
                <a:gd name="T42" fmla="*/ 41 w 88"/>
                <a:gd name="T43" fmla="*/ 68 h 176"/>
                <a:gd name="T44" fmla="*/ 43 w 88"/>
                <a:gd name="T45" fmla="*/ 70 h 176"/>
                <a:gd name="T46" fmla="*/ 42 w 88"/>
                <a:gd name="T47" fmla="*/ 73 h 176"/>
                <a:gd name="T48" fmla="*/ 37 w 88"/>
                <a:gd name="T49" fmla="*/ 78 h 176"/>
                <a:gd name="T50" fmla="*/ 31 w 88"/>
                <a:gd name="T51" fmla="*/ 90 h 176"/>
                <a:gd name="T52" fmla="*/ 24 w 88"/>
                <a:gd name="T53" fmla="*/ 92 h 176"/>
                <a:gd name="T54" fmla="*/ 22 w 88"/>
                <a:gd name="T55" fmla="*/ 76 h 176"/>
                <a:gd name="T56" fmla="*/ 17 w 88"/>
                <a:gd name="T57" fmla="*/ 71 h 176"/>
                <a:gd name="T58" fmla="*/ 8 w 88"/>
                <a:gd name="T59" fmla="*/ 71 h 176"/>
                <a:gd name="T60" fmla="*/ 5 w 88"/>
                <a:gd name="T61" fmla="*/ 87 h 176"/>
                <a:gd name="T62" fmla="*/ 9 w 88"/>
                <a:gd name="T63" fmla="*/ 105 h 176"/>
                <a:gd name="T64" fmla="*/ 13 w 88"/>
                <a:gd name="T65" fmla="*/ 111 h 176"/>
                <a:gd name="T66" fmla="*/ 18 w 88"/>
                <a:gd name="T67" fmla="*/ 114 h 176"/>
                <a:gd name="T68" fmla="*/ 22 w 88"/>
                <a:gd name="T69" fmla="*/ 114 h 176"/>
                <a:gd name="T70" fmla="*/ 28 w 88"/>
                <a:gd name="T71" fmla="*/ 115 h 176"/>
                <a:gd name="T72" fmla="*/ 31 w 88"/>
                <a:gd name="T73" fmla="*/ 132 h 176"/>
                <a:gd name="T74" fmla="*/ 32 w 88"/>
                <a:gd name="T75" fmla="*/ 151 h 176"/>
                <a:gd name="T76" fmla="*/ 34 w 88"/>
                <a:gd name="T77" fmla="*/ 169 h 176"/>
                <a:gd name="T78" fmla="*/ 53 w 88"/>
                <a:gd name="T79" fmla="*/ 169 h 176"/>
                <a:gd name="T80" fmla="*/ 60 w 88"/>
                <a:gd name="T81" fmla="*/ 159 h 176"/>
                <a:gd name="T82" fmla="*/ 60 w 88"/>
                <a:gd name="T83" fmla="*/ 146 h 176"/>
                <a:gd name="T84" fmla="*/ 52 w 88"/>
                <a:gd name="T85" fmla="*/ 130 h 176"/>
                <a:gd name="T86" fmla="*/ 53 w 88"/>
                <a:gd name="T87" fmla="*/ 121 h 176"/>
                <a:gd name="T88" fmla="*/ 52 w 88"/>
                <a:gd name="T89" fmla="*/ 101 h 176"/>
                <a:gd name="T90" fmla="*/ 54 w 88"/>
                <a:gd name="T91" fmla="*/ 90 h 176"/>
                <a:gd name="T92" fmla="*/ 63 w 88"/>
                <a:gd name="T93" fmla="*/ 96 h 176"/>
                <a:gd name="T94" fmla="*/ 72 w 88"/>
                <a:gd name="T95" fmla="*/ 106 h 176"/>
                <a:gd name="T96" fmla="*/ 85 w 88"/>
                <a:gd name="T97" fmla="*/ 99 h 176"/>
                <a:gd name="T98" fmla="*/ 88 w 88"/>
                <a:gd name="T99" fmla="*/ 84 h 176"/>
                <a:gd name="T100" fmla="*/ 79 w 88"/>
                <a:gd name="T101" fmla="*/ 71 h 176"/>
                <a:gd name="T102" fmla="*/ 77 w 88"/>
                <a:gd name="T103" fmla="*/ 57 h 176"/>
                <a:gd name="T104" fmla="*/ 84 w 88"/>
                <a:gd name="T105" fmla="*/ 42 h 176"/>
                <a:gd name="T106" fmla="*/ 87 w 88"/>
                <a:gd name="T107" fmla="*/ 35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8" h="176">
                  <a:moveTo>
                    <a:pt x="87" y="35"/>
                  </a:moveTo>
                  <a:cubicBezTo>
                    <a:pt x="82" y="24"/>
                    <a:pt x="82" y="24"/>
                    <a:pt x="82" y="24"/>
                  </a:cubicBezTo>
                  <a:cubicBezTo>
                    <a:pt x="77" y="22"/>
                    <a:pt x="77" y="22"/>
                    <a:pt x="77" y="22"/>
                  </a:cubicBezTo>
                  <a:cubicBezTo>
                    <a:pt x="75" y="22"/>
                    <a:pt x="73" y="20"/>
                    <a:pt x="72" y="18"/>
                  </a:cubicBezTo>
                  <a:cubicBezTo>
                    <a:pt x="70" y="14"/>
                    <a:pt x="70" y="14"/>
                    <a:pt x="70" y="14"/>
                  </a:cubicBezTo>
                  <a:cubicBezTo>
                    <a:pt x="69" y="12"/>
                    <a:pt x="68" y="11"/>
                    <a:pt x="66" y="11"/>
                  </a:cubicBezTo>
                  <a:cubicBezTo>
                    <a:pt x="49" y="4"/>
                    <a:pt x="49" y="4"/>
                    <a:pt x="49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8"/>
                    <a:pt x="16" y="0"/>
                    <a:pt x="7" y="7"/>
                  </a:cubicBezTo>
                  <a:cubicBezTo>
                    <a:pt x="4" y="9"/>
                    <a:pt x="3" y="13"/>
                    <a:pt x="4" y="16"/>
                  </a:cubicBezTo>
                  <a:cubicBezTo>
                    <a:pt x="11" y="33"/>
                    <a:pt x="11" y="33"/>
                    <a:pt x="11" y="33"/>
                  </a:cubicBezTo>
                  <a:cubicBezTo>
                    <a:pt x="12" y="35"/>
                    <a:pt x="13" y="36"/>
                    <a:pt x="16" y="37"/>
                  </a:cubicBezTo>
                  <a:cubicBezTo>
                    <a:pt x="21" y="38"/>
                    <a:pt x="21" y="38"/>
                    <a:pt x="21" y="38"/>
                  </a:cubicBezTo>
                  <a:cubicBezTo>
                    <a:pt x="24" y="38"/>
                    <a:pt x="26" y="38"/>
                    <a:pt x="28" y="36"/>
                  </a:cubicBezTo>
                  <a:cubicBezTo>
                    <a:pt x="31" y="33"/>
                    <a:pt x="31" y="33"/>
                    <a:pt x="31" y="33"/>
                  </a:cubicBezTo>
                  <a:cubicBezTo>
                    <a:pt x="31" y="32"/>
                    <a:pt x="32" y="32"/>
                    <a:pt x="33" y="32"/>
                  </a:cubicBezTo>
                  <a:cubicBezTo>
                    <a:pt x="34" y="33"/>
                    <a:pt x="35" y="33"/>
                    <a:pt x="35" y="34"/>
                  </a:cubicBezTo>
                  <a:cubicBezTo>
                    <a:pt x="37" y="42"/>
                    <a:pt x="37" y="42"/>
                    <a:pt x="37" y="42"/>
                  </a:cubicBezTo>
                  <a:cubicBezTo>
                    <a:pt x="40" y="48"/>
                    <a:pt x="40" y="48"/>
                    <a:pt x="40" y="48"/>
                  </a:cubicBezTo>
                  <a:cubicBezTo>
                    <a:pt x="37" y="66"/>
                    <a:pt x="37" y="66"/>
                    <a:pt x="37" y="66"/>
                  </a:cubicBezTo>
                  <a:cubicBezTo>
                    <a:pt x="41" y="68"/>
                    <a:pt x="41" y="68"/>
                    <a:pt x="41" y="68"/>
                  </a:cubicBezTo>
                  <a:cubicBezTo>
                    <a:pt x="42" y="68"/>
                    <a:pt x="42" y="69"/>
                    <a:pt x="43" y="70"/>
                  </a:cubicBezTo>
                  <a:cubicBezTo>
                    <a:pt x="43" y="71"/>
                    <a:pt x="43" y="72"/>
                    <a:pt x="42" y="73"/>
                  </a:cubicBezTo>
                  <a:cubicBezTo>
                    <a:pt x="37" y="78"/>
                    <a:pt x="37" y="78"/>
                    <a:pt x="37" y="78"/>
                  </a:cubicBezTo>
                  <a:cubicBezTo>
                    <a:pt x="31" y="90"/>
                    <a:pt x="31" y="90"/>
                    <a:pt x="31" y="90"/>
                  </a:cubicBezTo>
                  <a:cubicBezTo>
                    <a:pt x="24" y="92"/>
                    <a:pt x="24" y="92"/>
                    <a:pt x="24" y="92"/>
                  </a:cubicBezTo>
                  <a:cubicBezTo>
                    <a:pt x="22" y="76"/>
                    <a:pt x="22" y="76"/>
                    <a:pt x="22" y="76"/>
                  </a:cubicBezTo>
                  <a:cubicBezTo>
                    <a:pt x="22" y="73"/>
                    <a:pt x="20" y="71"/>
                    <a:pt x="17" y="71"/>
                  </a:cubicBezTo>
                  <a:cubicBezTo>
                    <a:pt x="8" y="71"/>
                    <a:pt x="8" y="71"/>
                    <a:pt x="8" y="71"/>
                  </a:cubicBezTo>
                  <a:cubicBezTo>
                    <a:pt x="8" y="71"/>
                    <a:pt x="0" y="74"/>
                    <a:pt x="5" y="87"/>
                  </a:cubicBezTo>
                  <a:cubicBezTo>
                    <a:pt x="8" y="94"/>
                    <a:pt x="9" y="101"/>
                    <a:pt x="9" y="105"/>
                  </a:cubicBezTo>
                  <a:cubicBezTo>
                    <a:pt x="10" y="107"/>
                    <a:pt x="11" y="110"/>
                    <a:pt x="13" y="111"/>
                  </a:cubicBezTo>
                  <a:cubicBezTo>
                    <a:pt x="18" y="114"/>
                    <a:pt x="18" y="114"/>
                    <a:pt x="18" y="114"/>
                  </a:cubicBezTo>
                  <a:cubicBezTo>
                    <a:pt x="19" y="114"/>
                    <a:pt x="21" y="114"/>
                    <a:pt x="22" y="114"/>
                  </a:cubicBezTo>
                  <a:cubicBezTo>
                    <a:pt x="24" y="113"/>
                    <a:pt x="26" y="113"/>
                    <a:pt x="28" y="115"/>
                  </a:cubicBezTo>
                  <a:cubicBezTo>
                    <a:pt x="30" y="119"/>
                    <a:pt x="31" y="132"/>
                    <a:pt x="31" y="132"/>
                  </a:cubicBezTo>
                  <a:cubicBezTo>
                    <a:pt x="32" y="151"/>
                    <a:pt x="32" y="151"/>
                    <a:pt x="32" y="151"/>
                  </a:cubicBezTo>
                  <a:cubicBezTo>
                    <a:pt x="32" y="151"/>
                    <a:pt x="24" y="162"/>
                    <a:pt x="34" y="169"/>
                  </a:cubicBezTo>
                  <a:cubicBezTo>
                    <a:pt x="43" y="176"/>
                    <a:pt x="53" y="169"/>
                    <a:pt x="53" y="169"/>
                  </a:cubicBezTo>
                  <a:cubicBezTo>
                    <a:pt x="60" y="159"/>
                    <a:pt x="60" y="159"/>
                    <a:pt x="60" y="159"/>
                  </a:cubicBezTo>
                  <a:cubicBezTo>
                    <a:pt x="60" y="146"/>
                    <a:pt x="60" y="146"/>
                    <a:pt x="60" y="146"/>
                  </a:cubicBezTo>
                  <a:cubicBezTo>
                    <a:pt x="52" y="130"/>
                    <a:pt x="52" y="130"/>
                    <a:pt x="52" y="130"/>
                  </a:cubicBezTo>
                  <a:cubicBezTo>
                    <a:pt x="53" y="121"/>
                    <a:pt x="53" y="121"/>
                    <a:pt x="53" y="121"/>
                  </a:cubicBezTo>
                  <a:cubicBezTo>
                    <a:pt x="52" y="101"/>
                    <a:pt x="52" y="101"/>
                    <a:pt x="52" y="101"/>
                  </a:cubicBezTo>
                  <a:cubicBezTo>
                    <a:pt x="54" y="90"/>
                    <a:pt x="54" y="90"/>
                    <a:pt x="54" y="90"/>
                  </a:cubicBezTo>
                  <a:cubicBezTo>
                    <a:pt x="54" y="90"/>
                    <a:pt x="63" y="88"/>
                    <a:pt x="63" y="96"/>
                  </a:cubicBezTo>
                  <a:cubicBezTo>
                    <a:pt x="63" y="105"/>
                    <a:pt x="72" y="106"/>
                    <a:pt x="72" y="106"/>
                  </a:cubicBezTo>
                  <a:cubicBezTo>
                    <a:pt x="85" y="99"/>
                    <a:pt x="85" y="99"/>
                    <a:pt x="85" y="99"/>
                  </a:cubicBezTo>
                  <a:cubicBezTo>
                    <a:pt x="85" y="99"/>
                    <a:pt x="88" y="89"/>
                    <a:pt x="88" y="84"/>
                  </a:cubicBezTo>
                  <a:cubicBezTo>
                    <a:pt x="88" y="79"/>
                    <a:pt x="79" y="71"/>
                    <a:pt x="79" y="71"/>
                  </a:cubicBezTo>
                  <a:cubicBezTo>
                    <a:pt x="77" y="57"/>
                    <a:pt x="77" y="57"/>
                    <a:pt x="77" y="57"/>
                  </a:cubicBezTo>
                  <a:cubicBezTo>
                    <a:pt x="84" y="42"/>
                    <a:pt x="84" y="42"/>
                    <a:pt x="84" y="42"/>
                  </a:cubicBezTo>
                  <a:lnTo>
                    <a:pt x="87" y="35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rnd">
              <a:solidFill>
                <a:schemeClr val="bg1">
                  <a:lumMod val="9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269" name="Freeform 25402"/>
            <p:cNvSpPr>
              <a:spLocks/>
            </p:cNvSpPr>
            <p:nvPr/>
          </p:nvSpPr>
          <p:spPr bwMode="auto">
            <a:xfrm>
              <a:off x="7214931" y="3563795"/>
              <a:ext cx="15310" cy="33618"/>
            </a:xfrm>
            <a:custGeom>
              <a:avLst/>
              <a:gdLst>
                <a:gd name="T0" fmla="*/ 38 w 41"/>
                <a:gd name="T1" fmla="*/ 0 h 90"/>
                <a:gd name="T2" fmla="*/ 32 w 41"/>
                <a:gd name="T3" fmla="*/ 1 h 90"/>
                <a:gd name="T4" fmla="*/ 30 w 41"/>
                <a:gd name="T5" fmla="*/ 3 h 90"/>
                <a:gd name="T6" fmla="*/ 26 w 41"/>
                <a:gd name="T7" fmla="*/ 21 h 90"/>
                <a:gd name="T8" fmla="*/ 24 w 41"/>
                <a:gd name="T9" fmla="*/ 27 h 90"/>
                <a:gd name="T10" fmla="*/ 16 w 41"/>
                <a:gd name="T11" fmla="*/ 39 h 90"/>
                <a:gd name="T12" fmla="*/ 4 w 41"/>
                <a:gd name="T13" fmla="*/ 58 h 90"/>
                <a:gd name="T14" fmla="*/ 0 w 41"/>
                <a:gd name="T15" fmla="*/ 70 h 90"/>
                <a:gd name="T16" fmla="*/ 0 w 41"/>
                <a:gd name="T17" fmla="*/ 87 h 90"/>
                <a:gd name="T18" fmla="*/ 2 w 41"/>
                <a:gd name="T19" fmla="*/ 90 h 90"/>
                <a:gd name="T20" fmla="*/ 5 w 41"/>
                <a:gd name="T21" fmla="*/ 88 h 90"/>
                <a:gd name="T22" fmla="*/ 9 w 41"/>
                <a:gd name="T23" fmla="*/ 80 h 90"/>
                <a:gd name="T24" fmla="*/ 17 w 41"/>
                <a:gd name="T25" fmla="*/ 72 h 90"/>
                <a:gd name="T26" fmla="*/ 19 w 41"/>
                <a:gd name="T27" fmla="*/ 64 h 90"/>
                <a:gd name="T28" fmla="*/ 22 w 41"/>
                <a:gd name="T29" fmla="*/ 55 h 90"/>
                <a:gd name="T30" fmla="*/ 26 w 41"/>
                <a:gd name="T31" fmla="*/ 52 h 90"/>
                <a:gd name="T32" fmla="*/ 31 w 41"/>
                <a:gd name="T33" fmla="*/ 51 h 90"/>
                <a:gd name="T34" fmla="*/ 37 w 41"/>
                <a:gd name="T35" fmla="*/ 42 h 90"/>
                <a:gd name="T36" fmla="*/ 39 w 41"/>
                <a:gd name="T37" fmla="*/ 27 h 90"/>
                <a:gd name="T38" fmla="*/ 40 w 41"/>
                <a:gd name="T39" fmla="*/ 15 h 90"/>
                <a:gd name="T40" fmla="*/ 41 w 41"/>
                <a:gd name="T41" fmla="*/ 3 h 90"/>
                <a:gd name="T42" fmla="*/ 40 w 41"/>
                <a:gd name="T43" fmla="*/ 1 h 90"/>
                <a:gd name="T44" fmla="*/ 38 w 41"/>
                <a:gd name="T45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1" h="90">
                  <a:moveTo>
                    <a:pt x="38" y="0"/>
                  </a:moveTo>
                  <a:cubicBezTo>
                    <a:pt x="32" y="1"/>
                    <a:pt x="32" y="1"/>
                    <a:pt x="32" y="1"/>
                  </a:cubicBezTo>
                  <a:cubicBezTo>
                    <a:pt x="31" y="1"/>
                    <a:pt x="30" y="2"/>
                    <a:pt x="30" y="3"/>
                  </a:cubicBezTo>
                  <a:cubicBezTo>
                    <a:pt x="26" y="21"/>
                    <a:pt x="26" y="21"/>
                    <a:pt x="26" y="21"/>
                  </a:cubicBezTo>
                  <a:cubicBezTo>
                    <a:pt x="26" y="23"/>
                    <a:pt x="25" y="25"/>
                    <a:pt x="24" y="27"/>
                  </a:cubicBezTo>
                  <a:cubicBezTo>
                    <a:pt x="16" y="39"/>
                    <a:pt x="16" y="39"/>
                    <a:pt x="16" y="39"/>
                  </a:cubicBezTo>
                  <a:cubicBezTo>
                    <a:pt x="4" y="58"/>
                    <a:pt x="4" y="58"/>
                    <a:pt x="4" y="58"/>
                  </a:cubicBezTo>
                  <a:cubicBezTo>
                    <a:pt x="2" y="62"/>
                    <a:pt x="0" y="66"/>
                    <a:pt x="0" y="70"/>
                  </a:cubicBezTo>
                  <a:cubicBezTo>
                    <a:pt x="0" y="87"/>
                    <a:pt x="0" y="87"/>
                    <a:pt x="0" y="87"/>
                  </a:cubicBezTo>
                  <a:cubicBezTo>
                    <a:pt x="0" y="88"/>
                    <a:pt x="1" y="89"/>
                    <a:pt x="2" y="90"/>
                  </a:cubicBezTo>
                  <a:cubicBezTo>
                    <a:pt x="3" y="90"/>
                    <a:pt x="4" y="89"/>
                    <a:pt x="5" y="88"/>
                  </a:cubicBezTo>
                  <a:cubicBezTo>
                    <a:pt x="9" y="80"/>
                    <a:pt x="9" y="80"/>
                    <a:pt x="9" y="80"/>
                  </a:cubicBezTo>
                  <a:cubicBezTo>
                    <a:pt x="17" y="72"/>
                    <a:pt x="17" y="72"/>
                    <a:pt x="17" y="72"/>
                  </a:cubicBezTo>
                  <a:cubicBezTo>
                    <a:pt x="19" y="64"/>
                    <a:pt x="19" y="64"/>
                    <a:pt x="19" y="64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3" y="54"/>
                    <a:pt x="24" y="53"/>
                    <a:pt x="26" y="52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7" y="42"/>
                    <a:pt x="37" y="42"/>
                    <a:pt x="37" y="42"/>
                  </a:cubicBezTo>
                  <a:cubicBezTo>
                    <a:pt x="39" y="27"/>
                    <a:pt x="39" y="27"/>
                    <a:pt x="39" y="27"/>
                  </a:cubicBezTo>
                  <a:cubicBezTo>
                    <a:pt x="40" y="15"/>
                    <a:pt x="40" y="15"/>
                    <a:pt x="40" y="15"/>
                  </a:cubicBezTo>
                  <a:cubicBezTo>
                    <a:pt x="41" y="3"/>
                    <a:pt x="41" y="3"/>
                    <a:pt x="41" y="3"/>
                  </a:cubicBezTo>
                  <a:cubicBezTo>
                    <a:pt x="41" y="2"/>
                    <a:pt x="41" y="2"/>
                    <a:pt x="40" y="1"/>
                  </a:cubicBezTo>
                  <a:cubicBezTo>
                    <a:pt x="40" y="0"/>
                    <a:pt x="39" y="0"/>
                    <a:pt x="38" y="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rnd">
              <a:solidFill>
                <a:schemeClr val="bg1">
                  <a:lumMod val="9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270" name="Freeform 25403"/>
            <p:cNvSpPr>
              <a:spLocks/>
            </p:cNvSpPr>
            <p:nvPr/>
          </p:nvSpPr>
          <p:spPr bwMode="auto">
            <a:xfrm>
              <a:off x="7221402" y="3590312"/>
              <a:ext cx="18940" cy="13732"/>
            </a:xfrm>
            <a:custGeom>
              <a:avLst/>
              <a:gdLst>
                <a:gd name="T0" fmla="*/ 18 w 51"/>
                <a:gd name="T1" fmla="*/ 15 h 37"/>
                <a:gd name="T2" fmla="*/ 15 w 51"/>
                <a:gd name="T3" fmla="*/ 22 h 37"/>
                <a:gd name="T4" fmla="*/ 8 w 51"/>
                <a:gd name="T5" fmla="*/ 23 h 37"/>
                <a:gd name="T6" fmla="*/ 1 w 51"/>
                <a:gd name="T7" fmla="*/ 29 h 37"/>
                <a:gd name="T8" fmla="*/ 2 w 51"/>
                <a:gd name="T9" fmla="*/ 33 h 37"/>
                <a:gd name="T10" fmla="*/ 9 w 51"/>
                <a:gd name="T11" fmla="*/ 35 h 37"/>
                <a:gd name="T12" fmla="*/ 24 w 51"/>
                <a:gd name="T13" fmla="*/ 37 h 37"/>
                <a:gd name="T14" fmla="*/ 34 w 51"/>
                <a:gd name="T15" fmla="*/ 34 h 37"/>
                <a:gd name="T16" fmla="*/ 51 w 51"/>
                <a:gd name="T17" fmla="*/ 18 h 37"/>
                <a:gd name="T18" fmla="*/ 50 w 51"/>
                <a:gd name="T19" fmla="*/ 6 h 37"/>
                <a:gd name="T20" fmla="*/ 47 w 51"/>
                <a:gd name="T21" fmla="*/ 3 h 37"/>
                <a:gd name="T22" fmla="*/ 40 w 51"/>
                <a:gd name="T23" fmla="*/ 2 h 37"/>
                <a:gd name="T24" fmla="*/ 27 w 51"/>
                <a:gd name="T25" fmla="*/ 8 h 37"/>
                <a:gd name="T26" fmla="*/ 22 w 51"/>
                <a:gd name="T27" fmla="*/ 11 h 37"/>
                <a:gd name="T28" fmla="*/ 18 w 51"/>
                <a:gd name="T29" fmla="*/ 15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1" h="37">
                  <a:moveTo>
                    <a:pt x="18" y="15"/>
                  </a:moveTo>
                  <a:cubicBezTo>
                    <a:pt x="15" y="22"/>
                    <a:pt x="15" y="22"/>
                    <a:pt x="15" y="22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3"/>
                    <a:pt x="0" y="26"/>
                    <a:pt x="1" y="29"/>
                  </a:cubicBezTo>
                  <a:cubicBezTo>
                    <a:pt x="2" y="33"/>
                    <a:pt x="2" y="33"/>
                    <a:pt x="2" y="33"/>
                  </a:cubicBezTo>
                  <a:cubicBezTo>
                    <a:pt x="9" y="35"/>
                    <a:pt x="9" y="35"/>
                    <a:pt x="9" y="35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51" y="18"/>
                    <a:pt x="51" y="18"/>
                    <a:pt x="51" y="18"/>
                  </a:cubicBezTo>
                  <a:cubicBezTo>
                    <a:pt x="50" y="6"/>
                    <a:pt x="50" y="6"/>
                    <a:pt x="50" y="6"/>
                  </a:cubicBezTo>
                  <a:cubicBezTo>
                    <a:pt x="47" y="3"/>
                    <a:pt x="47" y="3"/>
                    <a:pt x="47" y="3"/>
                  </a:cubicBezTo>
                  <a:cubicBezTo>
                    <a:pt x="45" y="1"/>
                    <a:pt x="43" y="0"/>
                    <a:pt x="40" y="2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0" y="12"/>
                    <a:pt x="18" y="13"/>
                    <a:pt x="18" y="1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rnd">
              <a:solidFill>
                <a:schemeClr val="bg1">
                  <a:lumMod val="9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271" name="Freeform 25404"/>
            <p:cNvSpPr>
              <a:spLocks/>
            </p:cNvSpPr>
            <p:nvPr/>
          </p:nvSpPr>
          <p:spPr bwMode="auto">
            <a:xfrm>
              <a:off x="7111392" y="3562690"/>
              <a:ext cx="8523" cy="8207"/>
            </a:xfrm>
            <a:custGeom>
              <a:avLst/>
              <a:gdLst>
                <a:gd name="T0" fmla="*/ 5 w 23"/>
                <a:gd name="T1" fmla="*/ 22 h 22"/>
                <a:gd name="T2" fmla="*/ 12 w 23"/>
                <a:gd name="T3" fmla="*/ 21 h 22"/>
                <a:gd name="T4" fmla="*/ 13 w 23"/>
                <a:gd name="T5" fmla="*/ 20 h 22"/>
                <a:gd name="T6" fmla="*/ 21 w 23"/>
                <a:gd name="T7" fmla="*/ 13 h 22"/>
                <a:gd name="T8" fmla="*/ 22 w 23"/>
                <a:gd name="T9" fmla="*/ 8 h 22"/>
                <a:gd name="T10" fmla="*/ 18 w 23"/>
                <a:gd name="T11" fmla="*/ 2 h 22"/>
                <a:gd name="T12" fmla="*/ 14 w 23"/>
                <a:gd name="T13" fmla="*/ 0 h 22"/>
                <a:gd name="T14" fmla="*/ 10 w 23"/>
                <a:gd name="T15" fmla="*/ 2 h 22"/>
                <a:gd name="T16" fmla="*/ 7 w 23"/>
                <a:gd name="T17" fmla="*/ 8 h 22"/>
                <a:gd name="T18" fmla="*/ 1 w 23"/>
                <a:gd name="T19" fmla="*/ 16 h 22"/>
                <a:gd name="T20" fmla="*/ 1 w 23"/>
                <a:gd name="T21" fmla="*/ 20 h 22"/>
                <a:gd name="T22" fmla="*/ 5 w 23"/>
                <a:gd name="T23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3" h="22">
                  <a:moveTo>
                    <a:pt x="5" y="22"/>
                  </a:moveTo>
                  <a:cubicBezTo>
                    <a:pt x="12" y="21"/>
                    <a:pt x="12" y="21"/>
                    <a:pt x="12" y="21"/>
                  </a:cubicBezTo>
                  <a:cubicBezTo>
                    <a:pt x="12" y="21"/>
                    <a:pt x="13" y="21"/>
                    <a:pt x="13" y="20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2" y="12"/>
                    <a:pt x="23" y="10"/>
                    <a:pt x="22" y="8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7" y="1"/>
                    <a:pt x="16" y="0"/>
                    <a:pt x="14" y="0"/>
                  </a:cubicBezTo>
                  <a:cubicBezTo>
                    <a:pt x="12" y="0"/>
                    <a:pt x="11" y="1"/>
                    <a:pt x="10" y="2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1" y="16"/>
                    <a:pt x="1" y="16"/>
                    <a:pt x="1" y="16"/>
                  </a:cubicBezTo>
                  <a:cubicBezTo>
                    <a:pt x="0" y="17"/>
                    <a:pt x="0" y="19"/>
                    <a:pt x="1" y="20"/>
                  </a:cubicBezTo>
                  <a:cubicBezTo>
                    <a:pt x="2" y="22"/>
                    <a:pt x="3" y="22"/>
                    <a:pt x="5" y="22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rnd">
              <a:solidFill>
                <a:schemeClr val="bg1">
                  <a:lumMod val="9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272" name="Freeform 25405"/>
            <p:cNvSpPr>
              <a:spLocks/>
            </p:cNvSpPr>
            <p:nvPr/>
          </p:nvSpPr>
          <p:spPr bwMode="auto">
            <a:xfrm>
              <a:off x="7099397" y="3574212"/>
              <a:ext cx="27937" cy="19887"/>
            </a:xfrm>
            <a:custGeom>
              <a:avLst/>
              <a:gdLst>
                <a:gd name="T0" fmla="*/ 19 w 75"/>
                <a:gd name="T1" fmla="*/ 28 h 53"/>
                <a:gd name="T2" fmla="*/ 13 w 75"/>
                <a:gd name="T3" fmla="*/ 30 h 53"/>
                <a:gd name="T4" fmla="*/ 5 w 75"/>
                <a:gd name="T5" fmla="*/ 38 h 53"/>
                <a:gd name="T6" fmla="*/ 1 w 75"/>
                <a:gd name="T7" fmla="*/ 42 h 53"/>
                <a:gd name="T8" fmla="*/ 1 w 75"/>
                <a:gd name="T9" fmla="*/ 47 h 53"/>
                <a:gd name="T10" fmla="*/ 5 w 75"/>
                <a:gd name="T11" fmla="*/ 50 h 53"/>
                <a:gd name="T12" fmla="*/ 20 w 75"/>
                <a:gd name="T13" fmla="*/ 49 h 53"/>
                <a:gd name="T14" fmla="*/ 25 w 75"/>
                <a:gd name="T15" fmla="*/ 50 h 53"/>
                <a:gd name="T16" fmla="*/ 35 w 75"/>
                <a:gd name="T17" fmla="*/ 48 h 53"/>
                <a:gd name="T18" fmla="*/ 35 w 75"/>
                <a:gd name="T19" fmla="*/ 31 h 53"/>
                <a:gd name="T20" fmla="*/ 48 w 75"/>
                <a:gd name="T21" fmla="*/ 22 h 53"/>
                <a:gd name="T22" fmla="*/ 69 w 75"/>
                <a:gd name="T23" fmla="*/ 20 h 53"/>
                <a:gd name="T24" fmla="*/ 75 w 75"/>
                <a:gd name="T25" fmla="*/ 10 h 53"/>
                <a:gd name="T26" fmla="*/ 58 w 75"/>
                <a:gd name="T27" fmla="*/ 10 h 53"/>
                <a:gd name="T28" fmla="*/ 54 w 75"/>
                <a:gd name="T29" fmla="*/ 2 h 53"/>
                <a:gd name="T30" fmla="*/ 46 w 75"/>
                <a:gd name="T31" fmla="*/ 0 h 53"/>
                <a:gd name="T32" fmla="*/ 40 w 75"/>
                <a:gd name="T33" fmla="*/ 5 h 53"/>
                <a:gd name="T34" fmla="*/ 34 w 75"/>
                <a:gd name="T35" fmla="*/ 18 h 53"/>
                <a:gd name="T36" fmla="*/ 24 w 75"/>
                <a:gd name="T37" fmla="*/ 27 h 53"/>
                <a:gd name="T38" fmla="*/ 19 w 75"/>
                <a:gd name="T39" fmla="*/ 28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75" h="53">
                  <a:moveTo>
                    <a:pt x="19" y="28"/>
                  </a:moveTo>
                  <a:cubicBezTo>
                    <a:pt x="17" y="28"/>
                    <a:pt x="15" y="29"/>
                    <a:pt x="13" y="30"/>
                  </a:cubicBezTo>
                  <a:cubicBezTo>
                    <a:pt x="5" y="38"/>
                    <a:pt x="5" y="38"/>
                    <a:pt x="5" y="38"/>
                  </a:cubicBezTo>
                  <a:cubicBezTo>
                    <a:pt x="1" y="42"/>
                    <a:pt x="1" y="42"/>
                    <a:pt x="1" y="42"/>
                  </a:cubicBezTo>
                  <a:cubicBezTo>
                    <a:pt x="0" y="44"/>
                    <a:pt x="0" y="46"/>
                    <a:pt x="1" y="47"/>
                  </a:cubicBezTo>
                  <a:cubicBezTo>
                    <a:pt x="1" y="49"/>
                    <a:pt x="3" y="50"/>
                    <a:pt x="5" y="50"/>
                  </a:cubicBezTo>
                  <a:cubicBezTo>
                    <a:pt x="20" y="49"/>
                    <a:pt x="20" y="49"/>
                    <a:pt x="20" y="49"/>
                  </a:cubicBezTo>
                  <a:cubicBezTo>
                    <a:pt x="22" y="49"/>
                    <a:pt x="24" y="49"/>
                    <a:pt x="25" y="50"/>
                  </a:cubicBezTo>
                  <a:cubicBezTo>
                    <a:pt x="29" y="52"/>
                    <a:pt x="35" y="53"/>
                    <a:pt x="35" y="48"/>
                  </a:cubicBezTo>
                  <a:cubicBezTo>
                    <a:pt x="35" y="41"/>
                    <a:pt x="35" y="31"/>
                    <a:pt x="35" y="31"/>
                  </a:cubicBezTo>
                  <a:cubicBezTo>
                    <a:pt x="35" y="31"/>
                    <a:pt x="43" y="22"/>
                    <a:pt x="48" y="22"/>
                  </a:cubicBezTo>
                  <a:cubicBezTo>
                    <a:pt x="53" y="22"/>
                    <a:pt x="65" y="21"/>
                    <a:pt x="69" y="20"/>
                  </a:cubicBezTo>
                  <a:cubicBezTo>
                    <a:pt x="72" y="18"/>
                    <a:pt x="75" y="10"/>
                    <a:pt x="75" y="1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0" y="5"/>
                    <a:pt x="40" y="5"/>
                    <a:pt x="40" y="5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24" y="27"/>
                    <a:pt x="24" y="27"/>
                    <a:pt x="24" y="27"/>
                  </a:cubicBezTo>
                  <a:lnTo>
                    <a:pt x="19" y="2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rnd">
              <a:solidFill>
                <a:schemeClr val="bg1">
                  <a:lumMod val="9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273" name="Freeform 25406"/>
            <p:cNvSpPr>
              <a:spLocks/>
            </p:cNvSpPr>
            <p:nvPr/>
          </p:nvSpPr>
          <p:spPr bwMode="auto">
            <a:xfrm>
              <a:off x="7084087" y="3596309"/>
              <a:ext cx="12784" cy="15310"/>
            </a:xfrm>
            <a:custGeom>
              <a:avLst/>
              <a:gdLst>
                <a:gd name="T0" fmla="*/ 7 w 34"/>
                <a:gd name="T1" fmla="*/ 40 h 41"/>
                <a:gd name="T2" fmla="*/ 16 w 34"/>
                <a:gd name="T3" fmla="*/ 34 h 41"/>
                <a:gd name="T4" fmla="*/ 27 w 34"/>
                <a:gd name="T5" fmla="*/ 23 h 41"/>
                <a:gd name="T6" fmla="*/ 28 w 34"/>
                <a:gd name="T7" fmla="*/ 21 h 41"/>
                <a:gd name="T8" fmla="*/ 33 w 34"/>
                <a:gd name="T9" fmla="*/ 11 h 41"/>
                <a:gd name="T10" fmla="*/ 33 w 34"/>
                <a:gd name="T11" fmla="*/ 6 h 41"/>
                <a:gd name="T12" fmla="*/ 30 w 34"/>
                <a:gd name="T13" fmla="*/ 2 h 41"/>
                <a:gd name="T14" fmla="*/ 28 w 34"/>
                <a:gd name="T15" fmla="*/ 1 h 41"/>
                <a:gd name="T16" fmla="*/ 25 w 34"/>
                <a:gd name="T17" fmla="*/ 1 h 41"/>
                <a:gd name="T18" fmla="*/ 9 w 34"/>
                <a:gd name="T19" fmla="*/ 16 h 41"/>
                <a:gd name="T20" fmla="*/ 0 w 34"/>
                <a:gd name="T21" fmla="*/ 31 h 41"/>
                <a:gd name="T22" fmla="*/ 0 w 34"/>
                <a:gd name="T23" fmla="*/ 36 h 41"/>
                <a:gd name="T24" fmla="*/ 2 w 34"/>
                <a:gd name="T25" fmla="*/ 41 h 41"/>
                <a:gd name="T26" fmla="*/ 7 w 34"/>
                <a:gd name="T27" fmla="*/ 4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4" h="41">
                  <a:moveTo>
                    <a:pt x="7" y="40"/>
                  </a:moveTo>
                  <a:cubicBezTo>
                    <a:pt x="16" y="34"/>
                    <a:pt x="16" y="34"/>
                    <a:pt x="16" y="34"/>
                  </a:cubicBezTo>
                  <a:cubicBezTo>
                    <a:pt x="27" y="23"/>
                    <a:pt x="27" y="23"/>
                    <a:pt x="27" y="23"/>
                  </a:cubicBezTo>
                  <a:cubicBezTo>
                    <a:pt x="28" y="22"/>
                    <a:pt x="28" y="22"/>
                    <a:pt x="28" y="21"/>
                  </a:cubicBezTo>
                  <a:cubicBezTo>
                    <a:pt x="33" y="11"/>
                    <a:pt x="33" y="11"/>
                    <a:pt x="33" y="11"/>
                  </a:cubicBezTo>
                  <a:cubicBezTo>
                    <a:pt x="34" y="9"/>
                    <a:pt x="33" y="8"/>
                    <a:pt x="33" y="6"/>
                  </a:cubicBezTo>
                  <a:cubicBezTo>
                    <a:pt x="30" y="2"/>
                    <a:pt x="30" y="2"/>
                    <a:pt x="30" y="2"/>
                  </a:cubicBezTo>
                  <a:cubicBezTo>
                    <a:pt x="29" y="1"/>
                    <a:pt x="29" y="1"/>
                    <a:pt x="28" y="1"/>
                  </a:cubicBezTo>
                  <a:cubicBezTo>
                    <a:pt x="27" y="0"/>
                    <a:pt x="26" y="1"/>
                    <a:pt x="25" y="1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38"/>
                    <a:pt x="1" y="40"/>
                    <a:pt x="2" y="41"/>
                  </a:cubicBezTo>
                  <a:cubicBezTo>
                    <a:pt x="4" y="41"/>
                    <a:pt x="5" y="41"/>
                    <a:pt x="7" y="4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rnd">
              <a:solidFill>
                <a:schemeClr val="bg1">
                  <a:lumMod val="9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274" name="Freeform 25407"/>
            <p:cNvSpPr>
              <a:spLocks/>
            </p:cNvSpPr>
            <p:nvPr/>
          </p:nvSpPr>
          <p:spPr bwMode="auto">
            <a:xfrm>
              <a:off x="7068145" y="3611146"/>
              <a:ext cx="11838" cy="13416"/>
            </a:xfrm>
            <a:custGeom>
              <a:avLst/>
              <a:gdLst>
                <a:gd name="T0" fmla="*/ 6 w 32"/>
                <a:gd name="T1" fmla="*/ 36 h 36"/>
                <a:gd name="T2" fmla="*/ 23 w 32"/>
                <a:gd name="T3" fmla="*/ 25 h 36"/>
                <a:gd name="T4" fmla="*/ 31 w 32"/>
                <a:gd name="T5" fmla="*/ 12 h 36"/>
                <a:gd name="T6" fmla="*/ 32 w 32"/>
                <a:gd name="T7" fmla="*/ 3 h 36"/>
                <a:gd name="T8" fmla="*/ 30 w 32"/>
                <a:gd name="T9" fmla="*/ 0 h 36"/>
                <a:gd name="T10" fmla="*/ 27 w 32"/>
                <a:gd name="T11" fmla="*/ 1 h 36"/>
                <a:gd name="T12" fmla="*/ 20 w 32"/>
                <a:gd name="T13" fmla="*/ 8 h 36"/>
                <a:gd name="T14" fmla="*/ 6 w 32"/>
                <a:gd name="T15" fmla="*/ 17 h 36"/>
                <a:gd name="T16" fmla="*/ 1 w 32"/>
                <a:gd name="T17" fmla="*/ 29 h 36"/>
                <a:gd name="T18" fmla="*/ 3 w 32"/>
                <a:gd name="T19" fmla="*/ 35 h 36"/>
                <a:gd name="T20" fmla="*/ 6 w 32"/>
                <a:gd name="T21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" h="36">
                  <a:moveTo>
                    <a:pt x="6" y="36"/>
                  </a:moveTo>
                  <a:cubicBezTo>
                    <a:pt x="23" y="25"/>
                    <a:pt x="23" y="25"/>
                    <a:pt x="23" y="25"/>
                  </a:cubicBezTo>
                  <a:cubicBezTo>
                    <a:pt x="31" y="12"/>
                    <a:pt x="31" y="12"/>
                    <a:pt x="31" y="12"/>
                  </a:cubicBezTo>
                  <a:cubicBezTo>
                    <a:pt x="32" y="3"/>
                    <a:pt x="32" y="3"/>
                    <a:pt x="32" y="3"/>
                  </a:cubicBezTo>
                  <a:cubicBezTo>
                    <a:pt x="32" y="2"/>
                    <a:pt x="31" y="1"/>
                    <a:pt x="30" y="0"/>
                  </a:cubicBezTo>
                  <a:cubicBezTo>
                    <a:pt x="29" y="0"/>
                    <a:pt x="28" y="0"/>
                    <a:pt x="27" y="1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7" y="13"/>
                    <a:pt x="6" y="17"/>
                  </a:cubicBezTo>
                  <a:cubicBezTo>
                    <a:pt x="5" y="19"/>
                    <a:pt x="3" y="25"/>
                    <a:pt x="1" y="29"/>
                  </a:cubicBezTo>
                  <a:cubicBezTo>
                    <a:pt x="0" y="31"/>
                    <a:pt x="1" y="33"/>
                    <a:pt x="3" y="35"/>
                  </a:cubicBezTo>
                  <a:lnTo>
                    <a:pt x="6" y="36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rnd">
              <a:solidFill>
                <a:schemeClr val="bg1">
                  <a:lumMod val="9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275" name="Freeform 25408"/>
            <p:cNvSpPr>
              <a:spLocks/>
            </p:cNvSpPr>
            <p:nvPr/>
          </p:nvSpPr>
          <p:spPr bwMode="auto">
            <a:xfrm>
              <a:off x="7263543" y="3582420"/>
              <a:ext cx="5524" cy="9312"/>
            </a:xfrm>
            <a:custGeom>
              <a:avLst/>
              <a:gdLst>
                <a:gd name="T0" fmla="*/ 9 w 15"/>
                <a:gd name="T1" fmla="*/ 1 h 25"/>
                <a:gd name="T2" fmla="*/ 3 w 15"/>
                <a:gd name="T3" fmla="*/ 3 h 25"/>
                <a:gd name="T4" fmla="*/ 1 w 15"/>
                <a:gd name="T5" fmla="*/ 9 h 25"/>
                <a:gd name="T6" fmla="*/ 1 w 15"/>
                <a:gd name="T7" fmla="*/ 14 h 25"/>
                <a:gd name="T8" fmla="*/ 4 w 15"/>
                <a:gd name="T9" fmla="*/ 21 h 25"/>
                <a:gd name="T10" fmla="*/ 9 w 15"/>
                <a:gd name="T11" fmla="*/ 25 h 25"/>
                <a:gd name="T12" fmla="*/ 10 w 15"/>
                <a:gd name="T13" fmla="*/ 25 h 25"/>
                <a:gd name="T14" fmla="*/ 14 w 15"/>
                <a:gd name="T15" fmla="*/ 24 h 25"/>
                <a:gd name="T16" fmla="*/ 15 w 15"/>
                <a:gd name="T17" fmla="*/ 21 h 25"/>
                <a:gd name="T18" fmla="*/ 13 w 15"/>
                <a:gd name="T19" fmla="*/ 6 h 25"/>
                <a:gd name="T20" fmla="*/ 9 w 15"/>
                <a:gd name="T21" fmla="*/ 1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" h="25">
                  <a:moveTo>
                    <a:pt x="9" y="1"/>
                  </a:moveTo>
                  <a:cubicBezTo>
                    <a:pt x="7" y="0"/>
                    <a:pt x="5" y="1"/>
                    <a:pt x="3" y="3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0" y="11"/>
                    <a:pt x="0" y="12"/>
                    <a:pt x="1" y="14"/>
                  </a:cubicBezTo>
                  <a:cubicBezTo>
                    <a:pt x="4" y="21"/>
                    <a:pt x="4" y="21"/>
                    <a:pt x="4" y="21"/>
                  </a:cubicBezTo>
                  <a:cubicBezTo>
                    <a:pt x="5" y="23"/>
                    <a:pt x="7" y="24"/>
                    <a:pt x="9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1" y="25"/>
                    <a:pt x="13" y="25"/>
                    <a:pt x="14" y="24"/>
                  </a:cubicBezTo>
                  <a:cubicBezTo>
                    <a:pt x="14" y="24"/>
                    <a:pt x="15" y="22"/>
                    <a:pt x="15" y="21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3" y="4"/>
                    <a:pt x="11" y="2"/>
                    <a:pt x="9" y="1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rnd">
              <a:solidFill>
                <a:schemeClr val="bg1">
                  <a:lumMod val="9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276" name="Freeform 25409"/>
            <p:cNvSpPr>
              <a:spLocks/>
            </p:cNvSpPr>
            <p:nvPr/>
          </p:nvSpPr>
          <p:spPr bwMode="auto">
            <a:xfrm>
              <a:off x="7126702" y="3699533"/>
              <a:ext cx="14521" cy="14995"/>
            </a:xfrm>
            <a:custGeom>
              <a:avLst/>
              <a:gdLst>
                <a:gd name="T0" fmla="*/ 13 w 39"/>
                <a:gd name="T1" fmla="*/ 20 h 40"/>
                <a:gd name="T2" fmla="*/ 7 w 39"/>
                <a:gd name="T3" fmla="*/ 37 h 40"/>
                <a:gd name="T4" fmla="*/ 24 w 39"/>
                <a:gd name="T5" fmla="*/ 24 h 40"/>
                <a:gd name="T6" fmla="*/ 33 w 39"/>
                <a:gd name="T7" fmla="*/ 11 h 40"/>
                <a:gd name="T8" fmla="*/ 19 w 39"/>
                <a:gd name="T9" fmla="*/ 10 h 40"/>
                <a:gd name="T10" fmla="*/ 13 w 39"/>
                <a:gd name="T11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9" h="40">
                  <a:moveTo>
                    <a:pt x="13" y="20"/>
                  </a:moveTo>
                  <a:cubicBezTo>
                    <a:pt x="3" y="25"/>
                    <a:pt x="0" y="34"/>
                    <a:pt x="7" y="37"/>
                  </a:cubicBezTo>
                  <a:cubicBezTo>
                    <a:pt x="14" y="40"/>
                    <a:pt x="13" y="26"/>
                    <a:pt x="24" y="24"/>
                  </a:cubicBezTo>
                  <a:cubicBezTo>
                    <a:pt x="35" y="22"/>
                    <a:pt x="39" y="16"/>
                    <a:pt x="33" y="11"/>
                  </a:cubicBezTo>
                  <a:cubicBezTo>
                    <a:pt x="27" y="6"/>
                    <a:pt x="16" y="0"/>
                    <a:pt x="19" y="10"/>
                  </a:cubicBezTo>
                  <a:cubicBezTo>
                    <a:pt x="19" y="10"/>
                    <a:pt x="23" y="15"/>
                    <a:pt x="13" y="2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rnd">
              <a:solidFill>
                <a:schemeClr val="bg1">
                  <a:lumMod val="9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277" name="Freeform 25410"/>
            <p:cNvSpPr>
              <a:spLocks/>
            </p:cNvSpPr>
            <p:nvPr/>
          </p:nvSpPr>
          <p:spPr bwMode="auto">
            <a:xfrm>
              <a:off x="7152428" y="3681697"/>
              <a:ext cx="12627" cy="13101"/>
            </a:xfrm>
            <a:custGeom>
              <a:avLst/>
              <a:gdLst>
                <a:gd name="T0" fmla="*/ 11 w 34"/>
                <a:gd name="T1" fmla="*/ 9 h 35"/>
                <a:gd name="T2" fmla="*/ 9 w 34"/>
                <a:gd name="T3" fmla="*/ 26 h 35"/>
                <a:gd name="T4" fmla="*/ 22 w 34"/>
                <a:gd name="T5" fmla="*/ 30 h 35"/>
                <a:gd name="T6" fmla="*/ 33 w 34"/>
                <a:gd name="T7" fmla="*/ 25 h 35"/>
                <a:gd name="T8" fmla="*/ 11 w 34"/>
                <a:gd name="T9" fmla="*/ 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35">
                  <a:moveTo>
                    <a:pt x="11" y="9"/>
                  </a:moveTo>
                  <a:cubicBezTo>
                    <a:pt x="11" y="9"/>
                    <a:pt x="0" y="21"/>
                    <a:pt x="9" y="26"/>
                  </a:cubicBezTo>
                  <a:cubicBezTo>
                    <a:pt x="18" y="31"/>
                    <a:pt x="14" y="25"/>
                    <a:pt x="22" y="30"/>
                  </a:cubicBezTo>
                  <a:cubicBezTo>
                    <a:pt x="30" y="35"/>
                    <a:pt x="32" y="31"/>
                    <a:pt x="33" y="25"/>
                  </a:cubicBezTo>
                  <a:cubicBezTo>
                    <a:pt x="34" y="19"/>
                    <a:pt x="22" y="0"/>
                    <a:pt x="11" y="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rnd">
              <a:solidFill>
                <a:schemeClr val="bg1">
                  <a:lumMod val="9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278" name="Freeform 25411"/>
            <p:cNvSpPr>
              <a:spLocks/>
            </p:cNvSpPr>
            <p:nvPr/>
          </p:nvSpPr>
          <p:spPr bwMode="auto">
            <a:xfrm>
              <a:off x="7176261" y="3589207"/>
              <a:ext cx="114745" cy="116324"/>
            </a:xfrm>
            <a:custGeom>
              <a:avLst/>
              <a:gdLst>
                <a:gd name="T0" fmla="*/ 263 w 308"/>
                <a:gd name="T1" fmla="*/ 21 h 312"/>
                <a:gd name="T2" fmla="*/ 244 w 308"/>
                <a:gd name="T3" fmla="*/ 27 h 312"/>
                <a:gd name="T4" fmla="*/ 224 w 308"/>
                <a:gd name="T5" fmla="*/ 31 h 312"/>
                <a:gd name="T6" fmla="*/ 234 w 308"/>
                <a:gd name="T7" fmla="*/ 55 h 312"/>
                <a:gd name="T8" fmla="*/ 221 w 308"/>
                <a:gd name="T9" fmla="*/ 66 h 312"/>
                <a:gd name="T10" fmla="*/ 205 w 308"/>
                <a:gd name="T11" fmla="*/ 69 h 312"/>
                <a:gd name="T12" fmla="*/ 183 w 308"/>
                <a:gd name="T13" fmla="*/ 83 h 312"/>
                <a:gd name="T14" fmla="*/ 175 w 308"/>
                <a:gd name="T15" fmla="*/ 98 h 312"/>
                <a:gd name="T16" fmla="*/ 158 w 308"/>
                <a:gd name="T17" fmla="*/ 109 h 312"/>
                <a:gd name="T18" fmla="*/ 149 w 308"/>
                <a:gd name="T19" fmla="*/ 123 h 312"/>
                <a:gd name="T20" fmla="*/ 128 w 308"/>
                <a:gd name="T21" fmla="*/ 110 h 312"/>
                <a:gd name="T22" fmla="*/ 112 w 308"/>
                <a:gd name="T23" fmla="*/ 92 h 312"/>
                <a:gd name="T24" fmla="*/ 88 w 308"/>
                <a:gd name="T25" fmla="*/ 99 h 312"/>
                <a:gd name="T26" fmla="*/ 76 w 308"/>
                <a:gd name="T27" fmla="*/ 121 h 312"/>
                <a:gd name="T28" fmla="*/ 37 w 308"/>
                <a:gd name="T29" fmla="*/ 135 h 312"/>
                <a:gd name="T30" fmla="*/ 20 w 308"/>
                <a:gd name="T31" fmla="*/ 151 h 312"/>
                <a:gd name="T32" fmla="*/ 15 w 308"/>
                <a:gd name="T33" fmla="*/ 175 h 312"/>
                <a:gd name="T34" fmla="*/ 10 w 308"/>
                <a:gd name="T35" fmla="*/ 197 h 312"/>
                <a:gd name="T36" fmla="*/ 30 w 308"/>
                <a:gd name="T37" fmla="*/ 194 h 312"/>
                <a:gd name="T38" fmla="*/ 42 w 308"/>
                <a:gd name="T39" fmla="*/ 170 h 312"/>
                <a:gd name="T40" fmla="*/ 57 w 308"/>
                <a:gd name="T41" fmla="*/ 154 h 312"/>
                <a:gd name="T42" fmla="*/ 65 w 308"/>
                <a:gd name="T43" fmla="*/ 169 h 312"/>
                <a:gd name="T44" fmla="*/ 87 w 308"/>
                <a:gd name="T45" fmla="*/ 165 h 312"/>
                <a:gd name="T46" fmla="*/ 110 w 308"/>
                <a:gd name="T47" fmla="*/ 163 h 312"/>
                <a:gd name="T48" fmla="*/ 116 w 308"/>
                <a:gd name="T49" fmla="*/ 151 h 312"/>
                <a:gd name="T50" fmla="*/ 137 w 308"/>
                <a:gd name="T51" fmla="*/ 167 h 312"/>
                <a:gd name="T52" fmla="*/ 150 w 308"/>
                <a:gd name="T53" fmla="*/ 180 h 312"/>
                <a:gd name="T54" fmla="*/ 144 w 308"/>
                <a:gd name="T55" fmla="*/ 194 h 312"/>
                <a:gd name="T56" fmla="*/ 137 w 308"/>
                <a:gd name="T57" fmla="*/ 217 h 312"/>
                <a:gd name="T58" fmla="*/ 142 w 308"/>
                <a:gd name="T59" fmla="*/ 234 h 312"/>
                <a:gd name="T60" fmla="*/ 152 w 308"/>
                <a:gd name="T61" fmla="*/ 249 h 312"/>
                <a:gd name="T62" fmla="*/ 179 w 308"/>
                <a:gd name="T63" fmla="*/ 270 h 312"/>
                <a:gd name="T64" fmla="*/ 200 w 308"/>
                <a:gd name="T65" fmla="*/ 279 h 312"/>
                <a:gd name="T66" fmla="*/ 218 w 308"/>
                <a:gd name="T67" fmla="*/ 288 h 312"/>
                <a:gd name="T68" fmla="*/ 236 w 308"/>
                <a:gd name="T69" fmla="*/ 310 h 312"/>
                <a:gd name="T70" fmla="*/ 239 w 308"/>
                <a:gd name="T71" fmla="*/ 297 h 312"/>
                <a:gd name="T72" fmla="*/ 242 w 308"/>
                <a:gd name="T73" fmla="*/ 274 h 312"/>
                <a:gd name="T74" fmla="*/ 249 w 308"/>
                <a:gd name="T75" fmla="*/ 257 h 312"/>
                <a:gd name="T76" fmla="*/ 248 w 308"/>
                <a:gd name="T77" fmla="*/ 235 h 312"/>
                <a:gd name="T78" fmla="*/ 228 w 308"/>
                <a:gd name="T79" fmla="*/ 213 h 312"/>
                <a:gd name="T80" fmla="*/ 242 w 308"/>
                <a:gd name="T81" fmla="*/ 202 h 312"/>
                <a:gd name="T82" fmla="*/ 247 w 308"/>
                <a:gd name="T83" fmla="*/ 204 h 312"/>
                <a:gd name="T84" fmla="*/ 257 w 308"/>
                <a:gd name="T85" fmla="*/ 203 h 312"/>
                <a:gd name="T86" fmla="*/ 267 w 308"/>
                <a:gd name="T87" fmla="*/ 205 h 312"/>
                <a:gd name="T88" fmla="*/ 272 w 308"/>
                <a:gd name="T89" fmla="*/ 231 h 312"/>
                <a:gd name="T90" fmla="*/ 275 w 308"/>
                <a:gd name="T91" fmla="*/ 249 h 312"/>
                <a:gd name="T92" fmla="*/ 288 w 308"/>
                <a:gd name="T93" fmla="*/ 234 h 312"/>
                <a:gd name="T94" fmla="*/ 291 w 308"/>
                <a:gd name="T95" fmla="*/ 202 h 312"/>
                <a:gd name="T96" fmla="*/ 302 w 308"/>
                <a:gd name="T97" fmla="*/ 178 h 312"/>
                <a:gd name="T98" fmla="*/ 299 w 308"/>
                <a:gd name="T99" fmla="*/ 153 h 312"/>
                <a:gd name="T100" fmla="*/ 291 w 308"/>
                <a:gd name="T101" fmla="*/ 121 h 312"/>
                <a:gd name="T102" fmla="*/ 278 w 308"/>
                <a:gd name="T103" fmla="*/ 92 h 312"/>
                <a:gd name="T104" fmla="*/ 279 w 308"/>
                <a:gd name="T105" fmla="*/ 64 h 312"/>
                <a:gd name="T106" fmla="*/ 271 w 308"/>
                <a:gd name="T107" fmla="*/ 27 h 312"/>
                <a:gd name="T108" fmla="*/ 275 w 308"/>
                <a:gd name="T109" fmla="*/ 2 h 312"/>
                <a:gd name="T110" fmla="*/ 263 w 308"/>
                <a:gd name="T111" fmla="*/ 21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08" h="312">
                  <a:moveTo>
                    <a:pt x="263" y="21"/>
                  </a:moveTo>
                  <a:cubicBezTo>
                    <a:pt x="261" y="31"/>
                    <a:pt x="251" y="36"/>
                    <a:pt x="244" y="27"/>
                  </a:cubicBezTo>
                  <a:cubicBezTo>
                    <a:pt x="237" y="18"/>
                    <a:pt x="223" y="19"/>
                    <a:pt x="224" y="31"/>
                  </a:cubicBezTo>
                  <a:cubicBezTo>
                    <a:pt x="225" y="43"/>
                    <a:pt x="233" y="46"/>
                    <a:pt x="234" y="55"/>
                  </a:cubicBezTo>
                  <a:cubicBezTo>
                    <a:pt x="235" y="64"/>
                    <a:pt x="231" y="67"/>
                    <a:pt x="221" y="66"/>
                  </a:cubicBezTo>
                  <a:cubicBezTo>
                    <a:pt x="211" y="65"/>
                    <a:pt x="213" y="66"/>
                    <a:pt x="205" y="69"/>
                  </a:cubicBezTo>
                  <a:cubicBezTo>
                    <a:pt x="197" y="72"/>
                    <a:pt x="183" y="70"/>
                    <a:pt x="183" y="83"/>
                  </a:cubicBezTo>
                  <a:cubicBezTo>
                    <a:pt x="183" y="96"/>
                    <a:pt x="198" y="100"/>
                    <a:pt x="175" y="98"/>
                  </a:cubicBezTo>
                  <a:cubicBezTo>
                    <a:pt x="152" y="96"/>
                    <a:pt x="160" y="100"/>
                    <a:pt x="158" y="109"/>
                  </a:cubicBezTo>
                  <a:cubicBezTo>
                    <a:pt x="156" y="118"/>
                    <a:pt x="164" y="121"/>
                    <a:pt x="149" y="123"/>
                  </a:cubicBezTo>
                  <a:cubicBezTo>
                    <a:pt x="134" y="125"/>
                    <a:pt x="127" y="124"/>
                    <a:pt x="128" y="110"/>
                  </a:cubicBezTo>
                  <a:cubicBezTo>
                    <a:pt x="129" y="96"/>
                    <a:pt x="119" y="94"/>
                    <a:pt x="112" y="92"/>
                  </a:cubicBezTo>
                  <a:cubicBezTo>
                    <a:pt x="105" y="90"/>
                    <a:pt x="92" y="89"/>
                    <a:pt x="88" y="99"/>
                  </a:cubicBezTo>
                  <a:cubicBezTo>
                    <a:pt x="84" y="109"/>
                    <a:pt x="87" y="121"/>
                    <a:pt x="76" y="121"/>
                  </a:cubicBezTo>
                  <a:cubicBezTo>
                    <a:pt x="65" y="121"/>
                    <a:pt x="51" y="121"/>
                    <a:pt x="37" y="135"/>
                  </a:cubicBezTo>
                  <a:cubicBezTo>
                    <a:pt x="37" y="135"/>
                    <a:pt x="20" y="140"/>
                    <a:pt x="20" y="151"/>
                  </a:cubicBezTo>
                  <a:cubicBezTo>
                    <a:pt x="20" y="162"/>
                    <a:pt x="21" y="168"/>
                    <a:pt x="15" y="175"/>
                  </a:cubicBezTo>
                  <a:cubicBezTo>
                    <a:pt x="9" y="182"/>
                    <a:pt x="0" y="187"/>
                    <a:pt x="10" y="197"/>
                  </a:cubicBezTo>
                  <a:cubicBezTo>
                    <a:pt x="20" y="207"/>
                    <a:pt x="26" y="208"/>
                    <a:pt x="30" y="194"/>
                  </a:cubicBezTo>
                  <a:cubicBezTo>
                    <a:pt x="34" y="180"/>
                    <a:pt x="40" y="183"/>
                    <a:pt x="42" y="170"/>
                  </a:cubicBezTo>
                  <a:cubicBezTo>
                    <a:pt x="44" y="157"/>
                    <a:pt x="49" y="154"/>
                    <a:pt x="57" y="154"/>
                  </a:cubicBezTo>
                  <a:cubicBezTo>
                    <a:pt x="65" y="154"/>
                    <a:pt x="51" y="167"/>
                    <a:pt x="65" y="169"/>
                  </a:cubicBezTo>
                  <a:cubicBezTo>
                    <a:pt x="79" y="171"/>
                    <a:pt x="69" y="155"/>
                    <a:pt x="87" y="165"/>
                  </a:cubicBezTo>
                  <a:cubicBezTo>
                    <a:pt x="105" y="175"/>
                    <a:pt x="110" y="174"/>
                    <a:pt x="110" y="163"/>
                  </a:cubicBezTo>
                  <a:cubicBezTo>
                    <a:pt x="110" y="152"/>
                    <a:pt x="105" y="148"/>
                    <a:pt x="116" y="151"/>
                  </a:cubicBezTo>
                  <a:cubicBezTo>
                    <a:pt x="127" y="154"/>
                    <a:pt x="128" y="167"/>
                    <a:pt x="137" y="167"/>
                  </a:cubicBezTo>
                  <a:cubicBezTo>
                    <a:pt x="146" y="167"/>
                    <a:pt x="150" y="173"/>
                    <a:pt x="150" y="180"/>
                  </a:cubicBezTo>
                  <a:cubicBezTo>
                    <a:pt x="150" y="187"/>
                    <a:pt x="150" y="185"/>
                    <a:pt x="144" y="194"/>
                  </a:cubicBezTo>
                  <a:cubicBezTo>
                    <a:pt x="138" y="203"/>
                    <a:pt x="132" y="212"/>
                    <a:pt x="137" y="217"/>
                  </a:cubicBezTo>
                  <a:cubicBezTo>
                    <a:pt x="142" y="222"/>
                    <a:pt x="142" y="228"/>
                    <a:pt x="142" y="234"/>
                  </a:cubicBezTo>
                  <a:cubicBezTo>
                    <a:pt x="142" y="240"/>
                    <a:pt x="142" y="244"/>
                    <a:pt x="152" y="249"/>
                  </a:cubicBezTo>
                  <a:cubicBezTo>
                    <a:pt x="162" y="254"/>
                    <a:pt x="170" y="270"/>
                    <a:pt x="179" y="270"/>
                  </a:cubicBezTo>
                  <a:cubicBezTo>
                    <a:pt x="188" y="270"/>
                    <a:pt x="190" y="279"/>
                    <a:pt x="200" y="279"/>
                  </a:cubicBezTo>
                  <a:cubicBezTo>
                    <a:pt x="210" y="279"/>
                    <a:pt x="213" y="276"/>
                    <a:pt x="218" y="288"/>
                  </a:cubicBezTo>
                  <a:cubicBezTo>
                    <a:pt x="223" y="300"/>
                    <a:pt x="225" y="312"/>
                    <a:pt x="236" y="310"/>
                  </a:cubicBezTo>
                  <a:cubicBezTo>
                    <a:pt x="247" y="308"/>
                    <a:pt x="239" y="309"/>
                    <a:pt x="239" y="297"/>
                  </a:cubicBezTo>
                  <a:cubicBezTo>
                    <a:pt x="239" y="285"/>
                    <a:pt x="232" y="277"/>
                    <a:pt x="242" y="274"/>
                  </a:cubicBezTo>
                  <a:cubicBezTo>
                    <a:pt x="252" y="271"/>
                    <a:pt x="248" y="269"/>
                    <a:pt x="249" y="257"/>
                  </a:cubicBezTo>
                  <a:cubicBezTo>
                    <a:pt x="250" y="245"/>
                    <a:pt x="261" y="243"/>
                    <a:pt x="248" y="235"/>
                  </a:cubicBezTo>
                  <a:cubicBezTo>
                    <a:pt x="235" y="227"/>
                    <a:pt x="220" y="220"/>
                    <a:pt x="228" y="213"/>
                  </a:cubicBezTo>
                  <a:cubicBezTo>
                    <a:pt x="236" y="206"/>
                    <a:pt x="242" y="212"/>
                    <a:pt x="242" y="202"/>
                  </a:cubicBezTo>
                  <a:cubicBezTo>
                    <a:pt x="242" y="192"/>
                    <a:pt x="243" y="193"/>
                    <a:pt x="247" y="204"/>
                  </a:cubicBezTo>
                  <a:cubicBezTo>
                    <a:pt x="251" y="215"/>
                    <a:pt x="257" y="216"/>
                    <a:pt x="257" y="203"/>
                  </a:cubicBezTo>
                  <a:cubicBezTo>
                    <a:pt x="257" y="190"/>
                    <a:pt x="262" y="189"/>
                    <a:pt x="267" y="205"/>
                  </a:cubicBezTo>
                  <a:cubicBezTo>
                    <a:pt x="272" y="221"/>
                    <a:pt x="263" y="220"/>
                    <a:pt x="272" y="231"/>
                  </a:cubicBezTo>
                  <a:cubicBezTo>
                    <a:pt x="281" y="242"/>
                    <a:pt x="270" y="248"/>
                    <a:pt x="275" y="249"/>
                  </a:cubicBezTo>
                  <a:cubicBezTo>
                    <a:pt x="280" y="250"/>
                    <a:pt x="287" y="253"/>
                    <a:pt x="288" y="234"/>
                  </a:cubicBezTo>
                  <a:cubicBezTo>
                    <a:pt x="289" y="215"/>
                    <a:pt x="279" y="207"/>
                    <a:pt x="291" y="202"/>
                  </a:cubicBezTo>
                  <a:cubicBezTo>
                    <a:pt x="303" y="197"/>
                    <a:pt x="302" y="191"/>
                    <a:pt x="302" y="178"/>
                  </a:cubicBezTo>
                  <a:cubicBezTo>
                    <a:pt x="302" y="165"/>
                    <a:pt x="308" y="163"/>
                    <a:pt x="299" y="153"/>
                  </a:cubicBezTo>
                  <a:cubicBezTo>
                    <a:pt x="290" y="143"/>
                    <a:pt x="303" y="134"/>
                    <a:pt x="291" y="121"/>
                  </a:cubicBezTo>
                  <a:cubicBezTo>
                    <a:pt x="279" y="108"/>
                    <a:pt x="271" y="103"/>
                    <a:pt x="278" y="92"/>
                  </a:cubicBezTo>
                  <a:cubicBezTo>
                    <a:pt x="285" y="81"/>
                    <a:pt x="292" y="80"/>
                    <a:pt x="279" y="64"/>
                  </a:cubicBezTo>
                  <a:cubicBezTo>
                    <a:pt x="266" y="48"/>
                    <a:pt x="261" y="33"/>
                    <a:pt x="271" y="27"/>
                  </a:cubicBezTo>
                  <a:cubicBezTo>
                    <a:pt x="281" y="21"/>
                    <a:pt x="283" y="4"/>
                    <a:pt x="275" y="2"/>
                  </a:cubicBezTo>
                  <a:cubicBezTo>
                    <a:pt x="267" y="0"/>
                    <a:pt x="265" y="11"/>
                    <a:pt x="263" y="21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rnd">
              <a:solidFill>
                <a:schemeClr val="bg1">
                  <a:lumMod val="9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279" name="Freeform 25412"/>
            <p:cNvSpPr>
              <a:spLocks/>
            </p:cNvSpPr>
            <p:nvPr/>
          </p:nvSpPr>
          <p:spPr bwMode="auto">
            <a:xfrm>
              <a:off x="7174367" y="3668281"/>
              <a:ext cx="13416" cy="12311"/>
            </a:xfrm>
            <a:custGeom>
              <a:avLst/>
              <a:gdLst>
                <a:gd name="T0" fmla="*/ 8 w 36"/>
                <a:gd name="T1" fmla="*/ 23 h 33"/>
                <a:gd name="T2" fmla="*/ 27 w 36"/>
                <a:gd name="T3" fmla="*/ 23 h 33"/>
                <a:gd name="T4" fmla="*/ 30 w 36"/>
                <a:gd name="T5" fmla="*/ 7 h 33"/>
                <a:gd name="T6" fmla="*/ 8 w 36"/>
                <a:gd name="T7" fmla="*/ 12 h 33"/>
                <a:gd name="T8" fmla="*/ 8 w 36"/>
                <a:gd name="T9" fmla="*/ 2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3">
                  <a:moveTo>
                    <a:pt x="8" y="23"/>
                  </a:moveTo>
                  <a:cubicBezTo>
                    <a:pt x="16" y="30"/>
                    <a:pt x="23" y="33"/>
                    <a:pt x="27" y="23"/>
                  </a:cubicBezTo>
                  <a:cubicBezTo>
                    <a:pt x="31" y="13"/>
                    <a:pt x="36" y="11"/>
                    <a:pt x="30" y="7"/>
                  </a:cubicBezTo>
                  <a:cubicBezTo>
                    <a:pt x="24" y="3"/>
                    <a:pt x="11" y="0"/>
                    <a:pt x="8" y="12"/>
                  </a:cubicBezTo>
                  <a:cubicBezTo>
                    <a:pt x="8" y="12"/>
                    <a:pt x="0" y="16"/>
                    <a:pt x="8" y="23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rnd">
              <a:solidFill>
                <a:schemeClr val="bg1">
                  <a:lumMod val="9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280" name="Freeform 25417"/>
            <p:cNvSpPr>
              <a:spLocks/>
            </p:cNvSpPr>
            <p:nvPr/>
          </p:nvSpPr>
          <p:spPr bwMode="auto">
            <a:xfrm>
              <a:off x="6543505" y="3689905"/>
              <a:ext cx="260268" cy="284574"/>
            </a:xfrm>
            <a:custGeom>
              <a:avLst/>
              <a:gdLst>
                <a:gd name="T0" fmla="*/ 690 w 698"/>
                <a:gd name="T1" fmla="*/ 711 h 763"/>
                <a:gd name="T2" fmla="*/ 687 w 698"/>
                <a:gd name="T3" fmla="*/ 607 h 763"/>
                <a:gd name="T4" fmla="*/ 685 w 698"/>
                <a:gd name="T5" fmla="*/ 561 h 763"/>
                <a:gd name="T6" fmla="*/ 622 w 698"/>
                <a:gd name="T7" fmla="*/ 536 h 763"/>
                <a:gd name="T8" fmla="*/ 618 w 698"/>
                <a:gd name="T9" fmla="*/ 522 h 763"/>
                <a:gd name="T10" fmla="*/ 595 w 698"/>
                <a:gd name="T11" fmla="*/ 486 h 763"/>
                <a:gd name="T12" fmla="*/ 560 w 698"/>
                <a:gd name="T13" fmla="*/ 445 h 763"/>
                <a:gd name="T14" fmla="*/ 534 w 698"/>
                <a:gd name="T15" fmla="*/ 399 h 763"/>
                <a:gd name="T16" fmla="*/ 530 w 698"/>
                <a:gd name="T17" fmla="*/ 351 h 763"/>
                <a:gd name="T18" fmla="*/ 468 w 698"/>
                <a:gd name="T19" fmla="*/ 371 h 763"/>
                <a:gd name="T20" fmla="*/ 502 w 698"/>
                <a:gd name="T21" fmla="*/ 326 h 763"/>
                <a:gd name="T22" fmla="*/ 481 w 698"/>
                <a:gd name="T23" fmla="*/ 322 h 763"/>
                <a:gd name="T24" fmla="*/ 441 w 698"/>
                <a:gd name="T25" fmla="*/ 292 h 763"/>
                <a:gd name="T26" fmla="*/ 418 w 698"/>
                <a:gd name="T27" fmla="*/ 250 h 763"/>
                <a:gd name="T28" fmla="*/ 385 w 698"/>
                <a:gd name="T29" fmla="*/ 244 h 763"/>
                <a:gd name="T30" fmla="*/ 371 w 698"/>
                <a:gd name="T31" fmla="*/ 261 h 763"/>
                <a:gd name="T32" fmla="*/ 327 w 698"/>
                <a:gd name="T33" fmla="*/ 219 h 763"/>
                <a:gd name="T34" fmla="*/ 287 w 698"/>
                <a:gd name="T35" fmla="*/ 177 h 763"/>
                <a:gd name="T36" fmla="*/ 209 w 698"/>
                <a:gd name="T37" fmla="*/ 118 h 763"/>
                <a:gd name="T38" fmla="*/ 148 w 698"/>
                <a:gd name="T39" fmla="*/ 46 h 763"/>
                <a:gd name="T40" fmla="*/ 79 w 698"/>
                <a:gd name="T41" fmla="*/ 48 h 763"/>
                <a:gd name="T42" fmla="*/ 8 w 698"/>
                <a:gd name="T43" fmla="*/ 42 h 763"/>
                <a:gd name="T44" fmla="*/ 67 w 698"/>
                <a:gd name="T45" fmla="*/ 121 h 763"/>
                <a:gd name="T46" fmla="*/ 121 w 698"/>
                <a:gd name="T47" fmla="*/ 155 h 763"/>
                <a:gd name="T48" fmla="*/ 165 w 698"/>
                <a:gd name="T49" fmla="*/ 214 h 763"/>
                <a:gd name="T50" fmla="*/ 222 w 698"/>
                <a:gd name="T51" fmla="*/ 264 h 763"/>
                <a:gd name="T52" fmla="*/ 248 w 698"/>
                <a:gd name="T53" fmla="*/ 319 h 763"/>
                <a:gd name="T54" fmla="*/ 290 w 698"/>
                <a:gd name="T55" fmla="*/ 379 h 763"/>
                <a:gd name="T56" fmla="*/ 341 w 698"/>
                <a:gd name="T57" fmla="*/ 460 h 763"/>
                <a:gd name="T58" fmla="*/ 367 w 698"/>
                <a:gd name="T59" fmla="*/ 514 h 763"/>
                <a:gd name="T60" fmla="*/ 405 w 698"/>
                <a:gd name="T61" fmla="*/ 571 h 763"/>
                <a:gd name="T62" fmla="*/ 455 w 698"/>
                <a:gd name="T63" fmla="*/ 628 h 763"/>
                <a:gd name="T64" fmla="*/ 524 w 698"/>
                <a:gd name="T65" fmla="*/ 684 h 763"/>
                <a:gd name="T66" fmla="*/ 604 w 698"/>
                <a:gd name="T67" fmla="*/ 755 h 763"/>
                <a:gd name="T68" fmla="*/ 644 w 698"/>
                <a:gd name="T69" fmla="*/ 744 h 763"/>
                <a:gd name="T70" fmla="*/ 681 w 698"/>
                <a:gd name="T71" fmla="*/ 745 h 7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98" h="763">
                  <a:moveTo>
                    <a:pt x="681" y="745"/>
                  </a:moveTo>
                  <a:cubicBezTo>
                    <a:pt x="684" y="734"/>
                    <a:pt x="694" y="733"/>
                    <a:pt x="690" y="711"/>
                  </a:cubicBezTo>
                  <a:cubicBezTo>
                    <a:pt x="686" y="689"/>
                    <a:pt x="685" y="665"/>
                    <a:pt x="685" y="653"/>
                  </a:cubicBezTo>
                  <a:cubicBezTo>
                    <a:pt x="685" y="641"/>
                    <a:pt x="681" y="618"/>
                    <a:pt x="687" y="607"/>
                  </a:cubicBezTo>
                  <a:cubicBezTo>
                    <a:pt x="693" y="596"/>
                    <a:pt x="696" y="589"/>
                    <a:pt x="697" y="581"/>
                  </a:cubicBezTo>
                  <a:cubicBezTo>
                    <a:pt x="698" y="573"/>
                    <a:pt x="697" y="574"/>
                    <a:pt x="685" y="561"/>
                  </a:cubicBezTo>
                  <a:cubicBezTo>
                    <a:pt x="673" y="548"/>
                    <a:pt x="664" y="530"/>
                    <a:pt x="654" y="529"/>
                  </a:cubicBezTo>
                  <a:cubicBezTo>
                    <a:pt x="644" y="528"/>
                    <a:pt x="625" y="524"/>
                    <a:pt x="622" y="536"/>
                  </a:cubicBezTo>
                  <a:cubicBezTo>
                    <a:pt x="619" y="548"/>
                    <a:pt x="596" y="558"/>
                    <a:pt x="602" y="546"/>
                  </a:cubicBezTo>
                  <a:cubicBezTo>
                    <a:pt x="608" y="534"/>
                    <a:pt x="612" y="529"/>
                    <a:pt x="618" y="522"/>
                  </a:cubicBezTo>
                  <a:cubicBezTo>
                    <a:pt x="624" y="515"/>
                    <a:pt x="620" y="505"/>
                    <a:pt x="604" y="505"/>
                  </a:cubicBezTo>
                  <a:cubicBezTo>
                    <a:pt x="588" y="505"/>
                    <a:pt x="597" y="500"/>
                    <a:pt x="595" y="486"/>
                  </a:cubicBezTo>
                  <a:cubicBezTo>
                    <a:pt x="593" y="472"/>
                    <a:pt x="602" y="465"/>
                    <a:pt x="588" y="456"/>
                  </a:cubicBezTo>
                  <a:cubicBezTo>
                    <a:pt x="574" y="447"/>
                    <a:pt x="573" y="445"/>
                    <a:pt x="560" y="445"/>
                  </a:cubicBezTo>
                  <a:cubicBezTo>
                    <a:pt x="547" y="445"/>
                    <a:pt x="538" y="440"/>
                    <a:pt x="536" y="433"/>
                  </a:cubicBezTo>
                  <a:cubicBezTo>
                    <a:pt x="534" y="426"/>
                    <a:pt x="527" y="414"/>
                    <a:pt x="534" y="399"/>
                  </a:cubicBezTo>
                  <a:cubicBezTo>
                    <a:pt x="541" y="384"/>
                    <a:pt x="547" y="379"/>
                    <a:pt x="547" y="371"/>
                  </a:cubicBezTo>
                  <a:cubicBezTo>
                    <a:pt x="547" y="363"/>
                    <a:pt x="545" y="356"/>
                    <a:pt x="530" y="351"/>
                  </a:cubicBezTo>
                  <a:cubicBezTo>
                    <a:pt x="515" y="346"/>
                    <a:pt x="513" y="346"/>
                    <a:pt x="501" y="355"/>
                  </a:cubicBezTo>
                  <a:cubicBezTo>
                    <a:pt x="489" y="364"/>
                    <a:pt x="464" y="385"/>
                    <a:pt x="468" y="371"/>
                  </a:cubicBezTo>
                  <a:cubicBezTo>
                    <a:pt x="472" y="357"/>
                    <a:pt x="496" y="354"/>
                    <a:pt x="498" y="347"/>
                  </a:cubicBezTo>
                  <a:cubicBezTo>
                    <a:pt x="500" y="340"/>
                    <a:pt x="492" y="328"/>
                    <a:pt x="502" y="326"/>
                  </a:cubicBezTo>
                  <a:cubicBezTo>
                    <a:pt x="512" y="324"/>
                    <a:pt x="503" y="312"/>
                    <a:pt x="500" y="311"/>
                  </a:cubicBezTo>
                  <a:cubicBezTo>
                    <a:pt x="497" y="310"/>
                    <a:pt x="488" y="315"/>
                    <a:pt x="481" y="322"/>
                  </a:cubicBezTo>
                  <a:cubicBezTo>
                    <a:pt x="474" y="329"/>
                    <a:pt x="459" y="328"/>
                    <a:pt x="457" y="319"/>
                  </a:cubicBezTo>
                  <a:cubicBezTo>
                    <a:pt x="455" y="310"/>
                    <a:pt x="450" y="299"/>
                    <a:pt x="441" y="292"/>
                  </a:cubicBezTo>
                  <a:cubicBezTo>
                    <a:pt x="432" y="285"/>
                    <a:pt x="430" y="280"/>
                    <a:pt x="423" y="274"/>
                  </a:cubicBezTo>
                  <a:cubicBezTo>
                    <a:pt x="416" y="268"/>
                    <a:pt x="426" y="256"/>
                    <a:pt x="418" y="250"/>
                  </a:cubicBezTo>
                  <a:cubicBezTo>
                    <a:pt x="410" y="244"/>
                    <a:pt x="401" y="250"/>
                    <a:pt x="399" y="257"/>
                  </a:cubicBezTo>
                  <a:cubicBezTo>
                    <a:pt x="397" y="264"/>
                    <a:pt x="393" y="254"/>
                    <a:pt x="385" y="244"/>
                  </a:cubicBezTo>
                  <a:cubicBezTo>
                    <a:pt x="377" y="234"/>
                    <a:pt x="366" y="231"/>
                    <a:pt x="365" y="237"/>
                  </a:cubicBezTo>
                  <a:cubicBezTo>
                    <a:pt x="364" y="243"/>
                    <a:pt x="381" y="260"/>
                    <a:pt x="371" y="261"/>
                  </a:cubicBezTo>
                  <a:cubicBezTo>
                    <a:pt x="361" y="262"/>
                    <a:pt x="371" y="265"/>
                    <a:pt x="357" y="251"/>
                  </a:cubicBezTo>
                  <a:cubicBezTo>
                    <a:pt x="343" y="237"/>
                    <a:pt x="334" y="218"/>
                    <a:pt x="327" y="219"/>
                  </a:cubicBezTo>
                  <a:cubicBezTo>
                    <a:pt x="320" y="220"/>
                    <a:pt x="315" y="219"/>
                    <a:pt x="312" y="205"/>
                  </a:cubicBezTo>
                  <a:cubicBezTo>
                    <a:pt x="309" y="191"/>
                    <a:pt x="298" y="186"/>
                    <a:pt x="287" y="177"/>
                  </a:cubicBezTo>
                  <a:cubicBezTo>
                    <a:pt x="276" y="168"/>
                    <a:pt x="252" y="151"/>
                    <a:pt x="238" y="147"/>
                  </a:cubicBezTo>
                  <a:cubicBezTo>
                    <a:pt x="224" y="143"/>
                    <a:pt x="217" y="136"/>
                    <a:pt x="209" y="118"/>
                  </a:cubicBezTo>
                  <a:cubicBezTo>
                    <a:pt x="201" y="100"/>
                    <a:pt x="190" y="86"/>
                    <a:pt x="183" y="75"/>
                  </a:cubicBezTo>
                  <a:cubicBezTo>
                    <a:pt x="176" y="64"/>
                    <a:pt x="158" y="46"/>
                    <a:pt x="148" y="46"/>
                  </a:cubicBezTo>
                  <a:cubicBezTo>
                    <a:pt x="138" y="46"/>
                    <a:pt x="139" y="60"/>
                    <a:pt x="126" y="51"/>
                  </a:cubicBezTo>
                  <a:cubicBezTo>
                    <a:pt x="113" y="42"/>
                    <a:pt x="87" y="50"/>
                    <a:pt x="79" y="48"/>
                  </a:cubicBezTo>
                  <a:cubicBezTo>
                    <a:pt x="71" y="46"/>
                    <a:pt x="65" y="44"/>
                    <a:pt x="59" y="37"/>
                  </a:cubicBezTo>
                  <a:cubicBezTo>
                    <a:pt x="53" y="30"/>
                    <a:pt x="0" y="0"/>
                    <a:pt x="8" y="42"/>
                  </a:cubicBezTo>
                  <a:cubicBezTo>
                    <a:pt x="8" y="42"/>
                    <a:pt x="14" y="72"/>
                    <a:pt x="28" y="85"/>
                  </a:cubicBezTo>
                  <a:cubicBezTo>
                    <a:pt x="42" y="98"/>
                    <a:pt x="61" y="112"/>
                    <a:pt x="67" y="121"/>
                  </a:cubicBezTo>
                  <a:cubicBezTo>
                    <a:pt x="73" y="130"/>
                    <a:pt x="88" y="140"/>
                    <a:pt x="96" y="141"/>
                  </a:cubicBezTo>
                  <a:cubicBezTo>
                    <a:pt x="104" y="142"/>
                    <a:pt x="116" y="146"/>
                    <a:pt x="121" y="155"/>
                  </a:cubicBezTo>
                  <a:cubicBezTo>
                    <a:pt x="126" y="164"/>
                    <a:pt x="134" y="190"/>
                    <a:pt x="145" y="193"/>
                  </a:cubicBezTo>
                  <a:cubicBezTo>
                    <a:pt x="156" y="196"/>
                    <a:pt x="165" y="206"/>
                    <a:pt x="165" y="214"/>
                  </a:cubicBezTo>
                  <a:cubicBezTo>
                    <a:pt x="165" y="222"/>
                    <a:pt x="169" y="235"/>
                    <a:pt x="185" y="237"/>
                  </a:cubicBezTo>
                  <a:cubicBezTo>
                    <a:pt x="201" y="239"/>
                    <a:pt x="213" y="255"/>
                    <a:pt x="222" y="264"/>
                  </a:cubicBezTo>
                  <a:cubicBezTo>
                    <a:pt x="231" y="273"/>
                    <a:pt x="236" y="284"/>
                    <a:pt x="236" y="294"/>
                  </a:cubicBezTo>
                  <a:cubicBezTo>
                    <a:pt x="236" y="304"/>
                    <a:pt x="250" y="298"/>
                    <a:pt x="248" y="319"/>
                  </a:cubicBezTo>
                  <a:cubicBezTo>
                    <a:pt x="246" y="340"/>
                    <a:pt x="248" y="356"/>
                    <a:pt x="257" y="360"/>
                  </a:cubicBezTo>
                  <a:cubicBezTo>
                    <a:pt x="266" y="364"/>
                    <a:pt x="278" y="362"/>
                    <a:pt x="290" y="379"/>
                  </a:cubicBezTo>
                  <a:cubicBezTo>
                    <a:pt x="302" y="396"/>
                    <a:pt x="313" y="415"/>
                    <a:pt x="323" y="427"/>
                  </a:cubicBezTo>
                  <a:cubicBezTo>
                    <a:pt x="333" y="439"/>
                    <a:pt x="337" y="446"/>
                    <a:pt x="341" y="460"/>
                  </a:cubicBezTo>
                  <a:cubicBezTo>
                    <a:pt x="345" y="474"/>
                    <a:pt x="345" y="484"/>
                    <a:pt x="354" y="491"/>
                  </a:cubicBezTo>
                  <a:cubicBezTo>
                    <a:pt x="363" y="498"/>
                    <a:pt x="365" y="504"/>
                    <a:pt x="367" y="514"/>
                  </a:cubicBezTo>
                  <a:cubicBezTo>
                    <a:pt x="369" y="524"/>
                    <a:pt x="369" y="538"/>
                    <a:pt x="378" y="543"/>
                  </a:cubicBezTo>
                  <a:cubicBezTo>
                    <a:pt x="387" y="548"/>
                    <a:pt x="403" y="558"/>
                    <a:pt x="405" y="571"/>
                  </a:cubicBezTo>
                  <a:cubicBezTo>
                    <a:pt x="407" y="584"/>
                    <a:pt x="418" y="591"/>
                    <a:pt x="428" y="595"/>
                  </a:cubicBezTo>
                  <a:cubicBezTo>
                    <a:pt x="438" y="599"/>
                    <a:pt x="451" y="614"/>
                    <a:pt x="455" y="628"/>
                  </a:cubicBezTo>
                  <a:cubicBezTo>
                    <a:pt x="459" y="642"/>
                    <a:pt x="455" y="641"/>
                    <a:pt x="476" y="651"/>
                  </a:cubicBezTo>
                  <a:cubicBezTo>
                    <a:pt x="497" y="661"/>
                    <a:pt x="508" y="677"/>
                    <a:pt x="524" y="684"/>
                  </a:cubicBezTo>
                  <a:cubicBezTo>
                    <a:pt x="540" y="691"/>
                    <a:pt x="563" y="713"/>
                    <a:pt x="572" y="723"/>
                  </a:cubicBezTo>
                  <a:cubicBezTo>
                    <a:pt x="581" y="733"/>
                    <a:pt x="602" y="763"/>
                    <a:pt x="604" y="755"/>
                  </a:cubicBezTo>
                  <a:cubicBezTo>
                    <a:pt x="606" y="747"/>
                    <a:pt x="605" y="736"/>
                    <a:pt x="619" y="743"/>
                  </a:cubicBezTo>
                  <a:cubicBezTo>
                    <a:pt x="633" y="750"/>
                    <a:pt x="633" y="747"/>
                    <a:pt x="644" y="744"/>
                  </a:cubicBezTo>
                  <a:cubicBezTo>
                    <a:pt x="655" y="741"/>
                    <a:pt x="657" y="736"/>
                    <a:pt x="667" y="745"/>
                  </a:cubicBezTo>
                  <a:cubicBezTo>
                    <a:pt x="677" y="754"/>
                    <a:pt x="678" y="756"/>
                    <a:pt x="681" y="74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rnd">
              <a:solidFill>
                <a:schemeClr val="bg1">
                  <a:lumMod val="9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281" name="Freeform 25418"/>
            <p:cNvSpPr>
              <a:spLocks/>
            </p:cNvSpPr>
            <p:nvPr/>
          </p:nvSpPr>
          <p:spPr bwMode="auto">
            <a:xfrm>
              <a:off x="6589751" y="3794391"/>
              <a:ext cx="23044" cy="23359"/>
            </a:xfrm>
            <a:custGeom>
              <a:avLst/>
              <a:gdLst>
                <a:gd name="T0" fmla="*/ 38 w 62"/>
                <a:gd name="T1" fmla="*/ 18 h 63"/>
                <a:gd name="T2" fmla="*/ 11 w 62"/>
                <a:gd name="T3" fmla="*/ 6 h 63"/>
                <a:gd name="T4" fmla="*/ 14 w 62"/>
                <a:gd name="T5" fmla="*/ 30 h 63"/>
                <a:gd name="T6" fmla="*/ 38 w 62"/>
                <a:gd name="T7" fmla="*/ 55 h 63"/>
                <a:gd name="T8" fmla="*/ 57 w 62"/>
                <a:gd name="T9" fmla="*/ 51 h 63"/>
                <a:gd name="T10" fmla="*/ 38 w 62"/>
                <a:gd name="T11" fmla="*/ 18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2" h="63">
                  <a:moveTo>
                    <a:pt x="38" y="18"/>
                  </a:moveTo>
                  <a:cubicBezTo>
                    <a:pt x="38" y="18"/>
                    <a:pt x="22" y="0"/>
                    <a:pt x="11" y="6"/>
                  </a:cubicBezTo>
                  <a:cubicBezTo>
                    <a:pt x="0" y="12"/>
                    <a:pt x="6" y="19"/>
                    <a:pt x="14" y="30"/>
                  </a:cubicBezTo>
                  <a:cubicBezTo>
                    <a:pt x="22" y="41"/>
                    <a:pt x="29" y="47"/>
                    <a:pt x="38" y="55"/>
                  </a:cubicBezTo>
                  <a:cubicBezTo>
                    <a:pt x="47" y="63"/>
                    <a:pt x="54" y="61"/>
                    <a:pt x="57" y="51"/>
                  </a:cubicBezTo>
                  <a:cubicBezTo>
                    <a:pt x="60" y="41"/>
                    <a:pt x="62" y="37"/>
                    <a:pt x="38" y="18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rnd">
              <a:solidFill>
                <a:schemeClr val="bg1">
                  <a:lumMod val="9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282" name="Freeform 25419"/>
            <p:cNvSpPr>
              <a:spLocks/>
            </p:cNvSpPr>
            <p:nvPr/>
          </p:nvSpPr>
          <p:spPr bwMode="auto">
            <a:xfrm>
              <a:off x="6555026" y="3762666"/>
              <a:ext cx="21939" cy="15310"/>
            </a:xfrm>
            <a:custGeom>
              <a:avLst/>
              <a:gdLst>
                <a:gd name="T0" fmla="*/ 34 w 59"/>
                <a:gd name="T1" fmla="*/ 10 h 41"/>
                <a:gd name="T2" fmla="*/ 14 w 59"/>
                <a:gd name="T3" fmla="*/ 2 h 41"/>
                <a:gd name="T4" fmla="*/ 12 w 59"/>
                <a:gd name="T5" fmla="*/ 19 h 41"/>
                <a:gd name="T6" fmla="*/ 37 w 59"/>
                <a:gd name="T7" fmla="*/ 28 h 41"/>
                <a:gd name="T8" fmla="*/ 56 w 59"/>
                <a:gd name="T9" fmla="*/ 31 h 41"/>
                <a:gd name="T10" fmla="*/ 34 w 59"/>
                <a:gd name="T11" fmla="*/ 1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9" h="41">
                  <a:moveTo>
                    <a:pt x="34" y="10"/>
                  </a:moveTo>
                  <a:cubicBezTo>
                    <a:pt x="34" y="10"/>
                    <a:pt x="21" y="0"/>
                    <a:pt x="14" y="2"/>
                  </a:cubicBezTo>
                  <a:cubicBezTo>
                    <a:pt x="7" y="4"/>
                    <a:pt x="0" y="18"/>
                    <a:pt x="12" y="19"/>
                  </a:cubicBezTo>
                  <a:cubicBezTo>
                    <a:pt x="24" y="20"/>
                    <a:pt x="27" y="15"/>
                    <a:pt x="37" y="28"/>
                  </a:cubicBezTo>
                  <a:cubicBezTo>
                    <a:pt x="47" y="41"/>
                    <a:pt x="59" y="40"/>
                    <a:pt x="56" y="31"/>
                  </a:cubicBezTo>
                  <a:cubicBezTo>
                    <a:pt x="53" y="22"/>
                    <a:pt x="48" y="18"/>
                    <a:pt x="34" y="1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rnd">
              <a:solidFill>
                <a:schemeClr val="bg1">
                  <a:lumMod val="9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283" name="Freeform 25420"/>
            <p:cNvSpPr>
              <a:spLocks/>
            </p:cNvSpPr>
            <p:nvPr/>
          </p:nvSpPr>
          <p:spPr bwMode="auto">
            <a:xfrm>
              <a:off x="6587383" y="3776397"/>
              <a:ext cx="14205" cy="6313"/>
            </a:xfrm>
            <a:custGeom>
              <a:avLst/>
              <a:gdLst>
                <a:gd name="T0" fmla="*/ 20 w 38"/>
                <a:gd name="T1" fmla="*/ 6 h 17"/>
                <a:gd name="T2" fmla="*/ 8 w 38"/>
                <a:gd name="T3" fmla="*/ 1 h 17"/>
                <a:gd name="T4" fmla="*/ 11 w 38"/>
                <a:gd name="T5" fmla="*/ 13 h 17"/>
                <a:gd name="T6" fmla="*/ 20 w 38"/>
                <a:gd name="T7" fmla="*/ 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8" h="17">
                  <a:moveTo>
                    <a:pt x="20" y="6"/>
                  </a:moveTo>
                  <a:cubicBezTo>
                    <a:pt x="20" y="6"/>
                    <a:pt x="13" y="2"/>
                    <a:pt x="8" y="1"/>
                  </a:cubicBezTo>
                  <a:cubicBezTo>
                    <a:pt x="3" y="0"/>
                    <a:pt x="0" y="9"/>
                    <a:pt x="11" y="13"/>
                  </a:cubicBezTo>
                  <a:cubicBezTo>
                    <a:pt x="22" y="17"/>
                    <a:pt x="38" y="17"/>
                    <a:pt x="20" y="6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rnd">
              <a:solidFill>
                <a:schemeClr val="bg1">
                  <a:lumMod val="9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284" name="Freeform 25421"/>
            <p:cNvSpPr>
              <a:spLocks/>
            </p:cNvSpPr>
            <p:nvPr/>
          </p:nvSpPr>
          <p:spPr bwMode="auto">
            <a:xfrm>
              <a:off x="6617687" y="3830535"/>
              <a:ext cx="8207" cy="15941"/>
            </a:xfrm>
            <a:custGeom>
              <a:avLst/>
              <a:gdLst>
                <a:gd name="T0" fmla="*/ 9 w 22"/>
                <a:gd name="T1" fmla="*/ 2 h 43"/>
                <a:gd name="T2" fmla="*/ 7 w 22"/>
                <a:gd name="T3" fmla="*/ 13 h 43"/>
                <a:gd name="T4" fmla="*/ 9 w 22"/>
                <a:gd name="T5" fmla="*/ 23 h 43"/>
                <a:gd name="T6" fmla="*/ 1 w 22"/>
                <a:gd name="T7" fmla="*/ 38 h 43"/>
                <a:gd name="T8" fmla="*/ 15 w 22"/>
                <a:gd name="T9" fmla="*/ 36 h 43"/>
                <a:gd name="T10" fmla="*/ 22 w 22"/>
                <a:gd name="T11" fmla="*/ 17 h 43"/>
                <a:gd name="T12" fmla="*/ 9 w 22"/>
                <a:gd name="T13" fmla="*/ 2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" h="43">
                  <a:moveTo>
                    <a:pt x="9" y="2"/>
                  </a:moveTo>
                  <a:cubicBezTo>
                    <a:pt x="9" y="2"/>
                    <a:pt x="2" y="10"/>
                    <a:pt x="7" y="13"/>
                  </a:cubicBezTo>
                  <a:cubicBezTo>
                    <a:pt x="12" y="16"/>
                    <a:pt x="12" y="20"/>
                    <a:pt x="9" y="23"/>
                  </a:cubicBezTo>
                  <a:cubicBezTo>
                    <a:pt x="6" y="26"/>
                    <a:pt x="0" y="35"/>
                    <a:pt x="1" y="38"/>
                  </a:cubicBezTo>
                  <a:cubicBezTo>
                    <a:pt x="2" y="41"/>
                    <a:pt x="12" y="43"/>
                    <a:pt x="15" y="36"/>
                  </a:cubicBezTo>
                  <a:cubicBezTo>
                    <a:pt x="18" y="29"/>
                    <a:pt x="22" y="25"/>
                    <a:pt x="22" y="17"/>
                  </a:cubicBezTo>
                  <a:cubicBezTo>
                    <a:pt x="22" y="9"/>
                    <a:pt x="16" y="0"/>
                    <a:pt x="9" y="2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rnd">
              <a:solidFill>
                <a:schemeClr val="bg1">
                  <a:lumMod val="9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285" name="Freeform 25422"/>
            <p:cNvSpPr>
              <a:spLocks/>
            </p:cNvSpPr>
            <p:nvPr/>
          </p:nvSpPr>
          <p:spPr bwMode="auto">
            <a:xfrm>
              <a:off x="6624789" y="3853263"/>
              <a:ext cx="17835" cy="20519"/>
            </a:xfrm>
            <a:custGeom>
              <a:avLst/>
              <a:gdLst>
                <a:gd name="T0" fmla="*/ 29 w 48"/>
                <a:gd name="T1" fmla="*/ 10 h 55"/>
                <a:gd name="T2" fmla="*/ 14 w 48"/>
                <a:gd name="T3" fmla="*/ 5 h 55"/>
                <a:gd name="T4" fmla="*/ 8 w 48"/>
                <a:gd name="T5" fmla="*/ 27 h 55"/>
                <a:gd name="T6" fmla="*/ 28 w 48"/>
                <a:gd name="T7" fmla="*/ 53 h 55"/>
                <a:gd name="T8" fmla="*/ 48 w 48"/>
                <a:gd name="T9" fmla="*/ 47 h 55"/>
                <a:gd name="T10" fmla="*/ 35 w 48"/>
                <a:gd name="T11" fmla="*/ 25 h 55"/>
                <a:gd name="T12" fmla="*/ 29 w 48"/>
                <a:gd name="T13" fmla="*/ 1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55">
                  <a:moveTo>
                    <a:pt x="29" y="10"/>
                  </a:moveTo>
                  <a:cubicBezTo>
                    <a:pt x="29" y="10"/>
                    <a:pt x="21" y="0"/>
                    <a:pt x="14" y="5"/>
                  </a:cubicBezTo>
                  <a:cubicBezTo>
                    <a:pt x="7" y="10"/>
                    <a:pt x="0" y="17"/>
                    <a:pt x="8" y="27"/>
                  </a:cubicBezTo>
                  <a:cubicBezTo>
                    <a:pt x="16" y="37"/>
                    <a:pt x="21" y="51"/>
                    <a:pt x="28" y="53"/>
                  </a:cubicBezTo>
                  <a:cubicBezTo>
                    <a:pt x="35" y="55"/>
                    <a:pt x="48" y="54"/>
                    <a:pt x="48" y="47"/>
                  </a:cubicBezTo>
                  <a:cubicBezTo>
                    <a:pt x="48" y="40"/>
                    <a:pt x="39" y="33"/>
                    <a:pt x="35" y="25"/>
                  </a:cubicBezTo>
                  <a:cubicBezTo>
                    <a:pt x="31" y="17"/>
                    <a:pt x="35" y="18"/>
                    <a:pt x="29" y="1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rnd">
              <a:solidFill>
                <a:schemeClr val="bg1">
                  <a:lumMod val="9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286" name="Freeform 25423"/>
            <p:cNvSpPr>
              <a:spLocks/>
            </p:cNvSpPr>
            <p:nvPr/>
          </p:nvSpPr>
          <p:spPr bwMode="auto">
            <a:xfrm>
              <a:off x="6645939" y="3878990"/>
              <a:ext cx="19414" cy="20834"/>
            </a:xfrm>
            <a:custGeom>
              <a:avLst/>
              <a:gdLst>
                <a:gd name="T0" fmla="*/ 45 w 52"/>
                <a:gd name="T1" fmla="*/ 33 h 56"/>
                <a:gd name="T2" fmla="*/ 12 w 52"/>
                <a:gd name="T3" fmla="*/ 2 h 56"/>
                <a:gd name="T4" fmla="*/ 4 w 52"/>
                <a:gd name="T5" fmla="*/ 7 h 56"/>
                <a:gd name="T6" fmla="*/ 24 w 52"/>
                <a:gd name="T7" fmla="*/ 24 h 56"/>
                <a:gd name="T8" fmla="*/ 35 w 52"/>
                <a:gd name="T9" fmla="*/ 45 h 56"/>
                <a:gd name="T10" fmla="*/ 44 w 52"/>
                <a:gd name="T11" fmla="*/ 49 h 56"/>
                <a:gd name="T12" fmla="*/ 45 w 52"/>
                <a:gd name="T13" fmla="*/ 33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2" h="56">
                  <a:moveTo>
                    <a:pt x="45" y="33"/>
                  </a:moveTo>
                  <a:cubicBezTo>
                    <a:pt x="38" y="27"/>
                    <a:pt x="25" y="13"/>
                    <a:pt x="12" y="2"/>
                  </a:cubicBezTo>
                  <a:cubicBezTo>
                    <a:pt x="12" y="2"/>
                    <a:pt x="0" y="0"/>
                    <a:pt x="4" y="7"/>
                  </a:cubicBezTo>
                  <a:cubicBezTo>
                    <a:pt x="8" y="14"/>
                    <a:pt x="18" y="17"/>
                    <a:pt x="24" y="24"/>
                  </a:cubicBezTo>
                  <a:cubicBezTo>
                    <a:pt x="30" y="31"/>
                    <a:pt x="34" y="36"/>
                    <a:pt x="35" y="45"/>
                  </a:cubicBezTo>
                  <a:cubicBezTo>
                    <a:pt x="36" y="54"/>
                    <a:pt x="44" y="56"/>
                    <a:pt x="44" y="49"/>
                  </a:cubicBezTo>
                  <a:cubicBezTo>
                    <a:pt x="44" y="42"/>
                    <a:pt x="52" y="39"/>
                    <a:pt x="45" y="33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rnd">
              <a:solidFill>
                <a:schemeClr val="bg1">
                  <a:lumMod val="9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287" name="Freeform 25424"/>
            <p:cNvSpPr>
              <a:spLocks/>
            </p:cNvSpPr>
            <p:nvPr/>
          </p:nvSpPr>
          <p:spPr bwMode="auto">
            <a:xfrm>
              <a:off x="6665353" y="3899035"/>
              <a:ext cx="5682" cy="13573"/>
            </a:xfrm>
            <a:custGeom>
              <a:avLst/>
              <a:gdLst>
                <a:gd name="T0" fmla="*/ 7 w 15"/>
                <a:gd name="T1" fmla="*/ 0 h 36"/>
                <a:gd name="T2" fmla="*/ 1 w 15"/>
                <a:gd name="T3" fmla="*/ 10 h 36"/>
                <a:gd name="T4" fmla="*/ 7 w 15"/>
                <a:gd name="T5" fmla="*/ 25 h 36"/>
                <a:gd name="T6" fmla="*/ 15 w 15"/>
                <a:gd name="T7" fmla="*/ 24 h 36"/>
                <a:gd name="T8" fmla="*/ 7 w 15"/>
                <a:gd name="T9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36">
                  <a:moveTo>
                    <a:pt x="7" y="0"/>
                  </a:moveTo>
                  <a:cubicBezTo>
                    <a:pt x="7" y="0"/>
                    <a:pt x="0" y="7"/>
                    <a:pt x="1" y="10"/>
                  </a:cubicBezTo>
                  <a:cubicBezTo>
                    <a:pt x="2" y="13"/>
                    <a:pt x="7" y="20"/>
                    <a:pt x="7" y="25"/>
                  </a:cubicBezTo>
                  <a:cubicBezTo>
                    <a:pt x="7" y="30"/>
                    <a:pt x="15" y="36"/>
                    <a:pt x="15" y="24"/>
                  </a:cubicBezTo>
                  <a:cubicBezTo>
                    <a:pt x="15" y="12"/>
                    <a:pt x="15" y="0"/>
                    <a:pt x="7" y="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rnd">
              <a:solidFill>
                <a:schemeClr val="bg1">
                  <a:lumMod val="9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288" name="Freeform 25425"/>
            <p:cNvSpPr>
              <a:spLocks/>
            </p:cNvSpPr>
            <p:nvPr/>
          </p:nvSpPr>
          <p:spPr bwMode="auto">
            <a:xfrm>
              <a:off x="6712388" y="3956486"/>
              <a:ext cx="7418" cy="6472"/>
            </a:xfrm>
            <a:custGeom>
              <a:avLst/>
              <a:gdLst>
                <a:gd name="T0" fmla="*/ 0 w 20"/>
                <a:gd name="T1" fmla="*/ 8 h 17"/>
                <a:gd name="T2" fmla="*/ 6 w 20"/>
                <a:gd name="T3" fmla="*/ 3 h 17"/>
                <a:gd name="T4" fmla="*/ 0 w 20"/>
                <a:gd name="T5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0" h="17">
                  <a:moveTo>
                    <a:pt x="0" y="8"/>
                  </a:moveTo>
                  <a:cubicBezTo>
                    <a:pt x="0" y="16"/>
                    <a:pt x="20" y="17"/>
                    <a:pt x="6" y="3"/>
                  </a:cubicBezTo>
                  <a:cubicBezTo>
                    <a:pt x="6" y="3"/>
                    <a:pt x="0" y="0"/>
                    <a:pt x="0" y="8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rnd">
              <a:solidFill>
                <a:schemeClr val="bg1">
                  <a:lumMod val="9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289" name="Freeform 25426"/>
            <p:cNvSpPr>
              <a:spLocks/>
            </p:cNvSpPr>
            <p:nvPr/>
          </p:nvSpPr>
          <p:spPr bwMode="auto">
            <a:xfrm>
              <a:off x="6780256" y="3867468"/>
              <a:ext cx="42773" cy="42457"/>
            </a:xfrm>
            <a:custGeom>
              <a:avLst/>
              <a:gdLst>
                <a:gd name="T0" fmla="*/ 17 w 115"/>
                <a:gd name="T1" fmla="*/ 21 h 114"/>
                <a:gd name="T2" fmla="*/ 15 w 115"/>
                <a:gd name="T3" fmla="*/ 36 h 114"/>
                <a:gd name="T4" fmla="*/ 45 w 115"/>
                <a:gd name="T5" fmla="*/ 48 h 114"/>
                <a:gd name="T6" fmla="*/ 62 w 115"/>
                <a:gd name="T7" fmla="*/ 82 h 114"/>
                <a:gd name="T8" fmla="*/ 99 w 115"/>
                <a:gd name="T9" fmla="*/ 97 h 114"/>
                <a:gd name="T10" fmla="*/ 95 w 115"/>
                <a:gd name="T11" fmla="*/ 68 h 114"/>
                <a:gd name="T12" fmla="*/ 69 w 115"/>
                <a:gd name="T13" fmla="*/ 40 h 114"/>
                <a:gd name="T14" fmla="*/ 57 w 115"/>
                <a:gd name="T15" fmla="*/ 9 h 114"/>
                <a:gd name="T16" fmla="*/ 50 w 115"/>
                <a:gd name="T17" fmla="*/ 8 h 114"/>
                <a:gd name="T18" fmla="*/ 40 w 115"/>
                <a:gd name="T19" fmla="*/ 9 h 114"/>
                <a:gd name="T20" fmla="*/ 23 w 115"/>
                <a:gd name="T21" fmla="*/ 7 h 114"/>
                <a:gd name="T22" fmla="*/ 17 w 115"/>
                <a:gd name="T23" fmla="*/ 21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15" h="114">
                  <a:moveTo>
                    <a:pt x="17" y="21"/>
                  </a:moveTo>
                  <a:cubicBezTo>
                    <a:pt x="10" y="23"/>
                    <a:pt x="0" y="33"/>
                    <a:pt x="15" y="36"/>
                  </a:cubicBezTo>
                  <a:cubicBezTo>
                    <a:pt x="30" y="39"/>
                    <a:pt x="42" y="43"/>
                    <a:pt x="45" y="48"/>
                  </a:cubicBezTo>
                  <a:cubicBezTo>
                    <a:pt x="48" y="53"/>
                    <a:pt x="43" y="72"/>
                    <a:pt x="62" y="82"/>
                  </a:cubicBezTo>
                  <a:cubicBezTo>
                    <a:pt x="81" y="92"/>
                    <a:pt x="97" y="114"/>
                    <a:pt x="99" y="97"/>
                  </a:cubicBezTo>
                  <a:cubicBezTo>
                    <a:pt x="101" y="80"/>
                    <a:pt x="115" y="80"/>
                    <a:pt x="95" y="68"/>
                  </a:cubicBezTo>
                  <a:cubicBezTo>
                    <a:pt x="75" y="56"/>
                    <a:pt x="69" y="50"/>
                    <a:pt x="69" y="40"/>
                  </a:cubicBezTo>
                  <a:cubicBezTo>
                    <a:pt x="69" y="30"/>
                    <a:pt x="73" y="21"/>
                    <a:pt x="57" y="9"/>
                  </a:cubicBezTo>
                  <a:cubicBezTo>
                    <a:pt x="57" y="9"/>
                    <a:pt x="54" y="0"/>
                    <a:pt x="50" y="8"/>
                  </a:cubicBezTo>
                  <a:cubicBezTo>
                    <a:pt x="46" y="16"/>
                    <a:pt x="44" y="13"/>
                    <a:pt x="40" y="9"/>
                  </a:cubicBezTo>
                  <a:cubicBezTo>
                    <a:pt x="36" y="5"/>
                    <a:pt x="29" y="7"/>
                    <a:pt x="23" y="7"/>
                  </a:cubicBezTo>
                  <a:cubicBezTo>
                    <a:pt x="17" y="7"/>
                    <a:pt x="24" y="19"/>
                    <a:pt x="17" y="21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rnd">
              <a:solidFill>
                <a:schemeClr val="bg1">
                  <a:lumMod val="9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290" name="Freeform 25427"/>
            <p:cNvSpPr>
              <a:spLocks/>
            </p:cNvSpPr>
            <p:nvPr/>
          </p:nvSpPr>
          <p:spPr bwMode="auto">
            <a:xfrm>
              <a:off x="6758949" y="3830535"/>
              <a:ext cx="16731" cy="15941"/>
            </a:xfrm>
            <a:custGeom>
              <a:avLst/>
              <a:gdLst>
                <a:gd name="T0" fmla="*/ 5 w 45"/>
                <a:gd name="T1" fmla="*/ 36 h 43"/>
                <a:gd name="T2" fmla="*/ 16 w 45"/>
                <a:gd name="T3" fmla="*/ 32 h 43"/>
                <a:gd name="T4" fmla="*/ 26 w 45"/>
                <a:gd name="T5" fmla="*/ 17 h 43"/>
                <a:gd name="T6" fmla="*/ 32 w 45"/>
                <a:gd name="T7" fmla="*/ 3 h 43"/>
                <a:gd name="T8" fmla="*/ 11 w 45"/>
                <a:gd name="T9" fmla="*/ 8 h 43"/>
                <a:gd name="T10" fmla="*/ 11 w 45"/>
                <a:gd name="T11" fmla="*/ 21 h 43"/>
                <a:gd name="T12" fmla="*/ 5 w 45"/>
                <a:gd name="T13" fmla="*/ 36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5" h="43">
                  <a:moveTo>
                    <a:pt x="5" y="36"/>
                  </a:moveTo>
                  <a:cubicBezTo>
                    <a:pt x="10" y="39"/>
                    <a:pt x="16" y="43"/>
                    <a:pt x="16" y="32"/>
                  </a:cubicBezTo>
                  <a:cubicBezTo>
                    <a:pt x="16" y="21"/>
                    <a:pt x="22" y="14"/>
                    <a:pt x="26" y="17"/>
                  </a:cubicBezTo>
                  <a:cubicBezTo>
                    <a:pt x="30" y="20"/>
                    <a:pt x="45" y="15"/>
                    <a:pt x="32" y="3"/>
                  </a:cubicBezTo>
                  <a:cubicBezTo>
                    <a:pt x="32" y="3"/>
                    <a:pt x="11" y="0"/>
                    <a:pt x="11" y="8"/>
                  </a:cubicBezTo>
                  <a:cubicBezTo>
                    <a:pt x="11" y="16"/>
                    <a:pt x="15" y="17"/>
                    <a:pt x="11" y="21"/>
                  </a:cubicBezTo>
                  <a:cubicBezTo>
                    <a:pt x="7" y="25"/>
                    <a:pt x="0" y="33"/>
                    <a:pt x="5" y="36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rnd">
              <a:solidFill>
                <a:schemeClr val="bg1">
                  <a:lumMod val="9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291" name="Freeform 25428"/>
            <p:cNvSpPr>
              <a:spLocks/>
            </p:cNvSpPr>
            <p:nvPr/>
          </p:nvSpPr>
          <p:spPr bwMode="auto">
            <a:xfrm>
              <a:off x="6785780" y="3969902"/>
              <a:ext cx="222704" cy="71656"/>
            </a:xfrm>
            <a:custGeom>
              <a:avLst/>
              <a:gdLst>
                <a:gd name="T0" fmla="*/ 584 w 597"/>
                <a:gd name="T1" fmla="*/ 123 h 192"/>
                <a:gd name="T2" fmla="*/ 564 w 597"/>
                <a:gd name="T3" fmla="*/ 114 h 192"/>
                <a:gd name="T4" fmla="*/ 492 w 597"/>
                <a:gd name="T5" fmla="*/ 123 h 192"/>
                <a:gd name="T6" fmla="*/ 473 w 597"/>
                <a:gd name="T7" fmla="*/ 98 h 192"/>
                <a:gd name="T8" fmla="*/ 454 w 597"/>
                <a:gd name="T9" fmla="*/ 72 h 192"/>
                <a:gd name="T10" fmla="*/ 411 w 597"/>
                <a:gd name="T11" fmla="*/ 60 h 192"/>
                <a:gd name="T12" fmla="*/ 366 w 597"/>
                <a:gd name="T13" fmla="*/ 50 h 192"/>
                <a:gd name="T14" fmla="*/ 343 w 597"/>
                <a:gd name="T15" fmla="*/ 46 h 192"/>
                <a:gd name="T16" fmla="*/ 318 w 597"/>
                <a:gd name="T17" fmla="*/ 71 h 192"/>
                <a:gd name="T18" fmla="*/ 252 w 597"/>
                <a:gd name="T19" fmla="*/ 69 h 192"/>
                <a:gd name="T20" fmla="*/ 234 w 597"/>
                <a:gd name="T21" fmla="*/ 61 h 192"/>
                <a:gd name="T22" fmla="*/ 208 w 597"/>
                <a:gd name="T23" fmla="*/ 52 h 192"/>
                <a:gd name="T24" fmla="*/ 190 w 597"/>
                <a:gd name="T25" fmla="*/ 30 h 192"/>
                <a:gd name="T26" fmla="*/ 165 w 597"/>
                <a:gd name="T27" fmla="*/ 28 h 192"/>
                <a:gd name="T28" fmla="*/ 141 w 597"/>
                <a:gd name="T29" fmla="*/ 24 h 192"/>
                <a:gd name="T30" fmla="*/ 125 w 597"/>
                <a:gd name="T31" fmla="*/ 8 h 192"/>
                <a:gd name="T32" fmla="*/ 107 w 597"/>
                <a:gd name="T33" fmla="*/ 11 h 192"/>
                <a:gd name="T34" fmla="*/ 94 w 597"/>
                <a:gd name="T35" fmla="*/ 23 h 192"/>
                <a:gd name="T36" fmla="*/ 74 w 597"/>
                <a:gd name="T37" fmla="*/ 12 h 192"/>
                <a:gd name="T38" fmla="*/ 36 w 597"/>
                <a:gd name="T39" fmla="*/ 23 h 192"/>
                <a:gd name="T40" fmla="*/ 27 w 597"/>
                <a:gd name="T41" fmla="*/ 41 h 192"/>
                <a:gd name="T42" fmla="*/ 11 w 597"/>
                <a:gd name="T43" fmla="*/ 64 h 192"/>
                <a:gd name="T44" fmla="*/ 31 w 597"/>
                <a:gd name="T45" fmla="*/ 71 h 192"/>
                <a:gd name="T46" fmla="*/ 48 w 597"/>
                <a:gd name="T47" fmla="*/ 69 h 192"/>
                <a:gd name="T48" fmla="*/ 73 w 597"/>
                <a:gd name="T49" fmla="*/ 81 h 192"/>
                <a:gd name="T50" fmla="*/ 78 w 597"/>
                <a:gd name="T51" fmla="*/ 105 h 192"/>
                <a:gd name="T52" fmla="*/ 141 w 597"/>
                <a:gd name="T53" fmla="*/ 111 h 192"/>
                <a:gd name="T54" fmla="*/ 195 w 597"/>
                <a:gd name="T55" fmla="*/ 129 h 192"/>
                <a:gd name="T56" fmla="*/ 232 w 597"/>
                <a:gd name="T57" fmla="*/ 119 h 192"/>
                <a:gd name="T58" fmla="*/ 290 w 597"/>
                <a:gd name="T59" fmla="*/ 130 h 192"/>
                <a:gd name="T60" fmla="*/ 337 w 597"/>
                <a:gd name="T61" fmla="*/ 151 h 192"/>
                <a:gd name="T62" fmla="*/ 385 w 597"/>
                <a:gd name="T63" fmla="*/ 155 h 192"/>
                <a:gd name="T64" fmla="*/ 443 w 597"/>
                <a:gd name="T65" fmla="*/ 166 h 192"/>
                <a:gd name="T66" fmla="*/ 464 w 597"/>
                <a:gd name="T67" fmla="*/ 174 h 192"/>
                <a:gd name="T68" fmla="*/ 482 w 597"/>
                <a:gd name="T69" fmla="*/ 173 h 192"/>
                <a:gd name="T70" fmla="*/ 495 w 597"/>
                <a:gd name="T71" fmla="*/ 163 h 192"/>
                <a:gd name="T72" fmla="*/ 527 w 597"/>
                <a:gd name="T73" fmla="*/ 173 h 192"/>
                <a:gd name="T74" fmla="*/ 552 w 597"/>
                <a:gd name="T75" fmla="*/ 181 h 192"/>
                <a:gd name="T76" fmla="*/ 576 w 597"/>
                <a:gd name="T77" fmla="*/ 187 h 192"/>
                <a:gd name="T78" fmla="*/ 582 w 597"/>
                <a:gd name="T79" fmla="*/ 181 h 192"/>
                <a:gd name="T80" fmla="*/ 590 w 597"/>
                <a:gd name="T81" fmla="*/ 165 h 192"/>
                <a:gd name="T82" fmla="*/ 583 w 597"/>
                <a:gd name="T83" fmla="*/ 146 h 192"/>
                <a:gd name="T84" fmla="*/ 595 w 597"/>
                <a:gd name="T85" fmla="*/ 131 h 192"/>
                <a:gd name="T86" fmla="*/ 584 w 597"/>
                <a:gd name="T87" fmla="*/ 123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97" h="192">
                  <a:moveTo>
                    <a:pt x="584" y="123"/>
                  </a:moveTo>
                  <a:cubicBezTo>
                    <a:pt x="571" y="125"/>
                    <a:pt x="582" y="113"/>
                    <a:pt x="564" y="114"/>
                  </a:cubicBezTo>
                  <a:cubicBezTo>
                    <a:pt x="546" y="115"/>
                    <a:pt x="513" y="127"/>
                    <a:pt x="492" y="123"/>
                  </a:cubicBezTo>
                  <a:cubicBezTo>
                    <a:pt x="471" y="119"/>
                    <a:pt x="474" y="104"/>
                    <a:pt x="473" y="98"/>
                  </a:cubicBezTo>
                  <a:cubicBezTo>
                    <a:pt x="472" y="92"/>
                    <a:pt x="471" y="78"/>
                    <a:pt x="454" y="72"/>
                  </a:cubicBezTo>
                  <a:cubicBezTo>
                    <a:pt x="437" y="66"/>
                    <a:pt x="430" y="69"/>
                    <a:pt x="411" y="60"/>
                  </a:cubicBezTo>
                  <a:cubicBezTo>
                    <a:pt x="392" y="51"/>
                    <a:pt x="367" y="59"/>
                    <a:pt x="366" y="50"/>
                  </a:cubicBezTo>
                  <a:cubicBezTo>
                    <a:pt x="365" y="41"/>
                    <a:pt x="349" y="33"/>
                    <a:pt x="343" y="46"/>
                  </a:cubicBezTo>
                  <a:cubicBezTo>
                    <a:pt x="337" y="59"/>
                    <a:pt x="345" y="70"/>
                    <a:pt x="318" y="71"/>
                  </a:cubicBezTo>
                  <a:cubicBezTo>
                    <a:pt x="291" y="72"/>
                    <a:pt x="260" y="74"/>
                    <a:pt x="252" y="69"/>
                  </a:cubicBezTo>
                  <a:cubicBezTo>
                    <a:pt x="244" y="64"/>
                    <a:pt x="247" y="61"/>
                    <a:pt x="234" y="61"/>
                  </a:cubicBezTo>
                  <a:cubicBezTo>
                    <a:pt x="221" y="61"/>
                    <a:pt x="212" y="58"/>
                    <a:pt x="208" y="52"/>
                  </a:cubicBezTo>
                  <a:cubicBezTo>
                    <a:pt x="204" y="46"/>
                    <a:pt x="201" y="37"/>
                    <a:pt x="190" y="30"/>
                  </a:cubicBezTo>
                  <a:cubicBezTo>
                    <a:pt x="179" y="23"/>
                    <a:pt x="179" y="38"/>
                    <a:pt x="165" y="28"/>
                  </a:cubicBezTo>
                  <a:cubicBezTo>
                    <a:pt x="151" y="18"/>
                    <a:pt x="143" y="30"/>
                    <a:pt x="141" y="24"/>
                  </a:cubicBezTo>
                  <a:cubicBezTo>
                    <a:pt x="139" y="18"/>
                    <a:pt x="134" y="12"/>
                    <a:pt x="125" y="8"/>
                  </a:cubicBezTo>
                  <a:cubicBezTo>
                    <a:pt x="116" y="4"/>
                    <a:pt x="109" y="2"/>
                    <a:pt x="107" y="11"/>
                  </a:cubicBezTo>
                  <a:cubicBezTo>
                    <a:pt x="105" y="20"/>
                    <a:pt x="104" y="32"/>
                    <a:pt x="94" y="23"/>
                  </a:cubicBezTo>
                  <a:cubicBezTo>
                    <a:pt x="84" y="14"/>
                    <a:pt x="86" y="12"/>
                    <a:pt x="74" y="12"/>
                  </a:cubicBezTo>
                  <a:cubicBezTo>
                    <a:pt x="62" y="12"/>
                    <a:pt x="36" y="0"/>
                    <a:pt x="36" y="23"/>
                  </a:cubicBezTo>
                  <a:cubicBezTo>
                    <a:pt x="36" y="23"/>
                    <a:pt x="39" y="31"/>
                    <a:pt x="27" y="41"/>
                  </a:cubicBezTo>
                  <a:cubicBezTo>
                    <a:pt x="15" y="51"/>
                    <a:pt x="0" y="55"/>
                    <a:pt x="11" y="64"/>
                  </a:cubicBezTo>
                  <a:cubicBezTo>
                    <a:pt x="22" y="73"/>
                    <a:pt x="27" y="76"/>
                    <a:pt x="31" y="71"/>
                  </a:cubicBezTo>
                  <a:cubicBezTo>
                    <a:pt x="35" y="66"/>
                    <a:pt x="40" y="61"/>
                    <a:pt x="48" y="69"/>
                  </a:cubicBezTo>
                  <a:cubicBezTo>
                    <a:pt x="56" y="77"/>
                    <a:pt x="73" y="65"/>
                    <a:pt x="73" y="81"/>
                  </a:cubicBezTo>
                  <a:cubicBezTo>
                    <a:pt x="73" y="97"/>
                    <a:pt x="64" y="105"/>
                    <a:pt x="78" y="105"/>
                  </a:cubicBezTo>
                  <a:cubicBezTo>
                    <a:pt x="92" y="105"/>
                    <a:pt x="127" y="101"/>
                    <a:pt x="141" y="111"/>
                  </a:cubicBezTo>
                  <a:cubicBezTo>
                    <a:pt x="155" y="121"/>
                    <a:pt x="183" y="138"/>
                    <a:pt x="195" y="129"/>
                  </a:cubicBezTo>
                  <a:cubicBezTo>
                    <a:pt x="207" y="120"/>
                    <a:pt x="220" y="117"/>
                    <a:pt x="232" y="119"/>
                  </a:cubicBezTo>
                  <a:cubicBezTo>
                    <a:pt x="244" y="121"/>
                    <a:pt x="279" y="119"/>
                    <a:pt x="290" y="130"/>
                  </a:cubicBezTo>
                  <a:cubicBezTo>
                    <a:pt x="301" y="141"/>
                    <a:pt x="323" y="146"/>
                    <a:pt x="337" y="151"/>
                  </a:cubicBezTo>
                  <a:cubicBezTo>
                    <a:pt x="351" y="156"/>
                    <a:pt x="368" y="153"/>
                    <a:pt x="385" y="155"/>
                  </a:cubicBezTo>
                  <a:cubicBezTo>
                    <a:pt x="402" y="157"/>
                    <a:pt x="432" y="167"/>
                    <a:pt x="443" y="166"/>
                  </a:cubicBezTo>
                  <a:cubicBezTo>
                    <a:pt x="454" y="165"/>
                    <a:pt x="454" y="174"/>
                    <a:pt x="464" y="174"/>
                  </a:cubicBezTo>
                  <a:cubicBezTo>
                    <a:pt x="474" y="174"/>
                    <a:pt x="479" y="179"/>
                    <a:pt x="482" y="173"/>
                  </a:cubicBezTo>
                  <a:cubicBezTo>
                    <a:pt x="485" y="167"/>
                    <a:pt x="481" y="163"/>
                    <a:pt x="495" y="163"/>
                  </a:cubicBezTo>
                  <a:cubicBezTo>
                    <a:pt x="509" y="163"/>
                    <a:pt x="517" y="167"/>
                    <a:pt x="527" y="173"/>
                  </a:cubicBezTo>
                  <a:cubicBezTo>
                    <a:pt x="537" y="179"/>
                    <a:pt x="542" y="176"/>
                    <a:pt x="552" y="181"/>
                  </a:cubicBezTo>
                  <a:cubicBezTo>
                    <a:pt x="562" y="186"/>
                    <a:pt x="565" y="182"/>
                    <a:pt x="576" y="187"/>
                  </a:cubicBezTo>
                  <a:cubicBezTo>
                    <a:pt x="587" y="192"/>
                    <a:pt x="583" y="189"/>
                    <a:pt x="582" y="181"/>
                  </a:cubicBezTo>
                  <a:cubicBezTo>
                    <a:pt x="581" y="173"/>
                    <a:pt x="591" y="177"/>
                    <a:pt x="590" y="165"/>
                  </a:cubicBezTo>
                  <a:cubicBezTo>
                    <a:pt x="589" y="153"/>
                    <a:pt x="578" y="153"/>
                    <a:pt x="583" y="146"/>
                  </a:cubicBezTo>
                  <a:cubicBezTo>
                    <a:pt x="588" y="139"/>
                    <a:pt x="595" y="136"/>
                    <a:pt x="595" y="131"/>
                  </a:cubicBezTo>
                  <a:cubicBezTo>
                    <a:pt x="595" y="126"/>
                    <a:pt x="597" y="121"/>
                    <a:pt x="584" y="123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rnd">
              <a:solidFill>
                <a:schemeClr val="bg1">
                  <a:lumMod val="9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292" name="Freeform 25429"/>
            <p:cNvSpPr>
              <a:spLocks/>
            </p:cNvSpPr>
            <p:nvPr/>
          </p:nvSpPr>
          <p:spPr bwMode="auto">
            <a:xfrm>
              <a:off x="6836918" y="3887197"/>
              <a:ext cx="21307" cy="23044"/>
            </a:xfrm>
            <a:custGeom>
              <a:avLst/>
              <a:gdLst>
                <a:gd name="T0" fmla="*/ 9 w 57"/>
                <a:gd name="T1" fmla="*/ 49 h 62"/>
                <a:gd name="T2" fmla="*/ 45 w 57"/>
                <a:gd name="T3" fmla="*/ 53 h 62"/>
                <a:gd name="T4" fmla="*/ 57 w 57"/>
                <a:gd name="T5" fmla="*/ 35 h 62"/>
                <a:gd name="T6" fmla="*/ 43 w 57"/>
                <a:gd name="T7" fmla="*/ 13 h 62"/>
                <a:gd name="T8" fmla="*/ 16 w 57"/>
                <a:gd name="T9" fmla="*/ 12 h 62"/>
                <a:gd name="T10" fmla="*/ 9 w 57"/>
                <a:gd name="T11" fmla="*/ 27 h 62"/>
                <a:gd name="T12" fmla="*/ 9 w 57"/>
                <a:gd name="T13" fmla="*/ 49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7" h="62">
                  <a:moveTo>
                    <a:pt x="9" y="49"/>
                  </a:moveTo>
                  <a:cubicBezTo>
                    <a:pt x="18" y="56"/>
                    <a:pt x="43" y="62"/>
                    <a:pt x="45" y="53"/>
                  </a:cubicBezTo>
                  <a:cubicBezTo>
                    <a:pt x="47" y="44"/>
                    <a:pt x="57" y="50"/>
                    <a:pt x="57" y="35"/>
                  </a:cubicBezTo>
                  <a:cubicBezTo>
                    <a:pt x="57" y="20"/>
                    <a:pt x="56" y="17"/>
                    <a:pt x="43" y="13"/>
                  </a:cubicBezTo>
                  <a:cubicBezTo>
                    <a:pt x="30" y="9"/>
                    <a:pt x="25" y="0"/>
                    <a:pt x="16" y="12"/>
                  </a:cubicBezTo>
                  <a:cubicBezTo>
                    <a:pt x="16" y="12"/>
                    <a:pt x="8" y="21"/>
                    <a:pt x="9" y="27"/>
                  </a:cubicBezTo>
                  <a:cubicBezTo>
                    <a:pt x="10" y="33"/>
                    <a:pt x="0" y="42"/>
                    <a:pt x="9" y="4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rnd">
              <a:solidFill>
                <a:schemeClr val="bg1">
                  <a:lumMod val="9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293" name="Freeform 25430"/>
            <p:cNvSpPr>
              <a:spLocks/>
            </p:cNvSpPr>
            <p:nvPr/>
          </p:nvSpPr>
          <p:spPr bwMode="auto">
            <a:xfrm>
              <a:off x="6867538" y="3727153"/>
              <a:ext cx="243854" cy="204079"/>
            </a:xfrm>
            <a:custGeom>
              <a:avLst/>
              <a:gdLst>
                <a:gd name="T0" fmla="*/ 556 w 654"/>
                <a:gd name="T1" fmla="*/ 320 h 547"/>
                <a:gd name="T2" fmla="*/ 578 w 654"/>
                <a:gd name="T3" fmla="*/ 234 h 547"/>
                <a:gd name="T4" fmla="*/ 623 w 654"/>
                <a:gd name="T5" fmla="*/ 230 h 547"/>
                <a:gd name="T6" fmla="*/ 635 w 654"/>
                <a:gd name="T7" fmla="*/ 204 h 547"/>
                <a:gd name="T8" fmla="*/ 579 w 654"/>
                <a:gd name="T9" fmla="*/ 154 h 547"/>
                <a:gd name="T10" fmla="*/ 562 w 654"/>
                <a:gd name="T11" fmla="*/ 94 h 547"/>
                <a:gd name="T12" fmla="*/ 549 w 654"/>
                <a:gd name="T13" fmla="*/ 53 h 547"/>
                <a:gd name="T14" fmla="*/ 579 w 654"/>
                <a:gd name="T15" fmla="*/ 51 h 547"/>
                <a:gd name="T16" fmla="*/ 562 w 654"/>
                <a:gd name="T17" fmla="*/ 21 h 547"/>
                <a:gd name="T18" fmla="*/ 489 w 654"/>
                <a:gd name="T19" fmla="*/ 5 h 547"/>
                <a:gd name="T20" fmla="*/ 438 w 654"/>
                <a:gd name="T21" fmla="*/ 26 h 547"/>
                <a:gd name="T22" fmla="*/ 412 w 654"/>
                <a:gd name="T23" fmla="*/ 91 h 547"/>
                <a:gd name="T24" fmla="*/ 395 w 654"/>
                <a:gd name="T25" fmla="*/ 131 h 547"/>
                <a:gd name="T26" fmla="*/ 372 w 654"/>
                <a:gd name="T27" fmla="*/ 179 h 547"/>
                <a:gd name="T28" fmla="*/ 306 w 654"/>
                <a:gd name="T29" fmla="*/ 202 h 547"/>
                <a:gd name="T30" fmla="*/ 244 w 654"/>
                <a:gd name="T31" fmla="*/ 183 h 547"/>
                <a:gd name="T32" fmla="*/ 203 w 654"/>
                <a:gd name="T33" fmla="*/ 211 h 547"/>
                <a:gd name="T34" fmla="*/ 146 w 654"/>
                <a:gd name="T35" fmla="*/ 216 h 547"/>
                <a:gd name="T36" fmla="*/ 114 w 654"/>
                <a:gd name="T37" fmla="*/ 228 h 547"/>
                <a:gd name="T38" fmla="*/ 71 w 654"/>
                <a:gd name="T39" fmla="*/ 195 h 547"/>
                <a:gd name="T40" fmla="*/ 46 w 654"/>
                <a:gd name="T41" fmla="*/ 145 h 547"/>
                <a:gd name="T42" fmla="*/ 24 w 654"/>
                <a:gd name="T43" fmla="*/ 177 h 547"/>
                <a:gd name="T44" fmla="*/ 3 w 654"/>
                <a:gd name="T45" fmla="*/ 234 h 547"/>
                <a:gd name="T46" fmla="*/ 20 w 654"/>
                <a:gd name="T47" fmla="*/ 278 h 547"/>
                <a:gd name="T48" fmla="*/ 42 w 654"/>
                <a:gd name="T49" fmla="*/ 342 h 547"/>
                <a:gd name="T50" fmla="*/ 77 w 654"/>
                <a:gd name="T51" fmla="*/ 358 h 547"/>
                <a:gd name="T52" fmla="*/ 79 w 654"/>
                <a:gd name="T53" fmla="*/ 417 h 547"/>
                <a:gd name="T54" fmla="*/ 97 w 654"/>
                <a:gd name="T55" fmla="*/ 469 h 547"/>
                <a:gd name="T56" fmla="*/ 150 w 654"/>
                <a:gd name="T57" fmla="*/ 473 h 547"/>
                <a:gd name="T58" fmla="*/ 191 w 654"/>
                <a:gd name="T59" fmla="*/ 469 h 547"/>
                <a:gd name="T60" fmla="*/ 203 w 654"/>
                <a:gd name="T61" fmla="*/ 509 h 547"/>
                <a:gd name="T62" fmla="*/ 230 w 654"/>
                <a:gd name="T63" fmla="*/ 492 h 547"/>
                <a:gd name="T64" fmla="*/ 263 w 654"/>
                <a:gd name="T65" fmla="*/ 488 h 547"/>
                <a:gd name="T66" fmla="*/ 303 w 654"/>
                <a:gd name="T67" fmla="*/ 490 h 547"/>
                <a:gd name="T68" fmla="*/ 333 w 654"/>
                <a:gd name="T69" fmla="*/ 495 h 547"/>
                <a:gd name="T70" fmla="*/ 359 w 654"/>
                <a:gd name="T71" fmla="*/ 505 h 547"/>
                <a:gd name="T72" fmla="*/ 377 w 654"/>
                <a:gd name="T73" fmla="*/ 541 h 547"/>
                <a:gd name="T74" fmla="*/ 417 w 654"/>
                <a:gd name="T75" fmla="*/ 531 h 547"/>
                <a:gd name="T76" fmla="*/ 457 w 654"/>
                <a:gd name="T77" fmla="*/ 519 h 547"/>
                <a:gd name="T78" fmla="*/ 475 w 654"/>
                <a:gd name="T79" fmla="*/ 533 h 547"/>
                <a:gd name="T80" fmla="*/ 486 w 654"/>
                <a:gd name="T81" fmla="*/ 495 h 547"/>
                <a:gd name="T82" fmla="*/ 478 w 654"/>
                <a:gd name="T83" fmla="*/ 467 h 547"/>
                <a:gd name="T84" fmla="*/ 496 w 654"/>
                <a:gd name="T85" fmla="*/ 433 h 547"/>
                <a:gd name="T86" fmla="*/ 480 w 654"/>
                <a:gd name="T87" fmla="*/ 386 h 547"/>
                <a:gd name="T88" fmla="*/ 532 w 654"/>
                <a:gd name="T89" fmla="*/ 347 h 5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54" h="547">
                  <a:moveTo>
                    <a:pt x="532" y="347"/>
                  </a:moveTo>
                  <a:cubicBezTo>
                    <a:pt x="537" y="336"/>
                    <a:pt x="556" y="331"/>
                    <a:pt x="556" y="320"/>
                  </a:cubicBezTo>
                  <a:cubicBezTo>
                    <a:pt x="556" y="309"/>
                    <a:pt x="546" y="271"/>
                    <a:pt x="555" y="259"/>
                  </a:cubicBezTo>
                  <a:cubicBezTo>
                    <a:pt x="564" y="247"/>
                    <a:pt x="571" y="243"/>
                    <a:pt x="578" y="234"/>
                  </a:cubicBezTo>
                  <a:cubicBezTo>
                    <a:pt x="585" y="225"/>
                    <a:pt x="577" y="215"/>
                    <a:pt x="591" y="224"/>
                  </a:cubicBezTo>
                  <a:cubicBezTo>
                    <a:pt x="605" y="233"/>
                    <a:pt x="608" y="230"/>
                    <a:pt x="623" y="230"/>
                  </a:cubicBezTo>
                  <a:cubicBezTo>
                    <a:pt x="638" y="230"/>
                    <a:pt x="642" y="228"/>
                    <a:pt x="648" y="221"/>
                  </a:cubicBezTo>
                  <a:cubicBezTo>
                    <a:pt x="654" y="214"/>
                    <a:pt x="649" y="210"/>
                    <a:pt x="635" y="204"/>
                  </a:cubicBezTo>
                  <a:cubicBezTo>
                    <a:pt x="621" y="198"/>
                    <a:pt x="603" y="193"/>
                    <a:pt x="595" y="178"/>
                  </a:cubicBezTo>
                  <a:cubicBezTo>
                    <a:pt x="587" y="163"/>
                    <a:pt x="576" y="167"/>
                    <a:pt x="579" y="154"/>
                  </a:cubicBezTo>
                  <a:cubicBezTo>
                    <a:pt x="582" y="141"/>
                    <a:pt x="594" y="137"/>
                    <a:pt x="586" y="125"/>
                  </a:cubicBezTo>
                  <a:cubicBezTo>
                    <a:pt x="578" y="113"/>
                    <a:pt x="568" y="103"/>
                    <a:pt x="562" y="94"/>
                  </a:cubicBezTo>
                  <a:cubicBezTo>
                    <a:pt x="556" y="85"/>
                    <a:pt x="544" y="78"/>
                    <a:pt x="542" y="68"/>
                  </a:cubicBezTo>
                  <a:cubicBezTo>
                    <a:pt x="540" y="58"/>
                    <a:pt x="539" y="53"/>
                    <a:pt x="549" y="53"/>
                  </a:cubicBezTo>
                  <a:cubicBezTo>
                    <a:pt x="559" y="53"/>
                    <a:pt x="563" y="48"/>
                    <a:pt x="568" y="54"/>
                  </a:cubicBezTo>
                  <a:cubicBezTo>
                    <a:pt x="573" y="60"/>
                    <a:pt x="583" y="57"/>
                    <a:pt x="579" y="51"/>
                  </a:cubicBezTo>
                  <a:cubicBezTo>
                    <a:pt x="575" y="45"/>
                    <a:pt x="567" y="38"/>
                    <a:pt x="562" y="32"/>
                  </a:cubicBezTo>
                  <a:cubicBezTo>
                    <a:pt x="559" y="29"/>
                    <a:pt x="560" y="24"/>
                    <a:pt x="562" y="21"/>
                  </a:cubicBezTo>
                  <a:cubicBezTo>
                    <a:pt x="555" y="16"/>
                    <a:pt x="546" y="8"/>
                    <a:pt x="536" y="5"/>
                  </a:cubicBezTo>
                  <a:cubicBezTo>
                    <a:pt x="522" y="0"/>
                    <a:pt x="504" y="7"/>
                    <a:pt x="489" y="5"/>
                  </a:cubicBezTo>
                  <a:cubicBezTo>
                    <a:pt x="474" y="3"/>
                    <a:pt x="459" y="3"/>
                    <a:pt x="451" y="3"/>
                  </a:cubicBezTo>
                  <a:cubicBezTo>
                    <a:pt x="443" y="3"/>
                    <a:pt x="446" y="15"/>
                    <a:pt x="438" y="26"/>
                  </a:cubicBezTo>
                  <a:cubicBezTo>
                    <a:pt x="430" y="37"/>
                    <a:pt x="430" y="46"/>
                    <a:pt x="430" y="64"/>
                  </a:cubicBezTo>
                  <a:cubicBezTo>
                    <a:pt x="429" y="83"/>
                    <a:pt x="422" y="88"/>
                    <a:pt x="412" y="91"/>
                  </a:cubicBezTo>
                  <a:cubicBezTo>
                    <a:pt x="403" y="95"/>
                    <a:pt x="405" y="103"/>
                    <a:pt x="404" y="112"/>
                  </a:cubicBezTo>
                  <a:cubicBezTo>
                    <a:pt x="403" y="121"/>
                    <a:pt x="406" y="126"/>
                    <a:pt x="395" y="131"/>
                  </a:cubicBezTo>
                  <a:cubicBezTo>
                    <a:pt x="383" y="136"/>
                    <a:pt x="386" y="154"/>
                    <a:pt x="382" y="161"/>
                  </a:cubicBezTo>
                  <a:cubicBezTo>
                    <a:pt x="377" y="167"/>
                    <a:pt x="372" y="171"/>
                    <a:pt x="372" y="179"/>
                  </a:cubicBezTo>
                  <a:cubicBezTo>
                    <a:pt x="371" y="188"/>
                    <a:pt x="346" y="187"/>
                    <a:pt x="333" y="186"/>
                  </a:cubicBezTo>
                  <a:cubicBezTo>
                    <a:pt x="320" y="185"/>
                    <a:pt x="317" y="204"/>
                    <a:pt x="306" y="202"/>
                  </a:cubicBezTo>
                  <a:cubicBezTo>
                    <a:pt x="296" y="200"/>
                    <a:pt x="281" y="195"/>
                    <a:pt x="278" y="189"/>
                  </a:cubicBezTo>
                  <a:cubicBezTo>
                    <a:pt x="274" y="182"/>
                    <a:pt x="257" y="182"/>
                    <a:pt x="244" y="183"/>
                  </a:cubicBezTo>
                  <a:cubicBezTo>
                    <a:pt x="231" y="184"/>
                    <a:pt x="226" y="185"/>
                    <a:pt x="221" y="191"/>
                  </a:cubicBezTo>
                  <a:cubicBezTo>
                    <a:pt x="217" y="198"/>
                    <a:pt x="210" y="199"/>
                    <a:pt x="203" y="211"/>
                  </a:cubicBezTo>
                  <a:cubicBezTo>
                    <a:pt x="195" y="222"/>
                    <a:pt x="177" y="222"/>
                    <a:pt x="168" y="217"/>
                  </a:cubicBezTo>
                  <a:cubicBezTo>
                    <a:pt x="159" y="213"/>
                    <a:pt x="153" y="216"/>
                    <a:pt x="146" y="216"/>
                  </a:cubicBezTo>
                  <a:cubicBezTo>
                    <a:pt x="139" y="216"/>
                    <a:pt x="127" y="219"/>
                    <a:pt x="127" y="224"/>
                  </a:cubicBezTo>
                  <a:cubicBezTo>
                    <a:pt x="126" y="229"/>
                    <a:pt x="124" y="229"/>
                    <a:pt x="114" y="228"/>
                  </a:cubicBezTo>
                  <a:cubicBezTo>
                    <a:pt x="104" y="226"/>
                    <a:pt x="100" y="221"/>
                    <a:pt x="96" y="214"/>
                  </a:cubicBezTo>
                  <a:cubicBezTo>
                    <a:pt x="92" y="206"/>
                    <a:pt x="76" y="202"/>
                    <a:pt x="71" y="195"/>
                  </a:cubicBezTo>
                  <a:cubicBezTo>
                    <a:pt x="66" y="188"/>
                    <a:pt x="60" y="179"/>
                    <a:pt x="52" y="171"/>
                  </a:cubicBezTo>
                  <a:cubicBezTo>
                    <a:pt x="46" y="165"/>
                    <a:pt x="46" y="153"/>
                    <a:pt x="46" y="145"/>
                  </a:cubicBezTo>
                  <a:cubicBezTo>
                    <a:pt x="43" y="148"/>
                    <a:pt x="41" y="154"/>
                    <a:pt x="36" y="161"/>
                  </a:cubicBezTo>
                  <a:cubicBezTo>
                    <a:pt x="29" y="171"/>
                    <a:pt x="22" y="167"/>
                    <a:pt x="24" y="177"/>
                  </a:cubicBezTo>
                  <a:cubicBezTo>
                    <a:pt x="24" y="177"/>
                    <a:pt x="26" y="200"/>
                    <a:pt x="15" y="206"/>
                  </a:cubicBezTo>
                  <a:cubicBezTo>
                    <a:pt x="4" y="212"/>
                    <a:pt x="0" y="222"/>
                    <a:pt x="3" y="234"/>
                  </a:cubicBezTo>
                  <a:cubicBezTo>
                    <a:pt x="6" y="246"/>
                    <a:pt x="2" y="260"/>
                    <a:pt x="9" y="264"/>
                  </a:cubicBezTo>
                  <a:cubicBezTo>
                    <a:pt x="16" y="268"/>
                    <a:pt x="20" y="264"/>
                    <a:pt x="20" y="278"/>
                  </a:cubicBezTo>
                  <a:cubicBezTo>
                    <a:pt x="20" y="292"/>
                    <a:pt x="21" y="313"/>
                    <a:pt x="27" y="318"/>
                  </a:cubicBezTo>
                  <a:cubicBezTo>
                    <a:pt x="33" y="323"/>
                    <a:pt x="41" y="332"/>
                    <a:pt x="42" y="342"/>
                  </a:cubicBezTo>
                  <a:cubicBezTo>
                    <a:pt x="43" y="352"/>
                    <a:pt x="54" y="364"/>
                    <a:pt x="56" y="358"/>
                  </a:cubicBezTo>
                  <a:cubicBezTo>
                    <a:pt x="58" y="352"/>
                    <a:pt x="77" y="342"/>
                    <a:pt x="77" y="358"/>
                  </a:cubicBezTo>
                  <a:cubicBezTo>
                    <a:pt x="77" y="374"/>
                    <a:pt x="80" y="378"/>
                    <a:pt x="80" y="393"/>
                  </a:cubicBezTo>
                  <a:cubicBezTo>
                    <a:pt x="80" y="408"/>
                    <a:pt x="76" y="410"/>
                    <a:pt x="79" y="417"/>
                  </a:cubicBezTo>
                  <a:cubicBezTo>
                    <a:pt x="82" y="424"/>
                    <a:pt x="93" y="425"/>
                    <a:pt x="90" y="440"/>
                  </a:cubicBezTo>
                  <a:cubicBezTo>
                    <a:pt x="87" y="455"/>
                    <a:pt x="87" y="469"/>
                    <a:pt x="97" y="469"/>
                  </a:cubicBezTo>
                  <a:cubicBezTo>
                    <a:pt x="107" y="469"/>
                    <a:pt x="125" y="463"/>
                    <a:pt x="131" y="469"/>
                  </a:cubicBezTo>
                  <a:cubicBezTo>
                    <a:pt x="137" y="475"/>
                    <a:pt x="146" y="483"/>
                    <a:pt x="150" y="473"/>
                  </a:cubicBezTo>
                  <a:cubicBezTo>
                    <a:pt x="154" y="463"/>
                    <a:pt x="160" y="464"/>
                    <a:pt x="168" y="464"/>
                  </a:cubicBezTo>
                  <a:cubicBezTo>
                    <a:pt x="176" y="464"/>
                    <a:pt x="189" y="459"/>
                    <a:pt x="191" y="469"/>
                  </a:cubicBezTo>
                  <a:cubicBezTo>
                    <a:pt x="193" y="479"/>
                    <a:pt x="197" y="480"/>
                    <a:pt x="196" y="491"/>
                  </a:cubicBezTo>
                  <a:cubicBezTo>
                    <a:pt x="195" y="502"/>
                    <a:pt x="198" y="518"/>
                    <a:pt x="203" y="509"/>
                  </a:cubicBezTo>
                  <a:cubicBezTo>
                    <a:pt x="208" y="500"/>
                    <a:pt x="215" y="503"/>
                    <a:pt x="216" y="497"/>
                  </a:cubicBezTo>
                  <a:cubicBezTo>
                    <a:pt x="217" y="491"/>
                    <a:pt x="224" y="482"/>
                    <a:pt x="230" y="492"/>
                  </a:cubicBezTo>
                  <a:cubicBezTo>
                    <a:pt x="236" y="502"/>
                    <a:pt x="246" y="501"/>
                    <a:pt x="248" y="495"/>
                  </a:cubicBezTo>
                  <a:cubicBezTo>
                    <a:pt x="250" y="489"/>
                    <a:pt x="262" y="496"/>
                    <a:pt x="263" y="488"/>
                  </a:cubicBezTo>
                  <a:cubicBezTo>
                    <a:pt x="264" y="480"/>
                    <a:pt x="265" y="476"/>
                    <a:pt x="280" y="478"/>
                  </a:cubicBezTo>
                  <a:cubicBezTo>
                    <a:pt x="295" y="480"/>
                    <a:pt x="302" y="482"/>
                    <a:pt x="303" y="490"/>
                  </a:cubicBezTo>
                  <a:cubicBezTo>
                    <a:pt x="304" y="498"/>
                    <a:pt x="302" y="501"/>
                    <a:pt x="316" y="501"/>
                  </a:cubicBezTo>
                  <a:cubicBezTo>
                    <a:pt x="330" y="501"/>
                    <a:pt x="333" y="503"/>
                    <a:pt x="333" y="495"/>
                  </a:cubicBezTo>
                  <a:cubicBezTo>
                    <a:pt x="333" y="487"/>
                    <a:pt x="332" y="491"/>
                    <a:pt x="346" y="491"/>
                  </a:cubicBezTo>
                  <a:cubicBezTo>
                    <a:pt x="360" y="491"/>
                    <a:pt x="356" y="495"/>
                    <a:pt x="359" y="505"/>
                  </a:cubicBezTo>
                  <a:cubicBezTo>
                    <a:pt x="362" y="515"/>
                    <a:pt x="367" y="509"/>
                    <a:pt x="366" y="523"/>
                  </a:cubicBezTo>
                  <a:cubicBezTo>
                    <a:pt x="365" y="537"/>
                    <a:pt x="368" y="541"/>
                    <a:pt x="377" y="541"/>
                  </a:cubicBezTo>
                  <a:cubicBezTo>
                    <a:pt x="386" y="541"/>
                    <a:pt x="395" y="547"/>
                    <a:pt x="395" y="537"/>
                  </a:cubicBezTo>
                  <a:cubicBezTo>
                    <a:pt x="395" y="527"/>
                    <a:pt x="417" y="536"/>
                    <a:pt x="417" y="531"/>
                  </a:cubicBezTo>
                  <a:cubicBezTo>
                    <a:pt x="417" y="526"/>
                    <a:pt x="430" y="530"/>
                    <a:pt x="434" y="521"/>
                  </a:cubicBezTo>
                  <a:cubicBezTo>
                    <a:pt x="438" y="512"/>
                    <a:pt x="454" y="517"/>
                    <a:pt x="457" y="519"/>
                  </a:cubicBezTo>
                  <a:cubicBezTo>
                    <a:pt x="460" y="521"/>
                    <a:pt x="460" y="528"/>
                    <a:pt x="462" y="534"/>
                  </a:cubicBezTo>
                  <a:cubicBezTo>
                    <a:pt x="464" y="540"/>
                    <a:pt x="474" y="542"/>
                    <a:pt x="475" y="533"/>
                  </a:cubicBezTo>
                  <a:cubicBezTo>
                    <a:pt x="476" y="524"/>
                    <a:pt x="481" y="519"/>
                    <a:pt x="484" y="514"/>
                  </a:cubicBezTo>
                  <a:cubicBezTo>
                    <a:pt x="487" y="509"/>
                    <a:pt x="493" y="499"/>
                    <a:pt x="486" y="495"/>
                  </a:cubicBezTo>
                  <a:cubicBezTo>
                    <a:pt x="479" y="491"/>
                    <a:pt x="465" y="487"/>
                    <a:pt x="465" y="481"/>
                  </a:cubicBezTo>
                  <a:cubicBezTo>
                    <a:pt x="465" y="475"/>
                    <a:pt x="463" y="467"/>
                    <a:pt x="478" y="467"/>
                  </a:cubicBezTo>
                  <a:cubicBezTo>
                    <a:pt x="493" y="467"/>
                    <a:pt x="486" y="458"/>
                    <a:pt x="486" y="451"/>
                  </a:cubicBezTo>
                  <a:cubicBezTo>
                    <a:pt x="486" y="444"/>
                    <a:pt x="496" y="445"/>
                    <a:pt x="496" y="433"/>
                  </a:cubicBezTo>
                  <a:cubicBezTo>
                    <a:pt x="496" y="421"/>
                    <a:pt x="484" y="415"/>
                    <a:pt x="485" y="407"/>
                  </a:cubicBezTo>
                  <a:cubicBezTo>
                    <a:pt x="486" y="399"/>
                    <a:pt x="469" y="395"/>
                    <a:pt x="480" y="386"/>
                  </a:cubicBezTo>
                  <a:cubicBezTo>
                    <a:pt x="491" y="377"/>
                    <a:pt x="504" y="375"/>
                    <a:pt x="510" y="364"/>
                  </a:cubicBezTo>
                  <a:cubicBezTo>
                    <a:pt x="516" y="353"/>
                    <a:pt x="527" y="358"/>
                    <a:pt x="532" y="347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rnd">
              <a:solidFill>
                <a:schemeClr val="bg1">
                  <a:lumMod val="9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294" name="Freeform 25431"/>
            <p:cNvSpPr>
              <a:spLocks/>
            </p:cNvSpPr>
            <p:nvPr/>
          </p:nvSpPr>
          <p:spPr bwMode="auto">
            <a:xfrm>
              <a:off x="7102079" y="3789498"/>
              <a:ext cx="156887" cy="180089"/>
            </a:xfrm>
            <a:custGeom>
              <a:avLst/>
              <a:gdLst>
                <a:gd name="T0" fmla="*/ 278 w 421"/>
                <a:gd name="T1" fmla="*/ 456 h 483"/>
                <a:gd name="T2" fmla="*/ 282 w 421"/>
                <a:gd name="T3" fmla="*/ 432 h 483"/>
                <a:gd name="T4" fmla="*/ 288 w 421"/>
                <a:gd name="T5" fmla="*/ 403 h 483"/>
                <a:gd name="T6" fmla="*/ 262 w 421"/>
                <a:gd name="T7" fmla="*/ 398 h 483"/>
                <a:gd name="T8" fmla="*/ 278 w 421"/>
                <a:gd name="T9" fmla="*/ 378 h 483"/>
                <a:gd name="T10" fmla="*/ 294 w 421"/>
                <a:gd name="T11" fmla="*/ 368 h 483"/>
                <a:gd name="T12" fmla="*/ 260 w 421"/>
                <a:gd name="T13" fmla="*/ 366 h 483"/>
                <a:gd name="T14" fmla="*/ 233 w 421"/>
                <a:gd name="T15" fmla="*/ 337 h 483"/>
                <a:gd name="T16" fmla="*/ 224 w 421"/>
                <a:gd name="T17" fmla="*/ 293 h 483"/>
                <a:gd name="T18" fmla="*/ 192 w 421"/>
                <a:gd name="T19" fmla="*/ 230 h 483"/>
                <a:gd name="T20" fmla="*/ 262 w 421"/>
                <a:gd name="T21" fmla="*/ 179 h 483"/>
                <a:gd name="T22" fmla="*/ 266 w 421"/>
                <a:gd name="T23" fmla="*/ 197 h 483"/>
                <a:gd name="T24" fmla="*/ 282 w 421"/>
                <a:gd name="T25" fmla="*/ 212 h 483"/>
                <a:gd name="T26" fmla="*/ 303 w 421"/>
                <a:gd name="T27" fmla="*/ 213 h 483"/>
                <a:gd name="T28" fmla="*/ 307 w 421"/>
                <a:gd name="T29" fmla="*/ 188 h 483"/>
                <a:gd name="T30" fmla="*/ 306 w 421"/>
                <a:gd name="T31" fmla="*/ 168 h 483"/>
                <a:gd name="T32" fmla="*/ 268 w 421"/>
                <a:gd name="T33" fmla="*/ 152 h 483"/>
                <a:gd name="T34" fmla="*/ 216 w 421"/>
                <a:gd name="T35" fmla="*/ 167 h 483"/>
                <a:gd name="T36" fmla="*/ 184 w 421"/>
                <a:gd name="T37" fmla="*/ 162 h 483"/>
                <a:gd name="T38" fmla="*/ 159 w 421"/>
                <a:gd name="T39" fmla="*/ 191 h 483"/>
                <a:gd name="T40" fmla="*/ 123 w 421"/>
                <a:gd name="T41" fmla="*/ 187 h 483"/>
                <a:gd name="T42" fmla="*/ 91 w 421"/>
                <a:gd name="T43" fmla="*/ 148 h 483"/>
                <a:gd name="T44" fmla="*/ 119 w 421"/>
                <a:gd name="T45" fmla="*/ 78 h 483"/>
                <a:gd name="T46" fmla="*/ 158 w 421"/>
                <a:gd name="T47" fmla="*/ 85 h 483"/>
                <a:gd name="T48" fmla="*/ 196 w 421"/>
                <a:gd name="T49" fmla="*/ 81 h 483"/>
                <a:gd name="T50" fmla="*/ 252 w 421"/>
                <a:gd name="T51" fmla="*/ 84 h 483"/>
                <a:gd name="T52" fmla="*/ 316 w 421"/>
                <a:gd name="T53" fmla="*/ 96 h 483"/>
                <a:gd name="T54" fmla="*/ 372 w 421"/>
                <a:gd name="T55" fmla="*/ 83 h 483"/>
                <a:gd name="T56" fmla="*/ 417 w 421"/>
                <a:gd name="T57" fmla="*/ 26 h 483"/>
                <a:gd name="T58" fmla="*/ 378 w 421"/>
                <a:gd name="T59" fmla="*/ 19 h 483"/>
                <a:gd name="T60" fmla="*/ 310 w 421"/>
                <a:gd name="T61" fmla="*/ 51 h 483"/>
                <a:gd name="T62" fmla="*/ 265 w 421"/>
                <a:gd name="T63" fmla="*/ 55 h 483"/>
                <a:gd name="T64" fmla="*/ 220 w 421"/>
                <a:gd name="T65" fmla="*/ 39 h 483"/>
                <a:gd name="T66" fmla="*/ 166 w 421"/>
                <a:gd name="T67" fmla="*/ 32 h 483"/>
                <a:gd name="T68" fmla="*/ 128 w 421"/>
                <a:gd name="T69" fmla="*/ 48 h 483"/>
                <a:gd name="T70" fmla="*/ 79 w 421"/>
                <a:gd name="T71" fmla="*/ 86 h 483"/>
                <a:gd name="T72" fmla="*/ 67 w 421"/>
                <a:gd name="T73" fmla="*/ 133 h 483"/>
                <a:gd name="T74" fmla="*/ 41 w 421"/>
                <a:gd name="T75" fmla="*/ 200 h 483"/>
                <a:gd name="T76" fmla="*/ 30 w 421"/>
                <a:gd name="T77" fmla="*/ 255 h 483"/>
                <a:gd name="T78" fmla="*/ 8 w 421"/>
                <a:gd name="T79" fmla="*/ 295 h 483"/>
                <a:gd name="T80" fmla="*/ 16 w 421"/>
                <a:gd name="T81" fmla="*/ 338 h 483"/>
                <a:gd name="T82" fmla="*/ 54 w 421"/>
                <a:gd name="T83" fmla="*/ 346 h 483"/>
                <a:gd name="T84" fmla="*/ 63 w 421"/>
                <a:gd name="T85" fmla="*/ 398 h 483"/>
                <a:gd name="T86" fmla="*/ 44 w 421"/>
                <a:gd name="T87" fmla="*/ 454 h 483"/>
                <a:gd name="T88" fmla="*/ 92 w 421"/>
                <a:gd name="T89" fmla="*/ 474 h 483"/>
                <a:gd name="T90" fmla="*/ 112 w 421"/>
                <a:gd name="T91" fmla="*/ 450 h 483"/>
                <a:gd name="T92" fmla="*/ 117 w 421"/>
                <a:gd name="T93" fmla="*/ 410 h 483"/>
                <a:gd name="T94" fmla="*/ 105 w 421"/>
                <a:gd name="T95" fmla="*/ 374 h 483"/>
                <a:gd name="T96" fmla="*/ 117 w 421"/>
                <a:gd name="T97" fmla="*/ 340 h 483"/>
                <a:gd name="T98" fmla="*/ 105 w 421"/>
                <a:gd name="T99" fmla="*/ 305 h 483"/>
                <a:gd name="T100" fmla="*/ 132 w 421"/>
                <a:gd name="T101" fmla="*/ 281 h 483"/>
                <a:gd name="T102" fmla="*/ 147 w 421"/>
                <a:gd name="T103" fmla="*/ 320 h 483"/>
                <a:gd name="T104" fmla="*/ 177 w 421"/>
                <a:gd name="T105" fmla="*/ 371 h 483"/>
                <a:gd name="T106" fmla="*/ 197 w 421"/>
                <a:gd name="T107" fmla="*/ 421 h 483"/>
                <a:gd name="T108" fmla="*/ 233 w 421"/>
                <a:gd name="T109" fmla="*/ 396 h 483"/>
                <a:gd name="T110" fmla="*/ 249 w 421"/>
                <a:gd name="T111" fmla="*/ 473 h 4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21" h="483">
                  <a:moveTo>
                    <a:pt x="268" y="467"/>
                  </a:moveTo>
                  <a:cubicBezTo>
                    <a:pt x="276" y="464"/>
                    <a:pt x="277" y="464"/>
                    <a:pt x="278" y="456"/>
                  </a:cubicBezTo>
                  <a:cubicBezTo>
                    <a:pt x="279" y="448"/>
                    <a:pt x="294" y="450"/>
                    <a:pt x="288" y="447"/>
                  </a:cubicBezTo>
                  <a:cubicBezTo>
                    <a:pt x="282" y="444"/>
                    <a:pt x="282" y="442"/>
                    <a:pt x="282" y="432"/>
                  </a:cubicBezTo>
                  <a:cubicBezTo>
                    <a:pt x="282" y="422"/>
                    <a:pt x="277" y="418"/>
                    <a:pt x="285" y="415"/>
                  </a:cubicBezTo>
                  <a:cubicBezTo>
                    <a:pt x="293" y="412"/>
                    <a:pt x="288" y="407"/>
                    <a:pt x="288" y="403"/>
                  </a:cubicBezTo>
                  <a:cubicBezTo>
                    <a:pt x="288" y="399"/>
                    <a:pt x="280" y="392"/>
                    <a:pt x="276" y="399"/>
                  </a:cubicBezTo>
                  <a:cubicBezTo>
                    <a:pt x="272" y="406"/>
                    <a:pt x="262" y="401"/>
                    <a:pt x="262" y="398"/>
                  </a:cubicBezTo>
                  <a:cubicBezTo>
                    <a:pt x="262" y="395"/>
                    <a:pt x="259" y="385"/>
                    <a:pt x="264" y="383"/>
                  </a:cubicBezTo>
                  <a:cubicBezTo>
                    <a:pt x="269" y="381"/>
                    <a:pt x="275" y="371"/>
                    <a:pt x="278" y="378"/>
                  </a:cubicBezTo>
                  <a:cubicBezTo>
                    <a:pt x="281" y="385"/>
                    <a:pt x="291" y="391"/>
                    <a:pt x="290" y="383"/>
                  </a:cubicBezTo>
                  <a:cubicBezTo>
                    <a:pt x="289" y="375"/>
                    <a:pt x="305" y="374"/>
                    <a:pt x="294" y="368"/>
                  </a:cubicBezTo>
                  <a:cubicBezTo>
                    <a:pt x="283" y="362"/>
                    <a:pt x="277" y="362"/>
                    <a:pt x="277" y="366"/>
                  </a:cubicBezTo>
                  <a:cubicBezTo>
                    <a:pt x="277" y="370"/>
                    <a:pt x="273" y="374"/>
                    <a:pt x="260" y="366"/>
                  </a:cubicBezTo>
                  <a:cubicBezTo>
                    <a:pt x="247" y="358"/>
                    <a:pt x="237" y="363"/>
                    <a:pt x="234" y="353"/>
                  </a:cubicBezTo>
                  <a:cubicBezTo>
                    <a:pt x="231" y="343"/>
                    <a:pt x="224" y="346"/>
                    <a:pt x="233" y="337"/>
                  </a:cubicBezTo>
                  <a:cubicBezTo>
                    <a:pt x="242" y="328"/>
                    <a:pt x="243" y="326"/>
                    <a:pt x="238" y="317"/>
                  </a:cubicBezTo>
                  <a:cubicBezTo>
                    <a:pt x="233" y="308"/>
                    <a:pt x="235" y="303"/>
                    <a:pt x="224" y="293"/>
                  </a:cubicBezTo>
                  <a:cubicBezTo>
                    <a:pt x="213" y="283"/>
                    <a:pt x="198" y="267"/>
                    <a:pt x="193" y="256"/>
                  </a:cubicBezTo>
                  <a:cubicBezTo>
                    <a:pt x="188" y="245"/>
                    <a:pt x="179" y="234"/>
                    <a:pt x="192" y="230"/>
                  </a:cubicBezTo>
                  <a:cubicBezTo>
                    <a:pt x="205" y="226"/>
                    <a:pt x="233" y="218"/>
                    <a:pt x="239" y="205"/>
                  </a:cubicBezTo>
                  <a:cubicBezTo>
                    <a:pt x="245" y="192"/>
                    <a:pt x="254" y="182"/>
                    <a:pt x="262" y="179"/>
                  </a:cubicBezTo>
                  <a:cubicBezTo>
                    <a:pt x="270" y="176"/>
                    <a:pt x="276" y="177"/>
                    <a:pt x="276" y="184"/>
                  </a:cubicBezTo>
                  <a:cubicBezTo>
                    <a:pt x="276" y="191"/>
                    <a:pt x="266" y="185"/>
                    <a:pt x="266" y="197"/>
                  </a:cubicBezTo>
                  <a:cubicBezTo>
                    <a:pt x="266" y="209"/>
                    <a:pt x="262" y="219"/>
                    <a:pt x="270" y="217"/>
                  </a:cubicBezTo>
                  <a:cubicBezTo>
                    <a:pt x="278" y="215"/>
                    <a:pt x="278" y="205"/>
                    <a:pt x="282" y="212"/>
                  </a:cubicBezTo>
                  <a:cubicBezTo>
                    <a:pt x="286" y="219"/>
                    <a:pt x="288" y="221"/>
                    <a:pt x="292" y="216"/>
                  </a:cubicBezTo>
                  <a:cubicBezTo>
                    <a:pt x="296" y="211"/>
                    <a:pt x="300" y="206"/>
                    <a:pt x="303" y="213"/>
                  </a:cubicBezTo>
                  <a:cubicBezTo>
                    <a:pt x="306" y="220"/>
                    <a:pt x="315" y="224"/>
                    <a:pt x="315" y="213"/>
                  </a:cubicBezTo>
                  <a:cubicBezTo>
                    <a:pt x="315" y="202"/>
                    <a:pt x="314" y="188"/>
                    <a:pt x="307" y="188"/>
                  </a:cubicBezTo>
                  <a:cubicBezTo>
                    <a:pt x="300" y="188"/>
                    <a:pt x="295" y="187"/>
                    <a:pt x="297" y="180"/>
                  </a:cubicBezTo>
                  <a:cubicBezTo>
                    <a:pt x="299" y="173"/>
                    <a:pt x="306" y="181"/>
                    <a:pt x="306" y="168"/>
                  </a:cubicBezTo>
                  <a:cubicBezTo>
                    <a:pt x="306" y="155"/>
                    <a:pt x="307" y="148"/>
                    <a:pt x="293" y="147"/>
                  </a:cubicBezTo>
                  <a:cubicBezTo>
                    <a:pt x="279" y="146"/>
                    <a:pt x="271" y="145"/>
                    <a:pt x="268" y="152"/>
                  </a:cubicBezTo>
                  <a:cubicBezTo>
                    <a:pt x="265" y="159"/>
                    <a:pt x="256" y="158"/>
                    <a:pt x="242" y="158"/>
                  </a:cubicBezTo>
                  <a:cubicBezTo>
                    <a:pt x="228" y="158"/>
                    <a:pt x="220" y="160"/>
                    <a:pt x="216" y="167"/>
                  </a:cubicBezTo>
                  <a:cubicBezTo>
                    <a:pt x="212" y="174"/>
                    <a:pt x="201" y="179"/>
                    <a:pt x="196" y="171"/>
                  </a:cubicBezTo>
                  <a:cubicBezTo>
                    <a:pt x="191" y="163"/>
                    <a:pt x="189" y="159"/>
                    <a:pt x="184" y="162"/>
                  </a:cubicBezTo>
                  <a:cubicBezTo>
                    <a:pt x="179" y="165"/>
                    <a:pt x="176" y="159"/>
                    <a:pt x="172" y="173"/>
                  </a:cubicBezTo>
                  <a:cubicBezTo>
                    <a:pt x="168" y="187"/>
                    <a:pt x="162" y="184"/>
                    <a:pt x="159" y="191"/>
                  </a:cubicBezTo>
                  <a:cubicBezTo>
                    <a:pt x="156" y="198"/>
                    <a:pt x="155" y="198"/>
                    <a:pt x="143" y="198"/>
                  </a:cubicBezTo>
                  <a:cubicBezTo>
                    <a:pt x="131" y="198"/>
                    <a:pt x="124" y="198"/>
                    <a:pt x="123" y="187"/>
                  </a:cubicBezTo>
                  <a:cubicBezTo>
                    <a:pt x="122" y="176"/>
                    <a:pt x="122" y="166"/>
                    <a:pt x="108" y="162"/>
                  </a:cubicBezTo>
                  <a:cubicBezTo>
                    <a:pt x="94" y="158"/>
                    <a:pt x="91" y="160"/>
                    <a:pt x="91" y="148"/>
                  </a:cubicBezTo>
                  <a:cubicBezTo>
                    <a:pt x="91" y="136"/>
                    <a:pt x="84" y="98"/>
                    <a:pt x="100" y="95"/>
                  </a:cubicBezTo>
                  <a:cubicBezTo>
                    <a:pt x="116" y="92"/>
                    <a:pt x="113" y="78"/>
                    <a:pt x="119" y="78"/>
                  </a:cubicBezTo>
                  <a:cubicBezTo>
                    <a:pt x="125" y="78"/>
                    <a:pt x="130" y="79"/>
                    <a:pt x="134" y="86"/>
                  </a:cubicBezTo>
                  <a:cubicBezTo>
                    <a:pt x="138" y="93"/>
                    <a:pt x="146" y="85"/>
                    <a:pt x="158" y="85"/>
                  </a:cubicBezTo>
                  <a:cubicBezTo>
                    <a:pt x="170" y="85"/>
                    <a:pt x="173" y="89"/>
                    <a:pt x="176" y="84"/>
                  </a:cubicBezTo>
                  <a:cubicBezTo>
                    <a:pt x="179" y="79"/>
                    <a:pt x="190" y="75"/>
                    <a:pt x="196" y="81"/>
                  </a:cubicBezTo>
                  <a:cubicBezTo>
                    <a:pt x="202" y="87"/>
                    <a:pt x="208" y="87"/>
                    <a:pt x="219" y="86"/>
                  </a:cubicBezTo>
                  <a:cubicBezTo>
                    <a:pt x="230" y="85"/>
                    <a:pt x="238" y="83"/>
                    <a:pt x="252" y="84"/>
                  </a:cubicBezTo>
                  <a:cubicBezTo>
                    <a:pt x="266" y="85"/>
                    <a:pt x="276" y="82"/>
                    <a:pt x="286" y="89"/>
                  </a:cubicBezTo>
                  <a:cubicBezTo>
                    <a:pt x="296" y="96"/>
                    <a:pt x="300" y="96"/>
                    <a:pt x="316" y="96"/>
                  </a:cubicBezTo>
                  <a:cubicBezTo>
                    <a:pt x="332" y="96"/>
                    <a:pt x="345" y="104"/>
                    <a:pt x="352" y="96"/>
                  </a:cubicBezTo>
                  <a:cubicBezTo>
                    <a:pt x="359" y="88"/>
                    <a:pt x="365" y="99"/>
                    <a:pt x="372" y="83"/>
                  </a:cubicBezTo>
                  <a:cubicBezTo>
                    <a:pt x="379" y="67"/>
                    <a:pt x="384" y="64"/>
                    <a:pt x="397" y="55"/>
                  </a:cubicBezTo>
                  <a:cubicBezTo>
                    <a:pt x="410" y="46"/>
                    <a:pt x="413" y="37"/>
                    <a:pt x="417" y="26"/>
                  </a:cubicBezTo>
                  <a:cubicBezTo>
                    <a:pt x="421" y="15"/>
                    <a:pt x="417" y="15"/>
                    <a:pt x="411" y="8"/>
                  </a:cubicBezTo>
                  <a:cubicBezTo>
                    <a:pt x="405" y="1"/>
                    <a:pt x="394" y="0"/>
                    <a:pt x="378" y="19"/>
                  </a:cubicBezTo>
                  <a:cubicBezTo>
                    <a:pt x="362" y="38"/>
                    <a:pt x="358" y="53"/>
                    <a:pt x="341" y="54"/>
                  </a:cubicBezTo>
                  <a:cubicBezTo>
                    <a:pt x="324" y="55"/>
                    <a:pt x="314" y="57"/>
                    <a:pt x="310" y="51"/>
                  </a:cubicBezTo>
                  <a:cubicBezTo>
                    <a:pt x="306" y="45"/>
                    <a:pt x="288" y="49"/>
                    <a:pt x="280" y="49"/>
                  </a:cubicBezTo>
                  <a:cubicBezTo>
                    <a:pt x="272" y="49"/>
                    <a:pt x="274" y="58"/>
                    <a:pt x="265" y="55"/>
                  </a:cubicBezTo>
                  <a:cubicBezTo>
                    <a:pt x="256" y="52"/>
                    <a:pt x="249" y="47"/>
                    <a:pt x="243" y="47"/>
                  </a:cubicBezTo>
                  <a:cubicBezTo>
                    <a:pt x="237" y="47"/>
                    <a:pt x="238" y="37"/>
                    <a:pt x="220" y="39"/>
                  </a:cubicBezTo>
                  <a:cubicBezTo>
                    <a:pt x="202" y="41"/>
                    <a:pt x="183" y="44"/>
                    <a:pt x="182" y="36"/>
                  </a:cubicBezTo>
                  <a:cubicBezTo>
                    <a:pt x="181" y="28"/>
                    <a:pt x="174" y="33"/>
                    <a:pt x="166" y="32"/>
                  </a:cubicBezTo>
                  <a:cubicBezTo>
                    <a:pt x="158" y="31"/>
                    <a:pt x="156" y="16"/>
                    <a:pt x="146" y="21"/>
                  </a:cubicBezTo>
                  <a:cubicBezTo>
                    <a:pt x="136" y="26"/>
                    <a:pt x="134" y="40"/>
                    <a:pt x="128" y="48"/>
                  </a:cubicBezTo>
                  <a:cubicBezTo>
                    <a:pt x="122" y="56"/>
                    <a:pt x="111" y="57"/>
                    <a:pt x="100" y="58"/>
                  </a:cubicBezTo>
                  <a:cubicBezTo>
                    <a:pt x="89" y="59"/>
                    <a:pt x="85" y="72"/>
                    <a:pt x="79" y="86"/>
                  </a:cubicBezTo>
                  <a:cubicBezTo>
                    <a:pt x="73" y="100"/>
                    <a:pt x="59" y="113"/>
                    <a:pt x="62" y="120"/>
                  </a:cubicBezTo>
                  <a:cubicBezTo>
                    <a:pt x="65" y="127"/>
                    <a:pt x="67" y="121"/>
                    <a:pt x="67" y="133"/>
                  </a:cubicBezTo>
                  <a:cubicBezTo>
                    <a:pt x="67" y="145"/>
                    <a:pt x="69" y="160"/>
                    <a:pt x="57" y="169"/>
                  </a:cubicBezTo>
                  <a:cubicBezTo>
                    <a:pt x="57" y="169"/>
                    <a:pt x="37" y="189"/>
                    <a:pt x="41" y="200"/>
                  </a:cubicBezTo>
                  <a:cubicBezTo>
                    <a:pt x="45" y="211"/>
                    <a:pt x="45" y="220"/>
                    <a:pt x="39" y="229"/>
                  </a:cubicBezTo>
                  <a:cubicBezTo>
                    <a:pt x="33" y="238"/>
                    <a:pt x="30" y="246"/>
                    <a:pt x="30" y="255"/>
                  </a:cubicBezTo>
                  <a:cubicBezTo>
                    <a:pt x="30" y="264"/>
                    <a:pt x="29" y="273"/>
                    <a:pt x="17" y="277"/>
                  </a:cubicBezTo>
                  <a:cubicBezTo>
                    <a:pt x="5" y="281"/>
                    <a:pt x="0" y="290"/>
                    <a:pt x="8" y="295"/>
                  </a:cubicBezTo>
                  <a:cubicBezTo>
                    <a:pt x="16" y="300"/>
                    <a:pt x="17" y="309"/>
                    <a:pt x="11" y="317"/>
                  </a:cubicBezTo>
                  <a:cubicBezTo>
                    <a:pt x="5" y="325"/>
                    <a:pt x="7" y="335"/>
                    <a:pt x="16" y="338"/>
                  </a:cubicBezTo>
                  <a:cubicBezTo>
                    <a:pt x="25" y="341"/>
                    <a:pt x="25" y="330"/>
                    <a:pt x="39" y="332"/>
                  </a:cubicBezTo>
                  <a:cubicBezTo>
                    <a:pt x="53" y="334"/>
                    <a:pt x="56" y="336"/>
                    <a:pt x="54" y="346"/>
                  </a:cubicBezTo>
                  <a:cubicBezTo>
                    <a:pt x="52" y="356"/>
                    <a:pt x="42" y="365"/>
                    <a:pt x="56" y="372"/>
                  </a:cubicBezTo>
                  <a:cubicBezTo>
                    <a:pt x="70" y="379"/>
                    <a:pt x="64" y="385"/>
                    <a:pt x="63" y="398"/>
                  </a:cubicBezTo>
                  <a:cubicBezTo>
                    <a:pt x="62" y="411"/>
                    <a:pt x="60" y="414"/>
                    <a:pt x="51" y="420"/>
                  </a:cubicBezTo>
                  <a:cubicBezTo>
                    <a:pt x="42" y="426"/>
                    <a:pt x="44" y="444"/>
                    <a:pt x="44" y="454"/>
                  </a:cubicBezTo>
                  <a:cubicBezTo>
                    <a:pt x="44" y="464"/>
                    <a:pt x="54" y="468"/>
                    <a:pt x="65" y="473"/>
                  </a:cubicBezTo>
                  <a:cubicBezTo>
                    <a:pt x="76" y="478"/>
                    <a:pt x="88" y="483"/>
                    <a:pt x="92" y="474"/>
                  </a:cubicBezTo>
                  <a:cubicBezTo>
                    <a:pt x="96" y="465"/>
                    <a:pt x="103" y="462"/>
                    <a:pt x="108" y="462"/>
                  </a:cubicBezTo>
                  <a:cubicBezTo>
                    <a:pt x="113" y="462"/>
                    <a:pt x="118" y="454"/>
                    <a:pt x="112" y="450"/>
                  </a:cubicBezTo>
                  <a:cubicBezTo>
                    <a:pt x="106" y="446"/>
                    <a:pt x="104" y="444"/>
                    <a:pt x="105" y="434"/>
                  </a:cubicBezTo>
                  <a:cubicBezTo>
                    <a:pt x="106" y="424"/>
                    <a:pt x="117" y="424"/>
                    <a:pt x="117" y="410"/>
                  </a:cubicBezTo>
                  <a:cubicBezTo>
                    <a:pt x="117" y="396"/>
                    <a:pt x="119" y="392"/>
                    <a:pt x="111" y="388"/>
                  </a:cubicBezTo>
                  <a:cubicBezTo>
                    <a:pt x="103" y="384"/>
                    <a:pt x="104" y="383"/>
                    <a:pt x="105" y="374"/>
                  </a:cubicBezTo>
                  <a:cubicBezTo>
                    <a:pt x="106" y="365"/>
                    <a:pt x="103" y="360"/>
                    <a:pt x="110" y="360"/>
                  </a:cubicBezTo>
                  <a:cubicBezTo>
                    <a:pt x="117" y="360"/>
                    <a:pt x="117" y="353"/>
                    <a:pt x="117" y="340"/>
                  </a:cubicBezTo>
                  <a:cubicBezTo>
                    <a:pt x="117" y="327"/>
                    <a:pt x="117" y="324"/>
                    <a:pt x="112" y="321"/>
                  </a:cubicBezTo>
                  <a:cubicBezTo>
                    <a:pt x="107" y="318"/>
                    <a:pt x="105" y="311"/>
                    <a:pt x="105" y="305"/>
                  </a:cubicBezTo>
                  <a:cubicBezTo>
                    <a:pt x="105" y="299"/>
                    <a:pt x="102" y="292"/>
                    <a:pt x="113" y="291"/>
                  </a:cubicBezTo>
                  <a:cubicBezTo>
                    <a:pt x="124" y="290"/>
                    <a:pt x="120" y="278"/>
                    <a:pt x="132" y="281"/>
                  </a:cubicBezTo>
                  <a:cubicBezTo>
                    <a:pt x="144" y="284"/>
                    <a:pt x="152" y="281"/>
                    <a:pt x="152" y="296"/>
                  </a:cubicBezTo>
                  <a:cubicBezTo>
                    <a:pt x="152" y="311"/>
                    <a:pt x="156" y="313"/>
                    <a:pt x="147" y="320"/>
                  </a:cubicBezTo>
                  <a:cubicBezTo>
                    <a:pt x="138" y="327"/>
                    <a:pt x="135" y="336"/>
                    <a:pt x="149" y="348"/>
                  </a:cubicBezTo>
                  <a:cubicBezTo>
                    <a:pt x="163" y="360"/>
                    <a:pt x="166" y="370"/>
                    <a:pt x="177" y="371"/>
                  </a:cubicBezTo>
                  <a:cubicBezTo>
                    <a:pt x="188" y="372"/>
                    <a:pt x="187" y="379"/>
                    <a:pt x="187" y="390"/>
                  </a:cubicBezTo>
                  <a:cubicBezTo>
                    <a:pt x="187" y="401"/>
                    <a:pt x="181" y="421"/>
                    <a:pt x="197" y="421"/>
                  </a:cubicBezTo>
                  <a:cubicBezTo>
                    <a:pt x="213" y="421"/>
                    <a:pt x="218" y="421"/>
                    <a:pt x="218" y="410"/>
                  </a:cubicBezTo>
                  <a:cubicBezTo>
                    <a:pt x="218" y="399"/>
                    <a:pt x="226" y="396"/>
                    <a:pt x="233" y="396"/>
                  </a:cubicBezTo>
                  <a:cubicBezTo>
                    <a:pt x="240" y="396"/>
                    <a:pt x="242" y="412"/>
                    <a:pt x="241" y="426"/>
                  </a:cubicBezTo>
                  <a:cubicBezTo>
                    <a:pt x="240" y="440"/>
                    <a:pt x="220" y="464"/>
                    <a:pt x="249" y="473"/>
                  </a:cubicBezTo>
                  <a:cubicBezTo>
                    <a:pt x="278" y="482"/>
                    <a:pt x="260" y="470"/>
                    <a:pt x="268" y="467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rnd">
              <a:solidFill>
                <a:schemeClr val="bg1">
                  <a:lumMod val="9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295" name="Freeform 25432"/>
            <p:cNvSpPr>
              <a:spLocks/>
            </p:cNvSpPr>
            <p:nvPr/>
          </p:nvSpPr>
          <p:spPr bwMode="auto">
            <a:xfrm>
              <a:off x="7037209" y="4023723"/>
              <a:ext cx="18625" cy="20834"/>
            </a:xfrm>
            <a:custGeom>
              <a:avLst/>
              <a:gdLst>
                <a:gd name="T0" fmla="*/ 15 w 50"/>
                <a:gd name="T1" fmla="*/ 18 h 56"/>
                <a:gd name="T2" fmla="*/ 6 w 50"/>
                <a:gd name="T3" fmla="*/ 31 h 56"/>
                <a:gd name="T4" fmla="*/ 10 w 50"/>
                <a:gd name="T5" fmla="*/ 50 h 56"/>
                <a:gd name="T6" fmla="*/ 36 w 50"/>
                <a:gd name="T7" fmla="*/ 47 h 56"/>
                <a:gd name="T8" fmla="*/ 44 w 50"/>
                <a:gd name="T9" fmla="*/ 32 h 56"/>
                <a:gd name="T10" fmla="*/ 47 w 50"/>
                <a:gd name="T11" fmla="*/ 19 h 56"/>
                <a:gd name="T12" fmla="*/ 15 w 50"/>
                <a:gd name="T13" fmla="*/ 18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0" h="56">
                  <a:moveTo>
                    <a:pt x="15" y="18"/>
                  </a:moveTo>
                  <a:cubicBezTo>
                    <a:pt x="15" y="18"/>
                    <a:pt x="9" y="23"/>
                    <a:pt x="6" y="31"/>
                  </a:cubicBezTo>
                  <a:cubicBezTo>
                    <a:pt x="3" y="39"/>
                    <a:pt x="0" y="45"/>
                    <a:pt x="10" y="50"/>
                  </a:cubicBezTo>
                  <a:cubicBezTo>
                    <a:pt x="20" y="55"/>
                    <a:pt x="33" y="56"/>
                    <a:pt x="36" y="47"/>
                  </a:cubicBezTo>
                  <a:cubicBezTo>
                    <a:pt x="39" y="38"/>
                    <a:pt x="40" y="34"/>
                    <a:pt x="44" y="32"/>
                  </a:cubicBezTo>
                  <a:cubicBezTo>
                    <a:pt x="48" y="30"/>
                    <a:pt x="50" y="25"/>
                    <a:pt x="47" y="19"/>
                  </a:cubicBezTo>
                  <a:cubicBezTo>
                    <a:pt x="44" y="13"/>
                    <a:pt x="25" y="0"/>
                    <a:pt x="15" y="18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rnd">
              <a:solidFill>
                <a:schemeClr val="bg1">
                  <a:lumMod val="9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296" name="Freeform 25433"/>
            <p:cNvSpPr>
              <a:spLocks/>
            </p:cNvSpPr>
            <p:nvPr/>
          </p:nvSpPr>
          <p:spPr bwMode="auto">
            <a:xfrm>
              <a:off x="7056465" y="4032563"/>
              <a:ext cx="26832" cy="16888"/>
            </a:xfrm>
            <a:custGeom>
              <a:avLst/>
              <a:gdLst>
                <a:gd name="T0" fmla="*/ 57 w 72"/>
                <a:gd name="T1" fmla="*/ 10 h 45"/>
                <a:gd name="T2" fmla="*/ 34 w 72"/>
                <a:gd name="T3" fmla="*/ 1 h 45"/>
                <a:gd name="T4" fmla="*/ 10 w 72"/>
                <a:gd name="T5" fmla="*/ 11 h 45"/>
                <a:gd name="T6" fmla="*/ 2 w 72"/>
                <a:gd name="T7" fmla="*/ 28 h 45"/>
                <a:gd name="T8" fmla="*/ 16 w 72"/>
                <a:gd name="T9" fmla="*/ 38 h 45"/>
                <a:gd name="T10" fmla="*/ 38 w 72"/>
                <a:gd name="T11" fmla="*/ 41 h 45"/>
                <a:gd name="T12" fmla="*/ 61 w 72"/>
                <a:gd name="T13" fmla="*/ 35 h 45"/>
                <a:gd name="T14" fmla="*/ 69 w 72"/>
                <a:gd name="T15" fmla="*/ 25 h 45"/>
                <a:gd name="T16" fmla="*/ 57 w 72"/>
                <a:gd name="T17" fmla="*/ 1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" h="45">
                  <a:moveTo>
                    <a:pt x="57" y="10"/>
                  </a:moveTo>
                  <a:cubicBezTo>
                    <a:pt x="51" y="7"/>
                    <a:pt x="52" y="0"/>
                    <a:pt x="34" y="1"/>
                  </a:cubicBezTo>
                  <a:cubicBezTo>
                    <a:pt x="34" y="1"/>
                    <a:pt x="14" y="2"/>
                    <a:pt x="10" y="11"/>
                  </a:cubicBezTo>
                  <a:cubicBezTo>
                    <a:pt x="6" y="20"/>
                    <a:pt x="0" y="21"/>
                    <a:pt x="2" y="28"/>
                  </a:cubicBezTo>
                  <a:cubicBezTo>
                    <a:pt x="4" y="35"/>
                    <a:pt x="9" y="35"/>
                    <a:pt x="16" y="38"/>
                  </a:cubicBezTo>
                  <a:cubicBezTo>
                    <a:pt x="23" y="41"/>
                    <a:pt x="28" y="45"/>
                    <a:pt x="38" y="41"/>
                  </a:cubicBezTo>
                  <a:cubicBezTo>
                    <a:pt x="48" y="37"/>
                    <a:pt x="51" y="33"/>
                    <a:pt x="61" y="35"/>
                  </a:cubicBezTo>
                  <a:cubicBezTo>
                    <a:pt x="71" y="37"/>
                    <a:pt x="72" y="36"/>
                    <a:pt x="69" y="25"/>
                  </a:cubicBezTo>
                  <a:cubicBezTo>
                    <a:pt x="66" y="14"/>
                    <a:pt x="63" y="13"/>
                    <a:pt x="57" y="1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rnd">
              <a:solidFill>
                <a:schemeClr val="bg1">
                  <a:lumMod val="9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297" name="Freeform 25434"/>
            <p:cNvSpPr>
              <a:spLocks/>
            </p:cNvSpPr>
            <p:nvPr/>
          </p:nvSpPr>
          <p:spPr bwMode="auto">
            <a:xfrm>
              <a:off x="7077773" y="4019619"/>
              <a:ext cx="34250" cy="24622"/>
            </a:xfrm>
            <a:custGeom>
              <a:avLst/>
              <a:gdLst>
                <a:gd name="T0" fmla="*/ 88 w 92"/>
                <a:gd name="T1" fmla="*/ 57 h 66"/>
                <a:gd name="T2" fmla="*/ 91 w 92"/>
                <a:gd name="T3" fmla="*/ 42 h 66"/>
                <a:gd name="T4" fmla="*/ 72 w 92"/>
                <a:gd name="T5" fmla="*/ 25 h 66"/>
                <a:gd name="T6" fmla="*/ 40 w 92"/>
                <a:gd name="T7" fmla="*/ 20 h 66"/>
                <a:gd name="T8" fmla="*/ 7 w 92"/>
                <a:gd name="T9" fmla="*/ 15 h 66"/>
                <a:gd name="T10" fmla="*/ 7 w 92"/>
                <a:gd name="T11" fmla="*/ 24 h 66"/>
                <a:gd name="T12" fmla="*/ 22 w 92"/>
                <a:gd name="T13" fmla="*/ 42 h 66"/>
                <a:gd name="T14" fmla="*/ 33 w 92"/>
                <a:gd name="T15" fmla="*/ 58 h 66"/>
                <a:gd name="T16" fmla="*/ 55 w 92"/>
                <a:gd name="T17" fmla="*/ 62 h 66"/>
                <a:gd name="T18" fmla="*/ 76 w 92"/>
                <a:gd name="T19" fmla="*/ 62 h 66"/>
                <a:gd name="T20" fmla="*/ 88 w 92"/>
                <a:gd name="T21" fmla="*/ 5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2" h="66">
                  <a:moveTo>
                    <a:pt x="88" y="57"/>
                  </a:moveTo>
                  <a:cubicBezTo>
                    <a:pt x="89" y="50"/>
                    <a:pt x="92" y="51"/>
                    <a:pt x="91" y="42"/>
                  </a:cubicBezTo>
                  <a:cubicBezTo>
                    <a:pt x="90" y="33"/>
                    <a:pt x="86" y="25"/>
                    <a:pt x="72" y="25"/>
                  </a:cubicBezTo>
                  <a:cubicBezTo>
                    <a:pt x="58" y="25"/>
                    <a:pt x="52" y="28"/>
                    <a:pt x="40" y="20"/>
                  </a:cubicBezTo>
                  <a:cubicBezTo>
                    <a:pt x="28" y="12"/>
                    <a:pt x="18" y="0"/>
                    <a:pt x="7" y="15"/>
                  </a:cubicBezTo>
                  <a:cubicBezTo>
                    <a:pt x="7" y="15"/>
                    <a:pt x="0" y="16"/>
                    <a:pt x="7" y="24"/>
                  </a:cubicBezTo>
                  <a:cubicBezTo>
                    <a:pt x="14" y="32"/>
                    <a:pt x="18" y="33"/>
                    <a:pt x="22" y="42"/>
                  </a:cubicBezTo>
                  <a:cubicBezTo>
                    <a:pt x="26" y="51"/>
                    <a:pt x="26" y="61"/>
                    <a:pt x="33" y="58"/>
                  </a:cubicBezTo>
                  <a:cubicBezTo>
                    <a:pt x="40" y="55"/>
                    <a:pt x="51" y="58"/>
                    <a:pt x="55" y="62"/>
                  </a:cubicBezTo>
                  <a:cubicBezTo>
                    <a:pt x="59" y="66"/>
                    <a:pt x="68" y="62"/>
                    <a:pt x="76" y="62"/>
                  </a:cubicBezTo>
                  <a:cubicBezTo>
                    <a:pt x="84" y="62"/>
                    <a:pt x="87" y="64"/>
                    <a:pt x="88" y="57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rnd">
              <a:solidFill>
                <a:schemeClr val="bg1">
                  <a:lumMod val="9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298" name="Freeform 25435"/>
            <p:cNvSpPr>
              <a:spLocks/>
            </p:cNvSpPr>
            <p:nvPr/>
          </p:nvSpPr>
          <p:spPr bwMode="auto">
            <a:xfrm>
              <a:off x="7108708" y="4051660"/>
              <a:ext cx="48455" cy="26516"/>
            </a:xfrm>
            <a:custGeom>
              <a:avLst/>
              <a:gdLst>
                <a:gd name="T0" fmla="*/ 119 w 130"/>
                <a:gd name="T1" fmla="*/ 46 h 71"/>
                <a:gd name="T2" fmla="*/ 95 w 130"/>
                <a:gd name="T3" fmla="*/ 25 h 71"/>
                <a:gd name="T4" fmla="*/ 70 w 130"/>
                <a:gd name="T5" fmla="*/ 10 h 71"/>
                <a:gd name="T6" fmla="*/ 42 w 130"/>
                <a:gd name="T7" fmla="*/ 7 h 71"/>
                <a:gd name="T8" fmla="*/ 14 w 130"/>
                <a:gd name="T9" fmla="*/ 7 h 71"/>
                <a:gd name="T10" fmla="*/ 0 w 130"/>
                <a:gd name="T11" fmla="*/ 19 h 71"/>
                <a:gd name="T12" fmla="*/ 8 w 130"/>
                <a:gd name="T13" fmla="*/ 29 h 71"/>
                <a:gd name="T14" fmla="*/ 26 w 130"/>
                <a:gd name="T15" fmla="*/ 37 h 71"/>
                <a:gd name="T16" fmla="*/ 46 w 130"/>
                <a:gd name="T17" fmla="*/ 44 h 71"/>
                <a:gd name="T18" fmla="*/ 69 w 130"/>
                <a:gd name="T19" fmla="*/ 52 h 71"/>
                <a:gd name="T20" fmla="*/ 92 w 130"/>
                <a:gd name="T21" fmla="*/ 71 h 71"/>
                <a:gd name="T22" fmla="*/ 109 w 130"/>
                <a:gd name="T23" fmla="*/ 62 h 71"/>
                <a:gd name="T24" fmla="*/ 119 w 130"/>
                <a:gd name="T25" fmla="*/ 46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0" h="71">
                  <a:moveTo>
                    <a:pt x="119" y="46"/>
                  </a:moveTo>
                  <a:cubicBezTo>
                    <a:pt x="108" y="41"/>
                    <a:pt x="109" y="34"/>
                    <a:pt x="95" y="25"/>
                  </a:cubicBezTo>
                  <a:cubicBezTo>
                    <a:pt x="81" y="16"/>
                    <a:pt x="77" y="20"/>
                    <a:pt x="70" y="10"/>
                  </a:cubicBezTo>
                  <a:cubicBezTo>
                    <a:pt x="63" y="0"/>
                    <a:pt x="56" y="3"/>
                    <a:pt x="42" y="7"/>
                  </a:cubicBezTo>
                  <a:cubicBezTo>
                    <a:pt x="42" y="7"/>
                    <a:pt x="21" y="0"/>
                    <a:pt x="14" y="7"/>
                  </a:cubicBezTo>
                  <a:cubicBezTo>
                    <a:pt x="7" y="14"/>
                    <a:pt x="0" y="12"/>
                    <a:pt x="0" y="19"/>
                  </a:cubicBezTo>
                  <a:cubicBezTo>
                    <a:pt x="0" y="26"/>
                    <a:pt x="1" y="24"/>
                    <a:pt x="8" y="29"/>
                  </a:cubicBezTo>
                  <a:cubicBezTo>
                    <a:pt x="15" y="34"/>
                    <a:pt x="12" y="37"/>
                    <a:pt x="26" y="37"/>
                  </a:cubicBezTo>
                  <a:cubicBezTo>
                    <a:pt x="40" y="37"/>
                    <a:pt x="41" y="38"/>
                    <a:pt x="46" y="44"/>
                  </a:cubicBezTo>
                  <a:cubicBezTo>
                    <a:pt x="51" y="50"/>
                    <a:pt x="61" y="44"/>
                    <a:pt x="69" y="52"/>
                  </a:cubicBezTo>
                  <a:cubicBezTo>
                    <a:pt x="77" y="60"/>
                    <a:pt x="85" y="71"/>
                    <a:pt x="92" y="71"/>
                  </a:cubicBezTo>
                  <a:cubicBezTo>
                    <a:pt x="99" y="71"/>
                    <a:pt x="103" y="65"/>
                    <a:pt x="109" y="62"/>
                  </a:cubicBezTo>
                  <a:cubicBezTo>
                    <a:pt x="115" y="59"/>
                    <a:pt x="130" y="51"/>
                    <a:pt x="119" y="46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rnd">
              <a:solidFill>
                <a:schemeClr val="bg1">
                  <a:lumMod val="9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299" name="Freeform 25436"/>
            <p:cNvSpPr>
              <a:spLocks/>
            </p:cNvSpPr>
            <p:nvPr/>
          </p:nvSpPr>
          <p:spPr bwMode="auto">
            <a:xfrm>
              <a:off x="7115495" y="4026722"/>
              <a:ext cx="73709" cy="19729"/>
            </a:xfrm>
            <a:custGeom>
              <a:avLst/>
              <a:gdLst>
                <a:gd name="T0" fmla="*/ 188 w 198"/>
                <a:gd name="T1" fmla="*/ 20 h 53"/>
                <a:gd name="T2" fmla="*/ 172 w 198"/>
                <a:gd name="T3" fmla="*/ 10 h 53"/>
                <a:gd name="T4" fmla="*/ 152 w 198"/>
                <a:gd name="T5" fmla="*/ 23 h 53"/>
                <a:gd name="T6" fmla="*/ 121 w 198"/>
                <a:gd name="T7" fmla="*/ 12 h 53"/>
                <a:gd name="T8" fmla="*/ 98 w 198"/>
                <a:gd name="T9" fmla="*/ 3 h 53"/>
                <a:gd name="T10" fmla="*/ 46 w 198"/>
                <a:gd name="T11" fmla="*/ 16 h 53"/>
                <a:gd name="T12" fmla="*/ 31 w 198"/>
                <a:gd name="T13" fmla="*/ 21 h 53"/>
                <a:gd name="T14" fmla="*/ 13 w 198"/>
                <a:gd name="T15" fmla="*/ 26 h 53"/>
                <a:gd name="T16" fmla="*/ 44 w 198"/>
                <a:gd name="T17" fmla="*/ 39 h 53"/>
                <a:gd name="T18" fmla="*/ 76 w 198"/>
                <a:gd name="T19" fmla="*/ 49 h 53"/>
                <a:gd name="T20" fmla="*/ 112 w 198"/>
                <a:gd name="T21" fmla="*/ 49 h 53"/>
                <a:gd name="T22" fmla="*/ 164 w 198"/>
                <a:gd name="T23" fmla="*/ 47 h 53"/>
                <a:gd name="T24" fmla="*/ 178 w 198"/>
                <a:gd name="T25" fmla="*/ 41 h 53"/>
                <a:gd name="T26" fmla="*/ 197 w 198"/>
                <a:gd name="T27" fmla="*/ 34 h 53"/>
                <a:gd name="T28" fmla="*/ 188 w 198"/>
                <a:gd name="T29" fmla="*/ 2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98" h="53">
                  <a:moveTo>
                    <a:pt x="188" y="20"/>
                  </a:moveTo>
                  <a:cubicBezTo>
                    <a:pt x="181" y="21"/>
                    <a:pt x="183" y="9"/>
                    <a:pt x="172" y="10"/>
                  </a:cubicBezTo>
                  <a:cubicBezTo>
                    <a:pt x="161" y="11"/>
                    <a:pt x="164" y="24"/>
                    <a:pt x="152" y="23"/>
                  </a:cubicBezTo>
                  <a:cubicBezTo>
                    <a:pt x="140" y="22"/>
                    <a:pt x="126" y="19"/>
                    <a:pt x="121" y="12"/>
                  </a:cubicBezTo>
                  <a:cubicBezTo>
                    <a:pt x="116" y="5"/>
                    <a:pt x="112" y="3"/>
                    <a:pt x="98" y="3"/>
                  </a:cubicBezTo>
                  <a:cubicBezTo>
                    <a:pt x="84" y="3"/>
                    <a:pt x="50" y="0"/>
                    <a:pt x="46" y="16"/>
                  </a:cubicBezTo>
                  <a:cubicBezTo>
                    <a:pt x="46" y="16"/>
                    <a:pt x="42" y="23"/>
                    <a:pt x="31" y="21"/>
                  </a:cubicBezTo>
                  <a:cubicBezTo>
                    <a:pt x="20" y="19"/>
                    <a:pt x="0" y="14"/>
                    <a:pt x="13" y="26"/>
                  </a:cubicBezTo>
                  <a:cubicBezTo>
                    <a:pt x="26" y="38"/>
                    <a:pt x="26" y="35"/>
                    <a:pt x="44" y="39"/>
                  </a:cubicBezTo>
                  <a:cubicBezTo>
                    <a:pt x="62" y="43"/>
                    <a:pt x="61" y="47"/>
                    <a:pt x="76" y="49"/>
                  </a:cubicBezTo>
                  <a:cubicBezTo>
                    <a:pt x="91" y="51"/>
                    <a:pt x="90" y="45"/>
                    <a:pt x="112" y="49"/>
                  </a:cubicBezTo>
                  <a:cubicBezTo>
                    <a:pt x="134" y="53"/>
                    <a:pt x="147" y="50"/>
                    <a:pt x="164" y="47"/>
                  </a:cubicBezTo>
                  <a:cubicBezTo>
                    <a:pt x="181" y="44"/>
                    <a:pt x="166" y="46"/>
                    <a:pt x="178" y="41"/>
                  </a:cubicBezTo>
                  <a:cubicBezTo>
                    <a:pt x="190" y="36"/>
                    <a:pt x="198" y="40"/>
                    <a:pt x="197" y="34"/>
                  </a:cubicBezTo>
                  <a:cubicBezTo>
                    <a:pt x="196" y="28"/>
                    <a:pt x="195" y="19"/>
                    <a:pt x="188" y="2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rnd">
              <a:solidFill>
                <a:schemeClr val="bg1">
                  <a:lumMod val="9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300" name="Freeform 25437"/>
            <p:cNvSpPr>
              <a:spLocks/>
            </p:cNvSpPr>
            <p:nvPr/>
          </p:nvSpPr>
          <p:spPr bwMode="auto">
            <a:xfrm>
              <a:off x="7190309" y="4017726"/>
              <a:ext cx="44509" cy="20519"/>
            </a:xfrm>
            <a:custGeom>
              <a:avLst/>
              <a:gdLst>
                <a:gd name="T0" fmla="*/ 95 w 119"/>
                <a:gd name="T1" fmla="*/ 36 h 55"/>
                <a:gd name="T2" fmla="*/ 112 w 119"/>
                <a:gd name="T3" fmla="*/ 47 h 55"/>
                <a:gd name="T4" fmla="*/ 118 w 119"/>
                <a:gd name="T5" fmla="*/ 39 h 55"/>
                <a:gd name="T6" fmla="*/ 101 w 119"/>
                <a:gd name="T7" fmla="*/ 27 h 55"/>
                <a:gd name="T8" fmla="*/ 75 w 119"/>
                <a:gd name="T9" fmla="*/ 21 h 55"/>
                <a:gd name="T10" fmla="*/ 50 w 119"/>
                <a:gd name="T11" fmla="*/ 26 h 55"/>
                <a:gd name="T12" fmla="*/ 23 w 119"/>
                <a:gd name="T13" fmla="*/ 16 h 55"/>
                <a:gd name="T14" fmla="*/ 15 w 119"/>
                <a:gd name="T15" fmla="*/ 35 h 55"/>
                <a:gd name="T16" fmla="*/ 13 w 119"/>
                <a:gd name="T17" fmla="*/ 53 h 55"/>
                <a:gd name="T18" fmla="*/ 40 w 119"/>
                <a:gd name="T19" fmla="*/ 46 h 55"/>
                <a:gd name="T20" fmla="*/ 61 w 119"/>
                <a:gd name="T21" fmla="*/ 38 h 55"/>
                <a:gd name="T22" fmla="*/ 76 w 119"/>
                <a:gd name="T23" fmla="*/ 45 h 55"/>
                <a:gd name="T24" fmla="*/ 95 w 119"/>
                <a:gd name="T25" fmla="*/ 36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9" h="55">
                  <a:moveTo>
                    <a:pt x="95" y="36"/>
                  </a:moveTo>
                  <a:cubicBezTo>
                    <a:pt x="101" y="36"/>
                    <a:pt x="107" y="46"/>
                    <a:pt x="112" y="47"/>
                  </a:cubicBezTo>
                  <a:cubicBezTo>
                    <a:pt x="117" y="48"/>
                    <a:pt x="117" y="49"/>
                    <a:pt x="118" y="39"/>
                  </a:cubicBezTo>
                  <a:cubicBezTo>
                    <a:pt x="119" y="29"/>
                    <a:pt x="113" y="27"/>
                    <a:pt x="101" y="27"/>
                  </a:cubicBezTo>
                  <a:cubicBezTo>
                    <a:pt x="89" y="27"/>
                    <a:pt x="85" y="21"/>
                    <a:pt x="75" y="21"/>
                  </a:cubicBezTo>
                  <a:cubicBezTo>
                    <a:pt x="65" y="21"/>
                    <a:pt x="57" y="26"/>
                    <a:pt x="50" y="26"/>
                  </a:cubicBezTo>
                  <a:cubicBezTo>
                    <a:pt x="43" y="26"/>
                    <a:pt x="41" y="0"/>
                    <a:pt x="23" y="16"/>
                  </a:cubicBezTo>
                  <a:cubicBezTo>
                    <a:pt x="23" y="16"/>
                    <a:pt x="24" y="27"/>
                    <a:pt x="15" y="35"/>
                  </a:cubicBezTo>
                  <a:cubicBezTo>
                    <a:pt x="6" y="43"/>
                    <a:pt x="0" y="51"/>
                    <a:pt x="13" y="53"/>
                  </a:cubicBezTo>
                  <a:cubicBezTo>
                    <a:pt x="26" y="55"/>
                    <a:pt x="38" y="53"/>
                    <a:pt x="40" y="46"/>
                  </a:cubicBezTo>
                  <a:cubicBezTo>
                    <a:pt x="42" y="39"/>
                    <a:pt x="55" y="31"/>
                    <a:pt x="61" y="38"/>
                  </a:cubicBezTo>
                  <a:cubicBezTo>
                    <a:pt x="67" y="45"/>
                    <a:pt x="69" y="50"/>
                    <a:pt x="76" y="45"/>
                  </a:cubicBezTo>
                  <a:cubicBezTo>
                    <a:pt x="83" y="40"/>
                    <a:pt x="89" y="36"/>
                    <a:pt x="95" y="36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rnd">
              <a:solidFill>
                <a:schemeClr val="bg1">
                  <a:lumMod val="9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301" name="Freeform 25438"/>
            <p:cNvSpPr>
              <a:spLocks/>
            </p:cNvSpPr>
            <p:nvPr/>
          </p:nvSpPr>
          <p:spPr bwMode="auto">
            <a:xfrm>
              <a:off x="7271277" y="4009203"/>
              <a:ext cx="23201" cy="15152"/>
            </a:xfrm>
            <a:custGeom>
              <a:avLst/>
              <a:gdLst>
                <a:gd name="T0" fmla="*/ 14 w 62"/>
                <a:gd name="T1" fmla="*/ 33 h 41"/>
                <a:gd name="T2" fmla="*/ 44 w 62"/>
                <a:gd name="T3" fmla="*/ 32 h 41"/>
                <a:gd name="T4" fmla="*/ 61 w 62"/>
                <a:gd name="T5" fmla="*/ 21 h 41"/>
                <a:gd name="T6" fmla="*/ 43 w 62"/>
                <a:gd name="T7" fmla="*/ 9 h 41"/>
                <a:gd name="T8" fmla="*/ 10 w 62"/>
                <a:gd name="T9" fmla="*/ 13 h 41"/>
                <a:gd name="T10" fmla="*/ 0 w 62"/>
                <a:gd name="T11" fmla="*/ 30 h 41"/>
                <a:gd name="T12" fmla="*/ 14 w 62"/>
                <a:gd name="T13" fmla="*/ 33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2" h="41">
                  <a:moveTo>
                    <a:pt x="14" y="33"/>
                  </a:moveTo>
                  <a:cubicBezTo>
                    <a:pt x="20" y="30"/>
                    <a:pt x="43" y="41"/>
                    <a:pt x="44" y="32"/>
                  </a:cubicBezTo>
                  <a:cubicBezTo>
                    <a:pt x="45" y="23"/>
                    <a:pt x="60" y="31"/>
                    <a:pt x="61" y="21"/>
                  </a:cubicBezTo>
                  <a:cubicBezTo>
                    <a:pt x="62" y="11"/>
                    <a:pt x="54" y="7"/>
                    <a:pt x="43" y="9"/>
                  </a:cubicBezTo>
                  <a:cubicBezTo>
                    <a:pt x="32" y="11"/>
                    <a:pt x="32" y="0"/>
                    <a:pt x="10" y="13"/>
                  </a:cubicBezTo>
                  <a:cubicBezTo>
                    <a:pt x="10" y="13"/>
                    <a:pt x="0" y="21"/>
                    <a:pt x="0" y="30"/>
                  </a:cubicBezTo>
                  <a:cubicBezTo>
                    <a:pt x="0" y="39"/>
                    <a:pt x="8" y="36"/>
                    <a:pt x="14" y="33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rnd">
              <a:solidFill>
                <a:schemeClr val="bg1">
                  <a:lumMod val="9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302" name="Freeform 25439"/>
            <p:cNvSpPr>
              <a:spLocks/>
            </p:cNvSpPr>
            <p:nvPr/>
          </p:nvSpPr>
          <p:spPr bwMode="auto">
            <a:xfrm>
              <a:off x="7195991" y="4078176"/>
              <a:ext cx="18625" cy="15310"/>
            </a:xfrm>
            <a:custGeom>
              <a:avLst/>
              <a:gdLst>
                <a:gd name="T0" fmla="*/ 31 w 50"/>
                <a:gd name="T1" fmla="*/ 10 h 41"/>
                <a:gd name="T2" fmla="*/ 13 w 50"/>
                <a:gd name="T3" fmla="*/ 23 h 41"/>
                <a:gd name="T4" fmla="*/ 20 w 50"/>
                <a:gd name="T5" fmla="*/ 40 h 41"/>
                <a:gd name="T6" fmla="*/ 39 w 50"/>
                <a:gd name="T7" fmla="*/ 31 h 41"/>
                <a:gd name="T8" fmla="*/ 46 w 50"/>
                <a:gd name="T9" fmla="*/ 17 h 41"/>
                <a:gd name="T10" fmla="*/ 31 w 50"/>
                <a:gd name="T11" fmla="*/ 1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0" h="41">
                  <a:moveTo>
                    <a:pt x="31" y="10"/>
                  </a:moveTo>
                  <a:cubicBezTo>
                    <a:pt x="31" y="10"/>
                    <a:pt x="26" y="19"/>
                    <a:pt x="13" y="23"/>
                  </a:cubicBezTo>
                  <a:cubicBezTo>
                    <a:pt x="0" y="27"/>
                    <a:pt x="11" y="41"/>
                    <a:pt x="20" y="40"/>
                  </a:cubicBezTo>
                  <a:cubicBezTo>
                    <a:pt x="29" y="39"/>
                    <a:pt x="28" y="30"/>
                    <a:pt x="39" y="31"/>
                  </a:cubicBezTo>
                  <a:cubicBezTo>
                    <a:pt x="50" y="32"/>
                    <a:pt x="49" y="26"/>
                    <a:pt x="46" y="17"/>
                  </a:cubicBezTo>
                  <a:cubicBezTo>
                    <a:pt x="43" y="8"/>
                    <a:pt x="37" y="0"/>
                    <a:pt x="31" y="1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rnd">
              <a:solidFill>
                <a:schemeClr val="bg1">
                  <a:lumMod val="9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303" name="Freeform 25440"/>
            <p:cNvSpPr>
              <a:spLocks/>
            </p:cNvSpPr>
            <p:nvPr/>
          </p:nvSpPr>
          <p:spPr bwMode="auto">
            <a:xfrm>
              <a:off x="7172473" y="4071705"/>
              <a:ext cx="13889" cy="17993"/>
            </a:xfrm>
            <a:custGeom>
              <a:avLst/>
              <a:gdLst>
                <a:gd name="T0" fmla="*/ 21 w 37"/>
                <a:gd name="T1" fmla="*/ 14 h 48"/>
                <a:gd name="T2" fmla="*/ 5 w 37"/>
                <a:gd name="T3" fmla="*/ 28 h 48"/>
                <a:gd name="T4" fmla="*/ 17 w 37"/>
                <a:gd name="T5" fmla="*/ 37 h 48"/>
                <a:gd name="T6" fmla="*/ 21 w 37"/>
                <a:gd name="T7" fmla="*/ 14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" h="48">
                  <a:moveTo>
                    <a:pt x="21" y="14"/>
                  </a:moveTo>
                  <a:cubicBezTo>
                    <a:pt x="21" y="14"/>
                    <a:pt x="10" y="18"/>
                    <a:pt x="5" y="28"/>
                  </a:cubicBezTo>
                  <a:cubicBezTo>
                    <a:pt x="0" y="38"/>
                    <a:pt x="9" y="48"/>
                    <a:pt x="17" y="37"/>
                  </a:cubicBezTo>
                  <a:cubicBezTo>
                    <a:pt x="25" y="26"/>
                    <a:pt x="37" y="0"/>
                    <a:pt x="21" y="14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rnd">
              <a:solidFill>
                <a:schemeClr val="bg1">
                  <a:lumMod val="9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304" name="Freeform 25441"/>
            <p:cNvSpPr>
              <a:spLocks/>
            </p:cNvSpPr>
            <p:nvPr/>
          </p:nvSpPr>
          <p:spPr bwMode="auto">
            <a:xfrm>
              <a:off x="7217614" y="4023723"/>
              <a:ext cx="92018" cy="58872"/>
            </a:xfrm>
            <a:custGeom>
              <a:avLst/>
              <a:gdLst>
                <a:gd name="T0" fmla="*/ 233 w 247"/>
                <a:gd name="T1" fmla="*/ 8 h 158"/>
                <a:gd name="T2" fmla="*/ 192 w 247"/>
                <a:gd name="T3" fmla="*/ 11 h 158"/>
                <a:gd name="T4" fmla="*/ 158 w 247"/>
                <a:gd name="T5" fmla="*/ 17 h 158"/>
                <a:gd name="T6" fmla="*/ 112 w 247"/>
                <a:gd name="T7" fmla="*/ 28 h 158"/>
                <a:gd name="T8" fmla="*/ 77 w 247"/>
                <a:gd name="T9" fmla="*/ 63 h 158"/>
                <a:gd name="T10" fmla="*/ 44 w 247"/>
                <a:gd name="T11" fmla="*/ 76 h 158"/>
                <a:gd name="T12" fmla="*/ 7 w 247"/>
                <a:gd name="T13" fmla="*/ 95 h 158"/>
                <a:gd name="T14" fmla="*/ 3 w 247"/>
                <a:gd name="T15" fmla="*/ 128 h 158"/>
                <a:gd name="T16" fmla="*/ 18 w 247"/>
                <a:gd name="T17" fmla="*/ 152 h 158"/>
                <a:gd name="T18" fmla="*/ 44 w 247"/>
                <a:gd name="T19" fmla="*/ 134 h 158"/>
                <a:gd name="T20" fmla="*/ 85 w 247"/>
                <a:gd name="T21" fmla="*/ 113 h 158"/>
                <a:gd name="T22" fmla="*/ 126 w 247"/>
                <a:gd name="T23" fmla="*/ 78 h 158"/>
                <a:gd name="T24" fmla="*/ 165 w 247"/>
                <a:gd name="T25" fmla="*/ 64 h 158"/>
                <a:gd name="T26" fmla="*/ 201 w 247"/>
                <a:gd name="T27" fmla="*/ 47 h 158"/>
                <a:gd name="T28" fmla="*/ 238 w 247"/>
                <a:gd name="T29" fmla="*/ 29 h 158"/>
                <a:gd name="T30" fmla="*/ 233 w 247"/>
                <a:gd name="T31" fmla="*/ 8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47" h="158">
                  <a:moveTo>
                    <a:pt x="233" y="8"/>
                  </a:moveTo>
                  <a:cubicBezTo>
                    <a:pt x="219" y="7"/>
                    <a:pt x="202" y="0"/>
                    <a:pt x="192" y="11"/>
                  </a:cubicBezTo>
                  <a:cubicBezTo>
                    <a:pt x="182" y="22"/>
                    <a:pt x="179" y="18"/>
                    <a:pt x="158" y="17"/>
                  </a:cubicBezTo>
                  <a:cubicBezTo>
                    <a:pt x="137" y="16"/>
                    <a:pt x="128" y="12"/>
                    <a:pt x="112" y="28"/>
                  </a:cubicBezTo>
                  <a:cubicBezTo>
                    <a:pt x="96" y="44"/>
                    <a:pt x="91" y="54"/>
                    <a:pt x="77" y="63"/>
                  </a:cubicBezTo>
                  <a:cubicBezTo>
                    <a:pt x="63" y="72"/>
                    <a:pt x="60" y="73"/>
                    <a:pt x="44" y="76"/>
                  </a:cubicBezTo>
                  <a:cubicBezTo>
                    <a:pt x="44" y="76"/>
                    <a:pt x="14" y="80"/>
                    <a:pt x="7" y="95"/>
                  </a:cubicBezTo>
                  <a:cubicBezTo>
                    <a:pt x="0" y="110"/>
                    <a:pt x="3" y="115"/>
                    <a:pt x="3" y="128"/>
                  </a:cubicBezTo>
                  <a:cubicBezTo>
                    <a:pt x="3" y="141"/>
                    <a:pt x="2" y="158"/>
                    <a:pt x="18" y="152"/>
                  </a:cubicBezTo>
                  <a:cubicBezTo>
                    <a:pt x="34" y="146"/>
                    <a:pt x="27" y="136"/>
                    <a:pt x="44" y="134"/>
                  </a:cubicBezTo>
                  <a:cubicBezTo>
                    <a:pt x="61" y="132"/>
                    <a:pt x="76" y="126"/>
                    <a:pt x="85" y="113"/>
                  </a:cubicBezTo>
                  <a:cubicBezTo>
                    <a:pt x="94" y="100"/>
                    <a:pt x="110" y="82"/>
                    <a:pt x="126" y="78"/>
                  </a:cubicBezTo>
                  <a:cubicBezTo>
                    <a:pt x="142" y="74"/>
                    <a:pt x="143" y="66"/>
                    <a:pt x="165" y="64"/>
                  </a:cubicBezTo>
                  <a:cubicBezTo>
                    <a:pt x="187" y="62"/>
                    <a:pt x="181" y="52"/>
                    <a:pt x="201" y="47"/>
                  </a:cubicBezTo>
                  <a:cubicBezTo>
                    <a:pt x="221" y="42"/>
                    <a:pt x="231" y="39"/>
                    <a:pt x="238" y="29"/>
                  </a:cubicBezTo>
                  <a:cubicBezTo>
                    <a:pt x="245" y="19"/>
                    <a:pt x="247" y="9"/>
                    <a:pt x="233" y="8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rnd">
              <a:solidFill>
                <a:schemeClr val="bg1">
                  <a:lumMod val="9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305" name="Freeform 25442"/>
            <p:cNvSpPr>
              <a:spLocks/>
            </p:cNvSpPr>
            <p:nvPr/>
          </p:nvSpPr>
          <p:spPr bwMode="auto">
            <a:xfrm>
              <a:off x="7288481" y="3723523"/>
              <a:ext cx="12627" cy="21150"/>
            </a:xfrm>
            <a:custGeom>
              <a:avLst/>
              <a:gdLst>
                <a:gd name="T0" fmla="*/ 24 w 34"/>
                <a:gd name="T1" fmla="*/ 8 h 57"/>
                <a:gd name="T2" fmla="*/ 14 w 34"/>
                <a:gd name="T3" fmla="*/ 8 h 57"/>
                <a:gd name="T4" fmla="*/ 14 w 34"/>
                <a:gd name="T5" fmla="*/ 20 h 57"/>
                <a:gd name="T6" fmla="*/ 4 w 34"/>
                <a:gd name="T7" fmla="*/ 42 h 57"/>
                <a:gd name="T8" fmla="*/ 15 w 34"/>
                <a:gd name="T9" fmla="*/ 45 h 57"/>
                <a:gd name="T10" fmla="*/ 24 w 34"/>
                <a:gd name="T11" fmla="*/ 24 h 57"/>
                <a:gd name="T12" fmla="*/ 24 w 34"/>
                <a:gd name="T13" fmla="*/ 8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57">
                  <a:moveTo>
                    <a:pt x="24" y="8"/>
                  </a:moveTo>
                  <a:cubicBezTo>
                    <a:pt x="14" y="8"/>
                    <a:pt x="15" y="0"/>
                    <a:pt x="14" y="8"/>
                  </a:cubicBezTo>
                  <a:cubicBezTo>
                    <a:pt x="14" y="8"/>
                    <a:pt x="14" y="13"/>
                    <a:pt x="14" y="20"/>
                  </a:cubicBezTo>
                  <a:cubicBezTo>
                    <a:pt x="14" y="27"/>
                    <a:pt x="0" y="31"/>
                    <a:pt x="4" y="42"/>
                  </a:cubicBezTo>
                  <a:cubicBezTo>
                    <a:pt x="8" y="53"/>
                    <a:pt x="14" y="57"/>
                    <a:pt x="15" y="45"/>
                  </a:cubicBezTo>
                  <a:cubicBezTo>
                    <a:pt x="16" y="33"/>
                    <a:pt x="20" y="36"/>
                    <a:pt x="24" y="24"/>
                  </a:cubicBezTo>
                  <a:cubicBezTo>
                    <a:pt x="28" y="12"/>
                    <a:pt x="34" y="8"/>
                    <a:pt x="24" y="8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rnd">
              <a:solidFill>
                <a:schemeClr val="bg1">
                  <a:lumMod val="9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306" name="Freeform 25443"/>
            <p:cNvSpPr>
              <a:spLocks/>
            </p:cNvSpPr>
            <p:nvPr/>
          </p:nvSpPr>
          <p:spPr bwMode="auto">
            <a:xfrm>
              <a:off x="7308526" y="3770084"/>
              <a:ext cx="38038" cy="80969"/>
            </a:xfrm>
            <a:custGeom>
              <a:avLst/>
              <a:gdLst>
                <a:gd name="T0" fmla="*/ 5 w 102"/>
                <a:gd name="T1" fmla="*/ 80 h 217"/>
                <a:gd name="T2" fmla="*/ 5 w 102"/>
                <a:gd name="T3" fmla="*/ 98 h 217"/>
                <a:gd name="T4" fmla="*/ 11 w 102"/>
                <a:gd name="T5" fmla="*/ 117 h 217"/>
                <a:gd name="T6" fmla="*/ 13 w 102"/>
                <a:gd name="T7" fmla="*/ 138 h 217"/>
                <a:gd name="T8" fmla="*/ 20 w 102"/>
                <a:gd name="T9" fmla="*/ 158 h 217"/>
                <a:gd name="T10" fmla="*/ 28 w 102"/>
                <a:gd name="T11" fmla="*/ 185 h 217"/>
                <a:gd name="T12" fmla="*/ 49 w 102"/>
                <a:gd name="T13" fmla="*/ 213 h 217"/>
                <a:gd name="T14" fmla="*/ 56 w 102"/>
                <a:gd name="T15" fmla="*/ 203 h 217"/>
                <a:gd name="T16" fmla="*/ 38 w 102"/>
                <a:gd name="T17" fmla="*/ 162 h 217"/>
                <a:gd name="T18" fmla="*/ 57 w 102"/>
                <a:gd name="T19" fmla="*/ 138 h 217"/>
                <a:gd name="T20" fmla="*/ 79 w 102"/>
                <a:gd name="T21" fmla="*/ 146 h 217"/>
                <a:gd name="T22" fmla="*/ 96 w 102"/>
                <a:gd name="T23" fmla="*/ 137 h 217"/>
                <a:gd name="T24" fmla="*/ 77 w 102"/>
                <a:gd name="T25" fmla="*/ 124 h 217"/>
                <a:gd name="T26" fmla="*/ 65 w 102"/>
                <a:gd name="T27" fmla="*/ 116 h 217"/>
                <a:gd name="T28" fmla="*/ 76 w 102"/>
                <a:gd name="T29" fmla="*/ 105 h 217"/>
                <a:gd name="T30" fmla="*/ 89 w 102"/>
                <a:gd name="T31" fmla="*/ 89 h 217"/>
                <a:gd name="T32" fmla="*/ 79 w 102"/>
                <a:gd name="T33" fmla="*/ 63 h 217"/>
                <a:gd name="T34" fmla="*/ 61 w 102"/>
                <a:gd name="T35" fmla="*/ 71 h 217"/>
                <a:gd name="T36" fmla="*/ 45 w 102"/>
                <a:gd name="T37" fmla="*/ 89 h 217"/>
                <a:gd name="T38" fmla="*/ 40 w 102"/>
                <a:gd name="T39" fmla="*/ 63 h 217"/>
                <a:gd name="T40" fmla="*/ 24 w 102"/>
                <a:gd name="T41" fmla="*/ 37 h 217"/>
                <a:gd name="T42" fmla="*/ 12 w 102"/>
                <a:gd name="T43" fmla="*/ 60 h 217"/>
                <a:gd name="T44" fmla="*/ 5 w 102"/>
                <a:gd name="T45" fmla="*/ 80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02" h="217">
                  <a:moveTo>
                    <a:pt x="5" y="80"/>
                  </a:moveTo>
                  <a:cubicBezTo>
                    <a:pt x="0" y="84"/>
                    <a:pt x="1" y="92"/>
                    <a:pt x="5" y="98"/>
                  </a:cubicBezTo>
                  <a:cubicBezTo>
                    <a:pt x="9" y="104"/>
                    <a:pt x="11" y="107"/>
                    <a:pt x="11" y="117"/>
                  </a:cubicBezTo>
                  <a:cubicBezTo>
                    <a:pt x="11" y="127"/>
                    <a:pt x="7" y="132"/>
                    <a:pt x="13" y="138"/>
                  </a:cubicBezTo>
                  <a:cubicBezTo>
                    <a:pt x="19" y="144"/>
                    <a:pt x="22" y="144"/>
                    <a:pt x="20" y="158"/>
                  </a:cubicBezTo>
                  <a:cubicBezTo>
                    <a:pt x="18" y="172"/>
                    <a:pt x="15" y="176"/>
                    <a:pt x="28" y="185"/>
                  </a:cubicBezTo>
                  <a:cubicBezTo>
                    <a:pt x="41" y="194"/>
                    <a:pt x="41" y="209"/>
                    <a:pt x="49" y="213"/>
                  </a:cubicBezTo>
                  <a:cubicBezTo>
                    <a:pt x="57" y="217"/>
                    <a:pt x="61" y="214"/>
                    <a:pt x="56" y="203"/>
                  </a:cubicBezTo>
                  <a:cubicBezTo>
                    <a:pt x="51" y="192"/>
                    <a:pt x="35" y="180"/>
                    <a:pt x="38" y="162"/>
                  </a:cubicBezTo>
                  <a:cubicBezTo>
                    <a:pt x="41" y="144"/>
                    <a:pt x="42" y="136"/>
                    <a:pt x="57" y="138"/>
                  </a:cubicBezTo>
                  <a:cubicBezTo>
                    <a:pt x="72" y="140"/>
                    <a:pt x="70" y="140"/>
                    <a:pt x="79" y="146"/>
                  </a:cubicBezTo>
                  <a:cubicBezTo>
                    <a:pt x="88" y="152"/>
                    <a:pt x="102" y="147"/>
                    <a:pt x="96" y="137"/>
                  </a:cubicBezTo>
                  <a:cubicBezTo>
                    <a:pt x="90" y="127"/>
                    <a:pt x="86" y="123"/>
                    <a:pt x="77" y="124"/>
                  </a:cubicBezTo>
                  <a:cubicBezTo>
                    <a:pt x="68" y="125"/>
                    <a:pt x="63" y="124"/>
                    <a:pt x="65" y="116"/>
                  </a:cubicBezTo>
                  <a:cubicBezTo>
                    <a:pt x="67" y="108"/>
                    <a:pt x="68" y="108"/>
                    <a:pt x="76" y="105"/>
                  </a:cubicBezTo>
                  <a:cubicBezTo>
                    <a:pt x="84" y="102"/>
                    <a:pt x="87" y="102"/>
                    <a:pt x="89" y="89"/>
                  </a:cubicBezTo>
                  <a:cubicBezTo>
                    <a:pt x="91" y="76"/>
                    <a:pt x="90" y="70"/>
                    <a:pt x="79" y="63"/>
                  </a:cubicBezTo>
                  <a:cubicBezTo>
                    <a:pt x="68" y="56"/>
                    <a:pt x="65" y="61"/>
                    <a:pt x="61" y="71"/>
                  </a:cubicBezTo>
                  <a:cubicBezTo>
                    <a:pt x="57" y="81"/>
                    <a:pt x="53" y="90"/>
                    <a:pt x="45" y="89"/>
                  </a:cubicBezTo>
                  <a:cubicBezTo>
                    <a:pt x="37" y="88"/>
                    <a:pt x="40" y="85"/>
                    <a:pt x="40" y="63"/>
                  </a:cubicBezTo>
                  <a:cubicBezTo>
                    <a:pt x="40" y="41"/>
                    <a:pt x="40" y="0"/>
                    <a:pt x="24" y="37"/>
                  </a:cubicBezTo>
                  <a:cubicBezTo>
                    <a:pt x="24" y="37"/>
                    <a:pt x="12" y="49"/>
                    <a:pt x="12" y="60"/>
                  </a:cubicBezTo>
                  <a:cubicBezTo>
                    <a:pt x="12" y="71"/>
                    <a:pt x="10" y="76"/>
                    <a:pt x="5" y="8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rnd">
              <a:solidFill>
                <a:schemeClr val="bg1">
                  <a:lumMod val="9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307" name="Freeform 25444"/>
            <p:cNvSpPr>
              <a:spLocks/>
            </p:cNvSpPr>
            <p:nvPr/>
          </p:nvSpPr>
          <p:spPr bwMode="auto">
            <a:xfrm>
              <a:off x="7329044" y="3760772"/>
              <a:ext cx="11206" cy="24622"/>
            </a:xfrm>
            <a:custGeom>
              <a:avLst/>
              <a:gdLst>
                <a:gd name="T0" fmla="*/ 15 w 30"/>
                <a:gd name="T1" fmla="*/ 20 h 66"/>
                <a:gd name="T2" fmla="*/ 0 w 30"/>
                <a:gd name="T3" fmla="*/ 46 h 66"/>
                <a:gd name="T4" fmla="*/ 15 w 30"/>
                <a:gd name="T5" fmla="*/ 58 h 66"/>
                <a:gd name="T6" fmla="*/ 29 w 30"/>
                <a:gd name="T7" fmla="*/ 34 h 66"/>
                <a:gd name="T8" fmla="*/ 15 w 30"/>
                <a:gd name="T9" fmla="*/ 2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66">
                  <a:moveTo>
                    <a:pt x="15" y="20"/>
                  </a:moveTo>
                  <a:cubicBezTo>
                    <a:pt x="15" y="20"/>
                    <a:pt x="0" y="33"/>
                    <a:pt x="0" y="46"/>
                  </a:cubicBezTo>
                  <a:cubicBezTo>
                    <a:pt x="0" y="59"/>
                    <a:pt x="8" y="66"/>
                    <a:pt x="15" y="58"/>
                  </a:cubicBezTo>
                  <a:cubicBezTo>
                    <a:pt x="22" y="50"/>
                    <a:pt x="28" y="45"/>
                    <a:pt x="29" y="34"/>
                  </a:cubicBezTo>
                  <a:cubicBezTo>
                    <a:pt x="30" y="23"/>
                    <a:pt x="25" y="0"/>
                    <a:pt x="15" y="2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rnd">
              <a:solidFill>
                <a:schemeClr val="bg1">
                  <a:lumMod val="9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308" name="Freeform 25445"/>
            <p:cNvSpPr>
              <a:spLocks/>
            </p:cNvSpPr>
            <p:nvPr/>
          </p:nvSpPr>
          <p:spPr bwMode="auto">
            <a:xfrm>
              <a:off x="7234029" y="3867468"/>
              <a:ext cx="49244" cy="25254"/>
            </a:xfrm>
            <a:custGeom>
              <a:avLst/>
              <a:gdLst>
                <a:gd name="T0" fmla="*/ 121 w 132"/>
                <a:gd name="T1" fmla="*/ 28 h 68"/>
                <a:gd name="T2" fmla="*/ 114 w 132"/>
                <a:gd name="T3" fmla="*/ 10 h 68"/>
                <a:gd name="T4" fmla="*/ 76 w 132"/>
                <a:gd name="T5" fmla="*/ 16 h 68"/>
                <a:gd name="T6" fmla="*/ 32 w 132"/>
                <a:gd name="T7" fmla="*/ 5 h 68"/>
                <a:gd name="T8" fmla="*/ 1 w 132"/>
                <a:gd name="T9" fmla="*/ 11 h 68"/>
                <a:gd name="T10" fmla="*/ 19 w 132"/>
                <a:gd name="T11" fmla="*/ 32 h 68"/>
                <a:gd name="T12" fmla="*/ 44 w 132"/>
                <a:gd name="T13" fmla="*/ 25 h 68"/>
                <a:gd name="T14" fmla="*/ 96 w 132"/>
                <a:gd name="T15" fmla="*/ 30 h 68"/>
                <a:gd name="T16" fmla="*/ 106 w 132"/>
                <a:gd name="T17" fmla="*/ 51 h 68"/>
                <a:gd name="T18" fmla="*/ 111 w 132"/>
                <a:gd name="T19" fmla="*/ 67 h 68"/>
                <a:gd name="T20" fmla="*/ 120 w 132"/>
                <a:gd name="T21" fmla="*/ 55 h 68"/>
                <a:gd name="T22" fmla="*/ 121 w 132"/>
                <a:gd name="T23" fmla="*/ 2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2" h="68">
                  <a:moveTo>
                    <a:pt x="121" y="28"/>
                  </a:moveTo>
                  <a:cubicBezTo>
                    <a:pt x="132" y="23"/>
                    <a:pt x="125" y="10"/>
                    <a:pt x="114" y="10"/>
                  </a:cubicBezTo>
                  <a:cubicBezTo>
                    <a:pt x="103" y="10"/>
                    <a:pt x="88" y="18"/>
                    <a:pt x="76" y="16"/>
                  </a:cubicBezTo>
                  <a:cubicBezTo>
                    <a:pt x="64" y="14"/>
                    <a:pt x="68" y="0"/>
                    <a:pt x="32" y="5"/>
                  </a:cubicBezTo>
                  <a:cubicBezTo>
                    <a:pt x="32" y="5"/>
                    <a:pt x="2" y="3"/>
                    <a:pt x="1" y="11"/>
                  </a:cubicBezTo>
                  <a:cubicBezTo>
                    <a:pt x="0" y="19"/>
                    <a:pt x="0" y="31"/>
                    <a:pt x="19" y="32"/>
                  </a:cubicBezTo>
                  <a:cubicBezTo>
                    <a:pt x="38" y="33"/>
                    <a:pt x="27" y="25"/>
                    <a:pt x="44" y="25"/>
                  </a:cubicBezTo>
                  <a:cubicBezTo>
                    <a:pt x="61" y="25"/>
                    <a:pt x="93" y="19"/>
                    <a:pt x="96" y="30"/>
                  </a:cubicBezTo>
                  <a:cubicBezTo>
                    <a:pt x="99" y="41"/>
                    <a:pt x="101" y="50"/>
                    <a:pt x="106" y="51"/>
                  </a:cubicBezTo>
                  <a:cubicBezTo>
                    <a:pt x="111" y="52"/>
                    <a:pt x="106" y="66"/>
                    <a:pt x="111" y="67"/>
                  </a:cubicBezTo>
                  <a:cubicBezTo>
                    <a:pt x="116" y="68"/>
                    <a:pt x="120" y="68"/>
                    <a:pt x="120" y="55"/>
                  </a:cubicBezTo>
                  <a:cubicBezTo>
                    <a:pt x="120" y="42"/>
                    <a:pt x="110" y="33"/>
                    <a:pt x="121" y="28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rnd">
              <a:solidFill>
                <a:schemeClr val="bg1">
                  <a:lumMod val="9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309" name="Freeform 25446"/>
            <p:cNvSpPr>
              <a:spLocks/>
            </p:cNvSpPr>
            <p:nvPr/>
          </p:nvSpPr>
          <p:spPr bwMode="auto">
            <a:xfrm>
              <a:off x="7275381" y="3902507"/>
              <a:ext cx="29042" cy="21939"/>
            </a:xfrm>
            <a:custGeom>
              <a:avLst/>
              <a:gdLst>
                <a:gd name="T0" fmla="*/ 32 w 78"/>
                <a:gd name="T1" fmla="*/ 1 h 59"/>
                <a:gd name="T2" fmla="*/ 4 w 78"/>
                <a:gd name="T3" fmla="*/ 15 h 59"/>
                <a:gd name="T4" fmla="*/ 18 w 78"/>
                <a:gd name="T5" fmla="*/ 37 h 59"/>
                <a:gd name="T6" fmla="*/ 42 w 78"/>
                <a:gd name="T7" fmla="*/ 59 h 59"/>
                <a:gd name="T8" fmla="*/ 61 w 78"/>
                <a:gd name="T9" fmla="*/ 46 h 59"/>
                <a:gd name="T10" fmla="*/ 77 w 78"/>
                <a:gd name="T11" fmla="*/ 31 h 59"/>
                <a:gd name="T12" fmla="*/ 62 w 78"/>
                <a:gd name="T13" fmla="*/ 10 h 59"/>
                <a:gd name="T14" fmla="*/ 32 w 78"/>
                <a:gd name="T15" fmla="*/ 1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8" h="59">
                  <a:moveTo>
                    <a:pt x="32" y="1"/>
                  </a:moveTo>
                  <a:cubicBezTo>
                    <a:pt x="32" y="1"/>
                    <a:pt x="0" y="2"/>
                    <a:pt x="4" y="15"/>
                  </a:cubicBezTo>
                  <a:cubicBezTo>
                    <a:pt x="8" y="28"/>
                    <a:pt x="9" y="25"/>
                    <a:pt x="18" y="37"/>
                  </a:cubicBezTo>
                  <a:cubicBezTo>
                    <a:pt x="27" y="49"/>
                    <a:pt x="34" y="59"/>
                    <a:pt x="42" y="59"/>
                  </a:cubicBezTo>
                  <a:cubicBezTo>
                    <a:pt x="50" y="59"/>
                    <a:pt x="51" y="49"/>
                    <a:pt x="61" y="46"/>
                  </a:cubicBezTo>
                  <a:cubicBezTo>
                    <a:pt x="71" y="43"/>
                    <a:pt x="76" y="42"/>
                    <a:pt x="77" y="31"/>
                  </a:cubicBezTo>
                  <a:cubicBezTo>
                    <a:pt x="78" y="20"/>
                    <a:pt x="75" y="19"/>
                    <a:pt x="62" y="10"/>
                  </a:cubicBezTo>
                  <a:cubicBezTo>
                    <a:pt x="49" y="1"/>
                    <a:pt x="60" y="0"/>
                    <a:pt x="32" y="1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rnd">
              <a:solidFill>
                <a:schemeClr val="bg1">
                  <a:lumMod val="9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310" name="Freeform 25447"/>
            <p:cNvSpPr>
              <a:spLocks/>
            </p:cNvSpPr>
            <p:nvPr/>
          </p:nvSpPr>
          <p:spPr bwMode="auto">
            <a:xfrm>
              <a:off x="7306791" y="3859576"/>
              <a:ext cx="19256" cy="14521"/>
            </a:xfrm>
            <a:custGeom>
              <a:avLst/>
              <a:gdLst>
                <a:gd name="T0" fmla="*/ 52 w 52"/>
                <a:gd name="T1" fmla="*/ 25 h 39"/>
                <a:gd name="T2" fmla="*/ 40 w 52"/>
                <a:gd name="T3" fmla="*/ 15 h 39"/>
                <a:gd name="T4" fmla="*/ 19 w 52"/>
                <a:gd name="T5" fmla="*/ 8 h 39"/>
                <a:gd name="T6" fmla="*/ 0 w 52"/>
                <a:gd name="T7" fmla="*/ 19 h 39"/>
                <a:gd name="T8" fmla="*/ 18 w 52"/>
                <a:gd name="T9" fmla="*/ 31 h 39"/>
                <a:gd name="T10" fmla="*/ 36 w 52"/>
                <a:gd name="T11" fmla="*/ 30 h 39"/>
                <a:gd name="T12" fmla="*/ 52 w 52"/>
                <a:gd name="T13" fmla="*/ 25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2" h="39">
                  <a:moveTo>
                    <a:pt x="52" y="25"/>
                  </a:moveTo>
                  <a:cubicBezTo>
                    <a:pt x="52" y="16"/>
                    <a:pt x="45" y="15"/>
                    <a:pt x="40" y="15"/>
                  </a:cubicBezTo>
                  <a:cubicBezTo>
                    <a:pt x="35" y="15"/>
                    <a:pt x="33" y="0"/>
                    <a:pt x="19" y="8"/>
                  </a:cubicBezTo>
                  <a:cubicBezTo>
                    <a:pt x="19" y="8"/>
                    <a:pt x="0" y="13"/>
                    <a:pt x="0" y="19"/>
                  </a:cubicBezTo>
                  <a:cubicBezTo>
                    <a:pt x="0" y="25"/>
                    <a:pt x="11" y="23"/>
                    <a:pt x="18" y="31"/>
                  </a:cubicBezTo>
                  <a:cubicBezTo>
                    <a:pt x="25" y="39"/>
                    <a:pt x="31" y="36"/>
                    <a:pt x="36" y="30"/>
                  </a:cubicBezTo>
                  <a:cubicBezTo>
                    <a:pt x="41" y="24"/>
                    <a:pt x="52" y="34"/>
                    <a:pt x="52" y="2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rnd">
              <a:solidFill>
                <a:schemeClr val="bg1">
                  <a:lumMod val="9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311" name="Freeform 25448"/>
            <p:cNvSpPr>
              <a:spLocks/>
            </p:cNvSpPr>
            <p:nvPr/>
          </p:nvSpPr>
          <p:spPr bwMode="auto">
            <a:xfrm>
              <a:off x="7297478" y="3837164"/>
              <a:ext cx="21939" cy="13101"/>
            </a:xfrm>
            <a:custGeom>
              <a:avLst/>
              <a:gdLst>
                <a:gd name="T0" fmla="*/ 16 w 59"/>
                <a:gd name="T1" fmla="*/ 15 h 35"/>
                <a:gd name="T2" fmla="*/ 40 w 59"/>
                <a:gd name="T3" fmla="*/ 32 h 35"/>
                <a:gd name="T4" fmla="*/ 55 w 59"/>
                <a:gd name="T5" fmla="*/ 24 h 35"/>
                <a:gd name="T6" fmla="*/ 26 w 59"/>
                <a:gd name="T7" fmla="*/ 0 h 35"/>
                <a:gd name="T8" fmla="*/ 16 w 59"/>
                <a:gd name="T9" fmla="*/ 1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35">
                  <a:moveTo>
                    <a:pt x="16" y="15"/>
                  </a:moveTo>
                  <a:cubicBezTo>
                    <a:pt x="32" y="28"/>
                    <a:pt x="26" y="29"/>
                    <a:pt x="40" y="32"/>
                  </a:cubicBezTo>
                  <a:cubicBezTo>
                    <a:pt x="54" y="35"/>
                    <a:pt x="59" y="35"/>
                    <a:pt x="55" y="24"/>
                  </a:cubicBezTo>
                  <a:cubicBezTo>
                    <a:pt x="51" y="13"/>
                    <a:pt x="43" y="2"/>
                    <a:pt x="26" y="0"/>
                  </a:cubicBezTo>
                  <a:cubicBezTo>
                    <a:pt x="26" y="0"/>
                    <a:pt x="0" y="2"/>
                    <a:pt x="16" y="1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rnd">
              <a:solidFill>
                <a:schemeClr val="bg1">
                  <a:lumMod val="9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312" name="Freeform 25449"/>
            <p:cNvSpPr>
              <a:spLocks/>
            </p:cNvSpPr>
            <p:nvPr/>
          </p:nvSpPr>
          <p:spPr bwMode="auto">
            <a:xfrm>
              <a:off x="7318628" y="3894615"/>
              <a:ext cx="75287" cy="29515"/>
            </a:xfrm>
            <a:custGeom>
              <a:avLst/>
              <a:gdLst>
                <a:gd name="T0" fmla="*/ 193 w 202"/>
                <a:gd name="T1" fmla="*/ 47 h 79"/>
                <a:gd name="T2" fmla="*/ 168 w 202"/>
                <a:gd name="T3" fmla="*/ 20 h 79"/>
                <a:gd name="T4" fmla="*/ 130 w 202"/>
                <a:gd name="T5" fmla="*/ 13 h 79"/>
                <a:gd name="T6" fmla="*/ 100 w 202"/>
                <a:gd name="T7" fmla="*/ 3 h 79"/>
                <a:gd name="T8" fmla="*/ 68 w 202"/>
                <a:gd name="T9" fmla="*/ 10 h 79"/>
                <a:gd name="T10" fmla="*/ 48 w 202"/>
                <a:gd name="T11" fmla="*/ 10 h 79"/>
                <a:gd name="T12" fmla="*/ 19 w 202"/>
                <a:gd name="T13" fmla="*/ 15 h 79"/>
                <a:gd name="T14" fmla="*/ 6 w 202"/>
                <a:gd name="T15" fmla="*/ 50 h 79"/>
                <a:gd name="T16" fmla="*/ 16 w 202"/>
                <a:gd name="T17" fmla="*/ 67 h 79"/>
                <a:gd name="T18" fmla="*/ 30 w 202"/>
                <a:gd name="T19" fmla="*/ 64 h 79"/>
                <a:gd name="T20" fmla="*/ 19 w 202"/>
                <a:gd name="T21" fmla="*/ 51 h 79"/>
                <a:gd name="T22" fmla="*/ 27 w 202"/>
                <a:gd name="T23" fmla="*/ 36 h 79"/>
                <a:gd name="T24" fmla="*/ 37 w 202"/>
                <a:gd name="T25" fmla="*/ 49 h 79"/>
                <a:gd name="T26" fmla="*/ 59 w 202"/>
                <a:gd name="T27" fmla="*/ 52 h 79"/>
                <a:gd name="T28" fmla="*/ 67 w 202"/>
                <a:gd name="T29" fmla="*/ 46 h 79"/>
                <a:gd name="T30" fmla="*/ 80 w 202"/>
                <a:gd name="T31" fmla="*/ 50 h 79"/>
                <a:gd name="T32" fmla="*/ 99 w 202"/>
                <a:gd name="T33" fmla="*/ 55 h 79"/>
                <a:gd name="T34" fmla="*/ 110 w 202"/>
                <a:gd name="T35" fmla="*/ 51 h 79"/>
                <a:gd name="T36" fmla="*/ 126 w 202"/>
                <a:gd name="T37" fmla="*/ 46 h 79"/>
                <a:gd name="T38" fmla="*/ 141 w 202"/>
                <a:gd name="T39" fmla="*/ 56 h 79"/>
                <a:gd name="T40" fmla="*/ 159 w 202"/>
                <a:gd name="T41" fmla="*/ 64 h 79"/>
                <a:gd name="T42" fmla="*/ 173 w 202"/>
                <a:gd name="T43" fmla="*/ 69 h 79"/>
                <a:gd name="T44" fmla="*/ 190 w 202"/>
                <a:gd name="T45" fmla="*/ 79 h 79"/>
                <a:gd name="T46" fmla="*/ 196 w 202"/>
                <a:gd name="T47" fmla="*/ 64 h 79"/>
                <a:gd name="T48" fmla="*/ 193 w 202"/>
                <a:gd name="T49" fmla="*/ 47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02" h="79">
                  <a:moveTo>
                    <a:pt x="193" y="47"/>
                  </a:moveTo>
                  <a:cubicBezTo>
                    <a:pt x="184" y="40"/>
                    <a:pt x="188" y="20"/>
                    <a:pt x="168" y="20"/>
                  </a:cubicBezTo>
                  <a:cubicBezTo>
                    <a:pt x="148" y="20"/>
                    <a:pt x="144" y="25"/>
                    <a:pt x="130" y="13"/>
                  </a:cubicBezTo>
                  <a:cubicBezTo>
                    <a:pt x="116" y="1"/>
                    <a:pt x="106" y="0"/>
                    <a:pt x="100" y="3"/>
                  </a:cubicBezTo>
                  <a:cubicBezTo>
                    <a:pt x="94" y="6"/>
                    <a:pt x="85" y="10"/>
                    <a:pt x="68" y="10"/>
                  </a:cubicBezTo>
                  <a:cubicBezTo>
                    <a:pt x="51" y="10"/>
                    <a:pt x="65" y="10"/>
                    <a:pt x="48" y="10"/>
                  </a:cubicBezTo>
                  <a:cubicBezTo>
                    <a:pt x="48" y="10"/>
                    <a:pt x="27" y="9"/>
                    <a:pt x="19" y="15"/>
                  </a:cubicBezTo>
                  <a:cubicBezTo>
                    <a:pt x="11" y="21"/>
                    <a:pt x="0" y="30"/>
                    <a:pt x="6" y="50"/>
                  </a:cubicBezTo>
                  <a:cubicBezTo>
                    <a:pt x="12" y="70"/>
                    <a:pt x="10" y="62"/>
                    <a:pt x="16" y="67"/>
                  </a:cubicBezTo>
                  <a:cubicBezTo>
                    <a:pt x="22" y="72"/>
                    <a:pt x="30" y="77"/>
                    <a:pt x="30" y="64"/>
                  </a:cubicBezTo>
                  <a:cubicBezTo>
                    <a:pt x="30" y="51"/>
                    <a:pt x="19" y="63"/>
                    <a:pt x="19" y="51"/>
                  </a:cubicBezTo>
                  <a:cubicBezTo>
                    <a:pt x="19" y="39"/>
                    <a:pt x="21" y="35"/>
                    <a:pt x="27" y="36"/>
                  </a:cubicBezTo>
                  <a:cubicBezTo>
                    <a:pt x="33" y="37"/>
                    <a:pt x="31" y="48"/>
                    <a:pt x="37" y="49"/>
                  </a:cubicBezTo>
                  <a:cubicBezTo>
                    <a:pt x="43" y="50"/>
                    <a:pt x="56" y="57"/>
                    <a:pt x="59" y="52"/>
                  </a:cubicBezTo>
                  <a:cubicBezTo>
                    <a:pt x="62" y="47"/>
                    <a:pt x="61" y="46"/>
                    <a:pt x="67" y="46"/>
                  </a:cubicBezTo>
                  <a:cubicBezTo>
                    <a:pt x="73" y="46"/>
                    <a:pt x="77" y="45"/>
                    <a:pt x="80" y="50"/>
                  </a:cubicBezTo>
                  <a:cubicBezTo>
                    <a:pt x="83" y="55"/>
                    <a:pt x="91" y="55"/>
                    <a:pt x="99" y="55"/>
                  </a:cubicBezTo>
                  <a:cubicBezTo>
                    <a:pt x="107" y="55"/>
                    <a:pt x="109" y="59"/>
                    <a:pt x="110" y="51"/>
                  </a:cubicBezTo>
                  <a:cubicBezTo>
                    <a:pt x="111" y="43"/>
                    <a:pt x="115" y="44"/>
                    <a:pt x="126" y="46"/>
                  </a:cubicBezTo>
                  <a:cubicBezTo>
                    <a:pt x="137" y="48"/>
                    <a:pt x="129" y="56"/>
                    <a:pt x="141" y="56"/>
                  </a:cubicBezTo>
                  <a:cubicBezTo>
                    <a:pt x="153" y="56"/>
                    <a:pt x="149" y="64"/>
                    <a:pt x="159" y="64"/>
                  </a:cubicBezTo>
                  <a:cubicBezTo>
                    <a:pt x="169" y="64"/>
                    <a:pt x="168" y="60"/>
                    <a:pt x="173" y="69"/>
                  </a:cubicBezTo>
                  <a:cubicBezTo>
                    <a:pt x="178" y="78"/>
                    <a:pt x="181" y="79"/>
                    <a:pt x="190" y="79"/>
                  </a:cubicBezTo>
                  <a:cubicBezTo>
                    <a:pt x="199" y="79"/>
                    <a:pt x="197" y="74"/>
                    <a:pt x="196" y="64"/>
                  </a:cubicBezTo>
                  <a:cubicBezTo>
                    <a:pt x="195" y="54"/>
                    <a:pt x="202" y="54"/>
                    <a:pt x="193" y="47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rnd">
              <a:solidFill>
                <a:schemeClr val="bg1">
                  <a:lumMod val="9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313" name="Freeform 25450"/>
            <p:cNvSpPr>
              <a:spLocks/>
            </p:cNvSpPr>
            <p:nvPr/>
          </p:nvSpPr>
          <p:spPr bwMode="auto">
            <a:xfrm>
              <a:off x="7362979" y="3869204"/>
              <a:ext cx="22097" cy="12311"/>
            </a:xfrm>
            <a:custGeom>
              <a:avLst/>
              <a:gdLst>
                <a:gd name="T0" fmla="*/ 11 w 59"/>
                <a:gd name="T1" fmla="*/ 28 h 33"/>
                <a:gd name="T2" fmla="*/ 33 w 59"/>
                <a:gd name="T3" fmla="*/ 29 h 33"/>
                <a:gd name="T4" fmla="*/ 53 w 59"/>
                <a:gd name="T5" fmla="*/ 22 h 33"/>
                <a:gd name="T6" fmla="*/ 41 w 59"/>
                <a:gd name="T7" fmla="*/ 9 h 33"/>
                <a:gd name="T8" fmla="*/ 23 w 59"/>
                <a:gd name="T9" fmla="*/ 8 h 33"/>
                <a:gd name="T10" fmla="*/ 11 w 59"/>
                <a:gd name="T11" fmla="*/ 28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9" h="33">
                  <a:moveTo>
                    <a:pt x="11" y="28"/>
                  </a:moveTo>
                  <a:cubicBezTo>
                    <a:pt x="22" y="33"/>
                    <a:pt x="23" y="31"/>
                    <a:pt x="33" y="29"/>
                  </a:cubicBezTo>
                  <a:cubicBezTo>
                    <a:pt x="43" y="27"/>
                    <a:pt x="47" y="29"/>
                    <a:pt x="53" y="22"/>
                  </a:cubicBezTo>
                  <a:cubicBezTo>
                    <a:pt x="59" y="15"/>
                    <a:pt x="51" y="12"/>
                    <a:pt x="41" y="9"/>
                  </a:cubicBezTo>
                  <a:cubicBezTo>
                    <a:pt x="31" y="6"/>
                    <a:pt x="32" y="0"/>
                    <a:pt x="23" y="8"/>
                  </a:cubicBezTo>
                  <a:cubicBezTo>
                    <a:pt x="23" y="8"/>
                    <a:pt x="0" y="23"/>
                    <a:pt x="11" y="28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rnd">
              <a:solidFill>
                <a:schemeClr val="bg1">
                  <a:lumMod val="9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314" name="Freeform 25451"/>
            <p:cNvSpPr>
              <a:spLocks/>
            </p:cNvSpPr>
            <p:nvPr/>
          </p:nvSpPr>
          <p:spPr bwMode="auto">
            <a:xfrm>
              <a:off x="7377973" y="3828956"/>
              <a:ext cx="24938" cy="15310"/>
            </a:xfrm>
            <a:custGeom>
              <a:avLst/>
              <a:gdLst>
                <a:gd name="T0" fmla="*/ 66 w 67"/>
                <a:gd name="T1" fmla="*/ 19 h 41"/>
                <a:gd name="T2" fmla="*/ 53 w 67"/>
                <a:gd name="T3" fmla="*/ 8 h 41"/>
                <a:gd name="T4" fmla="*/ 21 w 67"/>
                <a:gd name="T5" fmla="*/ 6 h 41"/>
                <a:gd name="T6" fmla="*/ 1 w 67"/>
                <a:gd name="T7" fmla="*/ 13 h 41"/>
                <a:gd name="T8" fmla="*/ 11 w 67"/>
                <a:gd name="T9" fmla="*/ 22 h 41"/>
                <a:gd name="T10" fmla="*/ 26 w 67"/>
                <a:gd name="T11" fmla="*/ 29 h 41"/>
                <a:gd name="T12" fmla="*/ 37 w 67"/>
                <a:gd name="T13" fmla="*/ 32 h 41"/>
                <a:gd name="T14" fmla="*/ 54 w 67"/>
                <a:gd name="T15" fmla="*/ 29 h 41"/>
                <a:gd name="T16" fmla="*/ 66 w 67"/>
                <a:gd name="T17" fmla="*/ 1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7" h="41">
                  <a:moveTo>
                    <a:pt x="66" y="19"/>
                  </a:moveTo>
                  <a:cubicBezTo>
                    <a:pt x="66" y="13"/>
                    <a:pt x="67" y="6"/>
                    <a:pt x="53" y="8"/>
                  </a:cubicBezTo>
                  <a:cubicBezTo>
                    <a:pt x="39" y="10"/>
                    <a:pt x="42" y="8"/>
                    <a:pt x="21" y="6"/>
                  </a:cubicBezTo>
                  <a:cubicBezTo>
                    <a:pt x="21" y="6"/>
                    <a:pt x="0" y="0"/>
                    <a:pt x="1" y="13"/>
                  </a:cubicBezTo>
                  <a:cubicBezTo>
                    <a:pt x="2" y="26"/>
                    <a:pt x="2" y="21"/>
                    <a:pt x="11" y="22"/>
                  </a:cubicBezTo>
                  <a:cubicBezTo>
                    <a:pt x="20" y="23"/>
                    <a:pt x="21" y="24"/>
                    <a:pt x="26" y="29"/>
                  </a:cubicBezTo>
                  <a:cubicBezTo>
                    <a:pt x="31" y="34"/>
                    <a:pt x="34" y="41"/>
                    <a:pt x="37" y="32"/>
                  </a:cubicBezTo>
                  <a:cubicBezTo>
                    <a:pt x="40" y="23"/>
                    <a:pt x="46" y="27"/>
                    <a:pt x="54" y="29"/>
                  </a:cubicBezTo>
                  <a:cubicBezTo>
                    <a:pt x="62" y="31"/>
                    <a:pt x="66" y="25"/>
                    <a:pt x="66" y="1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rnd">
              <a:solidFill>
                <a:schemeClr val="bg1">
                  <a:lumMod val="9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315" name="Freeform 25452"/>
            <p:cNvSpPr>
              <a:spLocks/>
            </p:cNvSpPr>
            <p:nvPr/>
          </p:nvSpPr>
          <p:spPr bwMode="auto">
            <a:xfrm>
              <a:off x="7488615" y="3863996"/>
              <a:ext cx="49244" cy="16415"/>
            </a:xfrm>
            <a:custGeom>
              <a:avLst/>
              <a:gdLst>
                <a:gd name="T0" fmla="*/ 117 w 132"/>
                <a:gd name="T1" fmla="*/ 20 h 44"/>
                <a:gd name="T2" fmla="*/ 88 w 132"/>
                <a:gd name="T3" fmla="*/ 17 h 44"/>
                <a:gd name="T4" fmla="*/ 66 w 132"/>
                <a:gd name="T5" fmla="*/ 10 h 44"/>
                <a:gd name="T6" fmla="*/ 40 w 132"/>
                <a:gd name="T7" fmla="*/ 7 h 44"/>
                <a:gd name="T8" fmla="*/ 13 w 132"/>
                <a:gd name="T9" fmla="*/ 1 h 44"/>
                <a:gd name="T10" fmla="*/ 12 w 132"/>
                <a:gd name="T11" fmla="*/ 12 h 44"/>
                <a:gd name="T12" fmla="*/ 35 w 132"/>
                <a:gd name="T13" fmla="*/ 16 h 44"/>
                <a:gd name="T14" fmla="*/ 59 w 132"/>
                <a:gd name="T15" fmla="*/ 28 h 44"/>
                <a:gd name="T16" fmla="*/ 86 w 132"/>
                <a:gd name="T17" fmla="*/ 35 h 44"/>
                <a:gd name="T18" fmla="*/ 116 w 132"/>
                <a:gd name="T19" fmla="*/ 36 h 44"/>
                <a:gd name="T20" fmla="*/ 117 w 132"/>
                <a:gd name="T21" fmla="*/ 2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2" h="44">
                  <a:moveTo>
                    <a:pt x="117" y="20"/>
                  </a:moveTo>
                  <a:cubicBezTo>
                    <a:pt x="102" y="17"/>
                    <a:pt x="96" y="23"/>
                    <a:pt x="88" y="17"/>
                  </a:cubicBezTo>
                  <a:cubicBezTo>
                    <a:pt x="80" y="11"/>
                    <a:pt x="88" y="10"/>
                    <a:pt x="66" y="10"/>
                  </a:cubicBezTo>
                  <a:cubicBezTo>
                    <a:pt x="66" y="10"/>
                    <a:pt x="50" y="14"/>
                    <a:pt x="40" y="7"/>
                  </a:cubicBezTo>
                  <a:cubicBezTo>
                    <a:pt x="30" y="0"/>
                    <a:pt x="23" y="0"/>
                    <a:pt x="13" y="1"/>
                  </a:cubicBezTo>
                  <a:cubicBezTo>
                    <a:pt x="3" y="2"/>
                    <a:pt x="0" y="12"/>
                    <a:pt x="12" y="12"/>
                  </a:cubicBezTo>
                  <a:cubicBezTo>
                    <a:pt x="24" y="12"/>
                    <a:pt x="21" y="8"/>
                    <a:pt x="35" y="16"/>
                  </a:cubicBezTo>
                  <a:cubicBezTo>
                    <a:pt x="49" y="24"/>
                    <a:pt x="51" y="24"/>
                    <a:pt x="59" y="28"/>
                  </a:cubicBezTo>
                  <a:cubicBezTo>
                    <a:pt x="67" y="32"/>
                    <a:pt x="73" y="34"/>
                    <a:pt x="86" y="35"/>
                  </a:cubicBezTo>
                  <a:cubicBezTo>
                    <a:pt x="99" y="36"/>
                    <a:pt x="115" y="44"/>
                    <a:pt x="116" y="36"/>
                  </a:cubicBezTo>
                  <a:cubicBezTo>
                    <a:pt x="117" y="28"/>
                    <a:pt x="132" y="23"/>
                    <a:pt x="117" y="2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rnd">
              <a:solidFill>
                <a:schemeClr val="bg1">
                  <a:lumMod val="9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316" name="Freeform 25453"/>
            <p:cNvSpPr>
              <a:spLocks/>
            </p:cNvSpPr>
            <p:nvPr/>
          </p:nvSpPr>
          <p:spPr bwMode="auto">
            <a:xfrm>
              <a:off x="7495717" y="3846950"/>
              <a:ext cx="25095" cy="14521"/>
            </a:xfrm>
            <a:custGeom>
              <a:avLst/>
              <a:gdLst>
                <a:gd name="T0" fmla="*/ 34 w 67"/>
                <a:gd name="T1" fmla="*/ 26 h 39"/>
                <a:gd name="T2" fmla="*/ 50 w 67"/>
                <a:gd name="T3" fmla="*/ 37 h 39"/>
                <a:gd name="T4" fmla="*/ 64 w 67"/>
                <a:gd name="T5" fmla="*/ 29 h 39"/>
                <a:gd name="T6" fmla="*/ 27 w 67"/>
                <a:gd name="T7" fmla="*/ 1 h 39"/>
                <a:gd name="T8" fmla="*/ 14 w 67"/>
                <a:gd name="T9" fmla="*/ 10 h 39"/>
                <a:gd name="T10" fmla="*/ 34 w 67"/>
                <a:gd name="T11" fmla="*/ 26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7" h="39">
                  <a:moveTo>
                    <a:pt x="34" y="26"/>
                  </a:moveTo>
                  <a:cubicBezTo>
                    <a:pt x="39" y="36"/>
                    <a:pt x="43" y="35"/>
                    <a:pt x="50" y="37"/>
                  </a:cubicBezTo>
                  <a:cubicBezTo>
                    <a:pt x="57" y="39"/>
                    <a:pt x="67" y="39"/>
                    <a:pt x="64" y="29"/>
                  </a:cubicBezTo>
                  <a:cubicBezTo>
                    <a:pt x="61" y="19"/>
                    <a:pt x="60" y="10"/>
                    <a:pt x="27" y="1"/>
                  </a:cubicBezTo>
                  <a:cubicBezTo>
                    <a:pt x="27" y="1"/>
                    <a:pt x="0" y="0"/>
                    <a:pt x="14" y="10"/>
                  </a:cubicBezTo>
                  <a:cubicBezTo>
                    <a:pt x="28" y="20"/>
                    <a:pt x="29" y="16"/>
                    <a:pt x="34" y="26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rnd">
              <a:solidFill>
                <a:schemeClr val="bg1">
                  <a:lumMod val="9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317" name="Freeform 25454"/>
            <p:cNvSpPr>
              <a:spLocks/>
            </p:cNvSpPr>
            <p:nvPr/>
          </p:nvSpPr>
          <p:spPr bwMode="auto">
            <a:xfrm>
              <a:off x="7484512" y="3851684"/>
              <a:ext cx="5998" cy="6472"/>
            </a:xfrm>
            <a:custGeom>
              <a:avLst/>
              <a:gdLst>
                <a:gd name="T0" fmla="*/ 5 w 16"/>
                <a:gd name="T1" fmla="*/ 1 h 17"/>
                <a:gd name="T2" fmla="*/ 6 w 16"/>
                <a:gd name="T3" fmla="*/ 9 h 17"/>
                <a:gd name="T4" fmla="*/ 15 w 16"/>
                <a:gd name="T5" fmla="*/ 5 h 17"/>
                <a:gd name="T6" fmla="*/ 5 w 16"/>
                <a:gd name="T7" fmla="*/ 1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17">
                  <a:moveTo>
                    <a:pt x="5" y="1"/>
                  </a:moveTo>
                  <a:cubicBezTo>
                    <a:pt x="5" y="1"/>
                    <a:pt x="0" y="1"/>
                    <a:pt x="6" y="9"/>
                  </a:cubicBezTo>
                  <a:cubicBezTo>
                    <a:pt x="12" y="17"/>
                    <a:pt x="16" y="10"/>
                    <a:pt x="15" y="5"/>
                  </a:cubicBezTo>
                  <a:cubicBezTo>
                    <a:pt x="14" y="0"/>
                    <a:pt x="14" y="1"/>
                    <a:pt x="5" y="1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rnd">
              <a:solidFill>
                <a:schemeClr val="bg1">
                  <a:lumMod val="9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318" name="Freeform 25455"/>
            <p:cNvSpPr>
              <a:spLocks/>
            </p:cNvSpPr>
            <p:nvPr/>
          </p:nvSpPr>
          <p:spPr bwMode="auto">
            <a:xfrm>
              <a:off x="7467781" y="3951751"/>
              <a:ext cx="18309" cy="46561"/>
            </a:xfrm>
            <a:custGeom>
              <a:avLst/>
              <a:gdLst>
                <a:gd name="T0" fmla="*/ 41 w 49"/>
                <a:gd name="T1" fmla="*/ 34 h 125"/>
                <a:gd name="T2" fmla="*/ 21 w 49"/>
                <a:gd name="T3" fmla="*/ 23 h 125"/>
                <a:gd name="T4" fmla="*/ 8 w 49"/>
                <a:gd name="T5" fmla="*/ 41 h 125"/>
                <a:gd name="T6" fmla="*/ 12 w 49"/>
                <a:gd name="T7" fmla="*/ 60 h 125"/>
                <a:gd name="T8" fmla="*/ 3 w 49"/>
                <a:gd name="T9" fmla="*/ 80 h 125"/>
                <a:gd name="T10" fmla="*/ 6 w 49"/>
                <a:gd name="T11" fmla="*/ 124 h 125"/>
                <a:gd name="T12" fmla="*/ 22 w 49"/>
                <a:gd name="T13" fmla="*/ 113 h 125"/>
                <a:gd name="T14" fmla="*/ 31 w 49"/>
                <a:gd name="T15" fmla="*/ 94 h 125"/>
                <a:gd name="T16" fmla="*/ 42 w 49"/>
                <a:gd name="T17" fmla="*/ 80 h 125"/>
                <a:gd name="T18" fmla="*/ 41 w 49"/>
                <a:gd name="T19" fmla="*/ 34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9" h="125">
                  <a:moveTo>
                    <a:pt x="41" y="34"/>
                  </a:moveTo>
                  <a:cubicBezTo>
                    <a:pt x="33" y="30"/>
                    <a:pt x="35" y="0"/>
                    <a:pt x="21" y="23"/>
                  </a:cubicBezTo>
                  <a:cubicBezTo>
                    <a:pt x="21" y="23"/>
                    <a:pt x="4" y="31"/>
                    <a:pt x="8" y="41"/>
                  </a:cubicBezTo>
                  <a:cubicBezTo>
                    <a:pt x="12" y="51"/>
                    <a:pt x="16" y="55"/>
                    <a:pt x="12" y="60"/>
                  </a:cubicBezTo>
                  <a:cubicBezTo>
                    <a:pt x="8" y="65"/>
                    <a:pt x="3" y="67"/>
                    <a:pt x="3" y="80"/>
                  </a:cubicBezTo>
                  <a:cubicBezTo>
                    <a:pt x="3" y="93"/>
                    <a:pt x="0" y="124"/>
                    <a:pt x="6" y="124"/>
                  </a:cubicBezTo>
                  <a:cubicBezTo>
                    <a:pt x="12" y="124"/>
                    <a:pt x="16" y="125"/>
                    <a:pt x="22" y="113"/>
                  </a:cubicBezTo>
                  <a:cubicBezTo>
                    <a:pt x="28" y="101"/>
                    <a:pt x="32" y="110"/>
                    <a:pt x="31" y="94"/>
                  </a:cubicBezTo>
                  <a:cubicBezTo>
                    <a:pt x="30" y="78"/>
                    <a:pt x="39" y="98"/>
                    <a:pt x="42" y="80"/>
                  </a:cubicBezTo>
                  <a:cubicBezTo>
                    <a:pt x="45" y="62"/>
                    <a:pt x="49" y="38"/>
                    <a:pt x="41" y="34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rnd">
              <a:solidFill>
                <a:schemeClr val="bg1">
                  <a:lumMod val="9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319" name="Freeform 25456"/>
            <p:cNvSpPr>
              <a:spLocks/>
            </p:cNvSpPr>
            <p:nvPr/>
          </p:nvSpPr>
          <p:spPr bwMode="auto">
            <a:xfrm>
              <a:off x="7391074" y="3997997"/>
              <a:ext cx="32040" cy="25254"/>
            </a:xfrm>
            <a:custGeom>
              <a:avLst/>
              <a:gdLst>
                <a:gd name="T0" fmla="*/ 79 w 86"/>
                <a:gd name="T1" fmla="*/ 5 h 68"/>
                <a:gd name="T2" fmla="*/ 46 w 86"/>
                <a:gd name="T3" fmla="*/ 10 h 68"/>
                <a:gd name="T4" fmla="*/ 27 w 86"/>
                <a:gd name="T5" fmla="*/ 31 h 68"/>
                <a:gd name="T6" fmla="*/ 14 w 86"/>
                <a:gd name="T7" fmla="*/ 56 h 68"/>
                <a:gd name="T8" fmla="*/ 38 w 86"/>
                <a:gd name="T9" fmla="*/ 58 h 68"/>
                <a:gd name="T10" fmla="*/ 59 w 86"/>
                <a:gd name="T11" fmla="*/ 35 h 68"/>
                <a:gd name="T12" fmla="*/ 67 w 86"/>
                <a:gd name="T13" fmla="*/ 16 h 68"/>
                <a:gd name="T14" fmla="*/ 79 w 86"/>
                <a:gd name="T15" fmla="*/ 5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6" h="68">
                  <a:moveTo>
                    <a:pt x="79" y="5"/>
                  </a:moveTo>
                  <a:cubicBezTo>
                    <a:pt x="72" y="5"/>
                    <a:pt x="52" y="0"/>
                    <a:pt x="46" y="10"/>
                  </a:cubicBezTo>
                  <a:cubicBezTo>
                    <a:pt x="46" y="10"/>
                    <a:pt x="32" y="24"/>
                    <a:pt x="27" y="31"/>
                  </a:cubicBezTo>
                  <a:cubicBezTo>
                    <a:pt x="22" y="38"/>
                    <a:pt x="0" y="51"/>
                    <a:pt x="14" y="56"/>
                  </a:cubicBezTo>
                  <a:cubicBezTo>
                    <a:pt x="28" y="61"/>
                    <a:pt x="33" y="68"/>
                    <a:pt x="38" y="58"/>
                  </a:cubicBezTo>
                  <a:cubicBezTo>
                    <a:pt x="43" y="48"/>
                    <a:pt x="59" y="47"/>
                    <a:pt x="59" y="35"/>
                  </a:cubicBezTo>
                  <a:cubicBezTo>
                    <a:pt x="59" y="23"/>
                    <a:pt x="53" y="16"/>
                    <a:pt x="67" y="16"/>
                  </a:cubicBezTo>
                  <a:cubicBezTo>
                    <a:pt x="81" y="16"/>
                    <a:pt x="86" y="5"/>
                    <a:pt x="79" y="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rnd">
              <a:solidFill>
                <a:schemeClr val="bg1">
                  <a:lumMod val="9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320" name="Freeform 25457"/>
            <p:cNvSpPr>
              <a:spLocks/>
            </p:cNvSpPr>
            <p:nvPr/>
          </p:nvSpPr>
          <p:spPr bwMode="auto">
            <a:xfrm>
              <a:off x="7376079" y="3834954"/>
              <a:ext cx="259479" cy="215917"/>
            </a:xfrm>
            <a:custGeom>
              <a:avLst/>
              <a:gdLst>
                <a:gd name="T0" fmla="*/ 688 w 696"/>
                <a:gd name="T1" fmla="*/ 431 h 579"/>
                <a:gd name="T2" fmla="*/ 689 w 696"/>
                <a:gd name="T3" fmla="*/ 376 h 579"/>
                <a:gd name="T4" fmla="*/ 670 w 696"/>
                <a:gd name="T5" fmla="*/ 156 h 579"/>
                <a:gd name="T6" fmla="*/ 580 w 696"/>
                <a:gd name="T7" fmla="*/ 126 h 579"/>
                <a:gd name="T8" fmla="*/ 495 w 696"/>
                <a:gd name="T9" fmla="*/ 83 h 579"/>
                <a:gd name="T10" fmla="*/ 433 w 696"/>
                <a:gd name="T11" fmla="*/ 124 h 579"/>
                <a:gd name="T12" fmla="*/ 354 w 696"/>
                <a:gd name="T13" fmla="*/ 179 h 579"/>
                <a:gd name="T14" fmla="*/ 292 w 696"/>
                <a:gd name="T15" fmla="*/ 188 h 579"/>
                <a:gd name="T16" fmla="*/ 257 w 696"/>
                <a:gd name="T17" fmla="*/ 134 h 579"/>
                <a:gd name="T18" fmla="*/ 258 w 696"/>
                <a:gd name="T19" fmla="*/ 62 h 579"/>
                <a:gd name="T20" fmla="*/ 191 w 696"/>
                <a:gd name="T21" fmla="*/ 28 h 579"/>
                <a:gd name="T22" fmla="*/ 94 w 696"/>
                <a:gd name="T23" fmla="*/ 33 h 579"/>
                <a:gd name="T24" fmla="*/ 65 w 696"/>
                <a:gd name="T25" fmla="*/ 57 h 579"/>
                <a:gd name="T26" fmla="*/ 12 w 696"/>
                <a:gd name="T27" fmla="*/ 38 h 579"/>
                <a:gd name="T28" fmla="*/ 36 w 696"/>
                <a:gd name="T29" fmla="*/ 60 h 579"/>
                <a:gd name="T30" fmla="*/ 59 w 696"/>
                <a:gd name="T31" fmla="*/ 88 h 579"/>
                <a:gd name="T32" fmla="*/ 125 w 696"/>
                <a:gd name="T33" fmla="*/ 133 h 579"/>
                <a:gd name="T34" fmla="*/ 183 w 696"/>
                <a:gd name="T35" fmla="*/ 137 h 579"/>
                <a:gd name="T36" fmla="*/ 234 w 696"/>
                <a:gd name="T37" fmla="*/ 132 h 579"/>
                <a:gd name="T38" fmla="*/ 191 w 696"/>
                <a:gd name="T39" fmla="*/ 148 h 579"/>
                <a:gd name="T40" fmla="*/ 145 w 696"/>
                <a:gd name="T41" fmla="*/ 164 h 579"/>
                <a:gd name="T42" fmla="*/ 137 w 696"/>
                <a:gd name="T43" fmla="*/ 181 h 579"/>
                <a:gd name="T44" fmla="*/ 170 w 696"/>
                <a:gd name="T45" fmla="*/ 227 h 579"/>
                <a:gd name="T46" fmla="*/ 212 w 696"/>
                <a:gd name="T47" fmla="*/ 234 h 579"/>
                <a:gd name="T48" fmla="*/ 252 w 696"/>
                <a:gd name="T49" fmla="*/ 239 h 579"/>
                <a:gd name="T50" fmla="*/ 304 w 696"/>
                <a:gd name="T51" fmla="*/ 268 h 579"/>
                <a:gd name="T52" fmla="*/ 391 w 696"/>
                <a:gd name="T53" fmla="*/ 290 h 579"/>
                <a:gd name="T54" fmla="*/ 500 w 696"/>
                <a:gd name="T55" fmla="*/ 339 h 579"/>
                <a:gd name="T56" fmla="*/ 551 w 696"/>
                <a:gd name="T57" fmla="*/ 435 h 579"/>
                <a:gd name="T58" fmla="*/ 493 w 696"/>
                <a:gd name="T59" fmla="*/ 481 h 579"/>
                <a:gd name="T60" fmla="*/ 498 w 696"/>
                <a:gd name="T61" fmla="*/ 531 h 579"/>
                <a:gd name="T62" fmla="*/ 575 w 696"/>
                <a:gd name="T63" fmla="*/ 509 h 579"/>
                <a:gd name="T64" fmla="*/ 629 w 696"/>
                <a:gd name="T65" fmla="*/ 517 h 579"/>
                <a:gd name="T66" fmla="*/ 690 w 696"/>
                <a:gd name="T67" fmla="*/ 579 h 5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96" h="579">
                  <a:moveTo>
                    <a:pt x="689" y="475"/>
                  </a:moveTo>
                  <a:cubicBezTo>
                    <a:pt x="691" y="451"/>
                    <a:pt x="696" y="438"/>
                    <a:pt x="688" y="431"/>
                  </a:cubicBezTo>
                  <a:cubicBezTo>
                    <a:pt x="679" y="424"/>
                    <a:pt x="672" y="414"/>
                    <a:pt x="684" y="407"/>
                  </a:cubicBezTo>
                  <a:cubicBezTo>
                    <a:pt x="696" y="400"/>
                    <a:pt x="689" y="376"/>
                    <a:pt x="689" y="376"/>
                  </a:cubicBezTo>
                  <a:cubicBezTo>
                    <a:pt x="688" y="161"/>
                    <a:pt x="688" y="161"/>
                    <a:pt x="688" y="161"/>
                  </a:cubicBezTo>
                  <a:cubicBezTo>
                    <a:pt x="679" y="163"/>
                    <a:pt x="673" y="164"/>
                    <a:pt x="670" y="156"/>
                  </a:cubicBezTo>
                  <a:cubicBezTo>
                    <a:pt x="665" y="143"/>
                    <a:pt x="673" y="138"/>
                    <a:pt x="650" y="138"/>
                  </a:cubicBezTo>
                  <a:cubicBezTo>
                    <a:pt x="627" y="138"/>
                    <a:pt x="609" y="143"/>
                    <a:pt x="580" y="126"/>
                  </a:cubicBezTo>
                  <a:cubicBezTo>
                    <a:pt x="551" y="109"/>
                    <a:pt x="547" y="106"/>
                    <a:pt x="531" y="100"/>
                  </a:cubicBezTo>
                  <a:cubicBezTo>
                    <a:pt x="515" y="94"/>
                    <a:pt x="512" y="81"/>
                    <a:pt x="495" y="83"/>
                  </a:cubicBezTo>
                  <a:cubicBezTo>
                    <a:pt x="478" y="85"/>
                    <a:pt x="462" y="84"/>
                    <a:pt x="455" y="98"/>
                  </a:cubicBezTo>
                  <a:cubicBezTo>
                    <a:pt x="448" y="112"/>
                    <a:pt x="451" y="124"/>
                    <a:pt x="433" y="124"/>
                  </a:cubicBezTo>
                  <a:cubicBezTo>
                    <a:pt x="415" y="124"/>
                    <a:pt x="405" y="121"/>
                    <a:pt x="397" y="135"/>
                  </a:cubicBezTo>
                  <a:cubicBezTo>
                    <a:pt x="389" y="149"/>
                    <a:pt x="358" y="169"/>
                    <a:pt x="354" y="179"/>
                  </a:cubicBezTo>
                  <a:cubicBezTo>
                    <a:pt x="350" y="189"/>
                    <a:pt x="354" y="209"/>
                    <a:pt x="330" y="208"/>
                  </a:cubicBezTo>
                  <a:cubicBezTo>
                    <a:pt x="306" y="207"/>
                    <a:pt x="304" y="200"/>
                    <a:pt x="292" y="188"/>
                  </a:cubicBezTo>
                  <a:cubicBezTo>
                    <a:pt x="280" y="176"/>
                    <a:pt x="297" y="168"/>
                    <a:pt x="282" y="158"/>
                  </a:cubicBezTo>
                  <a:cubicBezTo>
                    <a:pt x="267" y="148"/>
                    <a:pt x="256" y="158"/>
                    <a:pt x="257" y="134"/>
                  </a:cubicBezTo>
                  <a:cubicBezTo>
                    <a:pt x="258" y="110"/>
                    <a:pt x="249" y="103"/>
                    <a:pt x="257" y="88"/>
                  </a:cubicBezTo>
                  <a:cubicBezTo>
                    <a:pt x="265" y="73"/>
                    <a:pt x="267" y="72"/>
                    <a:pt x="258" y="62"/>
                  </a:cubicBezTo>
                  <a:cubicBezTo>
                    <a:pt x="249" y="52"/>
                    <a:pt x="261" y="38"/>
                    <a:pt x="237" y="35"/>
                  </a:cubicBezTo>
                  <a:cubicBezTo>
                    <a:pt x="213" y="32"/>
                    <a:pt x="206" y="38"/>
                    <a:pt x="191" y="28"/>
                  </a:cubicBezTo>
                  <a:cubicBezTo>
                    <a:pt x="176" y="18"/>
                    <a:pt x="145" y="0"/>
                    <a:pt x="124" y="18"/>
                  </a:cubicBezTo>
                  <a:cubicBezTo>
                    <a:pt x="124" y="18"/>
                    <a:pt x="111" y="33"/>
                    <a:pt x="94" y="33"/>
                  </a:cubicBezTo>
                  <a:cubicBezTo>
                    <a:pt x="77" y="33"/>
                    <a:pt x="67" y="36"/>
                    <a:pt x="71" y="44"/>
                  </a:cubicBezTo>
                  <a:cubicBezTo>
                    <a:pt x="75" y="52"/>
                    <a:pt x="75" y="69"/>
                    <a:pt x="65" y="57"/>
                  </a:cubicBezTo>
                  <a:cubicBezTo>
                    <a:pt x="55" y="45"/>
                    <a:pt x="49" y="42"/>
                    <a:pt x="38" y="39"/>
                  </a:cubicBezTo>
                  <a:cubicBezTo>
                    <a:pt x="27" y="36"/>
                    <a:pt x="24" y="32"/>
                    <a:pt x="12" y="38"/>
                  </a:cubicBezTo>
                  <a:cubicBezTo>
                    <a:pt x="0" y="44"/>
                    <a:pt x="11" y="50"/>
                    <a:pt x="24" y="50"/>
                  </a:cubicBezTo>
                  <a:cubicBezTo>
                    <a:pt x="37" y="50"/>
                    <a:pt x="34" y="52"/>
                    <a:pt x="36" y="60"/>
                  </a:cubicBezTo>
                  <a:cubicBezTo>
                    <a:pt x="38" y="68"/>
                    <a:pt x="42" y="74"/>
                    <a:pt x="50" y="76"/>
                  </a:cubicBezTo>
                  <a:cubicBezTo>
                    <a:pt x="58" y="78"/>
                    <a:pt x="43" y="86"/>
                    <a:pt x="59" y="88"/>
                  </a:cubicBezTo>
                  <a:cubicBezTo>
                    <a:pt x="75" y="90"/>
                    <a:pt x="108" y="93"/>
                    <a:pt x="112" y="105"/>
                  </a:cubicBezTo>
                  <a:cubicBezTo>
                    <a:pt x="116" y="117"/>
                    <a:pt x="110" y="129"/>
                    <a:pt x="125" y="133"/>
                  </a:cubicBezTo>
                  <a:cubicBezTo>
                    <a:pt x="140" y="137"/>
                    <a:pt x="141" y="132"/>
                    <a:pt x="157" y="137"/>
                  </a:cubicBezTo>
                  <a:cubicBezTo>
                    <a:pt x="173" y="142"/>
                    <a:pt x="178" y="142"/>
                    <a:pt x="183" y="137"/>
                  </a:cubicBezTo>
                  <a:cubicBezTo>
                    <a:pt x="188" y="132"/>
                    <a:pt x="190" y="132"/>
                    <a:pt x="203" y="129"/>
                  </a:cubicBezTo>
                  <a:cubicBezTo>
                    <a:pt x="216" y="126"/>
                    <a:pt x="232" y="125"/>
                    <a:pt x="234" y="132"/>
                  </a:cubicBezTo>
                  <a:cubicBezTo>
                    <a:pt x="236" y="139"/>
                    <a:pt x="238" y="145"/>
                    <a:pt x="225" y="147"/>
                  </a:cubicBezTo>
                  <a:cubicBezTo>
                    <a:pt x="212" y="149"/>
                    <a:pt x="202" y="148"/>
                    <a:pt x="191" y="148"/>
                  </a:cubicBezTo>
                  <a:cubicBezTo>
                    <a:pt x="180" y="148"/>
                    <a:pt x="175" y="152"/>
                    <a:pt x="171" y="161"/>
                  </a:cubicBezTo>
                  <a:cubicBezTo>
                    <a:pt x="167" y="170"/>
                    <a:pt x="159" y="168"/>
                    <a:pt x="145" y="164"/>
                  </a:cubicBezTo>
                  <a:cubicBezTo>
                    <a:pt x="131" y="160"/>
                    <a:pt x="116" y="155"/>
                    <a:pt x="118" y="166"/>
                  </a:cubicBezTo>
                  <a:cubicBezTo>
                    <a:pt x="120" y="177"/>
                    <a:pt x="121" y="179"/>
                    <a:pt x="137" y="181"/>
                  </a:cubicBezTo>
                  <a:cubicBezTo>
                    <a:pt x="153" y="183"/>
                    <a:pt x="146" y="195"/>
                    <a:pt x="159" y="201"/>
                  </a:cubicBezTo>
                  <a:cubicBezTo>
                    <a:pt x="172" y="207"/>
                    <a:pt x="170" y="212"/>
                    <a:pt x="170" y="227"/>
                  </a:cubicBezTo>
                  <a:cubicBezTo>
                    <a:pt x="170" y="242"/>
                    <a:pt x="165" y="248"/>
                    <a:pt x="175" y="253"/>
                  </a:cubicBezTo>
                  <a:cubicBezTo>
                    <a:pt x="185" y="258"/>
                    <a:pt x="209" y="254"/>
                    <a:pt x="212" y="234"/>
                  </a:cubicBezTo>
                  <a:cubicBezTo>
                    <a:pt x="215" y="214"/>
                    <a:pt x="221" y="208"/>
                    <a:pt x="231" y="223"/>
                  </a:cubicBezTo>
                  <a:cubicBezTo>
                    <a:pt x="241" y="238"/>
                    <a:pt x="246" y="239"/>
                    <a:pt x="252" y="239"/>
                  </a:cubicBezTo>
                  <a:cubicBezTo>
                    <a:pt x="258" y="239"/>
                    <a:pt x="257" y="249"/>
                    <a:pt x="274" y="250"/>
                  </a:cubicBezTo>
                  <a:cubicBezTo>
                    <a:pt x="291" y="251"/>
                    <a:pt x="294" y="255"/>
                    <a:pt x="304" y="268"/>
                  </a:cubicBezTo>
                  <a:cubicBezTo>
                    <a:pt x="314" y="281"/>
                    <a:pt x="322" y="276"/>
                    <a:pt x="338" y="279"/>
                  </a:cubicBezTo>
                  <a:cubicBezTo>
                    <a:pt x="354" y="282"/>
                    <a:pt x="367" y="272"/>
                    <a:pt x="391" y="290"/>
                  </a:cubicBezTo>
                  <a:cubicBezTo>
                    <a:pt x="415" y="308"/>
                    <a:pt x="414" y="306"/>
                    <a:pt x="440" y="310"/>
                  </a:cubicBezTo>
                  <a:cubicBezTo>
                    <a:pt x="466" y="314"/>
                    <a:pt x="475" y="312"/>
                    <a:pt x="500" y="339"/>
                  </a:cubicBezTo>
                  <a:cubicBezTo>
                    <a:pt x="525" y="366"/>
                    <a:pt x="502" y="376"/>
                    <a:pt x="536" y="400"/>
                  </a:cubicBezTo>
                  <a:cubicBezTo>
                    <a:pt x="551" y="415"/>
                    <a:pt x="551" y="421"/>
                    <a:pt x="551" y="435"/>
                  </a:cubicBezTo>
                  <a:cubicBezTo>
                    <a:pt x="551" y="449"/>
                    <a:pt x="555" y="459"/>
                    <a:pt x="536" y="461"/>
                  </a:cubicBezTo>
                  <a:cubicBezTo>
                    <a:pt x="517" y="463"/>
                    <a:pt x="496" y="467"/>
                    <a:pt x="493" y="481"/>
                  </a:cubicBezTo>
                  <a:cubicBezTo>
                    <a:pt x="490" y="495"/>
                    <a:pt x="482" y="506"/>
                    <a:pt x="478" y="515"/>
                  </a:cubicBezTo>
                  <a:cubicBezTo>
                    <a:pt x="474" y="524"/>
                    <a:pt x="474" y="533"/>
                    <a:pt x="498" y="531"/>
                  </a:cubicBezTo>
                  <a:cubicBezTo>
                    <a:pt x="522" y="529"/>
                    <a:pt x="552" y="536"/>
                    <a:pt x="553" y="526"/>
                  </a:cubicBezTo>
                  <a:cubicBezTo>
                    <a:pt x="554" y="516"/>
                    <a:pt x="566" y="508"/>
                    <a:pt x="575" y="509"/>
                  </a:cubicBezTo>
                  <a:cubicBezTo>
                    <a:pt x="584" y="510"/>
                    <a:pt x="586" y="517"/>
                    <a:pt x="593" y="516"/>
                  </a:cubicBezTo>
                  <a:cubicBezTo>
                    <a:pt x="600" y="515"/>
                    <a:pt x="620" y="501"/>
                    <a:pt x="629" y="517"/>
                  </a:cubicBezTo>
                  <a:cubicBezTo>
                    <a:pt x="638" y="533"/>
                    <a:pt x="662" y="542"/>
                    <a:pt x="674" y="560"/>
                  </a:cubicBezTo>
                  <a:cubicBezTo>
                    <a:pt x="681" y="571"/>
                    <a:pt x="685" y="576"/>
                    <a:pt x="690" y="579"/>
                  </a:cubicBezTo>
                  <a:cubicBezTo>
                    <a:pt x="689" y="547"/>
                    <a:pt x="688" y="492"/>
                    <a:pt x="689" y="47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rnd">
              <a:solidFill>
                <a:schemeClr val="bg1">
                  <a:lumMod val="9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321" name="Freeform 25458"/>
            <p:cNvSpPr>
              <a:spLocks/>
            </p:cNvSpPr>
            <p:nvPr/>
          </p:nvSpPr>
          <p:spPr bwMode="auto">
            <a:xfrm>
              <a:off x="6965869" y="3995313"/>
              <a:ext cx="27621" cy="12627"/>
            </a:xfrm>
            <a:custGeom>
              <a:avLst/>
              <a:gdLst>
                <a:gd name="T0" fmla="*/ 46 w 74"/>
                <a:gd name="T1" fmla="*/ 2 h 34"/>
                <a:gd name="T2" fmla="*/ 12 w 74"/>
                <a:gd name="T3" fmla="*/ 0 h 34"/>
                <a:gd name="T4" fmla="*/ 0 w 74"/>
                <a:gd name="T5" fmla="*/ 10 h 34"/>
                <a:gd name="T6" fmla="*/ 11 w 74"/>
                <a:gd name="T7" fmla="*/ 21 h 34"/>
                <a:gd name="T8" fmla="*/ 30 w 74"/>
                <a:gd name="T9" fmla="*/ 27 h 34"/>
                <a:gd name="T10" fmla="*/ 43 w 74"/>
                <a:gd name="T11" fmla="*/ 27 h 34"/>
                <a:gd name="T12" fmla="*/ 57 w 74"/>
                <a:gd name="T13" fmla="*/ 18 h 34"/>
                <a:gd name="T14" fmla="*/ 74 w 74"/>
                <a:gd name="T15" fmla="*/ 7 h 34"/>
                <a:gd name="T16" fmla="*/ 46 w 74"/>
                <a:gd name="T17" fmla="*/ 2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4" h="34">
                  <a:moveTo>
                    <a:pt x="46" y="2"/>
                  </a:moveTo>
                  <a:cubicBezTo>
                    <a:pt x="46" y="2"/>
                    <a:pt x="21" y="0"/>
                    <a:pt x="12" y="0"/>
                  </a:cubicBezTo>
                  <a:cubicBezTo>
                    <a:pt x="3" y="0"/>
                    <a:pt x="0" y="5"/>
                    <a:pt x="0" y="10"/>
                  </a:cubicBezTo>
                  <a:cubicBezTo>
                    <a:pt x="0" y="15"/>
                    <a:pt x="1" y="21"/>
                    <a:pt x="11" y="21"/>
                  </a:cubicBezTo>
                  <a:cubicBezTo>
                    <a:pt x="21" y="21"/>
                    <a:pt x="30" y="21"/>
                    <a:pt x="30" y="27"/>
                  </a:cubicBezTo>
                  <a:cubicBezTo>
                    <a:pt x="30" y="33"/>
                    <a:pt x="42" y="34"/>
                    <a:pt x="43" y="27"/>
                  </a:cubicBezTo>
                  <a:cubicBezTo>
                    <a:pt x="44" y="20"/>
                    <a:pt x="49" y="20"/>
                    <a:pt x="57" y="18"/>
                  </a:cubicBezTo>
                  <a:cubicBezTo>
                    <a:pt x="65" y="16"/>
                    <a:pt x="74" y="11"/>
                    <a:pt x="74" y="7"/>
                  </a:cubicBezTo>
                  <a:cubicBezTo>
                    <a:pt x="74" y="3"/>
                    <a:pt x="66" y="2"/>
                    <a:pt x="46" y="2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rnd">
              <a:solidFill>
                <a:schemeClr val="bg1">
                  <a:lumMod val="9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322" name="Freeform 25459"/>
            <p:cNvSpPr>
              <a:spLocks/>
            </p:cNvSpPr>
            <p:nvPr/>
          </p:nvSpPr>
          <p:spPr bwMode="auto">
            <a:xfrm>
              <a:off x="7018112" y="3994208"/>
              <a:ext cx="14205" cy="4104"/>
            </a:xfrm>
            <a:custGeom>
              <a:avLst/>
              <a:gdLst>
                <a:gd name="T0" fmla="*/ 15 w 38"/>
                <a:gd name="T1" fmla="*/ 0 h 11"/>
                <a:gd name="T2" fmla="*/ 9 w 38"/>
                <a:gd name="T3" fmla="*/ 7 h 11"/>
                <a:gd name="T4" fmla="*/ 15 w 38"/>
                <a:gd name="T5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8" h="11">
                  <a:moveTo>
                    <a:pt x="15" y="0"/>
                  </a:moveTo>
                  <a:cubicBezTo>
                    <a:pt x="15" y="0"/>
                    <a:pt x="0" y="3"/>
                    <a:pt x="9" y="7"/>
                  </a:cubicBezTo>
                  <a:cubicBezTo>
                    <a:pt x="18" y="11"/>
                    <a:pt x="38" y="1"/>
                    <a:pt x="15" y="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rnd">
              <a:solidFill>
                <a:schemeClr val="bg1">
                  <a:lumMod val="9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323" name="Freeform 25460"/>
            <p:cNvSpPr>
              <a:spLocks/>
            </p:cNvSpPr>
            <p:nvPr/>
          </p:nvSpPr>
          <p:spPr bwMode="auto">
            <a:xfrm>
              <a:off x="7006905" y="4022618"/>
              <a:ext cx="23517" cy="21150"/>
            </a:xfrm>
            <a:custGeom>
              <a:avLst/>
              <a:gdLst>
                <a:gd name="T0" fmla="*/ 46 w 63"/>
                <a:gd name="T1" fmla="*/ 6 h 57"/>
                <a:gd name="T2" fmla="*/ 27 w 63"/>
                <a:gd name="T3" fmla="*/ 4 h 57"/>
                <a:gd name="T4" fmla="*/ 16 w 63"/>
                <a:gd name="T5" fmla="*/ 15 h 57"/>
                <a:gd name="T6" fmla="*/ 5 w 63"/>
                <a:gd name="T7" fmla="*/ 29 h 57"/>
                <a:gd name="T8" fmla="*/ 21 w 63"/>
                <a:gd name="T9" fmla="*/ 41 h 57"/>
                <a:gd name="T10" fmla="*/ 29 w 63"/>
                <a:gd name="T11" fmla="*/ 57 h 57"/>
                <a:gd name="T12" fmla="*/ 38 w 63"/>
                <a:gd name="T13" fmla="*/ 47 h 57"/>
                <a:gd name="T14" fmla="*/ 49 w 63"/>
                <a:gd name="T15" fmla="*/ 39 h 57"/>
                <a:gd name="T16" fmla="*/ 62 w 63"/>
                <a:gd name="T17" fmla="*/ 29 h 57"/>
                <a:gd name="T18" fmla="*/ 46 w 63"/>
                <a:gd name="T19" fmla="*/ 6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3" h="57">
                  <a:moveTo>
                    <a:pt x="46" y="6"/>
                  </a:moveTo>
                  <a:cubicBezTo>
                    <a:pt x="41" y="0"/>
                    <a:pt x="34" y="3"/>
                    <a:pt x="27" y="4"/>
                  </a:cubicBezTo>
                  <a:cubicBezTo>
                    <a:pt x="20" y="5"/>
                    <a:pt x="26" y="15"/>
                    <a:pt x="16" y="15"/>
                  </a:cubicBezTo>
                  <a:cubicBezTo>
                    <a:pt x="6" y="15"/>
                    <a:pt x="0" y="16"/>
                    <a:pt x="5" y="29"/>
                  </a:cubicBezTo>
                  <a:cubicBezTo>
                    <a:pt x="10" y="42"/>
                    <a:pt x="19" y="35"/>
                    <a:pt x="21" y="41"/>
                  </a:cubicBezTo>
                  <a:cubicBezTo>
                    <a:pt x="23" y="47"/>
                    <a:pt x="24" y="57"/>
                    <a:pt x="29" y="57"/>
                  </a:cubicBezTo>
                  <a:cubicBezTo>
                    <a:pt x="34" y="57"/>
                    <a:pt x="38" y="53"/>
                    <a:pt x="38" y="47"/>
                  </a:cubicBezTo>
                  <a:cubicBezTo>
                    <a:pt x="38" y="41"/>
                    <a:pt x="42" y="40"/>
                    <a:pt x="49" y="39"/>
                  </a:cubicBezTo>
                  <a:cubicBezTo>
                    <a:pt x="56" y="38"/>
                    <a:pt x="61" y="34"/>
                    <a:pt x="62" y="29"/>
                  </a:cubicBezTo>
                  <a:cubicBezTo>
                    <a:pt x="63" y="24"/>
                    <a:pt x="60" y="22"/>
                    <a:pt x="46" y="6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rnd">
              <a:solidFill>
                <a:schemeClr val="bg1">
                  <a:lumMod val="9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324" name="Freeform 25461"/>
            <p:cNvSpPr>
              <a:spLocks/>
            </p:cNvSpPr>
            <p:nvPr/>
          </p:nvSpPr>
          <p:spPr bwMode="auto">
            <a:xfrm>
              <a:off x="7141223" y="3964063"/>
              <a:ext cx="7418" cy="20519"/>
            </a:xfrm>
            <a:custGeom>
              <a:avLst/>
              <a:gdLst>
                <a:gd name="T0" fmla="*/ 10 w 20"/>
                <a:gd name="T1" fmla="*/ 14 h 55"/>
                <a:gd name="T2" fmla="*/ 6 w 20"/>
                <a:gd name="T3" fmla="*/ 46 h 55"/>
                <a:gd name="T4" fmla="*/ 20 w 20"/>
                <a:gd name="T5" fmla="*/ 36 h 55"/>
                <a:gd name="T6" fmla="*/ 10 w 20"/>
                <a:gd name="T7" fmla="*/ 14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" h="55">
                  <a:moveTo>
                    <a:pt x="10" y="14"/>
                  </a:moveTo>
                  <a:cubicBezTo>
                    <a:pt x="10" y="14"/>
                    <a:pt x="0" y="37"/>
                    <a:pt x="6" y="46"/>
                  </a:cubicBezTo>
                  <a:cubicBezTo>
                    <a:pt x="12" y="55"/>
                    <a:pt x="20" y="46"/>
                    <a:pt x="20" y="36"/>
                  </a:cubicBezTo>
                  <a:cubicBezTo>
                    <a:pt x="20" y="26"/>
                    <a:pt x="16" y="0"/>
                    <a:pt x="10" y="14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rnd">
              <a:solidFill>
                <a:schemeClr val="bg1">
                  <a:lumMod val="9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325" name="Freeform 25462"/>
            <p:cNvSpPr>
              <a:spLocks/>
            </p:cNvSpPr>
            <p:nvPr/>
          </p:nvSpPr>
          <p:spPr bwMode="auto">
            <a:xfrm>
              <a:off x="7238922" y="4021356"/>
              <a:ext cx="19256" cy="14678"/>
            </a:xfrm>
            <a:custGeom>
              <a:avLst/>
              <a:gdLst>
                <a:gd name="T0" fmla="*/ 30 w 52"/>
                <a:gd name="T1" fmla="*/ 12 h 39"/>
                <a:gd name="T2" fmla="*/ 0 w 52"/>
                <a:gd name="T3" fmla="*/ 15 h 39"/>
                <a:gd name="T4" fmla="*/ 20 w 52"/>
                <a:gd name="T5" fmla="*/ 33 h 39"/>
                <a:gd name="T6" fmla="*/ 41 w 52"/>
                <a:gd name="T7" fmla="*/ 23 h 39"/>
                <a:gd name="T8" fmla="*/ 30 w 52"/>
                <a:gd name="T9" fmla="*/ 1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39">
                  <a:moveTo>
                    <a:pt x="30" y="12"/>
                  </a:moveTo>
                  <a:cubicBezTo>
                    <a:pt x="30" y="12"/>
                    <a:pt x="0" y="0"/>
                    <a:pt x="0" y="15"/>
                  </a:cubicBezTo>
                  <a:cubicBezTo>
                    <a:pt x="0" y="30"/>
                    <a:pt x="6" y="39"/>
                    <a:pt x="20" y="33"/>
                  </a:cubicBezTo>
                  <a:cubicBezTo>
                    <a:pt x="34" y="27"/>
                    <a:pt x="31" y="24"/>
                    <a:pt x="41" y="23"/>
                  </a:cubicBezTo>
                  <a:cubicBezTo>
                    <a:pt x="51" y="22"/>
                    <a:pt x="52" y="9"/>
                    <a:pt x="30" y="12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rnd">
              <a:solidFill>
                <a:schemeClr val="bg1">
                  <a:lumMod val="9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326" name="Freeform 25463"/>
            <p:cNvSpPr>
              <a:spLocks/>
            </p:cNvSpPr>
            <p:nvPr/>
          </p:nvSpPr>
          <p:spPr bwMode="auto">
            <a:xfrm>
              <a:off x="7314524" y="4022935"/>
              <a:ext cx="14995" cy="7418"/>
            </a:xfrm>
            <a:custGeom>
              <a:avLst/>
              <a:gdLst>
                <a:gd name="T0" fmla="*/ 14 w 40"/>
                <a:gd name="T1" fmla="*/ 0 h 20"/>
                <a:gd name="T2" fmla="*/ 11 w 40"/>
                <a:gd name="T3" fmla="*/ 16 h 20"/>
                <a:gd name="T4" fmla="*/ 14 w 40"/>
                <a:gd name="T5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0" h="20">
                  <a:moveTo>
                    <a:pt x="14" y="0"/>
                  </a:moveTo>
                  <a:cubicBezTo>
                    <a:pt x="14" y="0"/>
                    <a:pt x="0" y="12"/>
                    <a:pt x="11" y="16"/>
                  </a:cubicBezTo>
                  <a:cubicBezTo>
                    <a:pt x="22" y="20"/>
                    <a:pt x="40" y="8"/>
                    <a:pt x="14" y="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rnd">
              <a:solidFill>
                <a:schemeClr val="bg1">
                  <a:lumMod val="9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327" name="Freeform 25464"/>
            <p:cNvSpPr>
              <a:spLocks/>
            </p:cNvSpPr>
            <p:nvPr/>
          </p:nvSpPr>
          <p:spPr bwMode="auto">
            <a:xfrm>
              <a:off x="7356666" y="4015832"/>
              <a:ext cx="12311" cy="8207"/>
            </a:xfrm>
            <a:custGeom>
              <a:avLst/>
              <a:gdLst>
                <a:gd name="T0" fmla="*/ 21 w 33"/>
                <a:gd name="T1" fmla="*/ 0 h 22"/>
                <a:gd name="T2" fmla="*/ 10 w 33"/>
                <a:gd name="T3" fmla="*/ 13 h 22"/>
                <a:gd name="T4" fmla="*/ 26 w 33"/>
                <a:gd name="T5" fmla="*/ 12 h 22"/>
                <a:gd name="T6" fmla="*/ 21 w 33"/>
                <a:gd name="T7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3" h="22">
                  <a:moveTo>
                    <a:pt x="21" y="0"/>
                  </a:moveTo>
                  <a:cubicBezTo>
                    <a:pt x="21" y="0"/>
                    <a:pt x="0" y="5"/>
                    <a:pt x="10" y="13"/>
                  </a:cubicBezTo>
                  <a:cubicBezTo>
                    <a:pt x="20" y="21"/>
                    <a:pt x="25" y="22"/>
                    <a:pt x="26" y="12"/>
                  </a:cubicBezTo>
                  <a:cubicBezTo>
                    <a:pt x="27" y="2"/>
                    <a:pt x="33" y="0"/>
                    <a:pt x="21" y="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rnd">
              <a:solidFill>
                <a:schemeClr val="bg1">
                  <a:lumMod val="9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328" name="Freeform 25465"/>
            <p:cNvSpPr>
              <a:spLocks/>
            </p:cNvSpPr>
            <p:nvPr/>
          </p:nvSpPr>
          <p:spPr bwMode="auto">
            <a:xfrm>
              <a:off x="7388075" y="4024355"/>
              <a:ext cx="17520" cy="8997"/>
            </a:xfrm>
            <a:custGeom>
              <a:avLst/>
              <a:gdLst>
                <a:gd name="T0" fmla="*/ 20 w 47"/>
                <a:gd name="T1" fmla="*/ 1 h 24"/>
                <a:gd name="T2" fmla="*/ 1 w 47"/>
                <a:gd name="T3" fmla="*/ 9 h 24"/>
                <a:gd name="T4" fmla="*/ 16 w 47"/>
                <a:gd name="T5" fmla="*/ 16 h 24"/>
                <a:gd name="T6" fmla="*/ 20 w 47"/>
                <a:gd name="T7" fmla="*/ 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" h="24">
                  <a:moveTo>
                    <a:pt x="20" y="1"/>
                  </a:moveTo>
                  <a:cubicBezTo>
                    <a:pt x="20" y="1"/>
                    <a:pt x="0" y="0"/>
                    <a:pt x="1" y="9"/>
                  </a:cubicBezTo>
                  <a:cubicBezTo>
                    <a:pt x="2" y="18"/>
                    <a:pt x="15" y="24"/>
                    <a:pt x="16" y="16"/>
                  </a:cubicBezTo>
                  <a:cubicBezTo>
                    <a:pt x="17" y="8"/>
                    <a:pt x="47" y="10"/>
                    <a:pt x="20" y="1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rnd">
              <a:solidFill>
                <a:schemeClr val="bg1">
                  <a:lumMod val="9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329" name="Freeform 25466"/>
            <p:cNvSpPr>
              <a:spLocks/>
            </p:cNvSpPr>
            <p:nvPr/>
          </p:nvSpPr>
          <p:spPr bwMode="auto">
            <a:xfrm>
              <a:off x="6991596" y="3712949"/>
              <a:ext cx="29199" cy="22886"/>
            </a:xfrm>
            <a:custGeom>
              <a:avLst/>
              <a:gdLst>
                <a:gd name="T0" fmla="*/ 10 w 78"/>
                <a:gd name="T1" fmla="*/ 33 h 61"/>
                <a:gd name="T2" fmla="*/ 26 w 78"/>
                <a:gd name="T3" fmla="*/ 47 h 61"/>
                <a:gd name="T4" fmla="*/ 40 w 78"/>
                <a:gd name="T5" fmla="*/ 59 h 61"/>
                <a:gd name="T6" fmla="*/ 53 w 78"/>
                <a:gd name="T7" fmla="*/ 49 h 61"/>
                <a:gd name="T8" fmla="*/ 62 w 78"/>
                <a:gd name="T9" fmla="*/ 33 h 61"/>
                <a:gd name="T10" fmla="*/ 75 w 78"/>
                <a:gd name="T11" fmla="*/ 28 h 61"/>
                <a:gd name="T12" fmla="*/ 77 w 78"/>
                <a:gd name="T13" fmla="*/ 8 h 61"/>
                <a:gd name="T14" fmla="*/ 73 w 78"/>
                <a:gd name="T15" fmla="*/ 1 h 61"/>
                <a:gd name="T16" fmla="*/ 40 w 78"/>
                <a:gd name="T17" fmla="*/ 8 h 61"/>
                <a:gd name="T18" fmla="*/ 13 w 78"/>
                <a:gd name="T19" fmla="*/ 21 h 61"/>
                <a:gd name="T20" fmla="*/ 0 w 78"/>
                <a:gd name="T21" fmla="*/ 27 h 61"/>
                <a:gd name="T22" fmla="*/ 10 w 78"/>
                <a:gd name="T23" fmla="*/ 33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8" h="61">
                  <a:moveTo>
                    <a:pt x="10" y="33"/>
                  </a:moveTo>
                  <a:cubicBezTo>
                    <a:pt x="22" y="37"/>
                    <a:pt x="22" y="42"/>
                    <a:pt x="26" y="47"/>
                  </a:cubicBezTo>
                  <a:cubicBezTo>
                    <a:pt x="29" y="52"/>
                    <a:pt x="32" y="59"/>
                    <a:pt x="40" y="59"/>
                  </a:cubicBezTo>
                  <a:cubicBezTo>
                    <a:pt x="49" y="59"/>
                    <a:pt x="53" y="61"/>
                    <a:pt x="53" y="49"/>
                  </a:cubicBezTo>
                  <a:cubicBezTo>
                    <a:pt x="53" y="38"/>
                    <a:pt x="53" y="33"/>
                    <a:pt x="62" y="33"/>
                  </a:cubicBezTo>
                  <a:cubicBezTo>
                    <a:pt x="72" y="33"/>
                    <a:pt x="74" y="37"/>
                    <a:pt x="75" y="28"/>
                  </a:cubicBezTo>
                  <a:cubicBezTo>
                    <a:pt x="76" y="18"/>
                    <a:pt x="78" y="11"/>
                    <a:pt x="77" y="8"/>
                  </a:cubicBezTo>
                  <a:cubicBezTo>
                    <a:pt x="76" y="5"/>
                    <a:pt x="77" y="4"/>
                    <a:pt x="73" y="1"/>
                  </a:cubicBezTo>
                  <a:cubicBezTo>
                    <a:pt x="60" y="0"/>
                    <a:pt x="47" y="0"/>
                    <a:pt x="40" y="8"/>
                  </a:cubicBezTo>
                  <a:cubicBezTo>
                    <a:pt x="31" y="19"/>
                    <a:pt x="24" y="21"/>
                    <a:pt x="13" y="21"/>
                  </a:cubicBezTo>
                  <a:cubicBezTo>
                    <a:pt x="7" y="21"/>
                    <a:pt x="3" y="23"/>
                    <a:pt x="0" y="27"/>
                  </a:cubicBezTo>
                  <a:cubicBezTo>
                    <a:pt x="2" y="29"/>
                    <a:pt x="5" y="32"/>
                    <a:pt x="10" y="33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rnd">
              <a:solidFill>
                <a:schemeClr val="bg1">
                  <a:lumMod val="9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330" name="Freeform 25467"/>
            <p:cNvSpPr>
              <a:spLocks/>
            </p:cNvSpPr>
            <p:nvPr/>
          </p:nvSpPr>
          <p:spPr bwMode="auto">
            <a:xfrm>
              <a:off x="6660460" y="3671596"/>
              <a:ext cx="98804" cy="130213"/>
            </a:xfrm>
            <a:custGeom>
              <a:avLst/>
              <a:gdLst>
                <a:gd name="T0" fmla="*/ 115 w 265"/>
                <a:gd name="T1" fmla="*/ 53 h 349"/>
                <a:gd name="T2" fmla="*/ 103 w 265"/>
                <a:gd name="T3" fmla="*/ 62 h 349"/>
                <a:gd name="T4" fmla="*/ 89 w 265"/>
                <a:gd name="T5" fmla="*/ 53 h 349"/>
                <a:gd name="T6" fmla="*/ 78 w 265"/>
                <a:gd name="T7" fmla="*/ 65 h 349"/>
                <a:gd name="T8" fmla="*/ 66 w 265"/>
                <a:gd name="T9" fmla="*/ 70 h 349"/>
                <a:gd name="T10" fmla="*/ 60 w 265"/>
                <a:gd name="T11" fmla="*/ 59 h 349"/>
                <a:gd name="T12" fmla="*/ 66 w 265"/>
                <a:gd name="T13" fmla="*/ 44 h 349"/>
                <a:gd name="T14" fmla="*/ 55 w 265"/>
                <a:gd name="T15" fmla="*/ 27 h 349"/>
                <a:gd name="T16" fmla="*/ 29 w 265"/>
                <a:gd name="T17" fmla="*/ 16 h 349"/>
                <a:gd name="T18" fmla="*/ 17 w 265"/>
                <a:gd name="T19" fmla="*/ 5 h 349"/>
                <a:gd name="T20" fmla="*/ 5 w 265"/>
                <a:gd name="T21" fmla="*/ 7 h 349"/>
                <a:gd name="T22" fmla="*/ 0 w 265"/>
                <a:gd name="T23" fmla="*/ 12 h 349"/>
                <a:gd name="T24" fmla="*/ 20 w 265"/>
                <a:gd name="T25" fmla="*/ 86 h 349"/>
                <a:gd name="T26" fmla="*/ 40 w 265"/>
                <a:gd name="T27" fmla="*/ 175 h 349"/>
                <a:gd name="T28" fmla="*/ 80 w 265"/>
                <a:gd name="T29" fmla="*/ 255 h 349"/>
                <a:gd name="T30" fmla="*/ 160 w 265"/>
                <a:gd name="T31" fmla="*/ 298 h 349"/>
                <a:gd name="T32" fmla="*/ 220 w 265"/>
                <a:gd name="T33" fmla="*/ 346 h 349"/>
                <a:gd name="T34" fmla="*/ 225 w 265"/>
                <a:gd name="T35" fmla="*/ 349 h 349"/>
                <a:gd name="T36" fmla="*/ 232 w 265"/>
                <a:gd name="T37" fmla="*/ 334 h 349"/>
                <a:gd name="T38" fmla="*/ 253 w 265"/>
                <a:gd name="T39" fmla="*/ 328 h 349"/>
                <a:gd name="T40" fmla="*/ 263 w 265"/>
                <a:gd name="T41" fmla="*/ 332 h 349"/>
                <a:gd name="T42" fmla="*/ 263 w 265"/>
                <a:gd name="T43" fmla="*/ 328 h 349"/>
                <a:gd name="T44" fmla="*/ 249 w 265"/>
                <a:gd name="T45" fmla="*/ 284 h 349"/>
                <a:gd name="T46" fmla="*/ 225 w 265"/>
                <a:gd name="T47" fmla="*/ 253 h 349"/>
                <a:gd name="T48" fmla="*/ 216 w 265"/>
                <a:gd name="T49" fmla="*/ 165 h 349"/>
                <a:gd name="T50" fmla="*/ 207 w 265"/>
                <a:gd name="T51" fmla="*/ 99 h 349"/>
                <a:gd name="T52" fmla="*/ 173 w 265"/>
                <a:gd name="T53" fmla="*/ 60 h 349"/>
                <a:gd name="T54" fmla="*/ 141 w 265"/>
                <a:gd name="T55" fmla="*/ 38 h 349"/>
                <a:gd name="T56" fmla="*/ 130 w 265"/>
                <a:gd name="T57" fmla="*/ 30 h 349"/>
                <a:gd name="T58" fmla="*/ 123 w 265"/>
                <a:gd name="T59" fmla="*/ 44 h 349"/>
                <a:gd name="T60" fmla="*/ 115 w 265"/>
                <a:gd name="T61" fmla="*/ 53 h 3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65" h="349">
                  <a:moveTo>
                    <a:pt x="115" y="53"/>
                  </a:moveTo>
                  <a:cubicBezTo>
                    <a:pt x="115" y="58"/>
                    <a:pt x="115" y="61"/>
                    <a:pt x="103" y="62"/>
                  </a:cubicBezTo>
                  <a:cubicBezTo>
                    <a:pt x="91" y="63"/>
                    <a:pt x="95" y="53"/>
                    <a:pt x="89" y="53"/>
                  </a:cubicBezTo>
                  <a:cubicBezTo>
                    <a:pt x="82" y="53"/>
                    <a:pt x="78" y="58"/>
                    <a:pt x="78" y="65"/>
                  </a:cubicBezTo>
                  <a:cubicBezTo>
                    <a:pt x="78" y="72"/>
                    <a:pt x="70" y="71"/>
                    <a:pt x="66" y="70"/>
                  </a:cubicBezTo>
                  <a:cubicBezTo>
                    <a:pt x="61" y="68"/>
                    <a:pt x="60" y="65"/>
                    <a:pt x="60" y="59"/>
                  </a:cubicBezTo>
                  <a:cubicBezTo>
                    <a:pt x="60" y="53"/>
                    <a:pt x="61" y="48"/>
                    <a:pt x="66" y="44"/>
                  </a:cubicBezTo>
                  <a:cubicBezTo>
                    <a:pt x="71" y="40"/>
                    <a:pt x="62" y="35"/>
                    <a:pt x="55" y="27"/>
                  </a:cubicBezTo>
                  <a:cubicBezTo>
                    <a:pt x="47" y="20"/>
                    <a:pt x="37" y="17"/>
                    <a:pt x="29" y="16"/>
                  </a:cubicBezTo>
                  <a:cubicBezTo>
                    <a:pt x="20" y="14"/>
                    <a:pt x="18" y="10"/>
                    <a:pt x="17" y="5"/>
                  </a:cubicBezTo>
                  <a:cubicBezTo>
                    <a:pt x="15" y="0"/>
                    <a:pt x="7" y="1"/>
                    <a:pt x="5" y="7"/>
                  </a:cubicBezTo>
                  <a:cubicBezTo>
                    <a:pt x="4" y="9"/>
                    <a:pt x="2" y="11"/>
                    <a:pt x="0" y="12"/>
                  </a:cubicBezTo>
                  <a:cubicBezTo>
                    <a:pt x="15" y="27"/>
                    <a:pt x="17" y="55"/>
                    <a:pt x="20" y="86"/>
                  </a:cubicBezTo>
                  <a:cubicBezTo>
                    <a:pt x="22" y="119"/>
                    <a:pt x="31" y="162"/>
                    <a:pt x="40" y="175"/>
                  </a:cubicBezTo>
                  <a:cubicBezTo>
                    <a:pt x="48" y="188"/>
                    <a:pt x="80" y="227"/>
                    <a:pt x="80" y="255"/>
                  </a:cubicBezTo>
                  <a:cubicBezTo>
                    <a:pt x="80" y="284"/>
                    <a:pt x="137" y="290"/>
                    <a:pt x="160" y="298"/>
                  </a:cubicBezTo>
                  <a:cubicBezTo>
                    <a:pt x="183" y="307"/>
                    <a:pt x="213" y="336"/>
                    <a:pt x="220" y="346"/>
                  </a:cubicBezTo>
                  <a:cubicBezTo>
                    <a:pt x="221" y="347"/>
                    <a:pt x="223" y="348"/>
                    <a:pt x="225" y="349"/>
                  </a:cubicBezTo>
                  <a:cubicBezTo>
                    <a:pt x="225" y="343"/>
                    <a:pt x="227" y="336"/>
                    <a:pt x="232" y="334"/>
                  </a:cubicBezTo>
                  <a:cubicBezTo>
                    <a:pt x="242" y="332"/>
                    <a:pt x="249" y="326"/>
                    <a:pt x="253" y="328"/>
                  </a:cubicBezTo>
                  <a:cubicBezTo>
                    <a:pt x="257" y="329"/>
                    <a:pt x="259" y="331"/>
                    <a:pt x="263" y="332"/>
                  </a:cubicBezTo>
                  <a:cubicBezTo>
                    <a:pt x="263" y="331"/>
                    <a:pt x="263" y="330"/>
                    <a:pt x="263" y="328"/>
                  </a:cubicBezTo>
                  <a:cubicBezTo>
                    <a:pt x="265" y="310"/>
                    <a:pt x="255" y="294"/>
                    <a:pt x="249" y="284"/>
                  </a:cubicBezTo>
                  <a:cubicBezTo>
                    <a:pt x="243" y="274"/>
                    <a:pt x="237" y="267"/>
                    <a:pt x="225" y="253"/>
                  </a:cubicBezTo>
                  <a:cubicBezTo>
                    <a:pt x="212" y="238"/>
                    <a:pt x="213" y="182"/>
                    <a:pt x="216" y="165"/>
                  </a:cubicBezTo>
                  <a:cubicBezTo>
                    <a:pt x="219" y="148"/>
                    <a:pt x="219" y="119"/>
                    <a:pt x="207" y="99"/>
                  </a:cubicBezTo>
                  <a:cubicBezTo>
                    <a:pt x="196" y="79"/>
                    <a:pt x="183" y="75"/>
                    <a:pt x="173" y="60"/>
                  </a:cubicBezTo>
                  <a:cubicBezTo>
                    <a:pt x="163" y="46"/>
                    <a:pt x="156" y="43"/>
                    <a:pt x="141" y="38"/>
                  </a:cubicBezTo>
                  <a:cubicBezTo>
                    <a:pt x="137" y="36"/>
                    <a:pt x="133" y="33"/>
                    <a:pt x="130" y="30"/>
                  </a:cubicBezTo>
                  <a:cubicBezTo>
                    <a:pt x="126" y="34"/>
                    <a:pt x="125" y="38"/>
                    <a:pt x="123" y="44"/>
                  </a:cubicBezTo>
                  <a:cubicBezTo>
                    <a:pt x="120" y="50"/>
                    <a:pt x="115" y="47"/>
                    <a:pt x="115" y="53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331" name="Freeform 25468"/>
            <p:cNvSpPr>
              <a:spLocks/>
            </p:cNvSpPr>
            <p:nvPr/>
          </p:nvSpPr>
          <p:spPr bwMode="auto">
            <a:xfrm>
              <a:off x="6884585" y="3662600"/>
              <a:ext cx="235646" cy="149942"/>
            </a:xfrm>
            <a:custGeom>
              <a:avLst/>
              <a:gdLst>
                <a:gd name="T0" fmla="*/ 25 w 632"/>
                <a:gd name="T1" fmla="*/ 368 h 402"/>
                <a:gd name="T2" fmla="*/ 68 w 632"/>
                <a:gd name="T3" fmla="*/ 401 h 402"/>
                <a:gd name="T4" fmla="*/ 100 w 632"/>
                <a:gd name="T5" fmla="*/ 389 h 402"/>
                <a:gd name="T6" fmla="*/ 157 w 632"/>
                <a:gd name="T7" fmla="*/ 384 h 402"/>
                <a:gd name="T8" fmla="*/ 198 w 632"/>
                <a:gd name="T9" fmla="*/ 356 h 402"/>
                <a:gd name="T10" fmla="*/ 260 w 632"/>
                <a:gd name="T11" fmla="*/ 375 h 402"/>
                <a:gd name="T12" fmla="*/ 326 w 632"/>
                <a:gd name="T13" fmla="*/ 352 h 402"/>
                <a:gd name="T14" fmla="*/ 349 w 632"/>
                <a:gd name="T15" fmla="*/ 304 h 402"/>
                <a:gd name="T16" fmla="*/ 366 w 632"/>
                <a:gd name="T17" fmla="*/ 264 h 402"/>
                <a:gd name="T18" fmla="*/ 392 w 632"/>
                <a:gd name="T19" fmla="*/ 199 h 402"/>
                <a:gd name="T20" fmla="*/ 443 w 632"/>
                <a:gd name="T21" fmla="*/ 178 h 402"/>
                <a:gd name="T22" fmla="*/ 516 w 632"/>
                <a:gd name="T23" fmla="*/ 194 h 402"/>
                <a:gd name="T24" fmla="*/ 546 w 632"/>
                <a:gd name="T25" fmla="*/ 181 h 402"/>
                <a:gd name="T26" fmla="*/ 571 w 632"/>
                <a:gd name="T27" fmla="*/ 160 h 402"/>
                <a:gd name="T28" fmla="*/ 570 w 632"/>
                <a:gd name="T29" fmla="*/ 138 h 402"/>
                <a:gd name="T30" fmla="*/ 614 w 632"/>
                <a:gd name="T31" fmla="*/ 128 h 402"/>
                <a:gd name="T32" fmla="*/ 574 w 632"/>
                <a:gd name="T33" fmla="*/ 90 h 402"/>
                <a:gd name="T34" fmla="*/ 525 w 632"/>
                <a:gd name="T35" fmla="*/ 67 h 402"/>
                <a:gd name="T36" fmla="*/ 484 w 632"/>
                <a:gd name="T37" fmla="*/ 15 h 402"/>
                <a:gd name="T38" fmla="*/ 419 w 632"/>
                <a:gd name="T39" fmla="*/ 61 h 402"/>
                <a:gd name="T40" fmla="*/ 386 w 632"/>
                <a:gd name="T41" fmla="*/ 110 h 402"/>
                <a:gd name="T42" fmla="*/ 360 w 632"/>
                <a:gd name="T43" fmla="*/ 136 h 402"/>
                <a:gd name="T44" fmla="*/ 362 w 632"/>
                <a:gd name="T45" fmla="*/ 163 h 402"/>
                <a:gd name="T46" fmla="*/ 340 w 632"/>
                <a:gd name="T47" fmla="*/ 184 h 402"/>
                <a:gd name="T48" fmla="*/ 313 w 632"/>
                <a:gd name="T49" fmla="*/ 182 h 402"/>
                <a:gd name="T50" fmla="*/ 287 w 632"/>
                <a:gd name="T51" fmla="*/ 162 h 402"/>
                <a:gd name="T52" fmla="*/ 245 w 632"/>
                <a:gd name="T53" fmla="*/ 218 h 402"/>
                <a:gd name="T54" fmla="*/ 148 w 632"/>
                <a:gd name="T55" fmla="*/ 267 h 402"/>
                <a:gd name="T56" fmla="*/ 104 w 632"/>
                <a:gd name="T57" fmla="*/ 319 h 402"/>
                <a:gd name="T58" fmla="*/ 83 w 632"/>
                <a:gd name="T59" fmla="*/ 358 h 402"/>
                <a:gd name="T60" fmla="*/ 21 w 632"/>
                <a:gd name="T61" fmla="*/ 336 h 402"/>
                <a:gd name="T62" fmla="*/ 0 w 632"/>
                <a:gd name="T63" fmla="*/ 318 h 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632" h="402">
                  <a:moveTo>
                    <a:pt x="6" y="344"/>
                  </a:moveTo>
                  <a:cubicBezTo>
                    <a:pt x="14" y="352"/>
                    <a:pt x="20" y="361"/>
                    <a:pt x="25" y="368"/>
                  </a:cubicBezTo>
                  <a:cubicBezTo>
                    <a:pt x="30" y="375"/>
                    <a:pt x="46" y="379"/>
                    <a:pt x="50" y="387"/>
                  </a:cubicBezTo>
                  <a:cubicBezTo>
                    <a:pt x="54" y="394"/>
                    <a:pt x="58" y="399"/>
                    <a:pt x="68" y="401"/>
                  </a:cubicBezTo>
                  <a:cubicBezTo>
                    <a:pt x="78" y="402"/>
                    <a:pt x="80" y="402"/>
                    <a:pt x="81" y="397"/>
                  </a:cubicBezTo>
                  <a:cubicBezTo>
                    <a:pt x="81" y="392"/>
                    <a:pt x="93" y="389"/>
                    <a:pt x="100" y="389"/>
                  </a:cubicBezTo>
                  <a:cubicBezTo>
                    <a:pt x="107" y="389"/>
                    <a:pt x="113" y="386"/>
                    <a:pt x="122" y="390"/>
                  </a:cubicBezTo>
                  <a:cubicBezTo>
                    <a:pt x="131" y="395"/>
                    <a:pt x="149" y="395"/>
                    <a:pt x="157" y="384"/>
                  </a:cubicBezTo>
                  <a:cubicBezTo>
                    <a:pt x="164" y="372"/>
                    <a:pt x="171" y="371"/>
                    <a:pt x="175" y="364"/>
                  </a:cubicBezTo>
                  <a:cubicBezTo>
                    <a:pt x="180" y="358"/>
                    <a:pt x="185" y="357"/>
                    <a:pt x="198" y="356"/>
                  </a:cubicBezTo>
                  <a:cubicBezTo>
                    <a:pt x="211" y="355"/>
                    <a:pt x="228" y="355"/>
                    <a:pt x="232" y="362"/>
                  </a:cubicBezTo>
                  <a:cubicBezTo>
                    <a:pt x="235" y="368"/>
                    <a:pt x="250" y="373"/>
                    <a:pt x="260" y="375"/>
                  </a:cubicBezTo>
                  <a:cubicBezTo>
                    <a:pt x="271" y="377"/>
                    <a:pt x="274" y="358"/>
                    <a:pt x="287" y="359"/>
                  </a:cubicBezTo>
                  <a:cubicBezTo>
                    <a:pt x="300" y="360"/>
                    <a:pt x="325" y="361"/>
                    <a:pt x="326" y="352"/>
                  </a:cubicBezTo>
                  <a:cubicBezTo>
                    <a:pt x="326" y="344"/>
                    <a:pt x="331" y="340"/>
                    <a:pt x="336" y="334"/>
                  </a:cubicBezTo>
                  <a:cubicBezTo>
                    <a:pt x="340" y="327"/>
                    <a:pt x="337" y="309"/>
                    <a:pt x="349" y="304"/>
                  </a:cubicBezTo>
                  <a:cubicBezTo>
                    <a:pt x="360" y="299"/>
                    <a:pt x="357" y="294"/>
                    <a:pt x="358" y="285"/>
                  </a:cubicBezTo>
                  <a:cubicBezTo>
                    <a:pt x="359" y="276"/>
                    <a:pt x="357" y="268"/>
                    <a:pt x="366" y="264"/>
                  </a:cubicBezTo>
                  <a:cubicBezTo>
                    <a:pt x="376" y="261"/>
                    <a:pt x="383" y="256"/>
                    <a:pt x="384" y="237"/>
                  </a:cubicBezTo>
                  <a:cubicBezTo>
                    <a:pt x="384" y="219"/>
                    <a:pt x="384" y="210"/>
                    <a:pt x="392" y="199"/>
                  </a:cubicBezTo>
                  <a:cubicBezTo>
                    <a:pt x="400" y="188"/>
                    <a:pt x="397" y="176"/>
                    <a:pt x="405" y="176"/>
                  </a:cubicBezTo>
                  <a:cubicBezTo>
                    <a:pt x="413" y="176"/>
                    <a:pt x="428" y="176"/>
                    <a:pt x="443" y="178"/>
                  </a:cubicBezTo>
                  <a:cubicBezTo>
                    <a:pt x="458" y="180"/>
                    <a:pt x="476" y="173"/>
                    <a:pt x="490" y="178"/>
                  </a:cubicBezTo>
                  <a:cubicBezTo>
                    <a:pt x="500" y="181"/>
                    <a:pt x="509" y="189"/>
                    <a:pt x="516" y="194"/>
                  </a:cubicBezTo>
                  <a:cubicBezTo>
                    <a:pt x="519" y="192"/>
                    <a:pt x="523" y="190"/>
                    <a:pt x="528" y="190"/>
                  </a:cubicBezTo>
                  <a:cubicBezTo>
                    <a:pt x="540" y="190"/>
                    <a:pt x="546" y="187"/>
                    <a:pt x="546" y="181"/>
                  </a:cubicBezTo>
                  <a:cubicBezTo>
                    <a:pt x="546" y="175"/>
                    <a:pt x="548" y="175"/>
                    <a:pt x="558" y="175"/>
                  </a:cubicBezTo>
                  <a:cubicBezTo>
                    <a:pt x="568" y="175"/>
                    <a:pt x="573" y="170"/>
                    <a:pt x="571" y="160"/>
                  </a:cubicBezTo>
                  <a:cubicBezTo>
                    <a:pt x="569" y="150"/>
                    <a:pt x="556" y="160"/>
                    <a:pt x="555" y="148"/>
                  </a:cubicBezTo>
                  <a:cubicBezTo>
                    <a:pt x="554" y="136"/>
                    <a:pt x="559" y="138"/>
                    <a:pt x="570" y="138"/>
                  </a:cubicBezTo>
                  <a:cubicBezTo>
                    <a:pt x="581" y="138"/>
                    <a:pt x="602" y="140"/>
                    <a:pt x="602" y="136"/>
                  </a:cubicBezTo>
                  <a:cubicBezTo>
                    <a:pt x="602" y="132"/>
                    <a:pt x="607" y="130"/>
                    <a:pt x="614" y="128"/>
                  </a:cubicBezTo>
                  <a:cubicBezTo>
                    <a:pt x="621" y="126"/>
                    <a:pt x="632" y="111"/>
                    <a:pt x="616" y="107"/>
                  </a:cubicBezTo>
                  <a:cubicBezTo>
                    <a:pt x="600" y="103"/>
                    <a:pt x="580" y="99"/>
                    <a:pt x="574" y="90"/>
                  </a:cubicBezTo>
                  <a:cubicBezTo>
                    <a:pt x="568" y="81"/>
                    <a:pt x="560" y="80"/>
                    <a:pt x="554" y="81"/>
                  </a:cubicBezTo>
                  <a:cubicBezTo>
                    <a:pt x="548" y="82"/>
                    <a:pt x="525" y="79"/>
                    <a:pt x="525" y="67"/>
                  </a:cubicBezTo>
                  <a:cubicBezTo>
                    <a:pt x="525" y="55"/>
                    <a:pt x="526" y="44"/>
                    <a:pt x="515" y="35"/>
                  </a:cubicBezTo>
                  <a:cubicBezTo>
                    <a:pt x="504" y="26"/>
                    <a:pt x="487" y="21"/>
                    <a:pt x="484" y="15"/>
                  </a:cubicBezTo>
                  <a:cubicBezTo>
                    <a:pt x="481" y="9"/>
                    <a:pt x="465" y="0"/>
                    <a:pt x="455" y="18"/>
                  </a:cubicBezTo>
                  <a:cubicBezTo>
                    <a:pt x="445" y="36"/>
                    <a:pt x="423" y="41"/>
                    <a:pt x="419" y="61"/>
                  </a:cubicBezTo>
                  <a:cubicBezTo>
                    <a:pt x="415" y="81"/>
                    <a:pt x="418" y="78"/>
                    <a:pt x="407" y="84"/>
                  </a:cubicBezTo>
                  <a:cubicBezTo>
                    <a:pt x="396" y="90"/>
                    <a:pt x="388" y="98"/>
                    <a:pt x="386" y="110"/>
                  </a:cubicBezTo>
                  <a:cubicBezTo>
                    <a:pt x="384" y="122"/>
                    <a:pt x="392" y="136"/>
                    <a:pt x="374" y="136"/>
                  </a:cubicBezTo>
                  <a:cubicBezTo>
                    <a:pt x="370" y="136"/>
                    <a:pt x="365" y="136"/>
                    <a:pt x="360" y="136"/>
                  </a:cubicBezTo>
                  <a:cubicBezTo>
                    <a:pt x="364" y="139"/>
                    <a:pt x="363" y="140"/>
                    <a:pt x="364" y="143"/>
                  </a:cubicBezTo>
                  <a:cubicBezTo>
                    <a:pt x="365" y="146"/>
                    <a:pt x="363" y="153"/>
                    <a:pt x="362" y="163"/>
                  </a:cubicBezTo>
                  <a:cubicBezTo>
                    <a:pt x="361" y="172"/>
                    <a:pt x="359" y="168"/>
                    <a:pt x="349" y="168"/>
                  </a:cubicBezTo>
                  <a:cubicBezTo>
                    <a:pt x="340" y="168"/>
                    <a:pt x="340" y="173"/>
                    <a:pt x="340" y="184"/>
                  </a:cubicBezTo>
                  <a:cubicBezTo>
                    <a:pt x="340" y="196"/>
                    <a:pt x="336" y="194"/>
                    <a:pt x="327" y="194"/>
                  </a:cubicBezTo>
                  <a:cubicBezTo>
                    <a:pt x="319" y="194"/>
                    <a:pt x="316" y="187"/>
                    <a:pt x="313" y="182"/>
                  </a:cubicBezTo>
                  <a:cubicBezTo>
                    <a:pt x="309" y="177"/>
                    <a:pt x="309" y="172"/>
                    <a:pt x="297" y="168"/>
                  </a:cubicBezTo>
                  <a:cubicBezTo>
                    <a:pt x="292" y="167"/>
                    <a:pt x="289" y="164"/>
                    <a:pt x="287" y="162"/>
                  </a:cubicBezTo>
                  <a:cubicBezTo>
                    <a:pt x="285" y="165"/>
                    <a:pt x="283" y="169"/>
                    <a:pt x="281" y="175"/>
                  </a:cubicBezTo>
                  <a:cubicBezTo>
                    <a:pt x="277" y="187"/>
                    <a:pt x="254" y="201"/>
                    <a:pt x="245" y="218"/>
                  </a:cubicBezTo>
                  <a:cubicBezTo>
                    <a:pt x="236" y="235"/>
                    <a:pt x="226" y="255"/>
                    <a:pt x="197" y="257"/>
                  </a:cubicBezTo>
                  <a:cubicBezTo>
                    <a:pt x="168" y="259"/>
                    <a:pt x="159" y="267"/>
                    <a:pt x="148" y="267"/>
                  </a:cubicBezTo>
                  <a:cubicBezTo>
                    <a:pt x="137" y="267"/>
                    <a:pt x="116" y="275"/>
                    <a:pt x="116" y="285"/>
                  </a:cubicBezTo>
                  <a:cubicBezTo>
                    <a:pt x="116" y="295"/>
                    <a:pt x="109" y="314"/>
                    <a:pt x="104" y="319"/>
                  </a:cubicBezTo>
                  <a:cubicBezTo>
                    <a:pt x="99" y="324"/>
                    <a:pt x="100" y="337"/>
                    <a:pt x="100" y="343"/>
                  </a:cubicBezTo>
                  <a:cubicBezTo>
                    <a:pt x="100" y="349"/>
                    <a:pt x="94" y="359"/>
                    <a:pt x="83" y="358"/>
                  </a:cubicBezTo>
                  <a:cubicBezTo>
                    <a:pt x="72" y="357"/>
                    <a:pt x="70" y="339"/>
                    <a:pt x="55" y="340"/>
                  </a:cubicBezTo>
                  <a:cubicBezTo>
                    <a:pt x="40" y="341"/>
                    <a:pt x="24" y="342"/>
                    <a:pt x="21" y="336"/>
                  </a:cubicBezTo>
                  <a:cubicBezTo>
                    <a:pt x="18" y="330"/>
                    <a:pt x="14" y="318"/>
                    <a:pt x="6" y="317"/>
                  </a:cubicBezTo>
                  <a:cubicBezTo>
                    <a:pt x="4" y="317"/>
                    <a:pt x="2" y="317"/>
                    <a:pt x="0" y="318"/>
                  </a:cubicBezTo>
                  <a:cubicBezTo>
                    <a:pt x="0" y="326"/>
                    <a:pt x="0" y="338"/>
                    <a:pt x="6" y="344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rnd">
              <a:solidFill>
                <a:schemeClr val="bg1">
                  <a:lumMod val="9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332" name="Freeform 25469"/>
            <p:cNvSpPr>
              <a:spLocks/>
            </p:cNvSpPr>
            <p:nvPr/>
          </p:nvSpPr>
          <p:spPr bwMode="auto">
            <a:xfrm>
              <a:off x="7133646" y="3215456"/>
              <a:ext cx="44036" cy="87756"/>
            </a:xfrm>
            <a:custGeom>
              <a:avLst/>
              <a:gdLst>
                <a:gd name="T0" fmla="*/ 6 w 118"/>
                <a:gd name="T1" fmla="*/ 179 h 235"/>
                <a:gd name="T2" fmla="*/ 18 w 118"/>
                <a:gd name="T3" fmla="*/ 194 h 235"/>
                <a:gd name="T4" fmla="*/ 33 w 118"/>
                <a:gd name="T5" fmla="*/ 203 h 235"/>
                <a:gd name="T6" fmla="*/ 39 w 118"/>
                <a:gd name="T7" fmla="*/ 218 h 235"/>
                <a:gd name="T8" fmla="*/ 46 w 118"/>
                <a:gd name="T9" fmla="*/ 235 h 235"/>
                <a:gd name="T10" fmla="*/ 46 w 118"/>
                <a:gd name="T11" fmla="*/ 235 h 235"/>
                <a:gd name="T12" fmla="*/ 59 w 118"/>
                <a:gd name="T13" fmla="*/ 210 h 235"/>
                <a:gd name="T14" fmla="*/ 65 w 118"/>
                <a:gd name="T15" fmla="*/ 196 h 235"/>
                <a:gd name="T16" fmla="*/ 71 w 118"/>
                <a:gd name="T17" fmla="*/ 183 h 235"/>
                <a:gd name="T18" fmla="*/ 90 w 118"/>
                <a:gd name="T19" fmla="*/ 144 h 235"/>
                <a:gd name="T20" fmla="*/ 100 w 118"/>
                <a:gd name="T21" fmla="*/ 101 h 235"/>
                <a:gd name="T22" fmla="*/ 107 w 118"/>
                <a:gd name="T23" fmla="*/ 83 h 235"/>
                <a:gd name="T24" fmla="*/ 117 w 118"/>
                <a:gd name="T25" fmla="*/ 39 h 235"/>
                <a:gd name="T26" fmla="*/ 117 w 118"/>
                <a:gd name="T27" fmla="*/ 19 h 235"/>
                <a:gd name="T28" fmla="*/ 95 w 118"/>
                <a:gd name="T29" fmla="*/ 4 h 235"/>
                <a:gd name="T30" fmla="*/ 78 w 118"/>
                <a:gd name="T31" fmla="*/ 5 h 235"/>
                <a:gd name="T32" fmla="*/ 66 w 118"/>
                <a:gd name="T33" fmla="*/ 15 h 235"/>
                <a:gd name="T34" fmla="*/ 54 w 118"/>
                <a:gd name="T35" fmla="*/ 29 h 235"/>
                <a:gd name="T36" fmla="*/ 41 w 118"/>
                <a:gd name="T37" fmla="*/ 42 h 235"/>
                <a:gd name="T38" fmla="*/ 34 w 118"/>
                <a:gd name="T39" fmla="*/ 49 h 235"/>
                <a:gd name="T40" fmla="*/ 30 w 118"/>
                <a:gd name="T41" fmla="*/ 74 h 235"/>
                <a:gd name="T42" fmla="*/ 15 w 118"/>
                <a:gd name="T43" fmla="*/ 89 h 235"/>
                <a:gd name="T44" fmla="*/ 6 w 118"/>
                <a:gd name="T45" fmla="*/ 100 h 235"/>
                <a:gd name="T46" fmla="*/ 3 w 118"/>
                <a:gd name="T47" fmla="*/ 115 h 235"/>
                <a:gd name="T48" fmla="*/ 1 w 118"/>
                <a:gd name="T49" fmla="*/ 152 h 235"/>
                <a:gd name="T50" fmla="*/ 6 w 118"/>
                <a:gd name="T51" fmla="*/ 179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18" h="235">
                  <a:moveTo>
                    <a:pt x="6" y="179"/>
                  </a:moveTo>
                  <a:cubicBezTo>
                    <a:pt x="10" y="184"/>
                    <a:pt x="14" y="190"/>
                    <a:pt x="18" y="194"/>
                  </a:cubicBezTo>
                  <a:cubicBezTo>
                    <a:pt x="22" y="198"/>
                    <a:pt x="29" y="198"/>
                    <a:pt x="33" y="203"/>
                  </a:cubicBezTo>
                  <a:cubicBezTo>
                    <a:pt x="37" y="207"/>
                    <a:pt x="38" y="213"/>
                    <a:pt x="39" y="218"/>
                  </a:cubicBezTo>
                  <a:cubicBezTo>
                    <a:pt x="41" y="221"/>
                    <a:pt x="41" y="235"/>
                    <a:pt x="46" y="235"/>
                  </a:cubicBezTo>
                  <a:cubicBezTo>
                    <a:pt x="46" y="235"/>
                    <a:pt x="46" y="235"/>
                    <a:pt x="46" y="235"/>
                  </a:cubicBezTo>
                  <a:cubicBezTo>
                    <a:pt x="52" y="234"/>
                    <a:pt x="57" y="214"/>
                    <a:pt x="59" y="210"/>
                  </a:cubicBezTo>
                  <a:cubicBezTo>
                    <a:pt x="61" y="206"/>
                    <a:pt x="62" y="201"/>
                    <a:pt x="65" y="196"/>
                  </a:cubicBezTo>
                  <a:cubicBezTo>
                    <a:pt x="66" y="193"/>
                    <a:pt x="68" y="186"/>
                    <a:pt x="71" y="183"/>
                  </a:cubicBezTo>
                  <a:cubicBezTo>
                    <a:pt x="90" y="144"/>
                    <a:pt x="90" y="144"/>
                    <a:pt x="90" y="144"/>
                  </a:cubicBezTo>
                  <a:cubicBezTo>
                    <a:pt x="100" y="101"/>
                    <a:pt x="100" y="101"/>
                    <a:pt x="100" y="101"/>
                  </a:cubicBezTo>
                  <a:cubicBezTo>
                    <a:pt x="100" y="101"/>
                    <a:pt x="107" y="83"/>
                    <a:pt x="107" y="83"/>
                  </a:cubicBezTo>
                  <a:cubicBezTo>
                    <a:pt x="112" y="69"/>
                    <a:pt x="117" y="53"/>
                    <a:pt x="117" y="39"/>
                  </a:cubicBezTo>
                  <a:cubicBezTo>
                    <a:pt x="117" y="32"/>
                    <a:pt x="118" y="26"/>
                    <a:pt x="117" y="19"/>
                  </a:cubicBezTo>
                  <a:cubicBezTo>
                    <a:pt x="117" y="9"/>
                    <a:pt x="103" y="7"/>
                    <a:pt x="95" y="4"/>
                  </a:cubicBezTo>
                  <a:cubicBezTo>
                    <a:pt x="88" y="0"/>
                    <a:pt x="86" y="2"/>
                    <a:pt x="78" y="5"/>
                  </a:cubicBezTo>
                  <a:cubicBezTo>
                    <a:pt x="73" y="8"/>
                    <a:pt x="69" y="10"/>
                    <a:pt x="66" y="15"/>
                  </a:cubicBezTo>
                  <a:cubicBezTo>
                    <a:pt x="54" y="29"/>
                    <a:pt x="54" y="29"/>
                    <a:pt x="54" y="29"/>
                  </a:cubicBezTo>
                  <a:cubicBezTo>
                    <a:pt x="50" y="33"/>
                    <a:pt x="46" y="38"/>
                    <a:pt x="41" y="42"/>
                  </a:cubicBezTo>
                  <a:cubicBezTo>
                    <a:pt x="39" y="44"/>
                    <a:pt x="36" y="46"/>
                    <a:pt x="34" y="49"/>
                  </a:cubicBezTo>
                  <a:cubicBezTo>
                    <a:pt x="30" y="54"/>
                    <a:pt x="31" y="67"/>
                    <a:pt x="30" y="74"/>
                  </a:cubicBezTo>
                  <a:cubicBezTo>
                    <a:pt x="29" y="85"/>
                    <a:pt x="22" y="82"/>
                    <a:pt x="15" y="89"/>
                  </a:cubicBezTo>
                  <a:cubicBezTo>
                    <a:pt x="11" y="92"/>
                    <a:pt x="8" y="96"/>
                    <a:pt x="6" y="100"/>
                  </a:cubicBezTo>
                  <a:cubicBezTo>
                    <a:pt x="2" y="105"/>
                    <a:pt x="4" y="110"/>
                    <a:pt x="3" y="115"/>
                  </a:cubicBezTo>
                  <a:cubicBezTo>
                    <a:pt x="3" y="127"/>
                    <a:pt x="2" y="140"/>
                    <a:pt x="1" y="152"/>
                  </a:cubicBezTo>
                  <a:cubicBezTo>
                    <a:pt x="0" y="161"/>
                    <a:pt x="1" y="171"/>
                    <a:pt x="6" y="17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rnd">
              <a:solidFill>
                <a:schemeClr val="bg1">
                  <a:lumMod val="9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333" name="Freeform 25470"/>
            <p:cNvSpPr>
              <a:spLocks/>
            </p:cNvSpPr>
            <p:nvPr/>
          </p:nvSpPr>
          <p:spPr bwMode="auto">
            <a:xfrm>
              <a:off x="6862645" y="3344880"/>
              <a:ext cx="59346" cy="47035"/>
            </a:xfrm>
            <a:custGeom>
              <a:avLst/>
              <a:gdLst>
                <a:gd name="T0" fmla="*/ 129 w 159"/>
                <a:gd name="T1" fmla="*/ 63 h 126"/>
                <a:gd name="T2" fmla="*/ 137 w 159"/>
                <a:gd name="T3" fmla="*/ 57 h 126"/>
                <a:gd name="T4" fmla="*/ 142 w 159"/>
                <a:gd name="T5" fmla="*/ 49 h 126"/>
                <a:gd name="T6" fmla="*/ 155 w 159"/>
                <a:gd name="T7" fmla="*/ 13 h 126"/>
                <a:gd name="T8" fmla="*/ 154 w 159"/>
                <a:gd name="T9" fmla="*/ 10 h 126"/>
                <a:gd name="T10" fmla="*/ 119 w 159"/>
                <a:gd name="T11" fmla="*/ 5 h 126"/>
                <a:gd name="T12" fmla="*/ 96 w 159"/>
                <a:gd name="T13" fmla="*/ 5 h 126"/>
                <a:gd name="T14" fmla="*/ 72 w 159"/>
                <a:gd name="T15" fmla="*/ 2 h 126"/>
                <a:gd name="T16" fmla="*/ 39 w 159"/>
                <a:gd name="T17" fmla="*/ 21 h 126"/>
                <a:gd name="T18" fmla="*/ 30 w 159"/>
                <a:gd name="T19" fmla="*/ 31 h 126"/>
                <a:gd name="T20" fmla="*/ 20 w 159"/>
                <a:gd name="T21" fmla="*/ 43 h 126"/>
                <a:gd name="T22" fmla="*/ 1 w 159"/>
                <a:gd name="T23" fmla="*/ 68 h 126"/>
                <a:gd name="T24" fmla="*/ 3 w 159"/>
                <a:gd name="T25" fmla="*/ 79 h 126"/>
                <a:gd name="T26" fmla="*/ 7 w 159"/>
                <a:gd name="T27" fmla="*/ 98 h 126"/>
                <a:gd name="T28" fmla="*/ 13 w 159"/>
                <a:gd name="T29" fmla="*/ 112 h 126"/>
                <a:gd name="T30" fmla="*/ 48 w 159"/>
                <a:gd name="T31" fmla="*/ 125 h 126"/>
                <a:gd name="T32" fmla="*/ 66 w 159"/>
                <a:gd name="T33" fmla="*/ 123 h 126"/>
                <a:gd name="T34" fmla="*/ 85 w 159"/>
                <a:gd name="T35" fmla="*/ 122 h 126"/>
                <a:gd name="T36" fmla="*/ 130 w 159"/>
                <a:gd name="T37" fmla="*/ 89 h 126"/>
                <a:gd name="T38" fmla="*/ 123 w 159"/>
                <a:gd name="T39" fmla="*/ 77 h 126"/>
                <a:gd name="T40" fmla="*/ 129 w 159"/>
                <a:gd name="T41" fmla="*/ 63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59" h="126">
                  <a:moveTo>
                    <a:pt x="129" y="63"/>
                  </a:moveTo>
                  <a:cubicBezTo>
                    <a:pt x="132" y="61"/>
                    <a:pt x="134" y="60"/>
                    <a:pt x="137" y="57"/>
                  </a:cubicBezTo>
                  <a:cubicBezTo>
                    <a:pt x="141" y="54"/>
                    <a:pt x="141" y="55"/>
                    <a:pt x="142" y="49"/>
                  </a:cubicBezTo>
                  <a:cubicBezTo>
                    <a:pt x="143" y="41"/>
                    <a:pt x="159" y="18"/>
                    <a:pt x="155" y="13"/>
                  </a:cubicBezTo>
                  <a:cubicBezTo>
                    <a:pt x="155" y="12"/>
                    <a:pt x="154" y="11"/>
                    <a:pt x="154" y="10"/>
                  </a:cubicBezTo>
                  <a:cubicBezTo>
                    <a:pt x="147" y="2"/>
                    <a:pt x="129" y="5"/>
                    <a:pt x="119" y="5"/>
                  </a:cubicBezTo>
                  <a:cubicBezTo>
                    <a:pt x="111" y="5"/>
                    <a:pt x="103" y="4"/>
                    <a:pt x="96" y="5"/>
                  </a:cubicBezTo>
                  <a:cubicBezTo>
                    <a:pt x="90" y="7"/>
                    <a:pt x="78" y="0"/>
                    <a:pt x="72" y="2"/>
                  </a:cubicBezTo>
                  <a:cubicBezTo>
                    <a:pt x="59" y="6"/>
                    <a:pt x="52" y="16"/>
                    <a:pt x="39" y="21"/>
                  </a:cubicBezTo>
                  <a:cubicBezTo>
                    <a:pt x="33" y="24"/>
                    <a:pt x="32" y="26"/>
                    <a:pt x="30" y="31"/>
                  </a:cubicBezTo>
                  <a:cubicBezTo>
                    <a:pt x="28" y="37"/>
                    <a:pt x="24" y="39"/>
                    <a:pt x="20" y="43"/>
                  </a:cubicBezTo>
                  <a:cubicBezTo>
                    <a:pt x="13" y="49"/>
                    <a:pt x="3" y="60"/>
                    <a:pt x="1" y="68"/>
                  </a:cubicBezTo>
                  <a:cubicBezTo>
                    <a:pt x="0" y="72"/>
                    <a:pt x="1" y="74"/>
                    <a:pt x="3" y="79"/>
                  </a:cubicBezTo>
                  <a:cubicBezTo>
                    <a:pt x="5" y="85"/>
                    <a:pt x="5" y="92"/>
                    <a:pt x="7" y="98"/>
                  </a:cubicBezTo>
                  <a:cubicBezTo>
                    <a:pt x="9" y="103"/>
                    <a:pt x="12" y="107"/>
                    <a:pt x="13" y="112"/>
                  </a:cubicBezTo>
                  <a:cubicBezTo>
                    <a:pt x="17" y="126"/>
                    <a:pt x="35" y="124"/>
                    <a:pt x="48" y="125"/>
                  </a:cubicBezTo>
                  <a:cubicBezTo>
                    <a:pt x="66" y="123"/>
                    <a:pt x="66" y="123"/>
                    <a:pt x="66" y="123"/>
                  </a:cubicBezTo>
                  <a:cubicBezTo>
                    <a:pt x="66" y="123"/>
                    <a:pt x="85" y="122"/>
                    <a:pt x="85" y="122"/>
                  </a:cubicBezTo>
                  <a:cubicBezTo>
                    <a:pt x="103" y="120"/>
                    <a:pt x="120" y="102"/>
                    <a:pt x="130" y="89"/>
                  </a:cubicBezTo>
                  <a:cubicBezTo>
                    <a:pt x="131" y="87"/>
                    <a:pt x="124" y="79"/>
                    <a:pt x="123" y="77"/>
                  </a:cubicBezTo>
                  <a:cubicBezTo>
                    <a:pt x="121" y="72"/>
                    <a:pt x="123" y="66"/>
                    <a:pt x="129" y="63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rnd">
              <a:solidFill>
                <a:schemeClr val="bg1">
                  <a:lumMod val="9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334" name="Freeform 25471"/>
            <p:cNvSpPr>
              <a:spLocks/>
            </p:cNvSpPr>
            <p:nvPr/>
          </p:nvSpPr>
          <p:spPr bwMode="auto">
            <a:xfrm>
              <a:off x="6981652" y="3287113"/>
              <a:ext cx="23833" cy="11996"/>
            </a:xfrm>
            <a:custGeom>
              <a:avLst/>
              <a:gdLst>
                <a:gd name="T0" fmla="*/ 15 w 64"/>
                <a:gd name="T1" fmla="*/ 3 h 32"/>
                <a:gd name="T2" fmla="*/ 2 w 64"/>
                <a:gd name="T3" fmla="*/ 14 h 32"/>
                <a:gd name="T4" fmla="*/ 0 w 64"/>
                <a:gd name="T5" fmla="*/ 19 h 32"/>
                <a:gd name="T6" fmla="*/ 11 w 64"/>
                <a:gd name="T7" fmla="*/ 25 h 32"/>
                <a:gd name="T8" fmla="*/ 49 w 64"/>
                <a:gd name="T9" fmla="*/ 21 h 32"/>
                <a:gd name="T10" fmla="*/ 31 w 64"/>
                <a:gd name="T11" fmla="*/ 9 h 32"/>
                <a:gd name="T12" fmla="*/ 23 w 64"/>
                <a:gd name="T13" fmla="*/ 1 h 32"/>
                <a:gd name="T14" fmla="*/ 15 w 64"/>
                <a:gd name="T15" fmla="*/ 3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4" h="32">
                  <a:moveTo>
                    <a:pt x="15" y="3"/>
                  </a:moveTo>
                  <a:cubicBezTo>
                    <a:pt x="9" y="8"/>
                    <a:pt x="2" y="11"/>
                    <a:pt x="2" y="14"/>
                  </a:cubicBezTo>
                  <a:cubicBezTo>
                    <a:pt x="2" y="16"/>
                    <a:pt x="1" y="18"/>
                    <a:pt x="0" y="19"/>
                  </a:cubicBezTo>
                  <a:cubicBezTo>
                    <a:pt x="3" y="21"/>
                    <a:pt x="7" y="23"/>
                    <a:pt x="11" y="25"/>
                  </a:cubicBezTo>
                  <a:cubicBezTo>
                    <a:pt x="27" y="32"/>
                    <a:pt x="33" y="28"/>
                    <a:pt x="49" y="21"/>
                  </a:cubicBezTo>
                  <a:cubicBezTo>
                    <a:pt x="64" y="14"/>
                    <a:pt x="44" y="12"/>
                    <a:pt x="31" y="9"/>
                  </a:cubicBezTo>
                  <a:cubicBezTo>
                    <a:pt x="24" y="8"/>
                    <a:pt x="20" y="4"/>
                    <a:pt x="23" y="1"/>
                  </a:cubicBezTo>
                  <a:cubicBezTo>
                    <a:pt x="21" y="0"/>
                    <a:pt x="18" y="0"/>
                    <a:pt x="15" y="3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335" name="Freeform 25472"/>
            <p:cNvSpPr>
              <a:spLocks/>
            </p:cNvSpPr>
            <p:nvPr/>
          </p:nvSpPr>
          <p:spPr bwMode="auto">
            <a:xfrm>
              <a:off x="6038594" y="2416342"/>
              <a:ext cx="1444813" cy="924907"/>
            </a:xfrm>
            <a:custGeom>
              <a:avLst/>
              <a:gdLst>
                <a:gd name="T0" fmla="*/ 3453 w 3875"/>
                <a:gd name="T1" fmla="*/ 986 h 2480"/>
                <a:gd name="T2" fmla="*/ 3593 w 3875"/>
                <a:gd name="T3" fmla="*/ 895 h 2480"/>
                <a:gd name="T4" fmla="*/ 3640 w 3875"/>
                <a:gd name="T5" fmla="*/ 864 h 2480"/>
                <a:gd name="T6" fmla="*/ 3768 w 3875"/>
                <a:gd name="T7" fmla="*/ 689 h 2480"/>
                <a:gd name="T8" fmla="*/ 3836 w 3875"/>
                <a:gd name="T9" fmla="*/ 436 h 2480"/>
                <a:gd name="T10" fmla="*/ 3609 w 3875"/>
                <a:gd name="T11" fmla="*/ 406 h 2480"/>
                <a:gd name="T12" fmla="*/ 3377 w 3875"/>
                <a:gd name="T13" fmla="*/ 221 h 2480"/>
                <a:gd name="T14" fmla="*/ 3157 w 3875"/>
                <a:gd name="T15" fmla="*/ 2 h 2480"/>
                <a:gd name="T16" fmla="*/ 2977 w 3875"/>
                <a:gd name="T17" fmla="*/ 118 h 2480"/>
                <a:gd name="T18" fmla="*/ 2775 w 3875"/>
                <a:gd name="T19" fmla="*/ 340 h 2480"/>
                <a:gd name="T20" fmla="*/ 2729 w 3875"/>
                <a:gd name="T21" fmla="*/ 327 h 2480"/>
                <a:gd name="T22" fmla="*/ 2722 w 3875"/>
                <a:gd name="T23" fmla="*/ 319 h 2480"/>
                <a:gd name="T24" fmla="*/ 2762 w 3875"/>
                <a:gd name="T25" fmla="*/ 495 h 2480"/>
                <a:gd name="T26" fmla="*/ 2694 w 3875"/>
                <a:gd name="T27" fmla="*/ 642 h 2480"/>
                <a:gd name="T28" fmla="*/ 2413 w 3875"/>
                <a:gd name="T29" fmla="*/ 815 h 2480"/>
                <a:gd name="T30" fmla="*/ 1945 w 3875"/>
                <a:gd name="T31" fmla="*/ 963 h 2480"/>
                <a:gd name="T32" fmla="*/ 1453 w 3875"/>
                <a:gd name="T33" fmla="*/ 887 h 2480"/>
                <a:gd name="T34" fmla="*/ 1179 w 3875"/>
                <a:gd name="T35" fmla="*/ 711 h 2480"/>
                <a:gd name="T36" fmla="*/ 1037 w 3875"/>
                <a:gd name="T37" fmla="*/ 495 h 2480"/>
                <a:gd name="T38" fmla="*/ 881 w 3875"/>
                <a:gd name="T39" fmla="*/ 383 h 2480"/>
                <a:gd name="T40" fmla="*/ 836 w 3875"/>
                <a:gd name="T41" fmla="*/ 376 h 2480"/>
                <a:gd name="T42" fmla="*/ 719 w 3875"/>
                <a:gd name="T43" fmla="*/ 557 h 2480"/>
                <a:gd name="T44" fmla="*/ 494 w 3875"/>
                <a:gd name="T45" fmla="*/ 687 h 2480"/>
                <a:gd name="T46" fmla="*/ 404 w 3875"/>
                <a:gd name="T47" fmla="*/ 894 h 2480"/>
                <a:gd name="T48" fmla="*/ 403 w 3875"/>
                <a:gd name="T49" fmla="*/ 914 h 2480"/>
                <a:gd name="T50" fmla="*/ 405 w 3875"/>
                <a:gd name="T51" fmla="*/ 937 h 2480"/>
                <a:gd name="T52" fmla="*/ 95 w 3875"/>
                <a:gd name="T53" fmla="*/ 1059 h 2480"/>
                <a:gd name="T54" fmla="*/ 9 w 3875"/>
                <a:gd name="T55" fmla="*/ 1100 h 2480"/>
                <a:gd name="T56" fmla="*/ 2 w 3875"/>
                <a:gd name="T57" fmla="*/ 1119 h 2480"/>
                <a:gd name="T58" fmla="*/ 0 w 3875"/>
                <a:gd name="T59" fmla="*/ 1160 h 2480"/>
                <a:gd name="T60" fmla="*/ 75 w 3875"/>
                <a:gd name="T61" fmla="*/ 1275 h 2480"/>
                <a:gd name="T62" fmla="*/ 57 w 3875"/>
                <a:gd name="T63" fmla="*/ 1315 h 2480"/>
                <a:gd name="T64" fmla="*/ 223 w 3875"/>
                <a:gd name="T65" fmla="*/ 1433 h 2480"/>
                <a:gd name="T66" fmla="*/ 418 w 3875"/>
                <a:gd name="T67" fmla="*/ 1440 h 2480"/>
                <a:gd name="T68" fmla="*/ 357 w 3875"/>
                <a:gd name="T69" fmla="*/ 1620 h 2480"/>
                <a:gd name="T70" fmla="*/ 388 w 3875"/>
                <a:gd name="T71" fmla="*/ 1761 h 2480"/>
                <a:gd name="T72" fmla="*/ 494 w 3875"/>
                <a:gd name="T73" fmla="*/ 1792 h 2480"/>
                <a:gd name="T74" fmla="*/ 744 w 3875"/>
                <a:gd name="T75" fmla="*/ 1939 h 2480"/>
                <a:gd name="T76" fmla="*/ 915 w 3875"/>
                <a:gd name="T77" fmla="*/ 1965 h 2480"/>
                <a:gd name="T78" fmla="*/ 926 w 3875"/>
                <a:gd name="T79" fmla="*/ 1963 h 2480"/>
                <a:gd name="T80" fmla="*/ 1014 w 3875"/>
                <a:gd name="T81" fmla="*/ 1940 h 2480"/>
                <a:gd name="T82" fmla="*/ 1193 w 3875"/>
                <a:gd name="T83" fmla="*/ 1970 h 2480"/>
                <a:gd name="T84" fmla="*/ 1405 w 3875"/>
                <a:gd name="T85" fmla="*/ 1856 h 2480"/>
                <a:gd name="T86" fmla="*/ 1492 w 3875"/>
                <a:gd name="T87" fmla="*/ 1940 h 2480"/>
                <a:gd name="T88" fmla="*/ 1560 w 3875"/>
                <a:gd name="T89" fmla="*/ 2124 h 2480"/>
                <a:gd name="T90" fmla="*/ 1585 w 3875"/>
                <a:gd name="T91" fmla="*/ 2243 h 2480"/>
                <a:gd name="T92" fmla="*/ 1678 w 3875"/>
                <a:gd name="T93" fmla="*/ 2405 h 2480"/>
                <a:gd name="T94" fmla="*/ 1738 w 3875"/>
                <a:gd name="T95" fmla="*/ 2394 h 2480"/>
                <a:gd name="T96" fmla="*/ 1793 w 3875"/>
                <a:gd name="T97" fmla="*/ 2336 h 2480"/>
                <a:gd name="T98" fmla="*/ 1854 w 3875"/>
                <a:gd name="T99" fmla="*/ 2337 h 2480"/>
                <a:gd name="T100" fmla="*/ 2011 w 3875"/>
                <a:gd name="T101" fmla="*/ 2286 h 2480"/>
                <a:gd name="T102" fmla="*/ 2181 w 3875"/>
                <a:gd name="T103" fmla="*/ 2393 h 2480"/>
                <a:gd name="T104" fmla="*/ 2320 w 3875"/>
                <a:gd name="T105" fmla="*/ 2422 h 2480"/>
                <a:gd name="T106" fmla="*/ 2593 w 3875"/>
                <a:gd name="T107" fmla="*/ 2330 h 2480"/>
                <a:gd name="T108" fmla="*/ 2849 w 3875"/>
                <a:gd name="T109" fmla="*/ 2179 h 2480"/>
                <a:gd name="T110" fmla="*/ 3026 w 3875"/>
                <a:gd name="T111" fmla="*/ 1933 h 2480"/>
                <a:gd name="T112" fmla="*/ 3038 w 3875"/>
                <a:gd name="T113" fmla="*/ 1758 h 2480"/>
                <a:gd name="T114" fmla="*/ 2886 w 3875"/>
                <a:gd name="T115" fmla="*/ 1470 h 2480"/>
                <a:gd name="T116" fmla="*/ 3009 w 3875"/>
                <a:gd name="T117" fmla="*/ 1269 h 2480"/>
                <a:gd name="T118" fmla="*/ 2893 w 3875"/>
                <a:gd name="T119" fmla="*/ 1117 h 2480"/>
                <a:gd name="T120" fmla="*/ 3023 w 3875"/>
                <a:gd name="T121" fmla="*/ 1180 h 2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875" h="2480">
                  <a:moveTo>
                    <a:pt x="3214" y="1078"/>
                  </a:moveTo>
                  <a:cubicBezTo>
                    <a:pt x="3224" y="1070"/>
                    <a:pt x="3251" y="1060"/>
                    <a:pt x="3259" y="1053"/>
                  </a:cubicBezTo>
                  <a:cubicBezTo>
                    <a:pt x="3267" y="1046"/>
                    <a:pt x="3280" y="1048"/>
                    <a:pt x="3286" y="1042"/>
                  </a:cubicBezTo>
                  <a:cubicBezTo>
                    <a:pt x="3293" y="1036"/>
                    <a:pt x="3295" y="1029"/>
                    <a:pt x="3304" y="1027"/>
                  </a:cubicBezTo>
                  <a:cubicBezTo>
                    <a:pt x="3312" y="1025"/>
                    <a:pt x="3322" y="1018"/>
                    <a:pt x="3332" y="1009"/>
                  </a:cubicBezTo>
                  <a:cubicBezTo>
                    <a:pt x="3342" y="1000"/>
                    <a:pt x="3350" y="986"/>
                    <a:pt x="3352" y="975"/>
                  </a:cubicBezTo>
                  <a:cubicBezTo>
                    <a:pt x="3354" y="964"/>
                    <a:pt x="3356" y="958"/>
                    <a:pt x="3370" y="958"/>
                  </a:cubicBezTo>
                  <a:cubicBezTo>
                    <a:pt x="3385" y="958"/>
                    <a:pt x="3380" y="974"/>
                    <a:pt x="3384" y="974"/>
                  </a:cubicBezTo>
                  <a:cubicBezTo>
                    <a:pt x="3388" y="974"/>
                    <a:pt x="3402" y="982"/>
                    <a:pt x="3407" y="988"/>
                  </a:cubicBezTo>
                  <a:cubicBezTo>
                    <a:pt x="3412" y="995"/>
                    <a:pt x="3430" y="996"/>
                    <a:pt x="3434" y="990"/>
                  </a:cubicBezTo>
                  <a:cubicBezTo>
                    <a:pt x="3438" y="985"/>
                    <a:pt x="3447" y="988"/>
                    <a:pt x="3453" y="986"/>
                  </a:cubicBezTo>
                  <a:cubicBezTo>
                    <a:pt x="3459" y="985"/>
                    <a:pt x="3457" y="976"/>
                    <a:pt x="3452" y="973"/>
                  </a:cubicBezTo>
                  <a:cubicBezTo>
                    <a:pt x="3448" y="970"/>
                    <a:pt x="3454" y="960"/>
                    <a:pt x="3446" y="953"/>
                  </a:cubicBezTo>
                  <a:cubicBezTo>
                    <a:pt x="3439" y="946"/>
                    <a:pt x="3447" y="940"/>
                    <a:pt x="3465" y="941"/>
                  </a:cubicBezTo>
                  <a:cubicBezTo>
                    <a:pt x="3483" y="942"/>
                    <a:pt x="3510" y="938"/>
                    <a:pt x="3514" y="930"/>
                  </a:cubicBezTo>
                  <a:cubicBezTo>
                    <a:pt x="3518" y="922"/>
                    <a:pt x="3522" y="912"/>
                    <a:pt x="3530" y="912"/>
                  </a:cubicBezTo>
                  <a:cubicBezTo>
                    <a:pt x="3538" y="912"/>
                    <a:pt x="3549" y="906"/>
                    <a:pt x="3549" y="897"/>
                  </a:cubicBezTo>
                  <a:cubicBezTo>
                    <a:pt x="3549" y="888"/>
                    <a:pt x="3550" y="886"/>
                    <a:pt x="3558" y="882"/>
                  </a:cubicBezTo>
                  <a:cubicBezTo>
                    <a:pt x="3566" y="878"/>
                    <a:pt x="3554" y="868"/>
                    <a:pt x="3564" y="866"/>
                  </a:cubicBezTo>
                  <a:cubicBezTo>
                    <a:pt x="3573" y="863"/>
                    <a:pt x="3584" y="872"/>
                    <a:pt x="3585" y="878"/>
                  </a:cubicBezTo>
                  <a:cubicBezTo>
                    <a:pt x="3586" y="883"/>
                    <a:pt x="3585" y="891"/>
                    <a:pt x="3591" y="894"/>
                  </a:cubicBezTo>
                  <a:cubicBezTo>
                    <a:pt x="3592" y="895"/>
                    <a:pt x="3593" y="895"/>
                    <a:pt x="3593" y="895"/>
                  </a:cubicBezTo>
                  <a:cubicBezTo>
                    <a:pt x="3594" y="895"/>
                    <a:pt x="3594" y="895"/>
                    <a:pt x="3595" y="895"/>
                  </a:cubicBezTo>
                  <a:cubicBezTo>
                    <a:pt x="3595" y="895"/>
                    <a:pt x="3595" y="895"/>
                    <a:pt x="3596" y="895"/>
                  </a:cubicBezTo>
                  <a:cubicBezTo>
                    <a:pt x="3597" y="895"/>
                    <a:pt x="3599" y="895"/>
                    <a:pt x="3600" y="894"/>
                  </a:cubicBezTo>
                  <a:cubicBezTo>
                    <a:pt x="3600" y="894"/>
                    <a:pt x="3600" y="894"/>
                    <a:pt x="3600" y="894"/>
                  </a:cubicBezTo>
                  <a:cubicBezTo>
                    <a:pt x="3602" y="893"/>
                    <a:pt x="3603" y="892"/>
                    <a:pt x="3604" y="890"/>
                  </a:cubicBezTo>
                  <a:cubicBezTo>
                    <a:pt x="3604" y="890"/>
                    <a:pt x="3604" y="890"/>
                    <a:pt x="3604" y="890"/>
                  </a:cubicBezTo>
                  <a:cubicBezTo>
                    <a:pt x="3605" y="889"/>
                    <a:pt x="3605" y="889"/>
                    <a:pt x="3606" y="888"/>
                  </a:cubicBezTo>
                  <a:cubicBezTo>
                    <a:pt x="3606" y="888"/>
                    <a:pt x="3606" y="888"/>
                    <a:pt x="3606" y="887"/>
                  </a:cubicBezTo>
                  <a:cubicBezTo>
                    <a:pt x="3606" y="886"/>
                    <a:pt x="3607" y="885"/>
                    <a:pt x="3607" y="884"/>
                  </a:cubicBezTo>
                  <a:cubicBezTo>
                    <a:pt x="3609" y="876"/>
                    <a:pt x="3610" y="880"/>
                    <a:pt x="3620" y="879"/>
                  </a:cubicBezTo>
                  <a:cubicBezTo>
                    <a:pt x="3631" y="878"/>
                    <a:pt x="3634" y="874"/>
                    <a:pt x="3640" y="864"/>
                  </a:cubicBezTo>
                  <a:cubicBezTo>
                    <a:pt x="3645" y="854"/>
                    <a:pt x="3649" y="858"/>
                    <a:pt x="3650" y="848"/>
                  </a:cubicBezTo>
                  <a:cubicBezTo>
                    <a:pt x="3652" y="839"/>
                    <a:pt x="3654" y="828"/>
                    <a:pt x="3650" y="820"/>
                  </a:cubicBezTo>
                  <a:cubicBezTo>
                    <a:pt x="3647" y="812"/>
                    <a:pt x="3650" y="792"/>
                    <a:pt x="3650" y="782"/>
                  </a:cubicBezTo>
                  <a:cubicBezTo>
                    <a:pt x="3651" y="772"/>
                    <a:pt x="3650" y="762"/>
                    <a:pt x="3644" y="757"/>
                  </a:cubicBezTo>
                  <a:cubicBezTo>
                    <a:pt x="3639" y="752"/>
                    <a:pt x="3644" y="746"/>
                    <a:pt x="3639" y="742"/>
                  </a:cubicBezTo>
                  <a:cubicBezTo>
                    <a:pt x="3634" y="737"/>
                    <a:pt x="3629" y="729"/>
                    <a:pt x="3630" y="721"/>
                  </a:cubicBezTo>
                  <a:cubicBezTo>
                    <a:pt x="3632" y="713"/>
                    <a:pt x="3648" y="713"/>
                    <a:pt x="3659" y="711"/>
                  </a:cubicBezTo>
                  <a:cubicBezTo>
                    <a:pt x="3670" y="709"/>
                    <a:pt x="3674" y="701"/>
                    <a:pt x="3680" y="692"/>
                  </a:cubicBezTo>
                  <a:cubicBezTo>
                    <a:pt x="3686" y="682"/>
                    <a:pt x="3696" y="687"/>
                    <a:pt x="3706" y="692"/>
                  </a:cubicBezTo>
                  <a:cubicBezTo>
                    <a:pt x="3716" y="698"/>
                    <a:pt x="3732" y="704"/>
                    <a:pt x="3748" y="707"/>
                  </a:cubicBezTo>
                  <a:cubicBezTo>
                    <a:pt x="3764" y="710"/>
                    <a:pt x="3767" y="703"/>
                    <a:pt x="3768" y="689"/>
                  </a:cubicBezTo>
                  <a:cubicBezTo>
                    <a:pt x="3768" y="675"/>
                    <a:pt x="3771" y="672"/>
                    <a:pt x="3781" y="669"/>
                  </a:cubicBezTo>
                  <a:cubicBezTo>
                    <a:pt x="3791" y="666"/>
                    <a:pt x="3793" y="652"/>
                    <a:pt x="3797" y="638"/>
                  </a:cubicBezTo>
                  <a:cubicBezTo>
                    <a:pt x="3801" y="625"/>
                    <a:pt x="3806" y="624"/>
                    <a:pt x="3814" y="616"/>
                  </a:cubicBezTo>
                  <a:cubicBezTo>
                    <a:pt x="3822" y="609"/>
                    <a:pt x="3821" y="592"/>
                    <a:pt x="3820" y="579"/>
                  </a:cubicBezTo>
                  <a:cubicBezTo>
                    <a:pt x="3820" y="566"/>
                    <a:pt x="3835" y="555"/>
                    <a:pt x="3835" y="541"/>
                  </a:cubicBezTo>
                  <a:cubicBezTo>
                    <a:pt x="3835" y="527"/>
                    <a:pt x="3842" y="517"/>
                    <a:pt x="3850" y="516"/>
                  </a:cubicBezTo>
                  <a:cubicBezTo>
                    <a:pt x="3858" y="516"/>
                    <a:pt x="3864" y="514"/>
                    <a:pt x="3868" y="503"/>
                  </a:cubicBezTo>
                  <a:cubicBezTo>
                    <a:pt x="3873" y="492"/>
                    <a:pt x="3870" y="484"/>
                    <a:pt x="3861" y="477"/>
                  </a:cubicBezTo>
                  <a:cubicBezTo>
                    <a:pt x="3852" y="470"/>
                    <a:pt x="3860" y="464"/>
                    <a:pt x="3868" y="460"/>
                  </a:cubicBezTo>
                  <a:cubicBezTo>
                    <a:pt x="3875" y="457"/>
                    <a:pt x="3870" y="450"/>
                    <a:pt x="3869" y="443"/>
                  </a:cubicBezTo>
                  <a:cubicBezTo>
                    <a:pt x="3868" y="436"/>
                    <a:pt x="3848" y="436"/>
                    <a:pt x="3836" y="436"/>
                  </a:cubicBezTo>
                  <a:cubicBezTo>
                    <a:pt x="3824" y="436"/>
                    <a:pt x="3828" y="447"/>
                    <a:pt x="3814" y="450"/>
                  </a:cubicBezTo>
                  <a:cubicBezTo>
                    <a:pt x="3799" y="452"/>
                    <a:pt x="3800" y="454"/>
                    <a:pt x="3791" y="460"/>
                  </a:cubicBezTo>
                  <a:cubicBezTo>
                    <a:pt x="3782" y="465"/>
                    <a:pt x="3768" y="464"/>
                    <a:pt x="3755" y="465"/>
                  </a:cubicBezTo>
                  <a:cubicBezTo>
                    <a:pt x="3742" y="466"/>
                    <a:pt x="3734" y="482"/>
                    <a:pt x="3724" y="492"/>
                  </a:cubicBezTo>
                  <a:cubicBezTo>
                    <a:pt x="3714" y="502"/>
                    <a:pt x="3703" y="500"/>
                    <a:pt x="3688" y="498"/>
                  </a:cubicBezTo>
                  <a:cubicBezTo>
                    <a:pt x="3672" y="497"/>
                    <a:pt x="3671" y="488"/>
                    <a:pt x="3661" y="494"/>
                  </a:cubicBezTo>
                  <a:cubicBezTo>
                    <a:pt x="3651" y="499"/>
                    <a:pt x="3640" y="497"/>
                    <a:pt x="3638" y="494"/>
                  </a:cubicBezTo>
                  <a:cubicBezTo>
                    <a:pt x="3635" y="492"/>
                    <a:pt x="3635" y="484"/>
                    <a:pt x="3622" y="478"/>
                  </a:cubicBezTo>
                  <a:cubicBezTo>
                    <a:pt x="3608" y="471"/>
                    <a:pt x="3620" y="462"/>
                    <a:pt x="3620" y="454"/>
                  </a:cubicBezTo>
                  <a:cubicBezTo>
                    <a:pt x="3620" y="446"/>
                    <a:pt x="3623" y="432"/>
                    <a:pt x="3615" y="426"/>
                  </a:cubicBezTo>
                  <a:cubicBezTo>
                    <a:pt x="3607" y="421"/>
                    <a:pt x="3609" y="415"/>
                    <a:pt x="3609" y="406"/>
                  </a:cubicBezTo>
                  <a:cubicBezTo>
                    <a:pt x="3609" y="396"/>
                    <a:pt x="3592" y="400"/>
                    <a:pt x="3578" y="396"/>
                  </a:cubicBezTo>
                  <a:cubicBezTo>
                    <a:pt x="3564" y="391"/>
                    <a:pt x="3560" y="374"/>
                    <a:pt x="3550" y="365"/>
                  </a:cubicBezTo>
                  <a:cubicBezTo>
                    <a:pt x="3540" y="356"/>
                    <a:pt x="3535" y="350"/>
                    <a:pt x="3520" y="358"/>
                  </a:cubicBezTo>
                  <a:cubicBezTo>
                    <a:pt x="3506" y="366"/>
                    <a:pt x="3494" y="348"/>
                    <a:pt x="3486" y="342"/>
                  </a:cubicBezTo>
                  <a:cubicBezTo>
                    <a:pt x="3479" y="336"/>
                    <a:pt x="3472" y="336"/>
                    <a:pt x="3466" y="346"/>
                  </a:cubicBezTo>
                  <a:cubicBezTo>
                    <a:pt x="3459" y="355"/>
                    <a:pt x="3453" y="346"/>
                    <a:pt x="3444" y="344"/>
                  </a:cubicBezTo>
                  <a:cubicBezTo>
                    <a:pt x="3436" y="343"/>
                    <a:pt x="3426" y="334"/>
                    <a:pt x="3418" y="326"/>
                  </a:cubicBezTo>
                  <a:cubicBezTo>
                    <a:pt x="3410" y="319"/>
                    <a:pt x="3410" y="306"/>
                    <a:pt x="3414" y="292"/>
                  </a:cubicBezTo>
                  <a:cubicBezTo>
                    <a:pt x="3418" y="278"/>
                    <a:pt x="3406" y="281"/>
                    <a:pt x="3402" y="269"/>
                  </a:cubicBezTo>
                  <a:cubicBezTo>
                    <a:pt x="3399" y="257"/>
                    <a:pt x="3400" y="253"/>
                    <a:pt x="3394" y="242"/>
                  </a:cubicBezTo>
                  <a:cubicBezTo>
                    <a:pt x="3388" y="232"/>
                    <a:pt x="3385" y="229"/>
                    <a:pt x="3377" y="221"/>
                  </a:cubicBezTo>
                  <a:cubicBezTo>
                    <a:pt x="3369" y="213"/>
                    <a:pt x="3370" y="210"/>
                    <a:pt x="3370" y="198"/>
                  </a:cubicBezTo>
                  <a:cubicBezTo>
                    <a:pt x="3369" y="185"/>
                    <a:pt x="3363" y="178"/>
                    <a:pt x="3361" y="171"/>
                  </a:cubicBezTo>
                  <a:cubicBezTo>
                    <a:pt x="3359" y="164"/>
                    <a:pt x="3358" y="161"/>
                    <a:pt x="3348" y="150"/>
                  </a:cubicBezTo>
                  <a:cubicBezTo>
                    <a:pt x="3338" y="138"/>
                    <a:pt x="3339" y="122"/>
                    <a:pt x="3338" y="108"/>
                  </a:cubicBezTo>
                  <a:cubicBezTo>
                    <a:pt x="3336" y="94"/>
                    <a:pt x="3321" y="92"/>
                    <a:pt x="3318" y="83"/>
                  </a:cubicBezTo>
                  <a:cubicBezTo>
                    <a:pt x="3316" y="74"/>
                    <a:pt x="3312" y="66"/>
                    <a:pt x="3301" y="62"/>
                  </a:cubicBezTo>
                  <a:cubicBezTo>
                    <a:pt x="3290" y="59"/>
                    <a:pt x="3286" y="50"/>
                    <a:pt x="3280" y="40"/>
                  </a:cubicBezTo>
                  <a:cubicBezTo>
                    <a:pt x="3274" y="30"/>
                    <a:pt x="3246" y="34"/>
                    <a:pt x="3232" y="34"/>
                  </a:cubicBezTo>
                  <a:cubicBezTo>
                    <a:pt x="3219" y="35"/>
                    <a:pt x="3214" y="32"/>
                    <a:pt x="3210" y="28"/>
                  </a:cubicBezTo>
                  <a:cubicBezTo>
                    <a:pt x="3206" y="23"/>
                    <a:pt x="3200" y="18"/>
                    <a:pt x="3189" y="16"/>
                  </a:cubicBezTo>
                  <a:cubicBezTo>
                    <a:pt x="3178" y="14"/>
                    <a:pt x="3166" y="5"/>
                    <a:pt x="3157" y="2"/>
                  </a:cubicBezTo>
                  <a:cubicBezTo>
                    <a:pt x="3148" y="0"/>
                    <a:pt x="3140" y="5"/>
                    <a:pt x="3126" y="9"/>
                  </a:cubicBezTo>
                  <a:cubicBezTo>
                    <a:pt x="3112" y="13"/>
                    <a:pt x="3107" y="8"/>
                    <a:pt x="3087" y="8"/>
                  </a:cubicBezTo>
                  <a:cubicBezTo>
                    <a:pt x="3067" y="8"/>
                    <a:pt x="3072" y="13"/>
                    <a:pt x="3059" y="16"/>
                  </a:cubicBezTo>
                  <a:cubicBezTo>
                    <a:pt x="3046" y="18"/>
                    <a:pt x="3036" y="17"/>
                    <a:pt x="3023" y="18"/>
                  </a:cubicBezTo>
                  <a:cubicBezTo>
                    <a:pt x="3010" y="18"/>
                    <a:pt x="3008" y="26"/>
                    <a:pt x="2998" y="26"/>
                  </a:cubicBezTo>
                  <a:cubicBezTo>
                    <a:pt x="2988" y="26"/>
                    <a:pt x="2989" y="29"/>
                    <a:pt x="2973" y="37"/>
                  </a:cubicBezTo>
                  <a:cubicBezTo>
                    <a:pt x="2957" y="45"/>
                    <a:pt x="2955" y="62"/>
                    <a:pt x="2943" y="65"/>
                  </a:cubicBezTo>
                  <a:cubicBezTo>
                    <a:pt x="2931" y="68"/>
                    <a:pt x="2932" y="71"/>
                    <a:pt x="2932" y="78"/>
                  </a:cubicBezTo>
                  <a:cubicBezTo>
                    <a:pt x="2932" y="86"/>
                    <a:pt x="2945" y="86"/>
                    <a:pt x="2957" y="85"/>
                  </a:cubicBezTo>
                  <a:cubicBezTo>
                    <a:pt x="2969" y="84"/>
                    <a:pt x="2970" y="96"/>
                    <a:pt x="2970" y="102"/>
                  </a:cubicBezTo>
                  <a:cubicBezTo>
                    <a:pt x="2970" y="108"/>
                    <a:pt x="2972" y="114"/>
                    <a:pt x="2977" y="118"/>
                  </a:cubicBezTo>
                  <a:cubicBezTo>
                    <a:pt x="2982" y="122"/>
                    <a:pt x="2982" y="124"/>
                    <a:pt x="2978" y="133"/>
                  </a:cubicBezTo>
                  <a:cubicBezTo>
                    <a:pt x="2974" y="142"/>
                    <a:pt x="2959" y="148"/>
                    <a:pt x="2946" y="155"/>
                  </a:cubicBezTo>
                  <a:cubicBezTo>
                    <a:pt x="2932" y="162"/>
                    <a:pt x="2927" y="178"/>
                    <a:pt x="2923" y="194"/>
                  </a:cubicBezTo>
                  <a:cubicBezTo>
                    <a:pt x="2919" y="209"/>
                    <a:pt x="2912" y="214"/>
                    <a:pt x="2906" y="226"/>
                  </a:cubicBezTo>
                  <a:cubicBezTo>
                    <a:pt x="2901" y="238"/>
                    <a:pt x="2896" y="246"/>
                    <a:pt x="2886" y="253"/>
                  </a:cubicBezTo>
                  <a:cubicBezTo>
                    <a:pt x="2876" y="260"/>
                    <a:pt x="2874" y="270"/>
                    <a:pt x="2880" y="275"/>
                  </a:cubicBezTo>
                  <a:cubicBezTo>
                    <a:pt x="2886" y="280"/>
                    <a:pt x="2891" y="284"/>
                    <a:pt x="2888" y="293"/>
                  </a:cubicBezTo>
                  <a:cubicBezTo>
                    <a:pt x="2886" y="302"/>
                    <a:pt x="2874" y="306"/>
                    <a:pt x="2862" y="306"/>
                  </a:cubicBezTo>
                  <a:cubicBezTo>
                    <a:pt x="2850" y="306"/>
                    <a:pt x="2848" y="314"/>
                    <a:pt x="2834" y="318"/>
                  </a:cubicBezTo>
                  <a:cubicBezTo>
                    <a:pt x="2820" y="322"/>
                    <a:pt x="2818" y="334"/>
                    <a:pt x="2804" y="343"/>
                  </a:cubicBezTo>
                  <a:cubicBezTo>
                    <a:pt x="2789" y="352"/>
                    <a:pt x="2786" y="344"/>
                    <a:pt x="2775" y="340"/>
                  </a:cubicBezTo>
                  <a:cubicBezTo>
                    <a:pt x="2764" y="336"/>
                    <a:pt x="2762" y="334"/>
                    <a:pt x="2742" y="332"/>
                  </a:cubicBezTo>
                  <a:cubicBezTo>
                    <a:pt x="2741" y="332"/>
                    <a:pt x="2740" y="331"/>
                    <a:pt x="2739" y="331"/>
                  </a:cubicBezTo>
                  <a:cubicBezTo>
                    <a:pt x="2739" y="331"/>
                    <a:pt x="2739" y="331"/>
                    <a:pt x="2738" y="331"/>
                  </a:cubicBezTo>
                  <a:cubicBezTo>
                    <a:pt x="2738" y="331"/>
                    <a:pt x="2737" y="331"/>
                    <a:pt x="2736" y="330"/>
                  </a:cubicBezTo>
                  <a:cubicBezTo>
                    <a:pt x="2736" y="330"/>
                    <a:pt x="2736" y="330"/>
                    <a:pt x="2736" y="330"/>
                  </a:cubicBezTo>
                  <a:cubicBezTo>
                    <a:pt x="2735" y="330"/>
                    <a:pt x="2734" y="330"/>
                    <a:pt x="2734" y="330"/>
                  </a:cubicBezTo>
                  <a:cubicBezTo>
                    <a:pt x="2734" y="330"/>
                    <a:pt x="2733" y="330"/>
                    <a:pt x="2733" y="329"/>
                  </a:cubicBezTo>
                  <a:cubicBezTo>
                    <a:pt x="2733" y="329"/>
                    <a:pt x="2732" y="329"/>
                    <a:pt x="2731" y="329"/>
                  </a:cubicBezTo>
                  <a:cubicBezTo>
                    <a:pt x="2731" y="329"/>
                    <a:pt x="2731" y="328"/>
                    <a:pt x="2731" y="328"/>
                  </a:cubicBezTo>
                  <a:cubicBezTo>
                    <a:pt x="2730" y="328"/>
                    <a:pt x="2730" y="328"/>
                    <a:pt x="2730" y="328"/>
                  </a:cubicBezTo>
                  <a:cubicBezTo>
                    <a:pt x="2729" y="327"/>
                    <a:pt x="2729" y="327"/>
                    <a:pt x="2729" y="327"/>
                  </a:cubicBezTo>
                  <a:cubicBezTo>
                    <a:pt x="2729" y="327"/>
                    <a:pt x="2728" y="327"/>
                    <a:pt x="2728" y="326"/>
                  </a:cubicBezTo>
                  <a:cubicBezTo>
                    <a:pt x="2728" y="326"/>
                    <a:pt x="2728" y="326"/>
                    <a:pt x="2728" y="326"/>
                  </a:cubicBezTo>
                  <a:cubicBezTo>
                    <a:pt x="2727" y="326"/>
                    <a:pt x="2727" y="325"/>
                    <a:pt x="2726" y="325"/>
                  </a:cubicBezTo>
                  <a:cubicBezTo>
                    <a:pt x="2726" y="325"/>
                    <a:pt x="2726" y="325"/>
                    <a:pt x="2726" y="325"/>
                  </a:cubicBezTo>
                  <a:cubicBezTo>
                    <a:pt x="2726" y="324"/>
                    <a:pt x="2726" y="324"/>
                    <a:pt x="2725" y="324"/>
                  </a:cubicBezTo>
                  <a:cubicBezTo>
                    <a:pt x="2725" y="324"/>
                    <a:pt x="2725" y="324"/>
                    <a:pt x="2725" y="323"/>
                  </a:cubicBezTo>
                  <a:cubicBezTo>
                    <a:pt x="2725" y="323"/>
                    <a:pt x="2724" y="323"/>
                    <a:pt x="2724" y="322"/>
                  </a:cubicBezTo>
                  <a:cubicBezTo>
                    <a:pt x="2724" y="322"/>
                    <a:pt x="2724" y="322"/>
                    <a:pt x="2724" y="322"/>
                  </a:cubicBezTo>
                  <a:cubicBezTo>
                    <a:pt x="2724" y="322"/>
                    <a:pt x="2723" y="321"/>
                    <a:pt x="2723" y="321"/>
                  </a:cubicBezTo>
                  <a:cubicBezTo>
                    <a:pt x="2723" y="321"/>
                    <a:pt x="2723" y="321"/>
                    <a:pt x="2723" y="321"/>
                  </a:cubicBezTo>
                  <a:cubicBezTo>
                    <a:pt x="2723" y="320"/>
                    <a:pt x="2723" y="320"/>
                    <a:pt x="2722" y="319"/>
                  </a:cubicBezTo>
                  <a:cubicBezTo>
                    <a:pt x="2722" y="319"/>
                    <a:pt x="2722" y="319"/>
                    <a:pt x="2722" y="319"/>
                  </a:cubicBezTo>
                  <a:cubicBezTo>
                    <a:pt x="2722" y="318"/>
                    <a:pt x="2722" y="318"/>
                    <a:pt x="2721" y="317"/>
                  </a:cubicBezTo>
                  <a:cubicBezTo>
                    <a:pt x="2721" y="317"/>
                    <a:pt x="2721" y="317"/>
                    <a:pt x="2721" y="317"/>
                  </a:cubicBezTo>
                  <a:cubicBezTo>
                    <a:pt x="2710" y="334"/>
                    <a:pt x="2703" y="360"/>
                    <a:pt x="2693" y="368"/>
                  </a:cubicBezTo>
                  <a:cubicBezTo>
                    <a:pt x="2681" y="378"/>
                    <a:pt x="2688" y="394"/>
                    <a:pt x="2676" y="405"/>
                  </a:cubicBezTo>
                  <a:cubicBezTo>
                    <a:pt x="2664" y="416"/>
                    <a:pt x="2668" y="419"/>
                    <a:pt x="2668" y="437"/>
                  </a:cubicBezTo>
                  <a:cubicBezTo>
                    <a:pt x="2668" y="455"/>
                    <a:pt x="2665" y="453"/>
                    <a:pt x="2650" y="456"/>
                  </a:cubicBezTo>
                  <a:cubicBezTo>
                    <a:pt x="2635" y="459"/>
                    <a:pt x="2647" y="477"/>
                    <a:pt x="2663" y="491"/>
                  </a:cubicBezTo>
                  <a:cubicBezTo>
                    <a:pt x="2679" y="505"/>
                    <a:pt x="2682" y="489"/>
                    <a:pt x="2686" y="483"/>
                  </a:cubicBezTo>
                  <a:cubicBezTo>
                    <a:pt x="2690" y="477"/>
                    <a:pt x="2721" y="485"/>
                    <a:pt x="2735" y="481"/>
                  </a:cubicBezTo>
                  <a:cubicBezTo>
                    <a:pt x="2749" y="477"/>
                    <a:pt x="2750" y="494"/>
                    <a:pt x="2762" y="495"/>
                  </a:cubicBezTo>
                  <a:cubicBezTo>
                    <a:pt x="2774" y="496"/>
                    <a:pt x="2781" y="481"/>
                    <a:pt x="2789" y="473"/>
                  </a:cubicBezTo>
                  <a:cubicBezTo>
                    <a:pt x="2797" y="465"/>
                    <a:pt x="2821" y="468"/>
                    <a:pt x="2828" y="471"/>
                  </a:cubicBezTo>
                  <a:cubicBezTo>
                    <a:pt x="2835" y="474"/>
                    <a:pt x="2858" y="482"/>
                    <a:pt x="2865" y="494"/>
                  </a:cubicBezTo>
                  <a:cubicBezTo>
                    <a:pt x="2872" y="506"/>
                    <a:pt x="2901" y="528"/>
                    <a:pt x="2916" y="539"/>
                  </a:cubicBezTo>
                  <a:cubicBezTo>
                    <a:pt x="2931" y="550"/>
                    <a:pt x="2931" y="569"/>
                    <a:pt x="2926" y="575"/>
                  </a:cubicBezTo>
                  <a:cubicBezTo>
                    <a:pt x="2921" y="581"/>
                    <a:pt x="2909" y="577"/>
                    <a:pt x="2893" y="583"/>
                  </a:cubicBezTo>
                  <a:cubicBezTo>
                    <a:pt x="2877" y="589"/>
                    <a:pt x="2877" y="577"/>
                    <a:pt x="2868" y="571"/>
                  </a:cubicBezTo>
                  <a:cubicBezTo>
                    <a:pt x="2859" y="565"/>
                    <a:pt x="2844" y="569"/>
                    <a:pt x="2829" y="569"/>
                  </a:cubicBezTo>
                  <a:cubicBezTo>
                    <a:pt x="2814" y="569"/>
                    <a:pt x="2807" y="586"/>
                    <a:pt x="2787" y="585"/>
                  </a:cubicBezTo>
                  <a:cubicBezTo>
                    <a:pt x="2767" y="584"/>
                    <a:pt x="2760" y="598"/>
                    <a:pt x="2733" y="601"/>
                  </a:cubicBezTo>
                  <a:cubicBezTo>
                    <a:pt x="2706" y="604"/>
                    <a:pt x="2702" y="622"/>
                    <a:pt x="2694" y="642"/>
                  </a:cubicBezTo>
                  <a:cubicBezTo>
                    <a:pt x="2686" y="662"/>
                    <a:pt x="2676" y="665"/>
                    <a:pt x="2657" y="678"/>
                  </a:cubicBezTo>
                  <a:cubicBezTo>
                    <a:pt x="2638" y="691"/>
                    <a:pt x="2608" y="677"/>
                    <a:pt x="2592" y="677"/>
                  </a:cubicBezTo>
                  <a:cubicBezTo>
                    <a:pt x="2576" y="677"/>
                    <a:pt x="2569" y="709"/>
                    <a:pt x="2557" y="712"/>
                  </a:cubicBezTo>
                  <a:cubicBezTo>
                    <a:pt x="2545" y="715"/>
                    <a:pt x="2537" y="724"/>
                    <a:pt x="2521" y="729"/>
                  </a:cubicBezTo>
                  <a:cubicBezTo>
                    <a:pt x="2505" y="734"/>
                    <a:pt x="2492" y="726"/>
                    <a:pt x="2477" y="724"/>
                  </a:cubicBezTo>
                  <a:cubicBezTo>
                    <a:pt x="2462" y="722"/>
                    <a:pt x="2462" y="717"/>
                    <a:pt x="2447" y="705"/>
                  </a:cubicBezTo>
                  <a:cubicBezTo>
                    <a:pt x="2432" y="693"/>
                    <a:pt x="2428" y="705"/>
                    <a:pt x="2412" y="708"/>
                  </a:cubicBezTo>
                  <a:cubicBezTo>
                    <a:pt x="2396" y="711"/>
                    <a:pt x="2400" y="736"/>
                    <a:pt x="2392" y="741"/>
                  </a:cubicBezTo>
                  <a:cubicBezTo>
                    <a:pt x="2384" y="746"/>
                    <a:pt x="2384" y="752"/>
                    <a:pt x="2382" y="758"/>
                  </a:cubicBezTo>
                  <a:cubicBezTo>
                    <a:pt x="2380" y="764"/>
                    <a:pt x="2392" y="780"/>
                    <a:pt x="2409" y="789"/>
                  </a:cubicBezTo>
                  <a:cubicBezTo>
                    <a:pt x="2426" y="798"/>
                    <a:pt x="2421" y="810"/>
                    <a:pt x="2413" y="815"/>
                  </a:cubicBezTo>
                  <a:cubicBezTo>
                    <a:pt x="2405" y="820"/>
                    <a:pt x="2403" y="829"/>
                    <a:pt x="2374" y="837"/>
                  </a:cubicBezTo>
                  <a:cubicBezTo>
                    <a:pt x="2345" y="845"/>
                    <a:pt x="2348" y="862"/>
                    <a:pt x="2333" y="875"/>
                  </a:cubicBezTo>
                  <a:cubicBezTo>
                    <a:pt x="2318" y="888"/>
                    <a:pt x="2308" y="894"/>
                    <a:pt x="2292" y="894"/>
                  </a:cubicBezTo>
                  <a:cubicBezTo>
                    <a:pt x="2276" y="894"/>
                    <a:pt x="2259" y="906"/>
                    <a:pt x="2246" y="910"/>
                  </a:cubicBezTo>
                  <a:cubicBezTo>
                    <a:pt x="2233" y="914"/>
                    <a:pt x="2221" y="914"/>
                    <a:pt x="2193" y="911"/>
                  </a:cubicBezTo>
                  <a:cubicBezTo>
                    <a:pt x="2165" y="908"/>
                    <a:pt x="2157" y="911"/>
                    <a:pt x="2143" y="911"/>
                  </a:cubicBezTo>
                  <a:cubicBezTo>
                    <a:pt x="2129" y="911"/>
                    <a:pt x="2101" y="919"/>
                    <a:pt x="2086" y="922"/>
                  </a:cubicBezTo>
                  <a:cubicBezTo>
                    <a:pt x="2071" y="925"/>
                    <a:pt x="2054" y="940"/>
                    <a:pt x="2036" y="941"/>
                  </a:cubicBezTo>
                  <a:cubicBezTo>
                    <a:pt x="2018" y="942"/>
                    <a:pt x="2022" y="956"/>
                    <a:pt x="2009" y="956"/>
                  </a:cubicBezTo>
                  <a:cubicBezTo>
                    <a:pt x="1996" y="956"/>
                    <a:pt x="1996" y="961"/>
                    <a:pt x="1985" y="973"/>
                  </a:cubicBezTo>
                  <a:cubicBezTo>
                    <a:pt x="1974" y="985"/>
                    <a:pt x="1958" y="977"/>
                    <a:pt x="1945" y="963"/>
                  </a:cubicBezTo>
                  <a:cubicBezTo>
                    <a:pt x="1932" y="949"/>
                    <a:pt x="1916" y="959"/>
                    <a:pt x="1902" y="961"/>
                  </a:cubicBezTo>
                  <a:cubicBezTo>
                    <a:pt x="1888" y="963"/>
                    <a:pt x="1884" y="962"/>
                    <a:pt x="1873" y="955"/>
                  </a:cubicBezTo>
                  <a:cubicBezTo>
                    <a:pt x="1862" y="948"/>
                    <a:pt x="1863" y="944"/>
                    <a:pt x="1846" y="944"/>
                  </a:cubicBezTo>
                  <a:cubicBezTo>
                    <a:pt x="1829" y="944"/>
                    <a:pt x="1827" y="937"/>
                    <a:pt x="1813" y="937"/>
                  </a:cubicBezTo>
                  <a:cubicBezTo>
                    <a:pt x="1799" y="937"/>
                    <a:pt x="1800" y="932"/>
                    <a:pt x="1775" y="913"/>
                  </a:cubicBezTo>
                  <a:cubicBezTo>
                    <a:pt x="1750" y="894"/>
                    <a:pt x="1720" y="906"/>
                    <a:pt x="1706" y="900"/>
                  </a:cubicBezTo>
                  <a:cubicBezTo>
                    <a:pt x="1692" y="894"/>
                    <a:pt x="1681" y="894"/>
                    <a:pt x="1669" y="893"/>
                  </a:cubicBezTo>
                  <a:cubicBezTo>
                    <a:pt x="1657" y="892"/>
                    <a:pt x="1648" y="893"/>
                    <a:pt x="1630" y="901"/>
                  </a:cubicBezTo>
                  <a:cubicBezTo>
                    <a:pt x="1612" y="909"/>
                    <a:pt x="1583" y="898"/>
                    <a:pt x="1570" y="898"/>
                  </a:cubicBezTo>
                  <a:cubicBezTo>
                    <a:pt x="1557" y="898"/>
                    <a:pt x="1534" y="902"/>
                    <a:pt x="1514" y="891"/>
                  </a:cubicBezTo>
                  <a:cubicBezTo>
                    <a:pt x="1494" y="880"/>
                    <a:pt x="1467" y="886"/>
                    <a:pt x="1453" y="887"/>
                  </a:cubicBezTo>
                  <a:cubicBezTo>
                    <a:pt x="1439" y="888"/>
                    <a:pt x="1433" y="893"/>
                    <a:pt x="1425" y="876"/>
                  </a:cubicBezTo>
                  <a:cubicBezTo>
                    <a:pt x="1417" y="859"/>
                    <a:pt x="1415" y="865"/>
                    <a:pt x="1404" y="856"/>
                  </a:cubicBezTo>
                  <a:cubicBezTo>
                    <a:pt x="1393" y="847"/>
                    <a:pt x="1391" y="839"/>
                    <a:pt x="1390" y="828"/>
                  </a:cubicBezTo>
                  <a:cubicBezTo>
                    <a:pt x="1389" y="817"/>
                    <a:pt x="1389" y="809"/>
                    <a:pt x="1378" y="802"/>
                  </a:cubicBezTo>
                  <a:cubicBezTo>
                    <a:pt x="1367" y="795"/>
                    <a:pt x="1374" y="792"/>
                    <a:pt x="1369" y="782"/>
                  </a:cubicBezTo>
                  <a:cubicBezTo>
                    <a:pt x="1364" y="772"/>
                    <a:pt x="1353" y="771"/>
                    <a:pt x="1338" y="769"/>
                  </a:cubicBezTo>
                  <a:cubicBezTo>
                    <a:pt x="1323" y="767"/>
                    <a:pt x="1310" y="755"/>
                    <a:pt x="1304" y="748"/>
                  </a:cubicBezTo>
                  <a:cubicBezTo>
                    <a:pt x="1298" y="741"/>
                    <a:pt x="1290" y="741"/>
                    <a:pt x="1280" y="738"/>
                  </a:cubicBezTo>
                  <a:cubicBezTo>
                    <a:pt x="1270" y="735"/>
                    <a:pt x="1265" y="732"/>
                    <a:pt x="1257" y="719"/>
                  </a:cubicBezTo>
                  <a:cubicBezTo>
                    <a:pt x="1249" y="706"/>
                    <a:pt x="1222" y="711"/>
                    <a:pt x="1211" y="710"/>
                  </a:cubicBezTo>
                  <a:cubicBezTo>
                    <a:pt x="1200" y="709"/>
                    <a:pt x="1192" y="711"/>
                    <a:pt x="1179" y="711"/>
                  </a:cubicBezTo>
                  <a:cubicBezTo>
                    <a:pt x="1166" y="711"/>
                    <a:pt x="1162" y="708"/>
                    <a:pt x="1149" y="704"/>
                  </a:cubicBezTo>
                  <a:cubicBezTo>
                    <a:pt x="1136" y="700"/>
                    <a:pt x="1113" y="704"/>
                    <a:pt x="1095" y="702"/>
                  </a:cubicBezTo>
                  <a:cubicBezTo>
                    <a:pt x="1077" y="700"/>
                    <a:pt x="1085" y="691"/>
                    <a:pt x="1069" y="683"/>
                  </a:cubicBezTo>
                  <a:cubicBezTo>
                    <a:pt x="1053" y="675"/>
                    <a:pt x="1062" y="671"/>
                    <a:pt x="1063" y="662"/>
                  </a:cubicBezTo>
                  <a:cubicBezTo>
                    <a:pt x="1064" y="653"/>
                    <a:pt x="1070" y="643"/>
                    <a:pt x="1083" y="634"/>
                  </a:cubicBezTo>
                  <a:cubicBezTo>
                    <a:pt x="1096" y="625"/>
                    <a:pt x="1087" y="623"/>
                    <a:pt x="1080" y="618"/>
                  </a:cubicBezTo>
                  <a:cubicBezTo>
                    <a:pt x="1073" y="613"/>
                    <a:pt x="1075" y="598"/>
                    <a:pt x="1089" y="592"/>
                  </a:cubicBezTo>
                  <a:cubicBezTo>
                    <a:pt x="1103" y="586"/>
                    <a:pt x="1097" y="575"/>
                    <a:pt x="1085" y="570"/>
                  </a:cubicBezTo>
                  <a:cubicBezTo>
                    <a:pt x="1073" y="565"/>
                    <a:pt x="1076" y="555"/>
                    <a:pt x="1063" y="545"/>
                  </a:cubicBezTo>
                  <a:cubicBezTo>
                    <a:pt x="1050" y="535"/>
                    <a:pt x="1048" y="525"/>
                    <a:pt x="1047" y="515"/>
                  </a:cubicBezTo>
                  <a:cubicBezTo>
                    <a:pt x="1046" y="505"/>
                    <a:pt x="1040" y="500"/>
                    <a:pt x="1037" y="495"/>
                  </a:cubicBezTo>
                  <a:cubicBezTo>
                    <a:pt x="1034" y="490"/>
                    <a:pt x="1025" y="481"/>
                    <a:pt x="1017" y="479"/>
                  </a:cubicBezTo>
                  <a:cubicBezTo>
                    <a:pt x="1009" y="477"/>
                    <a:pt x="1003" y="478"/>
                    <a:pt x="999" y="471"/>
                  </a:cubicBezTo>
                  <a:cubicBezTo>
                    <a:pt x="995" y="464"/>
                    <a:pt x="977" y="471"/>
                    <a:pt x="964" y="470"/>
                  </a:cubicBezTo>
                  <a:cubicBezTo>
                    <a:pt x="951" y="469"/>
                    <a:pt x="934" y="452"/>
                    <a:pt x="932" y="446"/>
                  </a:cubicBezTo>
                  <a:cubicBezTo>
                    <a:pt x="930" y="440"/>
                    <a:pt x="927" y="438"/>
                    <a:pt x="913" y="433"/>
                  </a:cubicBezTo>
                  <a:cubicBezTo>
                    <a:pt x="899" y="428"/>
                    <a:pt x="897" y="423"/>
                    <a:pt x="895" y="416"/>
                  </a:cubicBezTo>
                  <a:cubicBezTo>
                    <a:pt x="893" y="409"/>
                    <a:pt x="889" y="409"/>
                    <a:pt x="885" y="398"/>
                  </a:cubicBezTo>
                  <a:cubicBezTo>
                    <a:pt x="883" y="394"/>
                    <a:pt x="883" y="388"/>
                    <a:pt x="884" y="382"/>
                  </a:cubicBezTo>
                  <a:cubicBezTo>
                    <a:pt x="883" y="382"/>
                    <a:pt x="883" y="382"/>
                    <a:pt x="882" y="382"/>
                  </a:cubicBezTo>
                  <a:cubicBezTo>
                    <a:pt x="882" y="382"/>
                    <a:pt x="882" y="382"/>
                    <a:pt x="882" y="382"/>
                  </a:cubicBezTo>
                  <a:cubicBezTo>
                    <a:pt x="882" y="382"/>
                    <a:pt x="881" y="382"/>
                    <a:pt x="881" y="383"/>
                  </a:cubicBezTo>
                  <a:cubicBezTo>
                    <a:pt x="880" y="383"/>
                    <a:pt x="880" y="383"/>
                    <a:pt x="880" y="383"/>
                  </a:cubicBezTo>
                  <a:cubicBezTo>
                    <a:pt x="878" y="383"/>
                    <a:pt x="875" y="382"/>
                    <a:pt x="873" y="382"/>
                  </a:cubicBezTo>
                  <a:cubicBezTo>
                    <a:pt x="872" y="382"/>
                    <a:pt x="872" y="382"/>
                    <a:pt x="872" y="382"/>
                  </a:cubicBezTo>
                  <a:cubicBezTo>
                    <a:pt x="872" y="382"/>
                    <a:pt x="871" y="382"/>
                    <a:pt x="871" y="382"/>
                  </a:cubicBezTo>
                  <a:cubicBezTo>
                    <a:pt x="870" y="382"/>
                    <a:pt x="870" y="382"/>
                    <a:pt x="869" y="382"/>
                  </a:cubicBezTo>
                  <a:cubicBezTo>
                    <a:pt x="860" y="381"/>
                    <a:pt x="855" y="384"/>
                    <a:pt x="849" y="377"/>
                  </a:cubicBezTo>
                  <a:cubicBezTo>
                    <a:pt x="847" y="374"/>
                    <a:pt x="843" y="372"/>
                    <a:pt x="839" y="371"/>
                  </a:cubicBezTo>
                  <a:cubicBezTo>
                    <a:pt x="839" y="371"/>
                    <a:pt x="839" y="371"/>
                    <a:pt x="839" y="371"/>
                  </a:cubicBezTo>
                  <a:cubicBezTo>
                    <a:pt x="839" y="372"/>
                    <a:pt x="838" y="373"/>
                    <a:pt x="838" y="374"/>
                  </a:cubicBezTo>
                  <a:cubicBezTo>
                    <a:pt x="838" y="374"/>
                    <a:pt x="838" y="374"/>
                    <a:pt x="838" y="374"/>
                  </a:cubicBezTo>
                  <a:cubicBezTo>
                    <a:pt x="837" y="374"/>
                    <a:pt x="837" y="375"/>
                    <a:pt x="836" y="376"/>
                  </a:cubicBezTo>
                  <a:cubicBezTo>
                    <a:pt x="836" y="376"/>
                    <a:pt x="836" y="376"/>
                    <a:pt x="835" y="376"/>
                  </a:cubicBezTo>
                  <a:cubicBezTo>
                    <a:pt x="835" y="377"/>
                    <a:pt x="834" y="378"/>
                    <a:pt x="833" y="379"/>
                  </a:cubicBezTo>
                  <a:cubicBezTo>
                    <a:pt x="833" y="379"/>
                    <a:pt x="833" y="379"/>
                    <a:pt x="833" y="379"/>
                  </a:cubicBezTo>
                  <a:cubicBezTo>
                    <a:pt x="832" y="380"/>
                    <a:pt x="831" y="380"/>
                    <a:pt x="830" y="381"/>
                  </a:cubicBezTo>
                  <a:cubicBezTo>
                    <a:pt x="819" y="388"/>
                    <a:pt x="824" y="391"/>
                    <a:pt x="822" y="414"/>
                  </a:cubicBezTo>
                  <a:cubicBezTo>
                    <a:pt x="820" y="436"/>
                    <a:pt x="793" y="436"/>
                    <a:pt x="772" y="436"/>
                  </a:cubicBezTo>
                  <a:cubicBezTo>
                    <a:pt x="752" y="436"/>
                    <a:pt x="744" y="464"/>
                    <a:pt x="743" y="474"/>
                  </a:cubicBezTo>
                  <a:cubicBezTo>
                    <a:pt x="742" y="484"/>
                    <a:pt x="744" y="496"/>
                    <a:pt x="749" y="504"/>
                  </a:cubicBezTo>
                  <a:cubicBezTo>
                    <a:pt x="754" y="512"/>
                    <a:pt x="751" y="516"/>
                    <a:pt x="752" y="528"/>
                  </a:cubicBezTo>
                  <a:cubicBezTo>
                    <a:pt x="754" y="540"/>
                    <a:pt x="748" y="544"/>
                    <a:pt x="740" y="545"/>
                  </a:cubicBezTo>
                  <a:cubicBezTo>
                    <a:pt x="732" y="546"/>
                    <a:pt x="727" y="549"/>
                    <a:pt x="719" y="557"/>
                  </a:cubicBezTo>
                  <a:cubicBezTo>
                    <a:pt x="711" y="565"/>
                    <a:pt x="704" y="566"/>
                    <a:pt x="693" y="560"/>
                  </a:cubicBezTo>
                  <a:cubicBezTo>
                    <a:pt x="682" y="554"/>
                    <a:pt x="670" y="555"/>
                    <a:pt x="647" y="557"/>
                  </a:cubicBezTo>
                  <a:cubicBezTo>
                    <a:pt x="624" y="559"/>
                    <a:pt x="634" y="551"/>
                    <a:pt x="610" y="540"/>
                  </a:cubicBezTo>
                  <a:cubicBezTo>
                    <a:pt x="586" y="528"/>
                    <a:pt x="587" y="546"/>
                    <a:pt x="583" y="554"/>
                  </a:cubicBezTo>
                  <a:cubicBezTo>
                    <a:pt x="579" y="563"/>
                    <a:pt x="575" y="573"/>
                    <a:pt x="571" y="589"/>
                  </a:cubicBezTo>
                  <a:cubicBezTo>
                    <a:pt x="567" y="605"/>
                    <a:pt x="572" y="605"/>
                    <a:pt x="560" y="613"/>
                  </a:cubicBezTo>
                  <a:cubicBezTo>
                    <a:pt x="548" y="621"/>
                    <a:pt x="542" y="657"/>
                    <a:pt x="540" y="664"/>
                  </a:cubicBezTo>
                  <a:cubicBezTo>
                    <a:pt x="539" y="672"/>
                    <a:pt x="542" y="678"/>
                    <a:pt x="553" y="678"/>
                  </a:cubicBezTo>
                  <a:cubicBezTo>
                    <a:pt x="564" y="678"/>
                    <a:pt x="563" y="686"/>
                    <a:pt x="560" y="694"/>
                  </a:cubicBezTo>
                  <a:cubicBezTo>
                    <a:pt x="556" y="703"/>
                    <a:pt x="543" y="703"/>
                    <a:pt x="524" y="702"/>
                  </a:cubicBezTo>
                  <a:cubicBezTo>
                    <a:pt x="504" y="700"/>
                    <a:pt x="507" y="690"/>
                    <a:pt x="494" y="687"/>
                  </a:cubicBezTo>
                  <a:cubicBezTo>
                    <a:pt x="482" y="684"/>
                    <a:pt x="466" y="690"/>
                    <a:pt x="461" y="699"/>
                  </a:cubicBezTo>
                  <a:cubicBezTo>
                    <a:pt x="456" y="708"/>
                    <a:pt x="420" y="699"/>
                    <a:pt x="419" y="705"/>
                  </a:cubicBezTo>
                  <a:cubicBezTo>
                    <a:pt x="418" y="711"/>
                    <a:pt x="393" y="704"/>
                    <a:pt x="391" y="714"/>
                  </a:cubicBezTo>
                  <a:cubicBezTo>
                    <a:pt x="389" y="725"/>
                    <a:pt x="393" y="730"/>
                    <a:pt x="407" y="730"/>
                  </a:cubicBezTo>
                  <a:cubicBezTo>
                    <a:pt x="421" y="730"/>
                    <a:pt x="416" y="757"/>
                    <a:pt x="416" y="776"/>
                  </a:cubicBezTo>
                  <a:cubicBezTo>
                    <a:pt x="417" y="794"/>
                    <a:pt x="416" y="798"/>
                    <a:pt x="428" y="807"/>
                  </a:cubicBezTo>
                  <a:cubicBezTo>
                    <a:pt x="440" y="816"/>
                    <a:pt x="435" y="828"/>
                    <a:pt x="440" y="846"/>
                  </a:cubicBezTo>
                  <a:cubicBezTo>
                    <a:pt x="446" y="864"/>
                    <a:pt x="436" y="862"/>
                    <a:pt x="432" y="872"/>
                  </a:cubicBezTo>
                  <a:cubicBezTo>
                    <a:pt x="429" y="882"/>
                    <a:pt x="410" y="881"/>
                    <a:pt x="405" y="891"/>
                  </a:cubicBezTo>
                  <a:cubicBezTo>
                    <a:pt x="405" y="892"/>
                    <a:pt x="404" y="892"/>
                    <a:pt x="404" y="893"/>
                  </a:cubicBezTo>
                  <a:cubicBezTo>
                    <a:pt x="404" y="893"/>
                    <a:pt x="404" y="894"/>
                    <a:pt x="404" y="894"/>
                  </a:cubicBezTo>
                  <a:cubicBezTo>
                    <a:pt x="404" y="895"/>
                    <a:pt x="404" y="895"/>
                    <a:pt x="403" y="896"/>
                  </a:cubicBezTo>
                  <a:cubicBezTo>
                    <a:pt x="403" y="896"/>
                    <a:pt x="403" y="897"/>
                    <a:pt x="403" y="897"/>
                  </a:cubicBezTo>
                  <a:cubicBezTo>
                    <a:pt x="403" y="898"/>
                    <a:pt x="403" y="898"/>
                    <a:pt x="403" y="899"/>
                  </a:cubicBezTo>
                  <a:cubicBezTo>
                    <a:pt x="403" y="899"/>
                    <a:pt x="403" y="900"/>
                    <a:pt x="403" y="900"/>
                  </a:cubicBezTo>
                  <a:cubicBezTo>
                    <a:pt x="403" y="901"/>
                    <a:pt x="403" y="901"/>
                    <a:pt x="403" y="902"/>
                  </a:cubicBezTo>
                  <a:cubicBezTo>
                    <a:pt x="403" y="903"/>
                    <a:pt x="403" y="903"/>
                    <a:pt x="403" y="903"/>
                  </a:cubicBezTo>
                  <a:cubicBezTo>
                    <a:pt x="403" y="904"/>
                    <a:pt x="403" y="905"/>
                    <a:pt x="403" y="906"/>
                  </a:cubicBezTo>
                  <a:cubicBezTo>
                    <a:pt x="403" y="906"/>
                    <a:pt x="403" y="906"/>
                    <a:pt x="403" y="907"/>
                  </a:cubicBezTo>
                  <a:cubicBezTo>
                    <a:pt x="403" y="908"/>
                    <a:pt x="403" y="909"/>
                    <a:pt x="403" y="909"/>
                  </a:cubicBezTo>
                  <a:cubicBezTo>
                    <a:pt x="403" y="910"/>
                    <a:pt x="403" y="910"/>
                    <a:pt x="403" y="910"/>
                  </a:cubicBezTo>
                  <a:cubicBezTo>
                    <a:pt x="403" y="911"/>
                    <a:pt x="403" y="913"/>
                    <a:pt x="403" y="914"/>
                  </a:cubicBezTo>
                  <a:cubicBezTo>
                    <a:pt x="403" y="914"/>
                    <a:pt x="403" y="914"/>
                    <a:pt x="403" y="914"/>
                  </a:cubicBezTo>
                  <a:cubicBezTo>
                    <a:pt x="404" y="915"/>
                    <a:pt x="404" y="917"/>
                    <a:pt x="404" y="918"/>
                  </a:cubicBezTo>
                  <a:cubicBezTo>
                    <a:pt x="404" y="920"/>
                    <a:pt x="404" y="923"/>
                    <a:pt x="405" y="925"/>
                  </a:cubicBezTo>
                  <a:cubicBezTo>
                    <a:pt x="405" y="926"/>
                    <a:pt x="405" y="926"/>
                    <a:pt x="405" y="926"/>
                  </a:cubicBezTo>
                  <a:cubicBezTo>
                    <a:pt x="405" y="927"/>
                    <a:pt x="405" y="927"/>
                    <a:pt x="405" y="928"/>
                  </a:cubicBezTo>
                  <a:cubicBezTo>
                    <a:pt x="405" y="929"/>
                    <a:pt x="405" y="929"/>
                    <a:pt x="405" y="929"/>
                  </a:cubicBezTo>
                  <a:cubicBezTo>
                    <a:pt x="405" y="930"/>
                    <a:pt x="405" y="931"/>
                    <a:pt x="405" y="931"/>
                  </a:cubicBezTo>
                  <a:cubicBezTo>
                    <a:pt x="405" y="932"/>
                    <a:pt x="405" y="932"/>
                    <a:pt x="405" y="932"/>
                  </a:cubicBezTo>
                  <a:cubicBezTo>
                    <a:pt x="405" y="933"/>
                    <a:pt x="405" y="934"/>
                    <a:pt x="405" y="934"/>
                  </a:cubicBezTo>
                  <a:cubicBezTo>
                    <a:pt x="405" y="934"/>
                    <a:pt x="405" y="935"/>
                    <a:pt x="405" y="935"/>
                  </a:cubicBezTo>
                  <a:cubicBezTo>
                    <a:pt x="405" y="936"/>
                    <a:pt x="405" y="936"/>
                    <a:pt x="405" y="937"/>
                  </a:cubicBezTo>
                  <a:cubicBezTo>
                    <a:pt x="405" y="937"/>
                    <a:pt x="405" y="937"/>
                    <a:pt x="405" y="938"/>
                  </a:cubicBezTo>
                  <a:cubicBezTo>
                    <a:pt x="405" y="938"/>
                    <a:pt x="405" y="939"/>
                    <a:pt x="405" y="940"/>
                  </a:cubicBezTo>
                  <a:cubicBezTo>
                    <a:pt x="404" y="950"/>
                    <a:pt x="397" y="948"/>
                    <a:pt x="382" y="950"/>
                  </a:cubicBezTo>
                  <a:cubicBezTo>
                    <a:pt x="366" y="952"/>
                    <a:pt x="356" y="959"/>
                    <a:pt x="338" y="967"/>
                  </a:cubicBezTo>
                  <a:cubicBezTo>
                    <a:pt x="319" y="975"/>
                    <a:pt x="288" y="992"/>
                    <a:pt x="286" y="1006"/>
                  </a:cubicBezTo>
                  <a:cubicBezTo>
                    <a:pt x="284" y="1021"/>
                    <a:pt x="230" y="1016"/>
                    <a:pt x="214" y="1016"/>
                  </a:cubicBezTo>
                  <a:cubicBezTo>
                    <a:pt x="198" y="1016"/>
                    <a:pt x="184" y="1019"/>
                    <a:pt x="180" y="1044"/>
                  </a:cubicBezTo>
                  <a:cubicBezTo>
                    <a:pt x="176" y="1070"/>
                    <a:pt x="160" y="1066"/>
                    <a:pt x="150" y="1066"/>
                  </a:cubicBezTo>
                  <a:cubicBezTo>
                    <a:pt x="139" y="1065"/>
                    <a:pt x="138" y="1074"/>
                    <a:pt x="126" y="1074"/>
                  </a:cubicBezTo>
                  <a:cubicBezTo>
                    <a:pt x="115" y="1074"/>
                    <a:pt x="116" y="1071"/>
                    <a:pt x="116" y="1062"/>
                  </a:cubicBezTo>
                  <a:cubicBezTo>
                    <a:pt x="115" y="1052"/>
                    <a:pt x="100" y="1052"/>
                    <a:pt x="95" y="1059"/>
                  </a:cubicBezTo>
                  <a:cubicBezTo>
                    <a:pt x="90" y="1066"/>
                    <a:pt x="84" y="1066"/>
                    <a:pt x="75" y="1066"/>
                  </a:cubicBezTo>
                  <a:cubicBezTo>
                    <a:pt x="66" y="1066"/>
                    <a:pt x="60" y="1068"/>
                    <a:pt x="54" y="1078"/>
                  </a:cubicBezTo>
                  <a:cubicBezTo>
                    <a:pt x="49" y="1088"/>
                    <a:pt x="37" y="1092"/>
                    <a:pt x="17" y="1095"/>
                  </a:cubicBezTo>
                  <a:cubicBezTo>
                    <a:pt x="16" y="1095"/>
                    <a:pt x="16" y="1095"/>
                    <a:pt x="15" y="1096"/>
                  </a:cubicBezTo>
                  <a:cubicBezTo>
                    <a:pt x="15" y="1096"/>
                    <a:pt x="15" y="1096"/>
                    <a:pt x="14" y="1096"/>
                  </a:cubicBezTo>
                  <a:cubicBezTo>
                    <a:pt x="14" y="1096"/>
                    <a:pt x="13" y="1096"/>
                    <a:pt x="13" y="1096"/>
                  </a:cubicBezTo>
                  <a:cubicBezTo>
                    <a:pt x="13" y="1097"/>
                    <a:pt x="13" y="1097"/>
                    <a:pt x="12" y="1097"/>
                  </a:cubicBezTo>
                  <a:cubicBezTo>
                    <a:pt x="12" y="1097"/>
                    <a:pt x="11" y="1097"/>
                    <a:pt x="11" y="1098"/>
                  </a:cubicBezTo>
                  <a:cubicBezTo>
                    <a:pt x="11" y="1098"/>
                    <a:pt x="11" y="1098"/>
                    <a:pt x="11" y="1098"/>
                  </a:cubicBezTo>
                  <a:cubicBezTo>
                    <a:pt x="10" y="1099"/>
                    <a:pt x="10" y="1099"/>
                    <a:pt x="9" y="1100"/>
                  </a:cubicBezTo>
                  <a:cubicBezTo>
                    <a:pt x="9" y="1100"/>
                    <a:pt x="9" y="1100"/>
                    <a:pt x="9" y="1100"/>
                  </a:cubicBezTo>
                  <a:cubicBezTo>
                    <a:pt x="8" y="1101"/>
                    <a:pt x="8" y="1101"/>
                    <a:pt x="8" y="1102"/>
                  </a:cubicBezTo>
                  <a:cubicBezTo>
                    <a:pt x="8" y="1102"/>
                    <a:pt x="7" y="1102"/>
                    <a:pt x="7" y="1102"/>
                  </a:cubicBezTo>
                  <a:cubicBezTo>
                    <a:pt x="7" y="1103"/>
                    <a:pt x="7" y="1103"/>
                    <a:pt x="6" y="1104"/>
                  </a:cubicBezTo>
                  <a:cubicBezTo>
                    <a:pt x="6" y="1104"/>
                    <a:pt x="6" y="1104"/>
                    <a:pt x="6" y="1105"/>
                  </a:cubicBezTo>
                  <a:cubicBezTo>
                    <a:pt x="5" y="1106"/>
                    <a:pt x="5" y="1108"/>
                    <a:pt x="4" y="1110"/>
                  </a:cubicBezTo>
                  <a:cubicBezTo>
                    <a:pt x="4" y="1110"/>
                    <a:pt x="4" y="1110"/>
                    <a:pt x="4" y="1110"/>
                  </a:cubicBezTo>
                  <a:cubicBezTo>
                    <a:pt x="4" y="1111"/>
                    <a:pt x="4" y="1112"/>
                    <a:pt x="3" y="1112"/>
                  </a:cubicBezTo>
                  <a:cubicBezTo>
                    <a:pt x="3" y="1113"/>
                    <a:pt x="3" y="1113"/>
                    <a:pt x="3" y="1113"/>
                  </a:cubicBezTo>
                  <a:cubicBezTo>
                    <a:pt x="3" y="1114"/>
                    <a:pt x="3" y="1115"/>
                    <a:pt x="3" y="1116"/>
                  </a:cubicBezTo>
                  <a:cubicBezTo>
                    <a:pt x="3" y="1116"/>
                    <a:pt x="2" y="1116"/>
                    <a:pt x="2" y="1116"/>
                  </a:cubicBezTo>
                  <a:cubicBezTo>
                    <a:pt x="2" y="1117"/>
                    <a:pt x="2" y="1118"/>
                    <a:pt x="2" y="1119"/>
                  </a:cubicBezTo>
                  <a:cubicBezTo>
                    <a:pt x="2" y="1119"/>
                    <a:pt x="2" y="1119"/>
                    <a:pt x="2" y="1120"/>
                  </a:cubicBezTo>
                  <a:cubicBezTo>
                    <a:pt x="2" y="1121"/>
                    <a:pt x="2" y="1122"/>
                    <a:pt x="1" y="1123"/>
                  </a:cubicBezTo>
                  <a:cubicBezTo>
                    <a:pt x="1" y="1123"/>
                    <a:pt x="1" y="1123"/>
                    <a:pt x="1" y="1123"/>
                  </a:cubicBezTo>
                  <a:cubicBezTo>
                    <a:pt x="1" y="1124"/>
                    <a:pt x="1" y="1125"/>
                    <a:pt x="1" y="1126"/>
                  </a:cubicBezTo>
                  <a:cubicBezTo>
                    <a:pt x="1" y="1126"/>
                    <a:pt x="1" y="1126"/>
                    <a:pt x="1" y="1127"/>
                  </a:cubicBezTo>
                  <a:cubicBezTo>
                    <a:pt x="1" y="1129"/>
                    <a:pt x="1" y="1131"/>
                    <a:pt x="0" y="1134"/>
                  </a:cubicBezTo>
                  <a:cubicBezTo>
                    <a:pt x="0" y="1134"/>
                    <a:pt x="0" y="1134"/>
                    <a:pt x="0" y="1134"/>
                  </a:cubicBezTo>
                  <a:cubicBezTo>
                    <a:pt x="0" y="1135"/>
                    <a:pt x="0" y="1136"/>
                    <a:pt x="0" y="1137"/>
                  </a:cubicBezTo>
                  <a:cubicBezTo>
                    <a:pt x="0" y="1137"/>
                    <a:pt x="0" y="1137"/>
                    <a:pt x="0" y="1137"/>
                  </a:cubicBezTo>
                  <a:cubicBezTo>
                    <a:pt x="0" y="1146"/>
                    <a:pt x="0" y="1153"/>
                    <a:pt x="0" y="1159"/>
                  </a:cubicBezTo>
                  <a:cubicBezTo>
                    <a:pt x="0" y="1159"/>
                    <a:pt x="0" y="1160"/>
                    <a:pt x="0" y="1160"/>
                  </a:cubicBezTo>
                  <a:cubicBezTo>
                    <a:pt x="0" y="1160"/>
                    <a:pt x="0" y="1161"/>
                    <a:pt x="0" y="1161"/>
                  </a:cubicBezTo>
                  <a:cubicBezTo>
                    <a:pt x="0" y="1162"/>
                    <a:pt x="0" y="1162"/>
                    <a:pt x="0" y="1163"/>
                  </a:cubicBezTo>
                  <a:cubicBezTo>
                    <a:pt x="0" y="1178"/>
                    <a:pt x="5" y="1187"/>
                    <a:pt x="8" y="1198"/>
                  </a:cubicBezTo>
                  <a:cubicBezTo>
                    <a:pt x="10" y="1208"/>
                    <a:pt x="22" y="1204"/>
                    <a:pt x="27" y="1198"/>
                  </a:cubicBezTo>
                  <a:cubicBezTo>
                    <a:pt x="32" y="1193"/>
                    <a:pt x="49" y="1202"/>
                    <a:pt x="55" y="1204"/>
                  </a:cubicBezTo>
                  <a:cubicBezTo>
                    <a:pt x="61" y="1206"/>
                    <a:pt x="66" y="1226"/>
                    <a:pt x="66" y="1235"/>
                  </a:cubicBezTo>
                  <a:cubicBezTo>
                    <a:pt x="66" y="1244"/>
                    <a:pt x="66" y="1255"/>
                    <a:pt x="72" y="1265"/>
                  </a:cubicBezTo>
                  <a:cubicBezTo>
                    <a:pt x="72" y="1266"/>
                    <a:pt x="73" y="1267"/>
                    <a:pt x="73" y="1269"/>
                  </a:cubicBezTo>
                  <a:cubicBezTo>
                    <a:pt x="74" y="1269"/>
                    <a:pt x="74" y="1270"/>
                    <a:pt x="74" y="1271"/>
                  </a:cubicBezTo>
                  <a:cubicBezTo>
                    <a:pt x="74" y="1271"/>
                    <a:pt x="74" y="1272"/>
                    <a:pt x="75" y="1272"/>
                  </a:cubicBezTo>
                  <a:cubicBezTo>
                    <a:pt x="75" y="1273"/>
                    <a:pt x="75" y="1274"/>
                    <a:pt x="75" y="1275"/>
                  </a:cubicBezTo>
                  <a:cubicBezTo>
                    <a:pt x="75" y="1276"/>
                    <a:pt x="75" y="1276"/>
                    <a:pt x="75" y="1276"/>
                  </a:cubicBezTo>
                  <a:cubicBezTo>
                    <a:pt x="75" y="1277"/>
                    <a:pt x="75" y="1278"/>
                    <a:pt x="76" y="1280"/>
                  </a:cubicBezTo>
                  <a:cubicBezTo>
                    <a:pt x="76" y="1280"/>
                    <a:pt x="76" y="1280"/>
                    <a:pt x="76" y="1280"/>
                  </a:cubicBezTo>
                  <a:cubicBezTo>
                    <a:pt x="76" y="1281"/>
                    <a:pt x="75" y="1283"/>
                    <a:pt x="75" y="1284"/>
                  </a:cubicBezTo>
                  <a:cubicBezTo>
                    <a:pt x="75" y="1284"/>
                    <a:pt x="75" y="1284"/>
                    <a:pt x="75" y="1284"/>
                  </a:cubicBezTo>
                  <a:cubicBezTo>
                    <a:pt x="75" y="1285"/>
                    <a:pt x="75" y="1287"/>
                    <a:pt x="75" y="1288"/>
                  </a:cubicBezTo>
                  <a:cubicBezTo>
                    <a:pt x="75" y="1288"/>
                    <a:pt x="75" y="1288"/>
                    <a:pt x="75" y="1288"/>
                  </a:cubicBezTo>
                  <a:cubicBezTo>
                    <a:pt x="74" y="1291"/>
                    <a:pt x="73" y="1294"/>
                    <a:pt x="72" y="1296"/>
                  </a:cubicBezTo>
                  <a:cubicBezTo>
                    <a:pt x="72" y="1296"/>
                    <a:pt x="72" y="1297"/>
                    <a:pt x="72" y="1297"/>
                  </a:cubicBezTo>
                  <a:cubicBezTo>
                    <a:pt x="72" y="1297"/>
                    <a:pt x="71" y="1298"/>
                    <a:pt x="71" y="1298"/>
                  </a:cubicBezTo>
                  <a:cubicBezTo>
                    <a:pt x="65" y="1310"/>
                    <a:pt x="64" y="1311"/>
                    <a:pt x="57" y="1315"/>
                  </a:cubicBezTo>
                  <a:cubicBezTo>
                    <a:pt x="57" y="1315"/>
                    <a:pt x="56" y="1316"/>
                    <a:pt x="56" y="1316"/>
                  </a:cubicBezTo>
                  <a:cubicBezTo>
                    <a:pt x="59" y="1319"/>
                    <a:pt x="65" y="1323"/>
                    <a:pt x="74" y="1323"/>
                  </a:cubicBezTo>
                  <a:cubicBezTo>
                    <a:pt x="88" y="1323"/>
                    <a:pt x="92" y="1322"/>
                    <a:pt x="96" y="1327"/>
                  </a:cubicBezTo>
                  <a:cubicBezTo>
                    <a:pt x="100" y="1332"/>
                    <a:pt x="101" y="1336"/>
                    <a:pt x="112" y="1338"/>
                  </a:cubicBezTo>
                  <a:cubicBezTo>
                    <a:pt x="124" y="1341"/>
                    <a:pt x="122" y="1346"/>
                    <a:pt x="128" y="1349"/>
                  </a:cubicBezTo>
                  <a:cubicBezTo>
                    <a:pt x="134" y="1352"/>
                    <a:pt x="140" y="1359"/>
                    <a:pt x="140" y="1368"/>
                  </a:cubicBezTo>
                  <a:cubicBezTo>
                    <a:pt x="140" y="1376"/>
                    <a:pt x="129" y="1386"/>
                    <a:pt x="136" y="1392"/>
                  </a:cubicBezTo>
                  <a:cubicBezTo>
                    <a:pt x="144" y="1398"/>
                    <a:pt x="145" y="1406"/>
                    <a:pt x="155" y="1406"/>
                  </a:cubicBezTo>
                  <a:cubicBezTo>
                    <a:pt x="165" y="1406"/>
                    <a:pt x="174" y="1402"/>
                    <a:pt x="181" y="1412"/>
                  </a:cubicBezTo>
                  <a:cubicBezTo>
                    <a:pt x="188" y="1422"/>
                    <a:pt x="184" y="1424"/>
                    <a:pt x="200" y="1426"/>
                  </a:cubicBezTo>
                  <a:cubicBezTo>
                    <a:pt x="216" y="1428"/>
                    <a:pt x="211" y="1432"/>
                    <a:pt x="223" y="1433"/>
                  </a:cubicBezTo>
                  <a:cubicBezTo>
                    <a:pt x="224" y="1433"/>
                    <a:pt x="225" y="1433"/>
                    <a:pt x="225" y="1433"/>
                  </a:cubicBezTo>
                  <a:cubicBezTo>
                    <a:pt x="226" y="1433"/>
                    <a:pt x="226" y="1433"/>
                    <a:pt x="226" y="1433"/>
                  </a:cubicBezTo>
                  <a:cubicBezTo>
                    <a:pt x="238" y="1434"/>
                    <a:pt x="258" y="1437"/>
                    <a:pt x="268" y="1432"/>
                  </a:cubicBezTo>
                  <a:cubicBezTo>
                    <a:pt x="268" y="1431"/>
                    <a:pt x="268" y="1431"/>
                    <a:pt x="269" y="1431"/>
                  </a:cubicBezTo>
                  <a:cubicBezTo>
                    <a:pt x="269" y="1430"/>
                    <a:pt x="270" y="1430"/>
                    <a:pt x="270" y="1430"/>
                  </a:cubicBezTo>
                  <a:cubicBezTo>
                    <a:pt x="279" y="1421"/>
                    <a:pt x="278" y="1415"/>
                    <a:pt x="289" y="1414"/>
                  </a:cubicBezTo>
                  <a:cubicBezTo>
                    <a:pt x="300" y="1414"/>
                    <a:pt x="300" y="1406"/>
                    <a:pt x="310" y="1402"/>
                  </a:cubicBezTo>
                  <a:cubicBezTo>
                    <a:pt x="321" y="1399"/>
                    <a:pt x="322" y="1396"/>
                    <a:pt x="335" y="1396"/>
                  </a:cubicBezTo>
                  <a:cubicBezTo>
                    <a:pt x="348" y="1396"/>
                    <a:pt x="362" y="1394"/>
                    <a:pt x="370" y="1406"/>
                  </a:cubicBezTo>
                  <a:cubicBezTo>
                    <a:pt x="379" y="1417"/>
                    <a:pt x="385" y="1425"/>
                    <a:pt x="397" y="1428"/>
                  </a:cubicBezTo>
                  <a:cubicBezTo>
                    <a:pt x="409" y="1430"/>
                    <a:pt x="422" y="1431"/>
                    <a:pt x="418" y="1440"/>
                  </a:cubicBezTo>
                  <a:cubicBezTo>
                    <a:pt x="415" y="1450"/>
                    <a:pt x="409" y="1451"/>
                    <a:pt x="410" y="1460"/>
                  </a:cubicBezTo>
                  <a:cubicBezTo>
                    <a:pt x="412" y="1470"/>
                    <a:pt x="412" y="1486"/>
                    <a:pt x="404" y="1488"/>
                  </a:cubicBezTo>
                  <a:cubicBezTo>
                    <a:pt x="396" y="1490"/>
                    <a:pt x="392" y="1493"/>
                    <a:pt x="386" y="1501"/>
                  </a:cubicBezTo>
                  <a:cubicBezTo>
                    <a:pt x="381" y="1509"/>
                    <a:pt x="375" y="1529"/>
                    <a:pt x="362" y="1532"/>
                  </a:cubicBezTo>
                  <a:cubicBezTo>
                    <a:pt x="350" y="1536"/>
                    <a:pt x="343" y="1542"/>
                    <a:pt x="338" y="1536"/>
                  </a:cubicBezTo>
                  <a:cubicBezTo>
                    <a:pt x="334" y="1529"/>
                    <a:pt x="327" y="1523"/>
                    <a:pt x="320" y="1528"/>
                  </a:cubicBezTo>
                  <a:cubicBezTo>
                    <a:pt x="312" y="1532"/>
                    <a:pt x="306" y="1539"/>
                    <a:pt x="314" y="1548"/>
                  </a:cubicBezTo>
                  <a:cubicBezTo>
                    <a:pt x="322" y="1556"/>
                    <a:pt x="326" y="1558"/>
                    <a:pt x="322" y="1567"/>
                  </a:cubicBezTo>
                  <a:cubicBezTo>
                    <a:pt x="319" y="1576"/>
                    <a:pt x="327" y="1590"/>
                    <a:pt x="336" y="1594"/>
                  </a:cubicBezTo>
                  <a:cubicBezTo>
                    <a:pt x="344" y="1597"/>
                    <a:pt x="351" y="1604"/>
                    <a:pt x="352" y="1608"/>
                  </a:cubicBezTo>
                  <a:cubicBezTo>
                    <a:pt x="352" y="1612"/>
                    <a:pt x="352" y="1615"/>
                    <a:pt x="357" y="1620"/>
                  </a:cubicBezTo>
                  <a:cubicBezTo>
                    <a:pt x="362" y="1626"/>
                    <a:pt x="368" y="1632"/>
                    <a:pt x="362" y="1638"/>
                  </a:cubicBezTo>
                  <a:cubicBezTo>
                    <a:pt x="356" y="1644"/>
                    <a:pt x="348" y="1644"/>
                    <a:pt x="343" y="1650"/>
                  </a:cubicBezTo>
                  <a:cubicBezTo>
                    <a:pt x="338" y="1657"/>
                    <a:pt x="326" y="1667"/>
                    <a:pt x="323" y="1661"/>
                  </a:cubicBezTo>
                  <a:cubicBezTo>
                    <a:pt x="320" y="1655"/>
                    <a:pt x="318" y="1644"/>
                    <a:pt x="315" y="1642"/>
                  </a:cubicBezTo>
                  <a:cubicBezTo>
                    <a:pt x="312" y="1640"/>
                    <a:pt x="305" y="1645"/>
                    <a:pt x="299" y="1645"/>
                  </a:cubicBezTo>
                  <a:cubicBezTo>
                    <a:pt x="293" y="1645"/>
                    <a:pt x="290" y="1653"/>
                    <a:pt x="296" y="1662"/>
                  </a:cubicBezTo>
                  <a:cubicBezTo>
                    <a:pt x="302" y="1672"/>
                    <a:pt x="304" y="1669"/>
                    <a:pt x="308" y="1681"/>
                  </a:cubicBezTo>
                  <a:cubicBezTo>
                    <a:pt x="311" y="1693"/>
                    <a:pt x="308" y="1730"/>
                    <a:pt x="319" y="1730"/>
                  </a:cubicBezTo>
                  <a:cubicBezTo>
                    <a:pt x="330" y="1730"/>
                    <a:pt x="339" y="1722"/>
                    <a:pt x="345" y="1735"/>
                  </a:cubicBezTo>
                  <a:cubicBezTo>
                    <a:pt x="351" y="1748"/>
                    <a:pt x="353" y="1756"/>
                    <a:pt x="365" y="1756"/>
                  </a:cubicBezTo>
                  <a:cubicBezTo>
                    <a:pt x="377" y="1756"/>
                    <a:pt x="381" y="1749"/>
                    <a:pt x="388" y="1761"/>
                  </a:cubicBezTo>
                  <a:cubicBezTo>
                    <a:pt x="396" y="1773"/>
                    <a:pt x="394" y="1778"/>
                    <a:pt x="407" y="1783"/>
                  </a:cubicBezTo>
                  <a:cubicBezTo>
                    <a:pt x="420" y="1788"/>
                    <a:pt x="425" y="1788"/>
                    <a:pt x="432" y="1794"/>
                  </a:cubicBezTo>
                  <a:cubicBezTo>
                    <a:pt x="438" y="1799"/>
                    <a:pt x="442" y="1795"/>
                    <a:pt x="446" y="1804"/>
                  </a:cubicBezTo>
                  <a:cubicBezTo>
                    <a:pt x="447" y="1804"/>
                    <a:pt x="447" y="1805"/>
                    <a:pt x="447" y="1806"/>
                  </a:cubicBezTo>
                  <a:cubicBezTo>
                    <a:pt x="447" y="1806"/>
                    <a:pt x="447" y="1806"/>
                    <a:pt x="447" y="1806"/>
                  </a:cubicBezTo>
                  <a:cubicBezTo>
                    <a:pt x="448" y="1807"/>
                    <a:pt x="448" y="1807"/>
                    <a:pt x="448" y="1808"/>
                  </a:cubicBezTo>
                  <a:cubicBezTo>
                    <a:pt x="448" y="1808"/>
                    <a:pt x="448" y="1808"/>
                    <a:pt x="448" y="1808"/>
                  </a:cubicBezTo>
                  <a:cubicBezTo>
                    <a:pt x="451" y="1808"/>
                    <a:pt x="455" y="1809"/>
                    <a:pt x="459" y="1811"/>
                  </a:cubicBezTo>
                  <a:cubicBezTo>
                    <a:pt x="468" y="1816"/>
                    <a:pt x="469" y="1817"/>
                    <a:pt x="474" y="1818"/>
                  </a:cubicBezTo>
                  <a:cubicBezTo>
                    <a:pt x="478" y="1818"/>
                    <a:pt x="476" y="1803"/>
                    <a:pt x="482" y="1802"/>
                  </a:cubicBezTo>
                  <a:cubicBezTo>
                    <a:pt x="489" y="1801"/>
                    <a:pt x="488" y="1793"/>
                    <a:pt x="494" y="1792"/>
                  </a:cubicBezTo>
                  <a:cubicBezTo>
                    <a:pt x="501" y="1792"/>
                    <a:pt x="503" y="1801"/>
                    <a:pt x="510" y="1801"/>
                  </a:cubicBezTo>
                  <a:cubicBezTo>
                    <a:pt x="517" y="1801"/>
                    <a:pt x="528" y="1803"/>
                    <a:pt x="531" y="1809"/>
                  </a:cubicBezTo>
                  <a:cubicBezTo>
                    <a:pt x="533" y="1815"/>
                    <a:pt x="536" y="1825"/>
                    <a:pt x="544" y="1826"/>
                  </a:cubicBezTo>
                  <a:cubicBezTo>
                    <a:pt x="552" y="1828"/>
                    <a:pt x="562" y="1827"/>
                    <a:pt x="566" y="1833"/>
                  </a:cubicBezTo>
                  <a:cubicBezTo>
                    <a:pt x="570" y="1838"/>
                    <a:pt x="589" y="1858"/>
                    <a:pt x="601" y="1861"/>
                  </a:cubicBezTo>
                  <a:cubicBezTo>
                    <a:pt x="613" y="1865"/>
                    <a:pt x="613" y="1869"/>
                    <a:pt x="621" y="1877"/>
                  </a:cubicBezTo>
                  <a:cubicBezTo>
                    <a:pt x="629" y="1884"/>
                    <a:pt x="632" y="1895"/>
                    <a:pt x="646" y="1895"/>
                  </a:cubicBezTo>
                  <a:cubicBezTo>
                    <a:pt x="661" y="1895"/>
                    <a:pt x="672" y="1891"/>
                    <a:pt x="679" y="1900"/>
                  </a:cubicBezTo>
                  <a:cubicBezTo>
                    <a:pt x="687" y="1908"/>
                    <a:pt x="689" y="1915"/>
                    <a:pt x="700" y="1917"/>
                  </a:cubicBezTo>
                  <a:cubicBezTo>
                    <a:pt x="710" y="1919"/>
                    <a:pt x="722" y="1918"/>
                    <a:pt x="726" y="1927"/>
                  </a:cubicBezTo>
                  <a:cubicBezTo>
                    <a:pt x="730" y="1935"/>
                    <a:pt x="736" y="1938"/>
                    <a:pt x="744" y="1939"/>
                  </a:cubicBezTo>
                  <a:cubicBezTo>
                    <a:pt x="751" y="1939"/>
                    <a:pt x="774" y="1944"/>
                    <a:pt x="778" y="1948"/>
                  </a:cubicBezTo>
                  <a:cubicBezTo>
                    <a:pt x="782" y="1952"/>
                    <a:pt x="783" y="1961"/>
                    <a:pt x="792" y="1961"/>
                  </a:cubicBezTo>
                  <a:cubicBezTo>
                    <a:pt x="800" y="1962"/>
                    <a:pt x="812" y="1972"/>
                    <a:pt x="815" y="1966"/>
                  </a:cubicBezTo>
                  <a:cubicBezTo>
                    <a:pt x="818" y="1960"/>
                    <a:pt x="825" y="1953"/>
                    <a:pt x="831" y="1960"/>
                  </a:cubicBezTo>
                  <a:cubicBezTo>
                    <a:pt x="838" y="1967"/>
                    <a:pt x="851" y="1975"/>
                    <a:pt x="855" y="1975"/>
                  </a:cubicBezTo>
                  <a:cubicBezTo>
                    <a:pt x="858" y="1976"/>
                    <a:pt x="870" y="1974"/>
                    <a:pt x="876" y="1974"/>
                  </a:cubicBezTo>
                  <a:cubicBezTo>
                    <a:pt x="883" y="1974"/>
                    <a:pt x="883" y="1965"/>
                    <a:pt x="894" y="1965"/>
                  </a:cubicBezTo>
                  <a:cubicBezTo>
                    <a:pt x="899" y="1965"/>
                    <a:pt x="905" y="1965"/>
                    <a:pt x="910" y="1965"/>
                  </a:cubicBezTo>
                  <a:cubicBezTo>
                    <a:pt x="910" y="1965"/>
                    <a:pt x="910" y="1965"/>
                    <a:pt x="910" y="1965"/>
                  </a:cubicBezTo>
                  <a:cubicBezTo>
                    <a:pt x="911" y="1965"/>
                    <a:pt x="913" y="1965"/>
                    <a:pt x="915" y="1965"/>
                  </a:cubicBezTo>
                  <a:cubicBezTo>
                    <a:pt x="915" y="1965"/>
                    <a:pt x="915" y="1965"/>
                    <a:pt x="915" y="1965"/>
                  </a:cubicBezTo>
                  <a:cubicBezTo>
                    <a:pt x="916" y="1965"/>
                    <a:pt x="916" y="1965"/>
                    <a:pt x="917" y="1965"/>
                  </a:cubicBezTo>
                  <a:cubicBezTo>
                    <a:pt x="917" y="1965"/>
                    <a:pt x="917" y="1965"/>
                    <a:pt x="918" y="1965"/>
                  </a:cubicBezTo>
                  <a:cubicBezTo>
                    <a:pt x="918" y="1965"/>
                    <a:pt x="918" y="1965"/>
                    <a:pt x="919" y="1965"/>
                  </a:cubicBezTo>
                  <a:cubicBezTo>
                    <a:pt x="919" y="1965"/>
                    <a:pt x="919" y="1965"/>
                    <a:pt x="920" y="1965"/>
                  </a:cubicBezTo>
                  <a:cubicBezTo>
                    <a:pt x="920" y="1965"/>
                    <a:pt x="920" y="1965"/>
                    <a:pt x="921" y="1965"/>
                  </a:cubicBezTo>
                  <a:cubicBezTo>
                    <a:pt x="921" y="1965"/>
                    <a:pt x="921" y="1965"/>
                    <a:pt x="921" y="1965"/>
                  </a:cubicBezTo>
                  <a:cubicBezTo>
                    <a:pt x="922" y="1965"/>
                    <a:pt x="922" y="1965"/>
                    <a:pt x="923" y="1965"/>
                  </a:cubicBezTo>
                  <a:cubicBezTo>
                    <a:pt x="923" y="1965"/>
                    <a:pt x="923" y="1965"/>
                    <a:pt x="923" y="1964"/>
                  </a:cubicBezTo>
                  <a:cubicBezTo>
                    <a:pt x="923" y="1964"/>
                    <a:pt x="924" y="1964"/>
                    <a:pt x="924" y="1964"/>
                  </a:cubicBezTo>
                  <a:cubicBezTo>
                    <a:pt x="924" y="1964"/>
                    <a:pt x="924" y="1964"/>
                    <a:pt x="924" y="1964"/>
                  </a:cubicBezTo>
                  <a:cubicBezTo>
                    <a:pt x="925" y="1964"/>
                    <a:pt x="925" y="1963"/>
                    <a:pt x="926" y="1963"/>
                  </a:cubicBezTo>
                  <a:cubicBezTo>
                    <a:pt x="930" y="1959"/>
                    <a:pt x="936" y="1956"/>
                    <a:pt x="943" y="1956"/>
                  </a:cubicBezTo>
                  <a:cubicBezTo>
                    <a:pt x="951" y="1957"/>
                    <a:pt x="952" y="1962"/>
                    <a:pt x="952" y="1967"/>
                  </a:cubicBezTo>
                  <a:cubicBezTo>
                    <a:pt x="952" y="1973"/>
                    <a:pt x="949" y="1988"/>
                    <a:pt x="951" y="1993"/>
                  </a:cubicBezTo>
                  <a:cubicBezTo>
                    <a:pt x="951" y="1993"/>
                    <a:pt x="951" y="1993"/>
                    <a:pt x="952" y="1994"/>
                  </a:cubicBezTo>
                  <a:cubicBezTo>
                    <a:pt x="952" y="1994"/>
                    <a:pt x="952" y="1994"/>
                    <a:pt x="952" y="1994"/>
                  </a:cubicBezTo>
                  <a:cubicBezTo>
                    <a:pt x="952" y="1994"/>
                    <a:pt x="953" y="1995"/>
                    <a:pt x="953" y="1995"/>
                  </a:cubicBezTo>
                  <a:cubicBezTo>
                    <a:pt x="953" y="1995"/>
                    <a:pt x="953" y="1995"/>
                    <a:pt x="953" y="1995"/>
                  </a:cubicBezTo>
                  <a:cubicBezTo>
                    <a:pt x="957" y="1999"/>
                    <a:pt x="963" y="2001"/>
                    <a:pt x="967" y="1992"/>
                  </a:cubicBezTo>
                  <a:cubicBezTo>
                    <a:pt x="971" y="1981"/>
                    <a:pt x="973" y="1976"/>
                    <a:pt x="978" y="1974"/>
                  </a:cubicBezTo>
                  <a:cubicBezTo>
                    <a:pt x="983" y="1972"/>
                    <a:pt x="985" y="1961"/>
                    <a:pt x="992" y="1958"/>
                  </a:cubicBezTo>
                  <a:cubicBezTo>
                    <a:pt x="1000" y="1956"/>
                    <a:pt x="1009" y="1941"/>
                    <a:pt x="1014" y="1940"/>
                  </a:cubicBezTo>
                  <a:cubicBezTo>
                    <a:pt x="1019" y="1939"/>
                    <a:pt x="1024" y="1931"/>
                    <a:pt x="1029" y="1936"/>
                  </a:cubicBezTo>
                  <a:cubicBezTo>
                    <a:pt x="1033" y="1940"/>
                    <a:pt x="1038" y="1942"/>
                    <a:pt x="1046" y="1944"/>
                  </a:cubicBezTo>
                  <a:cubicBezTo>
                    <a:pt x="1053" y="1946"/>
                    <a:pt x="1056" y="1961"/>
                    <a:pt x="1064" y="1960"/>
                  </a:cubicBezTo>
                  <a:cubicBezTo>
                    <a:pt x="1073" y="1960"/>
                    <a:pt x="1081" y="1957"/>
                    <a:pt x="1088" y="1958"/>
                  </a:cubicBezTo>
                  <a:cubicBezTo>
                    <a:pt x="1095" y="1959"/>
                    <a:pt x="1107" y="1951"/>
                    <a:pt x="1116" y="1956"/>
                  </a:cubicBezTo>
                  <a:cubicBezTo>
                    <a:pt x="1124" y="1961"/>
                    <a:pt x="1121" y="1964"/>
                    <a:pt x="1129" y="1967"/>
                  </a:cubicBezTo>
                  <a:cubicBezTo>
                    <a:pt x="1135" y="1969"/>
                    <a:pt x="1133" y="1980"/>
                    <a:pt x="1137" y="1981"/>
                  </a:cubicBezTo>
                  <a:cubicBezTo>
                    <a:pt x="1137" y="1981"/>
                    <a:pt x="1137" y="1981"/>
                    <a:pt x="1137" y="1981"/>
                  </a:cubicBezTo>
                  <a:cubicBezTo>
                    <a:pt x="1138" y="1981"/>
                    <a:pt x="1138" y="1981"/>
                    <a:pt x="1139" y="1981"/>
                  </a:cubicBezTo>
                  <a:cubicBezTo>
                    <a:pt x="1146" y="1979"/>
                    <a:pt x="1153" y="1974"/>
                    <a:pt x="1161" y="1975"/>
                  </a:cubicBezTo>
                  <a:cubicBezTo>
                    <a:pt x="1170" y="1977"/>
                    <a:pt x="1190" y="1980"/>
                    <a:pt x="1193" y="1970"/>
                  </a:cubicBezTo>
                  <a:cubicBezTo>
                    <a:pt x="1196" y="1960"/>
                    <a:pt x="1194" y="1948"/>
                    <a:pt x="1205" y="1946"/>
                  </a:cubicBezTo>
                  <a:cubicBezTo>
                    <a:pt x="1216" y="1944"/>
                    <a:pt x="1223" y="1938"/>
                    <a:pt x="1227" y="1929"/>
                  </a:cubicBezTo>
                  <a:cubicBezTo>
                    <a:pt x="1230" y="1921"/>
                    <a:pt x="1231" y="1915"/>
                    <a:pt x="1242" y="1916"/>
                  </a:cubicBezTo>
                  <a:cubicBezTo>
                    <a:pt x="1253" y="1916"/>
                    <a:pt x="1266" y="1916"/>
                    <a:pt x="1274" y="1905"/>
                  </a:cubicBezTo>
                  <a:cubicBezTo>
                    <a:pt x="1282" y="1894"/>
                    <a:pt x="1284" y="1888"/>
                    <a:pt x="1296" y="1881"/>
                  </a:cubicBezTo>
                  <a:cubicBezTo>
                    <a:pt x="1307" y="1875"/>
                    <a:pt x="1317" y="1861"/>
                    <a:pt x="1324" y="1868"/>
                  </a:cubicBezTo>
                  <a:cubicBezTo>
                    <a:pt x="1331" y="1876"/>
                    <a:pt x="1332" y="1885"/>
                    <a:pt x="1341" y="1885"/>
                  </a:cubicBezTo>
                  <a:cubicBezTo>
                    <a:pt x="1351" y="1885"/>
                    <a:pt x="1353" y="1882"/>
                    <a:pt x="1358" y="1886"/>
                  </a:cubicBezTo>
                  <a:cubicBezTo>
                    <a:pt x="1363" y="1890"/>
                    <a:pt x="1369" y="1892"/>
                    <a:pt x="1373" y="1887"/>
                  </a:cubicBezTo>
                  <a:cubicBezTo>
                    <a:pt x="1376" y="1883"/>
                    <a:pt x="1385" y="1867"/>
                    <a:pt x="1391" y="1867"/>
                  </a:cubicBezTo>
                  <a:cubicBezTo>
                    <a:pt x="1398" y="1867"/>
                    <a:pt x="1399" y="1857"/>
                    <a:pt x="1405" y="1856"/>
                  </a:cubicBezTo>
                  <a:cubicBezTo>
                    <a:pt x="1411" y="1856"/>
                    <a:pt x="1411" y="1864"/>
                    <a:pt x="1416" y="1865"/>
                  </a:cubicBezTo>
                  <a:cubicBezTo>
                    <a:pt x="1421" y="1866"/>
                    <a:pt x="1426" y="1870"/>
                    <a:pt x="1427" y="1874"/>
                  </a:cubicBezTo>
                  <a:cubicBezTo>
                    <a:pt x="1427" y="1878"/>
                    <a:pt x="1422" y="1887"/>
                    <a:pt x="1429" y="1890"/>
                  </a:cubicBezTo>
                  <a:cubicBezTo>
                    <a:pt x="1436" y="1894"/>
                    <a:pt x="1440" y="1898"/>
                    <a:pt x="1440" y="1903"/>
                  </a:cubicBezTo>
                  <a:cubicBezTo>
                    <a:pt x="1441" y="1908"/>
                    <a:pt x="1441" y="1913"/>
                    <a:pt x="1436" y="1917"/>
                  </a:cubicBezTo>
                  <a:cubicBezTo>
                    <a:pt x="1430" y="1920"/>
                    <a:pt x="1419" y="1932"/>
                    <a:pt x="1432" y="1934"/>
                  </a:cubicBezTo>
                  <a:cubicBezTo>
                    <a:pt x="1444" y="1935"/>
                    <a:pt x="1457" y="1928"/>
                    <a:pt x="1461" y="1934"/>
                  </a:cubicBezTo>
                  <a:cubicBezTo>
                    <a:pt x="1466" y="1939"/>
                    <a:pt x="1467" y="1943"/>
                    <a:pt x="1472" y="1941"/>
                  </a:cubicBezTo>
                  <a:cubicBezTo>
                    <a:pt x="1477" y="1940"/>
                    <a:pt x="1483" y="1937"/>
                    <a:pt x="1489" y="1940"/>
                  </a:cubicBezTo>
                  <a:cubicBezTo>
                    <a:pt x="1489" y="1940"/>
                    <a:pt x="1490" y="1940"/>
                    <a:pt x="1490" y="1940"/>
                  </a:cubicBezTo>
                  <a:cubicBezTo>
                    <a:pt x="1491" y="1940"/>
                    <a:pt x="1491" y="1940"/>
                    <a:pt x="1492" y="1940"/>
                  </a:cubicBezTo>
                  <a:cubicBezTo>
                    <a:pt x="1496" y="1939"/>
                    <a:pt x="1499" y="1934"/>
                    <a:pt x="1502" y="1930"/>
                  </a:cubicBezTo>
                  <a:cubicBezTo>
                    <a:pt x="1506" y="1925"/>
                    <a:pt x="1517" y="1920"/>
                    <a:pt x="1522" y="1931"/>
                  </a:cubicBezTo>
                  <a:cubicBezTo>
                    <a:pt x="1527" y="1941"/>
                    <a:pt x="1530" y="1941"/>
                    <a:pt x="1537" y="1946"/>
                  </a:cubicBezTo>
                  <a:cubicBezTo>
                    <a:pt x="1544" y="1950"/>
                    <a:pt x="1545" y="1961"/>
                    <a:pt x="1545" y="1969"/>
                  </a:cubicBezTo>
                  <a:cubicBezTo>
                    <a:pt x="1545" y="1977"/>
                    <a:pt x="1548" y="1987"/>
                    <a:pt x="1557" y="1989"/>
                  </a:cubicBezTo>
                  <a:cubicBezTo>
                    <a:pt x="1565" y="1990"/>
                    <a:pt x="1581" y="1992"/>
                    <a:pt x="1581" y="2001"/>
                  </a:cubicBezTo>
                  <a:cubicBezTo>
                    <a:pt x="1581" y="2009"/>
                    <a:pt x="1578" y="2021"/>
                    <a:pt x="1581" y="2028"/>
                  </a:cubicBezTo>
                  <a:cubicBezTo>
                    <a:pt x="1584" y="2035"/>
                    <a:pt x="1586" y="2042"/>
                    <a:pt x="1584" y="2050"/>
                  </a:cubicBezTo>
                  <a:cubicBezTo>
                    <a:pt x="1583" y="2057"/>
                    <a:pt x="1578" y="2057"/>
                    <a:pt x="1578" y="2068"/>
                  </a:cubicBezTo>
                  <a:cubicBezTo>
                    <a:pt x="1578" y="2079"/>
                    <a:pt x="1581" y="2097"/>
                    <a:pt x="1576" y="2103"/>
                  </a:cubicBezTo>
                  <a:cubicBezTo>
                    <a:pt x="1571" y="2109"/>
                    <a:pt x="1571" y="2119"/>
                    <a:pt x="1560" y="2124"/>
                  </a:cubicBezTo>
                  <a:cubicBezTo>
                    <a:pt x="1550" y="2129"/>
                    <a:pt x="1548" y="2131"/>
                    <a:pt x="1541" y="2141"/>
                  </a:cubicBezTo>
                  <a:cubicBezTo>
                    <a:pt x="1533" y="2151"/>
                    <a:pt x="1524" y="2155"/>
                    <a:pt x="1520" y="2163"/>
                  </a:cubicBezTo>
                  <a:cubicBezTo>
                    <a:pt x="1516" y="2172"/>
                    <a:pt x="1517" y="2179"/>
                    <a:pt x="1511" y="2184"/>
                  </a:cubicBezTo>
                  <a:cubicBezTo>
                    <a:pt x="1505" y="2188"/>
                    <a:pt x="1506" y="2190"/>
                    <a:pt x="1510" y="2197"/>
                  </a:cubicBezTo>
                  <a:cubicBezTo>
                    <a:pt x="1513" y="2204"/>
                    <a:pt x="1513" y="2204"/>
                    <a:pt x="1515" y="2213"/>
                  </a:cubicBezTo>
                  <a:cubicBezTo>
                    <a:pt x="1516" y="2222"/>
                    <a:pt x="1511" y="2239"/>
                    <a:pt x="1514" y="2240"/>
                  </a:cubicBezTo>
                  <a:cubicBezTo>
                    <a:pt x="1518" y="2242"/>
                    <a:pt x="1525" y="2241"/>
                    <a:pt x="1528" y="2236"/>
                  </a:cubicBezTo>
                  <a:cubicBezTo>
                    <a:pt x="1532" y="2231"/>
                    <a:pt x="1539" y="2229"/>
                    <a:pt x="1544" y="2229"/>
                  </a:cubicBezTo>
                  <a:cubicBezTo>
                    <a:pt x="1549" y="2229"/>
                    <a:pt x="1555" y="2221"/>
                    <a:pt x="1560" y="2225"/>
                  </a:cubicBezTo>
                  <a:cubicBezTo>
                    <a:pt x="1565" y="2228"/>
                    <a:pt x="1579" y="2228"/>
                    <a:pt x="1586" y="2222"/>
                  </a:cubicBezTo>
                  <a:cubicBezTo>
                    <a:pt x="1593" y="2217"/>
                    <a:pt x="1588" y="2234"/>
                    <a:pt x="1585" y="2243"/>
                  </a:cubicBezTo>
                  <a:cubicBezTo>
                    <a:pt x="1582" y="2253"/>
                    <a:pt x="1584" y="2254"/>
                    <a:pt x="1587" y="2264"/>
                  </a:cubicBezTo>
                  <a:cubicBezTo>
                    <a:pt x="1591" y="2273"/>
                    <a:pt x="1593" y="2272"/>
                    <a:pt x="1594" y="2282"/>
                  </a:cubicBezTo>
                  <a:cubicBezTo>
                    <a:pt x="1596" y="2293"/>
                    <a:pt x="1597" y="2297"/>
                    <a:pt x="1607" y="2297"/>
                  </a:cubicBezTo>
                  <a:cubicBezTo>
                    <a:pt x="1616" y="2298"/>
                    <a:pt x="1635" y="2294"/>
                    <a:pt x="1632" y="2306"/>
                  </a:cubicBezTo>
                  <a:cubicBezTo>
                    <a:pt x="1629" y="2319"/>
                    <a:pt x="1619" y="2318"/>
                    <a:pt x="1621" y="2326"/>
                  </a:cubicBezTo>
                  <a:cubicBezTo>
                    <a:pt x="1623" y="2334"/>
                    <a:pt x="1620" y="2340"/>
                    <a:pt x="1616" y="2342"/>
                  </a:cubicBezTo>
                  <a:cubicBezTo>
                    <a:pt x="1612" y="2344"/>
                    <a:pt x="1604" y="2353"/>
                    <a:pt x="1610" y="2356"/>
                  </a:cubicBezTo>
                  <a:cubicBezTo>
                    <a:pt x="1616" y="2359"/>
                    <a:pt x="1615" y="2364"/>
                    <a:pt x="1623" y="2363"/>
                  </a:cubicBezTo>
                  <a:cubicBezTo>
                    <a:pt x="1632" y="2363"/>
                    <a:pt x="1652" y="2361"/>
                    <a:pt x="1655" y="2369"/>
                  </a:cubicBezTo>
                  <a:cubicBezTo>
                    <a:pt x="1659" y="2376"/>
                    <a:pt x="1661" y="2380"/>
                    <a:pt x="1665" y="2388"/>
                  </a:cubicBezTo>
                  <a:cubicBezTo>
                    <a:pt x="1669" y="2397"/>
                    <a:pt x="1666" y="2405"/>
                    <a:pt x="1678" y="2405"/>
                  </a:cubicBezTo>
                  <a:cubicBezTo>
                    <a:pt x="1690" y="2405"/>
                    <a:pt x="1703" y="2407"/>
                    <a:pt x="1706" y="2401"/>
                  </a:cubicBezTo>
                  <a:cubicBezTo>
                    <a:pt x="1709" y="2395"/>
                    <a:pt x="1713" y="2398"/>
                    <a:pt x="1718" y="2392"/>
                  </a:cubicBezTo>
                  <a:cubicBezTo>
                    <a:pt x="1723" y="2387"/>
                    <a:pt x="1726" y="2384"/>
                    <a:pt x="1731" y="2382"/>
                  </a:cubicBezTo>
                  <a:cubicBezTo>
                    <a:pt x="1731" y="2382"/>
                    <a:pt x="1731" y="2382"/>
                    <a:pt x="1731" y="2382"/>
                  </a:cubicBezTo>
                  <a:cubicBezTo>
                    <a:pt x="1731" y="2382"/>
                    <a:pt x="1731" y="2382"/>
                    <a:pt x="1731" y="2382"/>
                  </a:cubicBezTo>
                  <a:cubicBezTo>
                    <a:pt x="1734" y="2382"/>
                    <a:pt x="1736" y="2384"/>
                    <a:pt x="1737" y="2388"/>
                  </a:cubicBezTo>
                  <a:cubicBezTo>
                    <a:pt x="1737" y="2388"/>
                    <a:pt x="1737" y="2388"/>
                    <a:pt x="1737" y="2388"/>
                  </a:cubicBezTo>
                  <a:cubicBezTo>
                    <a:pt x="1737" y="2389"/>
                    <a:pt x="1737" y="2389"/>
                    <a:pt x="1737" y="2390"/>
                  </a:cubicBezTo>
                  <a:cubicBezTo>
                    <a:pt x="1737" y="2390"/>
                    <a:pt x="1737" y="2390"/>
                    <a:pt x="1737" y="2391"/>
                  </a:cubicBezTo>
                  <a:cubicBezTo>
                    <a:pt x="1737" y="2391"/>
                    <a:pt x="1737" y="2392"/>
                    <a:pt x="1737" y="2392"/>
                  </a:cubicBezTo>
                  <a:cubicBezTo>
                    <a:pt x="1737" y="2393"/>
                    <a:pt x="1738" y="2393"/>
                    <a:pt x="1738" y="2394"/>
                  </a:cubicBezTo>
                  <a:cubicBezTo>
                    <a:pt x="1738" y="2400"/>
                    <a:pt x="1737" y="2401"/>
                    <a:pt x="1740" y="2407"/>
                  </a:cubicBezTo>
                  <a:cubicBezTo>
                    <a:pt x="1742" y="2412"/>
                    <a:pt x="1740" y="2422"/>
                    <a:pt x="1749" y="2421"/>
                  </a:cubicBezTo>
                  <a:cubicBezTo>
                    <a:pt x="1758" y="2421"/>
                    <a:pt x="1774" y="2426"/>
                    <a:pt x="1774" y="2419"/>
                  </a:cubicBezTo>
                  <a:cubicBezTo>
                    <a:pt x="1775" y="2411"/>
                    <a:pt x="1774" y="2405"/>
                    <a:pt x="1776" y="2401"/>
                  </a:cubicBezTo>
                  <a:cubicBezTo>
                    <a:pt x="1779" y="2396"/>
                    <a:pt x="1781" y="2386"/>
                    <a:pt x="1776" y="2382"/>
                  </a:cubicBezTo>
                  <a:cubicBezTo>
                    <a:pt x="1771" y="2378"/>
                    <a:pt x="1769" y="2378"/>
                    <a:pt x="1768" y="2373"/>
                  </a:cubicBezTo>
                  <a:cubicBezTo>
                    <a:pt x="1767" y="2367"/>
                    <a:pt x="1758" y="2367"/>
                    <a:pt x="1758" y="2362"/>
                  </a:cubicBezTo>
                  <a:cubicBezTo>
                    <a:pt x="1758" y="2356"/>
                    <a:pt x="1759" y="2349"/>
                    <a:pt x="1763" y="2348"/>
                  </a:cubicBezTo>
                  <a:cubicBezTo>
                    <a:pt x="1766" y="2347"/>
                    <a:pt x="1763" y="2333"/>
                    <a:pt x="1772" y="2333"/>
                  </a:cubicBezTo>
                  <a:cubicBezTo>
                    <a:pt x="1780" y="2333"/>
                    <a:pt x="1780" y="2333"/>
                    <a:pt x="1789" y="2336"/>
                  </a:cubicBezTo>
                  <a:cubicBezTo>
                    <a:pt x="1790" y="2336"/>
                    <a:pt x="1792" y="2336"/>
                    <a:pt x="1793" y="2336"/>
                  </a:cubicBezTo>
                  <a:cubicBezTo>
                    <a:pt x="1793" y="2336"/>
                    <a:pt x="1793" y="2336"/>
                    <a:pt x="1793" y="2337"/>
                  </a:cubicBezTo>
                  <a:cubicBezTo>
                    <a:pt x="1794" y="2337"/>
                    <a:pt x="1795" y="2337"/>
                    <a:pt x="1796" y="2337"/>
                  </a:cubicBezTo>
                  <a:cubicBezTo>
                    <a:pt x="1796" y="2337"/>
                    <a:pt x="1796" y="2337"/>
                    <a:pt x="1796" y="2337"/>
                  </a:cubicBezTo>
                  <a:cubicBezTo>
                    <a:pt x="1798" y="2337"/>
                    <a:pt x="1800" y="2337"/>
                    <a:pt x="1801" y="2336"/>
                  </a:cubicBezTo>
                  <a:cubicBezTo>
                    <a:pt x="1802" y="2336"/>
                    <a:pt x="1803" y="2335"/>
                    <a:pt x="1803" y="2335"/>
                  </a:cubicBezTo>
                  <a:cubicBezTo>
                    <a:pt x="1804" y="2335"/>
                    <a:pt x="1804" y="2334"/>
                    <a:pt x="1804" y="2334"/>
                  </a:cubicBezTo>
                  <a:cubicBezTo>
                    <a:pt x="1804" y="2334"/>
                    <a:pt x="1804" y="2334"/>
                    <a:pt x="1805" y="2334"/>
                  </a:cubicBezTo>
                  <a:cubicBezTo>
                    <a:pt x="1805" y="2333"/>
                    <a:pt x="1806" y="2333"/>
                    <a:pt x="1806" y="2332"/>
                  </a:cubicBezTo>
                  <a:cubicBezTo>
                    <a:pt x="1811" y="2327"/>
                    <a:pt x="1821" y="2317"/>
                    <a:pt x="1826" y="2319"/>
                  </a:cubicBezTo>
                  <a:cubicBezTo>
                    <a:pt x="1831" y="2321"/>
                    <a:pt x="1841" y="2324"/>
                    <a:pt x="1842" y="2330"/>
                  </a:cubicBezTo>
                  <a:cubicBezTo>
                    <a:pt x="1844" y="2336"/>
                    <a:pt x="1848" y="2337"/>
                    <a:pt x="1854" y="2337"/>
                  </a:cubicBezTo>
                  <a:cubicBezTo>
                    <a:pt x="1859" y="2337"/>
                    <a:pt x="1862" y="2331"/>
                    <a:pt x="1864" y="2328"/>
                  </a:cubicBezTo>
                  <a:cubicBezTo>
                    <a:pt x="1867" y="2325"/>
                    <a:pt x="1872" y="2316"/>
                    <a:pt x="1876" y="2319"/>
                  </a:cubicBezTo>
                  <a:cubicBezTo>
                    <a:pt x="1880" y="2321"/>
                    <a:pt x="1888" y="2326"/>
                    <a:pt x="1890" y="2321"/>
                  </a:cubicBezTo>
                  <a:cubicBezTo>
                    <a:pt x="1893" y="2317"/>
                    <a:pt x="1898" y="2316"/>
                    <a:pt x="1900" y="2320"/>
                  </a:cubicBezTo>
                  <a:cubicBezTo>
                    <a:pt x="1902" y="2323"/>
                    <a:pt x="1904" y="2327"/>
                    <a:pt x="1910" y="2327"/>
                  </a:cubicBezTo>
                  <a:cubicBezTo>
                    <a:pt x="1915" y="2326"/>
                    <a:pt x="1916" y="2318"/>
                    <a:pt x="1924" y="2316"/>
                  </a:cubicBezTo>
                  <a:cubicBezTo>
                    <a:pt x="1933" y="2315"/>
                    <a:pt x="1933" y="2312"/>
                    <a:pt x="1943" y="2312"/>
                  </a:cubicBezTo>
                  <a:cubicBezTo>
                    <a:pt x="1952" y="2312"/>
                    <a:pt x="1964" y="2322"/>
                    <a:pt x="1970" y="2306"/>
                  </a:cubicBezTo>
                  <a:cubicBezTo>
                    <a:pt x="1977" y="2291"/>
                    <a:pt x="1972" y="2285"/>
                    <a:pt x="1979" y="2284"/>
                  </a:cubicBezTo>
                  <a:cubicBezTo>
                    <a:pt x="1987" y="2283"/>
                    <a:pt x="1988" y="2274"/>
                    <a:pt x="1995" y="2274"/>
                  </a:cubicBezTo>
                  <a:cubicBezTo>
                    <a:pt x="2002" y="2274"/>
                    <a:pt x="2007" y="2279"/>
                    <a:pt x="2011" y="2286"/>
                  </a:cubicBezTo>
                  <a:cubicBezTo>
                    <a:pt x="2014" y="2293"/>
                    <a:pt x="2020" y="2297"/>
                    <a:pt x="2027" y="2299"/>
                  </a:cubicBezTo>
                  <a:cubicBezTo>
                    <a:pt x="2035" y="2301"/>
                    <a:pt x="2039" y="2304"/>
                    <a:pt x="2050" y="2305"/>
                  </a:cubicBezTo>
                  <a:cubicBezTo>
                    <a:pt x="2060" y="2305"/>
                    <a:pt x="2080" y="2301"/>
                    <a:pt x="2085" y="2307"/>
                  </a:cubicBezTo>
                  <a:cubicBezTo>
                    <a:pt x="2090" y="2313"/>
                    <a:pt x="2094" y="2324"/>
                    <a:pt x="2089" y="2327"/>
                  </a:cubicBezTo>
                  <a:cubicBezTo>
                    <a:pt x="2084" y="2330"/>
                    <a:pt x="2081" y="2332"/>
                    <a:pt x="2081" y="2338"/>
                  </a:cubicBezTo>
                  <a:cubicBezTo>
                    <a:pt x="2081" y="2345"/>
                    <a:pt x="2081" y="2357"/>
                    <a:pt x="2086" y="2361"/>
                  </a:cubicBezTo>
                  <a:cubicBezTo>
                    <a:pt x="2090" y="2365"/>
                    <a:pt x="2105" y="2381"/>
                    <a:pt x="2109" y="2385"/>
                  </a:cubicBezTo>
                  <a:cubicBezTo>
                    <a:pt x="2112" y="2388"/>
                    <a:pt x="2123" y="2395"/>
                    <a:pt x="2134" y="2395"/>
                  </a:cubicBezTo>
                  <a:cubicBezTo>
                    <a:pt x="2146" y="2395"/>
                    <a:pt x="2153" y="2390"/>
                    <a:pt x="2160" y="2394"/>
                  </a:cubicBezTo>
                  <a:cubicBezTo>
                    <a:pt x="2164" y="2396"/>
                    <a:pt x="2168" y="2396"/>
                    <a:pt x="2173" y="2398"/>
                  </a:cubicBezTo>
                  <a:cubicBezTo>
                    <a:pt x="2175" y="2397"/>
                    <a:pt x="2178" y="2395"/>
                    <a:pt x="2181" y="2393"/>
                  </a:cubicBezTo>
                  <a:cubicBezTo>
                    <a:pt x="2198" y="2382"/>
                    <a:pt x="2181" y="2393"/>
                    <a:pt x="2201" y="2394"/>
                  </a:cubicBezTo>
                  <a:cubicBezTo>
                    <a:pt x="2221" y="2396"/>
                    <a:pt x="2209" y="2390"/>
                    <a:pt x="2221" y="2390"/>
                  </a:cubicBezTo>
                  <a:cubicBezTo>
                    <a:pt x="2232" y="2390"/>
                    <a:pt x="2235" y="2400"/>
                    <a:pt x="2244" y="2404"/>
                  </a:cubicBezTo>
                  <a:cubicBezTo>
                    <a:pt x="2252" y="2409"/>
                    <a:pt x="2258" y="2400"/>
                    <a:pt x="2264" y="2393"/>
                  </a:cubicBezTo>
                  <a:cubicBezTo>
                    <a:pt x="2270" y="2386"/>
                    <a:pt x="2280" y="2396"/>
                    <a:pt x="2288" y="2397"/>
                  </a:cubicBezTo>
                  <a:cubicBezTo>
                    <a:pt x="2297" y="2399"/>
                    <a:pt x="2291" y="2409"/>
                    <a:pt x="2281" y="2417"/>
                  </a:cubicBezTo>
                  <a:cubicBezTo>
                    <a:pt x="2271" y="2426"/>
                    <a:pt x="2272" y="2437"/>
                    <a:pt x="2278" y="2439"/>
                  </a:cubicBezTo>
                  <a:cubicBezTo>
                    <a:pt x="2284" y="2440"/>
                    <a:pt x="2290" y="2460"/>
                    <a:pt x="2301" y="2470"/>
                  </a:cubicBezTo>
                  <a:cubicBezTo>
                    <a:pt x="2313" y="2480"/>
                    <a:pt x="2318" y="2479"/>
                    <a:pt x="2325" y="2466"/>
                  </a:cubicBezTo>
                  <a:cubicBezTo>
                    <a:pt x="2333" y="2453"/>
                    <a:pt x="2320" y="2450"/>
                    <a:pt x="2315" y="2443"/>
                  </a:cubicBezTo>
                  <a:cubicBezTo>
                    <a:pt x="2311" y="2436"/>
                    <a:pt x="2315" y="2433"/>
                    <a:pt x="2320" y="2422"/>
                  </a:cubicBezTo>
                  <a:cubicBezTo>
                    <a:pt x="2324" y="2410"/>
                    <a:pt x="2338" y="2410"/>
                    <a:pt x="2348" y="2406"/>
                  </a:cubicBezTo>
                  <a:cubicBezTo>
                    <a:pt x="2358" y="2402"/>
                    <a:pt x="2378" y="2399"/>
                    <a:pt x="2396" y="2399"/>
                  </a:cubicBezTo>
                  <a:cubicBezTo>
                    <a:pt x="2413" y="2399"/>
                    <a:pt x="2420" y="2396"/>
                    <a:pt x="2429" y="2386"/>
                  </a:cubicBezTo>
                  <a:cubicBezTo>
                    <a:pt x="2437" y="2376"/>
                    <a:pt x="2450" y="2382"/>
                    <a:pt x="2466" y="2387"/>
                  </a:cubicBezTo>
                  <a:cubicBezTo>
                    <a:pt x="2482" y="2393"/>
                    <a:pt x="2490" y="2363"/>
                    <a:pt x="2500" y="2353"/>
                  </a:cubicBezTo>
                  <a:cubicBezTo>
                    <a:pt x="2508" y="2345"/>
                    <a:pt x="2518" y="2349"/>
                    <a:pt x="2529" y="2354"/>
                  </a:cubicBezTo>
                  <a:cubicBezTo>
                    <a:pt x="2530" y="2353"/>
                    <a:pt x="2531" y="2351"/>
                    <a:pt x="2531" y="2349"/>
                  </a:cubicBezTo>
                  <a:cubicBezTo>
                    <a:pt x="2531" y="2346"/>
                    <a:pt x="2538" y="2343"/>
                    <a:pt x="2544" y="2338"/>
                  </a:cubicBezTo>
                  <a:cubicBezTo>
                    <a:pt x="2547" y="2335"/>
                    <a:pt x="2550" y="2335"/>
                    <a:pt x="2552" y="2336"/>
                  </a:cubicBezTo>
                  <a:cubicBezTo>
                    <a:pt x="2554" y="2334"/>
                    <a:pt x="2559" y="2333"/>
                    <a:pt x="2568" y="2333"/>
                  </a:cubicBezTo>
                  <a:cubicBezTo>
                    <a:pt x="2589" y="2333"/>
                    <a:pt x="2579" y="2330"/>
                    <a:pt x="2593" y="2330"/>
                  </a:cubicBezTo>
                  <a:cubicBezTo>
                    <a:pt x="2608" y="2330"/>
                    <a:pt x="2614" y="2327"/>
                    <a:pt x="2618" y="2318"/>
                  </a:cubicBezTo>
                  <a:cubicBezTo>
                    <a:pt x="2622" y="2310"/>
                    <a:pt x="2636" y="2318"/>
                    <a:pt x="2645" y="2320"/>
                  </a:cubicBezTo>
                  <a:cubicBezTo>
                    <a:pt x="2654" y="2321"/>
                    <a:pt x="2655" y="2317"/>
                    <a:pt x="2667" y="2310"/>
                  </a:cubicBezTo>
                  <a:cubicBezTo>
                    <a:pt x="2678" y="2303"/>
                    <a:pt x="2694" y="2310"/>
                    <a:pt x="2707" y="2308"/>
                  </a:cubicBezTo>
                  <a:cubicBezTo>
                    <a:pt x="2720" y="2307"/>
                    <a:pt x="2714" y="2284"/>
                    <a:pt x="2722" y="2280"/>
                  </a:cubicBezTo>
                  <a:cubicBezTo>
                    <a:pt x="2731" y="2275"/>
                    <a:pt x="2732" y="2267"/>
                    <a:pt x="2744" y="2263"/>
                  </a:cubicBezTo>
                  <a:cubicBezTo>
                    <a:pt x="2755" y="2258"/>
                    <a:pt x="2760" y="2257"/>
                    <a:pt x="2775" y="2245"/>
                  </a:cubicBezTo>
                  <a:cubicBezTo>
                    <a:pt x="2791" y="2234"/>
                    <a:pt x="2790" y="2232"/>
                    <a:pt x="2803" y="2225"/>
                  </a:cubicBezTo>
                  <a:cubicBezTo>
                    <a:pt x="2816" y="2218"/>
                    <a:pt x="2807" y="2215"/>
                    <a:pt x="2807" y="2201"/>
                  </a:cubicBezTo>
                  <a:cubicBezTo>
                    <a:pt x="2807" y="2187"/>
                    <a:pt x="2813" y="2194"/>
                    <a:pt x="2830" y="2197"/>
                  </a:cubicBezTo>
                  <a:cubicBezTo>
                    <a:pt x="2847" y="2199"/>
                    <a:pt x="2847" y="2195"/>
                    <a:pt x="2849" y="2179"/>
                  </a:cubicBezTo>
                  <a:cubicBezTo>
                    <a:pt x="2850" y="2164"/>
                    <a:pt x="2870" y="2172"/>
                    <a:pt x="2877" y="2155"/>
                  </a:cubicBezTo>
                  <a:cubicBezTo>
                    <a:pt x="2884" y="2138"/>
                    <a:pt x="2880" y="2138"/>
                    <a:pt x="2896" y="2134"/>
                  </a:cubicBezTo>
                  <a:cubicBezTo>
                    <a:pt x="2912" y="2129"/>
                    <a:pt x="2913" y="2116"/>
                    <a:pt x="2910" y="2106"/>
                  </a:cubicBezTo>
                  <a:cubicBezTo>
                    <a:pt x="2907" y="2096"/>
                    <a:pt x="2903" y="2088"/>
                    <a:pt x="2909" y="2083"/>
                  </a:cubicBezTo>
                  <a:cubicBezTo>
                    <a:pt x="2915" y="2079"/>
                    <a:pt x="2922" y="2070"/>
                    <a:pt x="2912" y="2059"/>
                  </a:cubicBezTo>
                  <a:cubicBezTo>
                    <a:pt x="2902" y="2048"/>
                    <a:pt x="2922" y="2043"/>
                    <a:pt x="2933" y="2043"/>
                  </a:cubicBezTo>
                  <a:cubicBezTo>
                    <a:pt x="2945" y="2043"/>
                    <a:pt x="2946" y="2025"/>
                    <a:pt x="2950" y="2025"/>
                  </a:cubicBezTo>
                  <a:cubicBezTo>
                    <a:pt x="2955" y="2025"/>
                    <a:pt x="2963" y="2022"/>
                    <a:pt x="2963" y="2006"/>
                  </a:cubicBezTo>
                  <a:cubicBezTo>
                    <a:pt x="2963" y="1990"/>
                    <a:pt x="2979" y="1993"/>
                    <a:pt x="2979" y="1982"/>
                  </a:cubicBezTo>
                  <a:cubicBezTo>
                    <a:pt x="2979" y="1970"/>
                    <a:pt x="2982" y="1956"/>
                    <a:pt x="2992" y="1954"/>
                  </a:cubicBezTo>
                  <a:cubicBezTo>
                    <a:pt x="3002" y="1953"/>
                    <a:pt x="3006" y="1944"/>
                    <a:pt x="3026" y="1933"/>
                  </a:cubicBezTo>
                  <a:cubicBezTo>
                    <a:pt x="3046" y="1921"/>
                    <a:pt x="3025" y="1914"/>
                    <a:pt x="3035" y="1909"/>
                  </a:cubicBezTo>
                  <a:cubicBezTo>
                    <a:pt x="3045" y="1903"/>
                    <a:pt x="3038" y="1896"/>
                    <a:pt x="3033" y="1881"/>
                  </a:cubicBezTo>
                  <a:cubicBezTo>
                    <a:pt x="3029" y="1867"/>
                    <a:pt x="3039" y="1871"/>
                    <a:pt x="3055" y="1871"/>
                  </a:cubicBezTo>
                  <a:cubicBezTo>
                    <a:pt x="3071" y="1871"/>
                    <a:pt x="3064" y="1858"/>
                    <a:pt x="3048" y="1850"/>
                  </a:cubicBezTo>
                  <a:cubicBezTo>
                    <a:pt x="3032" y="1841"/>
                    <a:pt x="3054" y="1841"/>
                    <a:pt x="3058" y="1830"/>
                  </a:cubicBezTo>
                  <a:cubicBezTo>
                    <a:pt x="3062" y="1818"/>
                    <a:pt x="3045" y="1820"/>
                    <a:pt x="3033" y="1817"/>
                  </a:cubicBezTo>
                  <a:cubicBezTo>
                    <a:pt x="3022" y="1814"/>
                    <a:pt x="3025" y="1804"/>
                    <a:pt x="3012" y="1800"/>
                  </a:cubicBezTo>
                  <a:cubicBezTo>
                    <a:pt x="2999" y="1795"/>
                    <a:pt x="2995" y="1814"/>
                    <a:pt x="2972" y="1812"/>
                  </a:cubicBezTo>
                  <a:cubicBezTo>
                    <a:pt x="2949" y="1811"/>
                    <a:pt x="2950" y="1795"/>
                    <a:pt x="2979" y="1795"/>
                  </a:cubicBezTo>
                  <a:cubicBezTo>
                    <a:pt x="3008" y="1795"/>
                    <a:pt x="3002" y="1785"/>
                    <a:pt x="3008" y="1774"/>
                  </a:cubicBezTo>
                  <a:cubicBezTo>
                    <a:pt x="3013" y="1762"/>
                    <a:pt x="3021" y="1765"/>
                    <a:pt x="3038" y="1758"/>
                  </a:cubicBezTo>
                  <a:cubicBezTo>
                    <a:pt x="3055" y="1751"/>
                    <a:pt x="3051" y="1739"/>
                    <a:pt x="3044" y="1732"/>
                  </a:cubicBezTo>
                  <a:cubicBezTo>
                    <a:pt x="3036" y="1725"/>
                    <a:pt x="3023" y="1715"/>
                    <a:pt x="3009" y="1708"/>
                  </a:cubicBezTo>
                  <a:cubicBezTo>
                    <a:pt x="2995" y="1701"/>
                    <a:pt x="3008" y="1685"/>
                    <a:pt x="3025" y="1694"/>
                  </a:cubicBezTo>
                  <a:cubicBezTo>
                    <a:pt x="3042" y="1702"/>
                    <a:pt x="3045" y="1711"/>
                    <a:pt x="3054" y="1695"/>
                  </a:cubicBezTo>
                  <a:cubicBezTo>
                    <a:pt x="3062" y="1679"/>
                    <a:pt x="3039" y="1673"/>
                    <a:pt x="3031" y="1662"/>
                  </a:cubicBezTo>
                  <a:cubicBezTo>
                    <a:pt x="3022" y="1651"/>
                    <a:pt x="3013" y="1643"/>
                    <a:pt x="3001" y="1640"/>
                  </a:cubicBezTo>
                  <a:cubicBezTo>
                    <a:pt x="2988" y="1638"/>
                    <a:pt x="2992" y="1616"/>
                    <a:pt x="2989" y="1599"/>
                  </a:cubicBezTo>
                  <a:cubicBezTo>
                    <a:pt x="2986" y="1582"/>
                    <a:pt x="2970" y="1577"/>
                    <a:pt x="2970" y="1569"/>
                  </a:cubicBezTo>
                  <a:cubicBezTo>
                    <a:pt x="2970" y="1560"/>
                    <a:pt x="2960" y="1549"/>
                    <a:pt x="2955" y="1524"/>
                  </a:cubicBezTo>
                  <a:cubicBezTo>
                    <a:pt x="2949" y="1500"/>
                    <a:pt x="2935" y="1504"/>
                    <a:pt x="2915" y="1499"/>
                  </a:cubicBezTo>
                  <a:cubicBezTo>
                    <a:pt x="2894" y="1493"/>
                    <a:pt x="2889" y="1484"/>
                    <a:pt x="2886" y="1470"/>
                  </a:cubicBezTo>
                  <a:cubicBezTo>
                    <a:pt x="2883" y="1456"/>
                    <a:pt x="2896" y="1458"/>
                    <a:pt x="2903" y="1437"/>
                  </a:cubicBezTo>
                  <a:cubicBezTo>
                    <a:pt x="2910" y="1415"/>
                    <a:pt x="2929" y="1423"/>
                    <a:pt x="2939" y="1398"/>
                  </a:cubicBezTo>
                  <a:cubicBezTo>
                    <a:pt x="2949" y="1374"/>
                    <a:pt x="2953" y="1382"/>
                    <a:pt x="2969" y="1381"/>
                  </a:cubicBezTo>
                  <a:cubicBezTo>
                    <a:pt x="2985" y="1380"/>
                    <a:pt x="2983" y="1371"/>
                    <a:pt x="2988" y="1357"/>
                  </a:cubicBezTo>
                  <a:cubicBezTo>
                    <a:pt x="2992" y="1342"/>
                    <a:pt x="3002" y="1339"/>
                    <a:pt x="3019" y="1338"/>
                  </a:cubicBezTo>
                  <a:cubicBezTo>
                    <a:pt x="3036" y="1337"/>
                    <a:pt x="3039" y="1335"/>
                    <a:pt x="3049" y="1328"/>
                  </a:cubicBezTo>
                  <a:cubicBezTo>
                    <a:pt x="3059" y="1321"/>
                    <a:pt x="3061" y="1318"/>
                    <a:pt x="3076" y="1329"/>
                  </a:cubicBezTo>
                  <a:cubicBezTo>
                    <a:pt x="3092" y="1341"/>
                    <a:pt x="3092" y="1317"/>
                    <a:pt x="3097" y="1307"/>
                  </a:cubicBezTo>
                  <a:cubicBezTo>
                    <a:pt x="3101" y="1296"/>
                    <a:pt x="3098" y="1292"/>
                    <a:pt x="3088" y="1285"/>
                  </a:cubicBezTo>
                  <a:cubicBezTo>
                    <a:pt x="3078" y="1278"/>
                    <a:pt x="3059" y="1279"/>
                    <a:pt x="3048" y="1284"/>
                  </a:cubicBezTo>
                  <a:cubicBezTo>
                    <a:pt x="3036" y="1288"/>
                    <a:pt x="3018" y="1281"/>
                    <a:pt x="3009" y="1269"/>
                  </a:cubicBezTo>
                  <a:cubicBezTo>
                    <a:pt x="3001" y="1258"/>
                    <a:pt x="2978" y="1252"/>
                    <a:pt x="2968" y="1256"/>
                  </a:cubicBezTo>
                  <a:cubicBezTo>
                    <a:pt x="2958" y="1261"/>
                    <a:pt x="2936" y="1279"/>
                    <a:pt x="2925" y="1295"/>
                  </a:cubicBezTo>
                  <a:cubicBezTo>
                    <a:pt x="2913" y="1311"/>
                    <a:pt x="2882" y="1305"/>
                    <a:pt x="2873" y="1298"/>
                  </a:cubicBezTo>
                  <a:cubicBezTo>
                    <a:pt x="2864" y="1291"/>
                    <a:pt x="2870" y="1278"/>
                    <a:pt x="2874" y="1266"/>
                  </a:cubicBezTo>
                  <a:cubicBezTo>
                    <a:pt x="2879" y="1255"/>
                    <a:pt x="2872" y="1251"/>
                    <a:pt x="2866" y="1242"/>
                  </a:cubicBezTo>
                  <a:cubicBezTo>
                    <a:pt x="2860" y="1233"/>
                    <a:pt x="2847" y="1231"/>
                    <a:pt x="2844" y="1242"/>
                  </a:cubicBezTo>
                  <a:cubicBezTo>
                    <a:pt x="2841" y="1253"/>
                    <a:pt x="2824" y="1229"/>
                    <a:pt x="2810" y="1232"/>
                  </a:cubicBezTo>
                  <a:cubicBezTo>
                    <a:pt x="2796" y="1235"/>
                    <a:pt x="2791" y="1223"/>
                    <a:pt x="2778" y="1208"/>
                  </a:cubicBezTo>
                  <a:cubicBezTo>
                    <a:pt x="2765" y="1192"/>
                    <a:pt x="2786" y="1178"/>
                    <a:pt x="2787" y="1163"/>
                  </a:cubicBezTo>
                  <a:cubicBezTo>
                    <a:pt x="2788" y="1149"/>
                    <a:pt x="2837" y="1160"/>
                    <a:pt x="2863" y="1156"/>
                  </a:cubicBezTo>
                  <a:cubicBezTo>
                    <a:pt x="2889" y="1152"/>
                    <a:pt x="2884" y="1136"/>
                    <a:pt x="2893" y="1117"/>
                  </a:cubicBezTo>
                  <a:cubicBezTo>
                    <a:pt x="2902" y="1099"/>
                    <a:pt x="2925" y="1096"/>
                    <a:pt x="2942" y="1089"/>
                  </a:cubicBezTo>
                  <a:cubicBezTo>
                    <a:pt x="2959" y="1082"/>
                    <a:pt x="2959" y="1071"/>
                    <a:pt x="2972" y="1061"/>
                  </a:cubicBezTo>
                  <a:cubicBezTo>
                    <a:pt x="2985" y="1051"/>
                    <a:pt x="2995" y="1043"/>
                    <a:pt x="3006" y="1030"/>
                  </a:cubicBezTo>
                  <a:cubicBezTo>
                    <a:pt x="3018" y="1017"/>
                    <a:pt x="3032" y="1043"/>
                    <a:pt x="3035" y="1031"/>
                  </a:cubicBezTo>
                  <a:cubicBezTo>
                    <a:pt x="3038" y="1020"/>
                    <a:pt x="3046" y="1028"/>
                    <a:pt x="3054" y="1033"/>
                  </a:cubicBezTo>
                  <a:cubicBezTo>
                    <a:pt x="3061" y="1037"/>
                    <a:pt x="3071" y="1044"/>
                    <a:pt x="3069" y="1060"/>
                  </a:cubicBezTo>
                  <a:cubicBezTo>
                    <a:pt x="3068" y="1076"/>
                    <a:pt x="3055" y="1092"/>
                    <a:pt x="3032" y="1104"/>
                  </a:cubicBezTo>
                  <a:cubicBezTo>
                    <a:pt x="3009" y="1117"/>
                    <a:pt x="3022" y="1132"/>
                    <a:pt x="3029" y="1132"/>
                  </a:cubicBezTo>
                  <a:cubicBezTo>
                    <a:pt x="3036" y="1132"/>
                    <a:pt x="3041" y="1140"/>
                    <a:pt x="3032" y="1155"/>
                  </a:cubicBezTo>
                  <a:cubicBezTo>
                    <a:pt x="3023" y="1169"/>
                    <a:pt x="3006" y="1163"/>
                    <a:pt x="2999" y="1176"/>
                  </a:cubicBezTo>
                  <a:cubicBezTo>
                    <a:pt x="2992" y="1189"/>
                    <a:pt x="3008" y="1193"/>
                    <a:pt x="3023" y="1180"/>
                  </a:cubicBezTo>
                  <a:cubicBezTo>
                    <a:pt x="3039" y="1167"/>
                    <a:pt x="3058" y="1163"/>
                    <a:pt x="3065" y="1155"/>
                  </a:cubicBezTo>
                  <a:cubicBezTo>
                    <a:pt x="3072" y="1146"/>
                    <a:pt x="3098" y="1139"/>
                    <a:pt x="3117" y="1124"/>
                  </a:cubicBezTo>
                  <a:cubicBezTo>
                    <a:pt x="3135" y="1110"/>
                    <a:pt x="3154" y="1104"/>
                    <a:pt x="3168" y="1103"/>
                  </a:cubicBezTo>
                  <a:cubicBezTo>
                    <a:pt x="3176" y="1102"/>
                    <a:pt x="3185" y="1102"/>
                    <a:pt x="3198" y="1105"/>
                  </a:cubicBezTo>
                  <a:cubicBezTo>
                    <a:pt x="3201" y="1093"/>
                    <a:pt x="3206" y="1085"/>
                    <a:pt x="3214" y="1078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336" name="Freeform 25473"/>
            <p:cNvSpPr>
              <a:spLocks/>
            </p:cNvSpPr>
            <p:nvPr/>
          </p:nvSpPr>
          <p:spPr bwMode="auto">
            <a:xfrm>
              <a:off x="7228031" y="3235342"/>
              <a:ext cx="8207" cy="4735"/>
            </a:xfrm>
            <a:custGeom>
              <a:avLst/>
              <a:gdLst>
                <a:gd name="T0" fmla="*/ 19 w 22"/>
                <a:gd name="T1" fmla="*/ 4 h 13"/>
                <a:gd name="T2" fmla="*/ 13 w 22"/>
                <a:gd name="T3" fmla="*/ 1 h 13"/>
                <a:gd name="T4" fmla="*/ 6 w 22"/>
                <a:gd name="T5" fmla="*/ 1 h 13"/>
                <a:gd name="T6" fmla="*/ 2 w 22"/>
                <a:gd name="T7" fmla="*/ 3 h 13"/>
                <a:gd name="T8" fmla="*/ 4 w 22"/>
                <a:gd name="T9" fmla="*/ 10 h 13"/>
                <a:gd name="T10" fmla="*/ 8 w 22"/>
                <a:gd name="T11" fmla="*/ 13 h 13"/>
                <a:gd name="T12" fmla="*/ 13 w 22"/>
                <a:gd name="T13" fmla="*/ 13 h 13"/>
                <a:gd name="T14" fmla="*/ 21 w 22"/>
                <a:gd name="T15" fmla="*/ 8 h 13"/>
                <a:gd name="T16" fmla="*/ 22 w 22"/>
                <a:gd name="T17" fmla="*/ 6 h 13"/>
                <a:gd name="T18" fmla="*/ 19 w 22"/>
                <a:gd name="T19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" h="13">
                  <a:moveTo>
                    <a:pt x="19" y="4"/>
                  </a:moveTo>
                  <a:cubicBezTo>
                    <a:pt x="17" y="3"/>
                    <a:pt x="15" y="2"/>
                    <a:pt x="13" y="1"/>
                  </a:cubicBezTo>
                  <a:cubicBezTo>
                    <a:pt x="11" y="1"/>
                    <a:pt x="9" y="0"/>
                    <a:pt x="6" y="1"/>
                  </a:cubicBezTo>
                  <a:cubicBezTo>
                    <a:pt x="5" y="1"/>
                    <a:pt x="2" y="1"/>
                    <a:pt x="2" y="3"/>
                  </a:cubicBezTo>
                  <a:cubicBezTo>
                    <a:pt x="0" y="5"/>
                    <a:pt x="3" y="8"/>
                    <a:pt x="4" y="10"/>
                  </a:cubicBezTo>
                  <a:cubicBezTo>
                    <a:pt x="5" y="12"/>
                    <a:pt x="7" y="13"/>
                    <a:pt x="8" y="13"/>
                  </a:cubicBezTo>
                  <a:cubicBezTo>
                    <a:pt x="10" y="13"/>
                    <a:pt x="12" y="13"/>
                    <a:pt x="13" y="13"/>
                  </a:cubicBezTo>
                  <a:cubicBezTo>
                    <a:pt x="16" y="12"/>
                    <a:pt x="19" y="10"/>
                    <a:pt x="21" y="8"/>
                  </a:cubicBezTo>
                  <a:cubicBezTo>
                    <a:pt x="22" y="8"/>
                    <a:pt x="22" y="7"/>
                    <a:pt x="22" y="6"/>
                  </a:cubicBezTo>
                  <a:cubicBezTo>
                    <a:pt x="22" y="5"/>
                    <a:pt x="20" y="4"/>
                    <a:pt x="19" y="4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rnd">
              <a:solidFill>
                <a:schemeClr val="bg1">
                  <a:lumMod val="9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337" name="Freeform 25474"/>
            <p:cNvSpPr>
              <a:spLocks/>
            </p:cNvSpPr>
            <p:nvPr/>
          </p:nvSpPr>
          <p:spPr bwMode="auto">
            <a:xfrm>
              <a:off x="6471848" y="3132277"/>
              <a:ext cx="212129" cy="459455"/>
            </a:xfrm>
            <a:custGeom>
              <a:avLst/>
              <a:gdLst>
                <a:gd name="T0" fmla="*/ 460 w 569"/>
                <a:gd name="T1" fmla="*/ 1150 h 1232"/>
                <a:gd name="T2" fmla="*/ 460 w 569"/>
                <a:gd name="T3" fmla="*/ 1064 h 1232"/>
                <a:gd name="T4" fmla="*/ 422 w 569"/>
                <a:gd name="T5" fmla="*/ 966 h 1232"/>
                <a:gd name="T6" fmla="*/ 392 w 569"/>
                <a:gd name="T7" fmla="*/ 896 h 1232"/>
                <a:gd name="T8" fmla="*/ 428 w 569"/>
                <a:gd name="T9" fmla="*/ 831 h 1232"/>
                <a:gd name="T10" fmla="*/ 382 w 569"/>
                <a:gd name="T11" fmla="*/ 759 h 1232"/>
                <a:gd name="T12" fmla="*/ 342 w 569"/>
                <a:gd name="T13" fmla="*/ 678 h 1232"/>
                <a:gd name="T14" fmla="*/ 403 w 569"/>
                <a:gd name="T15" fmla="*/ 600 h 1232"/>
                <a:gd name="T16" fmla="*/ 482 w 569"/>
                <a:gd name="T17" fmla="*/ 559 h 1232"/>
                <a:gd name="T18" fmla="*/ 488 w 569"/>
                <a:gd name="T19" fmla="*/ 559 h 1232"/>
                <a:gd name="T20" fmla="*/ 503 w 569"/>
                <a:gd name="T21" fmla="*/ 557 h 1232"/>
                <a:gd name="T22" fmla="*/ 507 w 569"/>
                <a:gd name="T23" fmla="*/ 556 h 1232"/>
                <a:gd name="T24" fmla="*/ 508 w 569"/>
                <a:gd name="T25" fmla="*/ 554 h 1232"/>
                <a:gd name="T26" fmla="*/ 510 w 569"/>
                <a:gd name="T27" fmla="*/ 552 h 1232"/>
                <a:gd name="T28" fmla="*/ 512 w 569"/>
                <a:gd name="T29" fmla="*/ 548 h 1232"/>
                <a:gd name="T30" fmla="*/ 525 w 569"/>
                <a:gd name="T31" fmla="*/ 527 h 1232"/>
                <a:gd name="T32" fmla="*/ 569 w 569"/>
                <a:gd name="T33" fmla="*/ 462 h 1232"/>
                <a:gd name="T34" fmla="*/ 544 w 569"/>
                <a:gd name="T35" fmla="*/ 481 h 1232"/>
                <a:gd name="T36" fmla="*/ 493 w 569"/>
                <a:gd name="T37" fmla="*/ 449 h 1232"/>
                <a:gd name="T38" fmla="*/ 454 w 569"/>
                <a:gd name="T39" fmla="*/ 422 h 1232"/>
                <a:gd name="T40" fmla="*/ 445 w 569"/>
                <a:gd name="T41" fmla="*/ 377 h 1232"/>
                <a:gd name="T42" fmla="*/ 423 w 569"/>
                <a:gd name="T43" fmla="*/ 323 h 1232"/>
                <a:gd name="T44" fmla="*/ 382 w 569"/>
                <a:gd name="T45" fmla="*/ 309 h 1232"/>
                <a:gd name="T46" fmla="*/ 353 w 569"/>
                <a:gd name="T47" fmla="*/ 293 h 1232"/>
                <a:gd name="T48" fmla="*/ 358 w 569"/>
                <a:gd name="T49" fmla="*/ 243 h 1232"/>
                <a:gd name="T50" fmla="*/ 414 w 569"/>
                <a:gd name="T51" fmla="*/ 183 h 1232"/>
                <a:gd name="T52" fmla="*/ 419 w 569"/>
                <a:gd name="T53" fmla="*/ 108 h 1232"/>
                <a:gd name="T54" fmla="*/ 383 w 569"/>
                <a:gd name="T55" fmla="*/ 49 h 1232"/>
                <a:gd name="T56" fmla="*/ 340 w 569"/>
                <a:gd name="T57" fmla="*/ 10 h 1232"/>
                <a:gd name="T58" fmla="*/ 316 w 569"/>
                <a:gd name="T59" fmla="*/ 51 h 1232"/>
                <a:gd name="T60" fmla="*/ 298 w 569"/>
                <a:gd name="T61" fmla="*/ 96 h 1232"/>
                <a:gd name="T62" fmla="*/ 208 w 569"/>
                <a:gd name="T63" fmla="*/ 131 h 1232"/>
                <a:gd name="T64" fmla="*/ 187 w 569"/>
                <a:gd name="T65" fmla="*/ 194 h 1232"/>
                <a:gd name="T66" fmla="*/ 154 w 569"/>
                <a:gd name="T67" fmla="*/ 232 h 1232"/>
                <a:gd name="T68" fmla="*/ 151 w 569"/>
                <a:gd name="T69" fmla="*/ 276 h 1232"/>
                <a:gd name="T70" fmla="*/ 122 w 569"/>
                <a:gd name="T71" fmla="*/ 328 h 1232"/>
                <a:gd name="T72" fmla="*/ 81 w 569"/>
                <a:gd name="T73" fmla="*/ 322 h 1232"/>
                <a:gd name="T74" fmla="*/ 65 w 569"/>
                <a:gd name="T75" fmla="*/ 384 h 1232"/>
                <a:gd name="T76" fmla="*/ 72 w 569"/>
                <a:gd name="T77" fmla="*/ 431 h 1232"/>
                <a:gd name="T78" fmla="*/ 31 w 569"/>
                <a:gd name="T79" fmla="*/ 444 h 1232"/>
                <a:gd name="T80" fmla="*/ 31 w 569"/>
                <a:gd name="T81" fmla="*/ 446 h 1232"/>
                <a:gd name="T82" fmla="*/ 30 w 569"/>
                <a:gd name="T83" fmla="*/ 459 h 1232"/>
                <a:gd name="T84" fmla="*/ 29 w 569"/>
                <a:gd name="T85" fmla="*/ 463 h 1232"/>
                <a:gd name="T86" fmla="*/ 32 w 569"/>
                <a:gd name="T87" fmla="*/ 480 h 1232"/>
                <a:gd name="T88" fmla="*/ 0 w 569"/>
                <a:gd name="T89" fmla="*/ 516 h 1232"/>
                <a:gd name="T90" fmla="*/ 97 w 569"/>
                <a:gd name="T91" fmla="*/ 601 h 1232"/>
                <a:gd name="T92" fmla="*/ 91 w 569"/>
                <a:gd name="T93" fmla="*/ 661 h 1232"/>
                <a:gd name="T94" fmla="*/ 147 w 569"/>
                <a:gd name="T95" fmla="*/ 725 h 1232"/>
                <a:gd name="T96" fmla="*/ 133 w 569"/>
                <a:gd name="T97" fmla="*/ 843 h 1232"/>
                <a:gd name="T98" fmla="*/ 186 w 569"/>
                <a:gd name="T99" fmla="*/ 861 h 1232"/>
                <a:gd name="T100" fmla="*/ 278 w 569"/>
                <a:gd name="T101" fmla="*/ 817 h 1232"/>
                <a:gd name="T102" fmla="*/ 326 w 569"/>
                <a:gd name="T103" fmla="*/ 788 h 1232"/>
                <a:gd name="T104" fmla="*/ 355 w 569"/>
                <a:gd name="T105" fmla="*/ 882 h 1232"/>
                <a:gd name="T106" fmla="*/ 397 w 569"/>
                <a:gd name="T107" fmla="*/ 1008 h 1232"/>
                <a:gd name="T108" fmla="*/ 402 w 569"/>
                <a:gd name="T109" fmla="*/ 1097 h 1232"/>
                <a:gd name="T110" fmla="*/ 392 w 569"/>
                <a:gd name="T111" fmla="*/ 1137 h 1232"/>
                <a:gd name="T112" fmla="*/ 407 w 569"/>
                <a:gd name="T113" fmla="*/ 1228 h 1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69" h="1232">
                  <a:moveTo>
                    <a:pt x="419" y="1216"/>
                  </a:moveTo>
                  <a:cubicBezTo>
                    <a:pt x="419" y="1200"/>
                    <a:pt x="421" y="1186"/>
                    <a:pt x="432" y="1178"/>
                  </a:cubicBezTo>
                  <a:cubicBezTo>
                    <a:pt x="443" y="1170"/>
                    <a:pt x="454" y="1164"/>
                    <a:pt x="460" y="1150"/>
                  </a:cubicBezTo>
                  <a:cubicBezTo>
                    <a:pt x="465" y="1135"/>
                    <a:pt x="475" y="1144"/>
                    <a:pt x="474" y="1128"/>
                  </a:cubicBezTo>
                  <a:cubicBezTo>
                    <a:pt x="473" y="1113"/>
                    <a:pt x="477" y="1103"/>
                    <a:pt x="470" y="1098"/>
                  </a:cubicBezTo>
                  <a:cubicBezTo>
                    <a:pt x="463" y="1093"/>
                    <a:pt x="471" y="1070"/>
                    <a:pt x="460" y="1064"/>
                  </a:cubicBezTo>
                  <a:cubicBezTo>
                    <a:pt x="450" y="1059"/>
                    <a:pt x="446" y="1059"/>
                    <a:pt x="449" y="1043"/>
                  </a:cubicBezTo>
                  <a:cubicBezTo>
                    <a:pt x="452" y="1027"/>
                    <a:pt x="454" y="999"/>
                    <a:pt x="448" y="991"/>
                  </a:cubicBezTo>
                  <a:cubicBezTo>
                    <a:pt x="442" y="982"/>
                    <a:pt x="429" y="971"/>
                    <a:pt x="422" y="966"/>
                  </a:cubicBezTo>
                  <a:cubicBezTo>
                    <a:pt x="416" y="962"/>
                    <a:pt x="401" y="943"/>
                    <a:pt x="398" y="936"/>
                  </a:cubicBezTo>
                  <a:cubicBezTo>
                    <a:pt x="395" y="929"/>
                    <a:pt x="393" y="921"/>
                    <a:pt x="388" y="917"/>
                  </a:cubicBezTo>
                  <a:cubicBezTo>
                    <a:pt x="384" y="914"/>
                    <a:pt x="380" y="898"/>
                    <a:pt x="392" y="896"/>
                  </a:cubicBezTo>
                  <a:cubicBezTo>
                    <a:pt x="404" y="894"/>
                    <a:pt x="411" y="887"/>
                    <a:pt x="411" y="873"/>
                  </a:cubicBezTo>
                  <a:cubicBezTo>
                    <a:pt x="410" y="858"/>
                    <a:pt x="403" y="847"/>
                    <a:pt x="412" y="843"/>
                  </a:cubicBezTo>
                  <a:cubicBezTo>
                    <a:pt x="421" y="839"/>
                    <a:pt x="428" y="841"/>
                    <a:pt x="428" y="831"/>
                  </a:cubicBezTo>
                  <a:cubicBezTo>
                    <a:pt x="428" y="820"/>
                    <a:pt x="425" y="822"/>
                    <a:pt x="418" y="815"/>
                  </a:cubicBezTo>
                  <a:cubicBezTo>
                    <a:pt x="411" y="809"/>
                    <a:pt x="403" y="794"/>
                    <a:pt x="400" y="785"/>
                  </a:cubicBezTo>
                  <a:cubicBezTo>
                    <a:pt x="398" y="777"/>
                    <a:pt x="395" y="770"/>
                    <a:pt x="382" y="759"/>
                  </a:cubicBezTo>
                  <a:cubicBezTo>
                    <a:pt x="369" y="749"/>
                    <a:pt x="353" y="736"/>
                    <a:pt x="353" y="724"/>
                  </a:cubicBezTo>
                  <a:cubicBezTo>
                    <a:pt x="353" y="712"/>
                    <a:pt x="353" y="698"/>
                    <a:pt x="346" y="693"/>
                  </a:cubicBezTo>
                  <a:cubicBezTo>
                    <a:pt x="339" y="689"/>
                    <a:pt x="332" y="680"/>
                    <a:pt x="342" y="678"/>
                  </a:cubicBezTo>
                  <a:cubicBezTo>
                    <a:pt x="352" y="676"/>
                    <a:pt x="360" y="680"/>
                    <a:pt x="360" y="663"/>
                  </a:cubicBezTo>
                  <a:cubicBezTo>
                    <a:pt x="360" y="646"/>
                    <a:pt x="360" y="609"/>
                    <a:pt x="373" y="603"/>
                  </a:cubicBezTo>
                  <a:cubicBezTo>
                    <a:pt x="386" y="596"/>
                    <a:pt x="389" y="596"/>
                    <a:pt x="403" y="600"/>
                  </a:cubicBezTo>
                  <a:cubicBezTo>
                    <a:pt x="417" y="604"/>
                    <a:pt x="425" y="603"/>
                    <a:pt x="433" y="592"/>
                  </a:cubicBezTo>
                  <a:cubicBezTo>
                    <a:pt x="441" y="581"/>
                    <a:pt x="448" y="577"/>
                    <a:pt x="457" y="576"/>
                  </a:cubicBezTo>
                  <a:cubicBezTo>
                    <a:pt x="465" y="575"/>
                    <a:pt x="465" y="560"/>
                    <a:pt x="482" y="559"/>
                  </a:cubicBezTo>
                  <a:cubicBezTo>
                    <a:pt x="483" y="559"/>
                    <a:pt x="484" y="559"/>
                    <a:pt x="485" y="559"/>
                  </a:cubicBezTo>
                  <a:cubicBezTo>
                    <a:pt x="486" y="559"/>
                    <a:pt x="486" y="559"/>
                    <a:pt x="487" y="559"/>
                  </a:cubicBezTo>
                  <a:cubicBezTo>
                    <a:pt x="487" y="559"/>
                    <a:pt x="488" y="559"/>
                    <a:pt x="488" y="559"/>
                  </a:cubicBezTo>
                  <a:cubicBezTo>
                    <a:pt x="493" y="559"/>
                    <a:pt x="497" y="559"/>
                    <a:pt x="501" y="558"/>
                  </a:cubicBezTo>
                  <a:cubicBezTo>
                    <a:pt x="501" y="558"/>
                    <a:pt x="501" y="558"/>
                    <a:pt x="501" y="558"/>
                  </a:cubicBezTo>
                  <a:cubicBezTo>
                    <a:pt x="502" y="558"/>
                    <a:pt x="503" y="558"/>
                    <a:pt x="503" y="557"/>
                  </a:cubicBezTo>
                  <a:cubicBezTo>
                    <a:pt x="503" y="557"/>
                    <a:pt x="503" y="557"/>
                    <a:pt x="503" y="557"/>
                  </a:cubicBezTo>
                  <a:cubicBezTo>
                    <a:pt x="504" y="557"/>
                    <a:pt x="505" y="557"/>
                    <a:pt x="506" y="556"/>
                  </a:cubicBezTo>
                  <a:cubicBezTo>
                    <a:pt x="506" y="556"/>
                    <a:pt x="506" y="556"/>
                    <a:pt x="507" y="556"/>
                  </a:cubicBezTo>
                  <a:cubicBezTo>
                    <a:pt x="507" y="556"/>
                    <a:pt x="507" y="556"/>
                    <a:pt x="507" y="555"/>
                  </a:cubicBezTo>
                  <a:cubicBezTo>
                    <a:pt x="507" y="555"/>
                    <a:pt x="508" y="555"/>
                    <a:pt x="508" y="555"/>
                  </a:cubicBezTo>
                  <a:cubicBezTo>
                    <a:pt x="508" y="555"/>
                    <a:pt x="508" y="554"/>
                    <a:pt x="508" y="554"/>
                  </a:cubicBezTo>
                  <a:cubicBezTo>
                    <a:pt x="509" y="554"/>
                    <a:pt x="509" y="554"/>
                    <a:pt x="509" y="554"/>
                  </a:cubicBezTo>
                  <a:cubicBezTo>
                    <a:pt x="509" y="553"/>
                    <a:pt x="510" y="553"/>
                    <a:pt x="510" y="552"/>
                  </a:cubicBezTo>
                  <a:cubicBezTo>
                    <a:pt x="510" y="552"/>
                    <a:pt x="510" y="552"/>
                    <a:pt x="510" y="552"/>
                  </a:cubicBezTo>
                  <a:cubicBezTo>
                    <a:pt x="511" y="551"/>
                    <a:pt x="511" y="551"/>
                    <a:pt x="511" y="550"/>
                  </a:cubicBezTo>
                  <a:cubicBezTo>
                    <a:pt x="511" y="550"/>
                    <a:pt x="511" y="550"/>
                    <a:pt x="511" y="550"/>
                  </a:cubicBezTo>
                  <a:cubicBezTo>
                    <a:pt x="511" y="549"/>
                    <a:pt x="512" y="549"/>
                    <a:pt x="512" y="548"/>
                  </a:cubicBezTo>
                  <a:cubicBezTo>
                    <a:pt x="512" y="548"/>
                    <a:pt x="512" y="548"/>
                    <a:pt x="512" y="548"/>
                  </a:cubicBezTo>
                  <a:cubicBezTo>
                    <a:pt x="512" y="547"/>
                    <a:pt x="512" y="546"/>
                    <a:pt x="513" y="545"/>
                  </a:cubicBezTo>
                  <a:cubicBezTo>
                    <a:pt x="515" y="529"/>
                    <a:pt x="515" y="532"/>
                    <a:pt x="525" y="527"/>
                  </a:cubicBezTo>
                  <a:cubicBezTo>
                    <a:pt x="534" y="522"/>
                    <a:pt x="542" y="520"/>
                    <a:pt x="545" y="509"/>
                  </a:cubicBezTo>
                  <a:cubicBezTo>
                    <a:pt x="548" y="499"/>
                    <a:pt x="549" y="497"/>
                    <a:pt x="556" y="491"/>
                  </a:cubicBezTo>
                  <a:cubicBezTo>
                    <a:pt x="561" y="486"/>
                    <a:pt x="566" y="474"/>
                    <a:pt x="569" y="462"/>
                  </a:cubicBezTo>
                  <a:cubicBezTo>
                    <a:pt x="569" y="462"/>
                    <a:pt x="569" y="462"/>
                    <a:pt x="569" y="462"/>
                  </a:cubicBezTo>
                  <a:cubicBezTo>
                    <a:pt x="564" y="464"/>
                    <a:pt x="561" y="467"/>
                    <a:pt x="556" y="472"/>
                  </a:cubicBezTo>
                  <a:cubicBezTo>
                    <a:pt x="551" y="478"/>
                    <a:pt x="547" y="475"/>
                    <a:pt x="544" y="481"/>
                  </a:cubicBezTo>
                  <a:cubicBezTo>
                    <a:pt x="541" y="487"/>
                    <a:pt x="528" y="485"/>
                    <a:pt x="516" y="485"/>
                  </a:cubicBezTo>
                  <a:cubicBezTo>
                    <a:pt x="504" y="485"/>
                    <a:pt x="507" y="477"/>
                    <a:pt x="503" y="468"/>
                  </a:cubicBezTo>
                  <a:cubicBezTo>
                    <a:pt x="499" y="460"/>
                    <a:pt x="497" y="456"/>
                    <a:pt x="493" y="449"/>
                  </a:cubicBezTo>
                  <a:cubicBezTo>
                    <a:pt x="490" y="441"/>
                    <a:pt x="470" y="443"/>
                    <a:pt x="461" y="443"/>
                  </a:cubicBezTo>
                  <a:cubicBezTo>
                    <a:pt x="453" y="444"/>
                    <a:pt x="454" y="439"/>
                    <a:pt x="448" y="436"/>
                  </a:cubicBezTo>
                  <a:cubicBezTo>
                    <a:pt x="442" y="433"/>
                    <a:pt x="450" y="424"/>
                    <a:pt x="454" y="422"/>
                  </a:cubicBezTo>
                  <a:cubicBezTo>
                    <a:pt x="458" y="420"/>
                    <a:pt x="461" y="414"/>
                    <a:pt x="459" y="406"/>
                  </a:cubicBezTo>
                  <a:cubicBezTo>
                    <a:pt x="457" y="398"/>
                    <a:pt x="467" y="399"/>
                    <a:pt x="470" y="386"/>
                  </a:cubicBezTo>
                  <a:cubicBezTo>
                    <a:pt x="473" y="374"/>
                    <a:pt x="454" y="378"/>
                    <a:pt x="445" y="377"/>
                  </a:cubicBezTo>
                  <a:cubicBezTo>
                    <a:pt x="435" y="377"/>
                    <a:pt x="434" y="373"/>
                    <a:pt x="432" y="362"/>
                  </a:cubicBezTo>
                  <a:cubicBezTo>
                    <a:pt x="431" y="352"/>
                    <a:pt x="429" y="353"/>
                    <a:pt x="425" y="344"/>
                  </a:cubicBezTo>
                  <a:cubicBezTo>
                    <a:pt x="422" y="334"/>
                    <a:pt x="420" y="333"/>
                    <a:pt x="423" y="323"/>
                  </a:cubicBezTo>
                  <a:cubicBezTo>
                    <a:pt x="426" y="314"/>
                    <a:pt x="431" y="297"/>
                    <a:pt x="424" y="302"/>
                  </a:cubicBezTo>
                  <a:cubicBezTo>
                    <a:pt x="417" y="308"/>
                    <a:pt x="403" y="308"/>
                    <a:pt x="398" y="305"/>
                  </a:cubicBezTo>
                  <a:cubicBezTo>
                    <a:pt x="393" y="301"/>
                    <a:pt x="387" y="309"/>
                    <a:pt x="382" y="309"/>
                  </a:cubicBezTo>
                  <a:cubicBezTo>
                    <a:pt x="377" y="309"/>
                    <a:pt x="370" y="311"/>
                    <a:pt x="366" y="316"/>
                  </a:cubicBezTo>
                  <a:cubicBezTo>
                    <a:pt x="363" y="321"/>
                    <a:pt x="356" y="322"/>
                    <a:pt x="352" y="320"/>
                  </a:cubicBezTo>
                  <a:cubicBezTo>
                    <a:pt x="349" y="319"/>
                    <a:pt x="354" y="302"/>
                    <a:pt x="353" y="293"/>
                  </a:cubicBezTo>
                  <a:cubicBezTo>
                    <a:pt x="351" y="284"/>
                    <a:pt x="351" y="284"/>
                    <a:pt x="348" y="277"/>
                  </a:cubicBezTo>
                  <a:cubicBezTo>
                    <a:pt x="344" y="270"/>
                    <a:pt x="343" y="268"/>
                    <a:pt x="349" y="264"/>
                  </a:cubicBezTo>
                  <a:cubicBezTo>
                    <a:pt x="355" y="259"/>
                    <a:pt x="354" y="252"/>
                    <a:pt x="358" y="243"/>
                  </a:cubicBezTo>
                  <a:cubicBezTo>
                    <a:pt x="362" y="235"/>
                    <a:pt x="371" y="231"/>
                    <a:pt x="379" y="221"/>
                  </a:cubicBezTo>
                  <a:cubicBezTo>
                    <a:pt x="386" y="211"/>
                    <a:pt x="388" y="209"/>
                    <a:pt x="398" y="204"/>
                  </a:cubicBezTo>
                  <a:cubicBezTo>
                    <a:pt x="409" y="199"/>
                    <a:pt x="409" y="189"/>
                    <a:pt x="414" y="183"/>
                  </a:cubicBezTo>
                  <a:cubicBezTo>
                    <a:pt x="419" y="177"/>
                    <a:pt x="416" y="159"/>
                    <a:pt x="416" y="148"/>
                  </a:cubicBezTo>
                  <a:cubicBezTo>
                    <a:pt x="416" y="137"/>
                    <a:pt x="421" y="137"/>
                    <a:pt x="422" y="130"/>
                  </a:cubicBezTo>
                  <a:cubicBezTo>
                    <a:pt x="424" y="122"/>
                    <a:pt x="422" y="115"/>
                    <a:pt x="419" y="108"/>
                  </a:cubicBezTo>
                  <a:cubicBezTo>
                    <a:pt x="416" y="101"/>
                    <a:pt x="419" y="89"/>
                    <a:pt x="419" y="81"/>
                  </a:cubicBezTo>
                  <a:cubicBezTo>
                    <a:pt x="419" y="72"/>
                    <a:pt x="403" y="70"/>
                    <a:pt x="395" y="69"/>
                  </a:cubicBezTo>
                  <a:cubicBezTo>
                    <a:pt x="386" y="67"/>
                    <a:pt x="383" y="57"/>
                    <a:pt x="383" y="49"/>
                  </a:cubicBezTo>
                  <a:cubicBezTo>
                    <a:pt x="383" y="41"/>
                    <a:pt x="382" y="30"/>
                    <a:pt x="375" y="26"/>
                  </a:cubicBezTo>
                  <a:cubicBezTo>
                    <a:pt x="368" y="21"/>
                    <a:pt x="365" y="21"/>
                    <a:pt x="360" y="11"/>
                  </a:cubicBezTo>
                  <a:cubicBezTo>
                    <a:pt x="355" y="0"/>
                    <a:pt x="344" y="5"/>
                    <a:pt x="340" y="10"/>
                  </a:cubicBezTo>
                  <a:cubicBezTo>
                    <a:pt x="337" y="14"/>
                    <a:pt x="334" y="19"/>
                    <a:pt x="330" y="20"/>
                  </a:cubicBezTo>
                  <a:cubicBezTo>
                    <a:pt x="330" y="25"/>
                    <a:pt x="330" y="29"/>
                    <a:pt x="330" y="35"/>
                  </a:cubicBezTo>
                  <a:cubicBezTo>
                    <a:pt x="330" y="44"/>
                    <a:pt x="327" y="48"/>
                    <a:pt x="316" y="51"/>
                  </a:cubicBezTo>
                  <a:cubicBezTo>
                    <a:pt x="304" y="54"/>
                    <a:pt x="303" y="62"/>
                    <a:pt x="301" y="74"/>
                  </a:cubicBezTo>
                  <a:cubicBezTo>
                    <a:pt x="299" y="85"/>
                    <a:pt x="312" y="85"/>
                    <a:pt x="312" y="93"/>
                  </a:cubicBezTo>
                  <a:cubicBezTo>
                    <a:pt x="313" y="101"/>
                    <a:pt x="305" y="107"/>
                    <a:pt x="298" y="96"/>
                  </a:cubicBezTo>
                  <a:cubicBezTo>
                    <a:pt x="292" y="86"/>
                    <a:pt x="280" y="90"/>
                    <a:pt x="272" y="90"/>
                  </a:cubicBezTo>
                  <a:cubicBezTo>
                    <a:pt x="264" y="90"/>
                    <a:pt x="245" y="92"/>
                    <a:pt x="238" y="105"/>
                  </a:cubicBezTo>
                  <a:cubicBezTo>
                    <a:pt x="232" y="117"/>
                    <a:pt x="222" y="130"/>
                    <a:pt x="208" y="131"/>
                  </a:cubicBezTo>
                  <a:cubicBezTo>
                    <a:pt x="193" y="132"/>
                    <a:pt x="190" y="146"/>
                    <a:pt x="187" y="158"/>
                  </a:cubicBezTo>
                  <a:cubicBezTo>
                    <a:pt x="185" y="171"/>
                    <a:pt x="186" y="168"/>
                    <a:pt x="192" y="175"/>
                  </a:cubicBezTo>
                  <a:cubicBezTo>
                    <a:pt x="198" y="182"/>
                    <a:pt x="187" y="185"/>
                    <a:pt x="187" y="194"/>
                  </a:cubicBezTo>
                  <a:cubicBezTo>
                    <a:pt x="186" y="203"/>
                    <a:pt x="175" y="210"/>
                    <a:pt x="171" y="211"/>
                  </a:cubicBezTo>
                  <a:cubicBezTo>
                    <a:pt x="166" y="212"/>
                    <a:pt x="160" y="213"/>
                    <a:pt x="159" y="221"/>
                  </a:cubicBezTo>
                  <a:cubicBezTo>
                    <a:pt x="159" y="230"/>
                    <a:pt x="154" y="227"/>
                    <a:pt x="154" y="232"/>
                  </a:cubicBezTo>
                  <a:cubicBezTo>
                    <a:pt x="153" y="236"/>
                    <a:pt x="158" y="237"/>
                    <a:pt x="164" y="241"/>
                  </a:cubicBezTo>
                  <a:cubicBezTo>
                    <a:pt x="169" y="246"/>
                    <a:pt x="161" y="250"/>
                    <a:pt x="160" y="257"/>
                  </a:cubicBezTo>
                  <a:cubicBezTo>
                    <a:pt x="160" y="264"/>
                    <a:pt x="164" y="274"/>
                    <a:pt x="151" y="276"/>
                  </a:cubicBezTo>
                  <a:cubicBezTo>
                    <a:pt x="139" y="277"/>
                    <a:pt x="153" y="293"/>
                    <a:pt x="139" y="293"/>
                  </a:cubicBezTo>
                  <a:cubicBezTo>
                    <a:pt x="125" y="294"/>
                    <a:pt x="130" y="310"/>
                    <a:pt x="130" y="319"/>
                  </a:cubicBezTo>
                  <a:cubicBezTo>
                    <a:pt x="131" y="328"/>
                    <a:pt x="123" y="333"/>
                    <a:pt x="122" y="328"/>
                  </a:cubicBezTo>
                  <a:cubicBezTo>
                    <a:pt x="121" y="324"/>
                    <a:pt x="117" y="316"/>
                    <a:pt x="105" y="317"/>
                  </a:cubicBezTo>
                  <a:cubicBezTo>
                    <a:pt x="93" y="317"/>
                    <a:pt x="94" y="310"/>
                    <a:pt x="84" y="310"/>
                  </a:cubicBezTo>
                  <a:cubicBezTo>
                    <a:pt x="73" y="310"/>
                    <a:pt x="76" y="318"/>
                    <a:pt x="81" y="322"/>
                  </a:cubicBezTo>
                  <a:cubicBezTo>
                    <a:pt x="87" y="326"/>
                    <a:pt x="88" y="332"/>
                    <a:pt x="82" y="335"/>
                  </a:cubicBezTo>
                  <a:cubicBezTo>
                    <a:pt x="77" y="338"/>
                    <a:pt x="78" y="356"/>
                    <a:pt x="78" y="367"/>
                  </a:cubicBezTo>
                  <a:cubicBezTo>
                    <a:pt x="78" y="377"/>
                    <a:pt x="73" y="381"/>
                    <a:pt x="65" y="384"/>
                  </a:cubicBezTo>
                  <a:cubicBezTo>
                    <a:pt x="58" y="388"/>
                    <a:pt x="59" y="400"/>
                    <a:pt x="59" y="409"/>
                  </a:cubicBezTo>
                  <a:cubicBezTo>
                    <a:pt x="59" y="417"/>
                    <a:pt x="61" y="417"/>
                    <a:pt x="65" y="417"/>
                  </a:cubicBezTo>
                  <a:cubicBezTo>
                    <a:pt x="70" y="417"/>
                    <a:pt x="72" y="425"/>
                    <a:pt x="72" y="431"/>
                  </a:cubicBezTo>
                  <a:cubicBezTo>
                    <a:pt x="72" y="438"/>
                    <a:pt x="60" y="436"/>
                    <a:pt x="60" y="444"/>
                  </a:cubicBezTo>
                  <a:cubicBezTo>
                    <a:pt x="59" y="452"/>
                    <a:pt x="51" y="450"/>
                    <a:pt x="42" y="446"/>
                  </a:cubicBezTo>
                  <a:cubicBezTo>
                    <a:pt x="38" y="444"/>
                    <a:pt x="34" y="444"/>
                    <a:pt x="31" y="444"/>
                  </a:cubicBezTo>
                  <a:cubicBezTo>
                    <a:pt x="31" y="444"/>
                    <a:pt x="31" y="444"/>
                    <a:pt x="31" y="444"/>
                  </a:cubicBezTo>
                  <a:cubicBezTo>
                    <a:pt x="31" y="445"/>
                    <a:pt x="31" y="445"/>
                    <a:pt x="31" y="446"/>
                  </a:cubicBezTo>
                  <a:cubicBezTo>
                    <a:pt x="31" y="446"/>
                    <a:pt x="31" y="446"/>
                    <a:pt x="31" y="446"/>
                  </a:cubicBezTo>
                  <a:cubicBezTo>
                    <a:pt x="31" y="449"/>
                    <a:pt x="30" y="453"/>
                    <a:pt x="30" y="456"/>
                  </a:cubicBezTo>
                  <a:cubicBezTo>
                    <a:pt x="30" y="456"/>
                    <a:pt x="30" y="457"/>
                    <a:pt x="30" y="457"/>
                  </a:cubicBezTo>
                  <a:cubicBezTo>
                    <a:pt x="30" y="457"/>
                    <a:pt x="30" y="458"/>
                    <a:pt x="30" y="459"/>
                  </a:cubicBezTo>
                  <a:cubicBezTo>
                    <a:pt x="29" y="459"/>
                    <a:pt x="29" y="460"/>
                    <a:pt x="29" y="461"/>
                  </a:cubicBezTo>
                  <a:cubicBezTo>
                    <a:pt x="29" y="461"/>
                    <a:pt x="29" y="461"/>
                    <a:pt x="29" y="461"/>
                  </a:cubicBezTo>
                  <a:cubicBezTo>
                    <a:pt x="29" y="462"/>
                    <a:pt x="29" y="462"/>
                    <a:pt x="29" y="463"/>
                  </a:cubicBezTo>
                  <a:cubicBezTo>
                    <a:pt x="29" y="463"/>
                    <a:pt x="29" y="463"/>
                    <a:pt x="29" y="463"/>
                  </a:cubicBezTo>
                  <a:cubicBezTo>
                    <a:pt x="29" y="464"/>
                    <a:pt x="29" y="465"/>
                    <a:pt x="30" y="465"/>
                  </a:cubicBezTo>
                  <a:cubicBezTo>
                    <a:pt x="32" y="470"/>
                    <a:pt x="25" y="473"/>
                    <a:pt x="32" y="480"/>
                  </a:cubicBezTo>
                  <a:cubicBezTo>
                    <a:pt x="38" y="486"/>
                    <a:pt x="41" y="496"/>
                    <a:pt x="34" y="496"/>
                  </a:cubicBezTo>
                  <a:cubicBezTo>
                    <a:pt x="28" y="495"/>
                    <a:pt x="14" y="490"/>
                    <a:pt x="12" y="494"/>
                  </a:cubicBezTo>
                  <a:cubicBezTo>
                    <a:pt x="10" y="498"/>
                    <a:pt x="13" y="511"/>
                    <a:pt x="0" y="516"/>
                  </a:cubicBezTo>
                  <a:cubicBezTo>
                    <a:pt x="10" y="535"/>
                    <a:pt x="40" y="565"/>
                    <a:pt x="55" y="579"/>
                  </a:cubicBezTo>
                  <a:cubicBezTo>
                    <a:pt x="73" y="595"/>
                    <a:pt x="70" y="593"/>
                    <a:pt x="71" y="583"/>
                  </a:cubicBezTo>
                  <a:cubicBezTo>
                    <a:pt x="73" y="573"/>
                    <a:pt x="84" y="592"/>
                    <a:pt x="97" y="601"/>
                  </a:cubicBezTo>
                  <a:cubicBezTo>
                    <a:pt x="110" y="609"/>
                    <a:pt x="101" y="616"/>
                    <a:pt x="93" y="624"/>
                  </a:cubicBezTo>
                  <a:cubicBezTo>
                    <a:pt x="84" y="631"/>
                    <a:pt x="88" y="631"/>
                    <a:pt x="97" y="639"/>
                  </a:cubicBezTo>
                  <a:cubicBezTo>
                    <a:pt x="106" y="648"/>
                    <a:pt x="86" y="651"/>
                    <a:pt x="91" y="661"/>
                  </a:cubicBezTo>
                  <a:cubicBezTo>
                    <a:pt x="97" y="671"/>
                    <a:pt x="108" y="649"/>
                    <a:pt x="119" y="652"/>
                  </a:cubicBezTo>
                  <a:cubicBezTo>
                    <a:pt x="129" y="655"/>
                    <a:pt x="129" y="675"/>
                    <a:pt x="133" y="695"/>
                  </a:cubicBezTo>
                  <a:cubicBezTo>
                    <a:pt x="137" y="715"/>
                    <a:pt x="147" y="714"/>
                    <a:pt x="147" y="725"/>
                  </a:cubicBezTo>
                  <a:cubicBezTo>
                    <a:pt x="147" y="737"/>
                    <a:pt x="147" y="750"/>
                    <a:pt x="149" y="768"/>
                  </a:cubicBezTo>
                  <a:cubicBezTo>
                    <a:pt x="150" y="787"/>
                    <a:pt x="136" y="793"/>
                    <a:pt x="136" y="803"/>
                  </a:cubicBezTo>
                  <a:cubicBezTo>
                    <a:pt x="136" y="813"/>
                    <a:pt x="133" y="831"/>
                    <a:pt x="133" y="843"/>
                  </a:cubicBezTo>
                  <a:cubicBezTo>
                    <a:pt x="133" y="854"/>
                    <a:pt x="150" y="860"/>
                    <a:pt x="153" y="853"/>
                  </a:cubicBezTo>
                  <a:cubicBezTo>
                    <a:pt x="156" y="846"/>
                    <a:pt x="160" y="847"/>
                    <a:pt x="167" y="857"/>
                  </a:cubicBezTo>
                  <a:cubicBezTo>
                    <a:pt x="174" y="867"/>
                    <a:pt x="180" y="874"/>
                    <a:pt x="186" y="861"/>
                  </a:cubicBezTo>
                  <a:cubicBezTo>
                    <a:pt x="192" y="849"/>
                    <a:pt x="196" y="863"/>
                    <a:pt x="207" y="863"/>
                  </a:cubicBezTo>
                  <a:cubicBezTo>
                    <a:pt x="219" y="863"/>
                    <a:pt x="227" y="853"/>
                    <a:pt x="239" y="836"/>
                  </a:cubicBezTo>
                  <a:cubicBezTo>
                    <a:pt x="250" y="818"/>
                    <a:pt x="266" y="818"/>
                    <a:pt x="278" y="817"/>
                  </a:cubicBezTo>
                  <a:cubicBezTo>
                    <a:pt x="289" y="816"/>
                    <a:pt x="289" y="803"/>
                    <a:pt x="293" y="803"/>
                  </a:cubicBezTo>
                  <a:cubicBezTo>
                    <a:pt x="298" y="803"/>
                    <a:pt x="302" y="784"/>
                    <a:pt x="306" y="771"/>
                  </a:cubicBezTo>
                  <a:cubicBezTo>
                    <a:pt x="311" y="758"/>
                    <a:pt x="326" y="778"/>
                    <a:pt x="326" y="788"/>
                  </a:cubicBezTo>
                  <a:cubicBezTo>
                    <a:pt x="326" y="798"/>
                    <a:pt x="329" y="800"/>
                    <a:pt x="334" y="811"/>
                  </a:cubicBezTo>
                  <a:cubicBezTo>
                    <a:pt x="338" y="823"/>
                    <a:pt x="346" y="820"/>
                    <a:pt x="346" y="837"/>
                  </a:cubicBezTo>
                  <a:cubicBezTo>
                    <a:pt x="346" y="854"/>
                    <a:pt x="355" y="861"/>
                    <a:pt x="355" y="882"/>
                  </a:cubicBezTo>
                  <a:cubicBezTo>
                    <a:pt x="355" y="902"/>
                    <a:pt x="355" y="909"/>
                    <a:pt x="361" y="923"/>
                  </a:cubicBezTo>
                  <a:cubicBezTo>
                    <a:pt x="366" y="937"/>
                    <a:pt x="372" y="945"/>
                    <a:pt x="374" y="970"/>
                  </a:cubicBezTo>
                  <a:cubicBezTo>
                    <a:pt x="375" y="996"/>
                    <a:pt x="385" y="996"/>
                    <a:pt x="397" y="1008"/>
                  </a:cubicBezTo>
                  <a:cubicBezTo>
                    <a:pt x="408" y="1019"/>
                    <a:pt x="402" y="1022"/>
                    <a:pt x="405" y="1042"/>
                  </a:cubicBezTo>
                  <a:cubicBezTo>
                    <a:pt x="408" y="1062"/>
                    <a:pt x="415" y="1071"/>
                    <a:pt x="415" y="1082"/>
                  </a:cubicBezTo>
                  <a:cubicBezTo>
                    <a:pt x="415" y="1094"/>
                    <a:pt x="412" y="1092"/>
                    <a:pt x="402" y="1097"/>
                  </a:cubicBezTo>
                  <a:cubicBezTo>
                    <a:pt x="392" y="1101"/>
                    <a:pt x="404" y="1107"/>
                    <a:pt x="404" y="1115"/>
                  </a:cubicBezTo>
                  <a:cubicBezTo>
                    <a:pt x="404" y="1124"/>
                    <a:pt x="394" y="1119"/>
                    <a:pt x="387" y="1119"/>
                  </a:cubicBezTo>
                  <a:cubicBezTo>
                    <a:pt x="379" y="1119"/>
                    <a:pt x="384" y="1137"/>
                    <a:pt x="392" y="1137"/>
                  </a:cubicBezTo>
                  <a:cubicBezTo>
                    <a:pt x="401" y="1137"/>
                    <a:pt x="398" y="1134"/>
                    <a:pt x="412" y="1140"/>
                  </a:cubicBezTo>
                  <a:cubicBezTo>
                    <a:pt x="427" y="1145"/>
                    <a:pt x="420" y="1161"/>
                    <a:pt x="408" y="1170"/>
                  </a:cubicBezTo>
                  <a:cubicBezTo>
                    <a:pt x="397" y="1178"/>
                    <a:pt x="405" y="1203"/>
                    <a:pt x="407" y="1228"/>
                  </a:cubicBezTo>
                  <a:cubicBezTo>
                    <a:pt x="407" y="1230"/>
                    <a:pt x="407" y="1231"/>
                    <a:pt x="407" y="1232"/>
                  </a:cubicBezTo>
                  <a:cubicBezTo>
                    <a:pt x="411" y="1231"/>
                    <a:pt x="419" y="1226"/>
                    <a:pt x="419" y="1216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338" name="Freeform 25475"/>
            <p:cNvSpPr>
              <a:spLocks/>
            </p:cNvSpPr>
            <p:nvPr/>
          </p:nvSpPr>
          <p:spPr bwMode="auto">
            <a:xfrm>
              <a:off x="6660460" y="3286323"/>
              <a:ext cx="182456" cy="216391"/>
            </a:xfrm>
            <a:custGeom>
              <a:avLst/>
              <a:gdLst>
                <a:gd name="T0" fmla="*/ 19 w 489"/>
                <a:gd name="T1" fmla="*/ 114 h 580"/>
                <a:gd name="T2" fmla="*/ 6 w 489"/>
                <a:gd name="T3" fmla="*/ 135 h 580"/>
                <a:gd name="T4" fmla="*/ 4 w 489"/>
                <a:gd name="T5" fmla="*/ 139 h 580"/>
                <a:gd name="T6" fmla="*/ 2 w 489"/>
                <a:gd name="T7" fmla="*/ 141 h 580"/>
                <a:gd name="T8" fmla="*/ 1 w 489"/>
                <a:gd name="T9" fmla="*/ 143 h 580"/>
                <a:gd name="T10" fmla="*/ 27 w 489"/>
                <a:gd name="T11" fmla="*/ 160 h 580"/>
                <a:gd name="T12" fmla="*/ 21 w 489"/>
                <a:gd name="T13" fmla="*/ 194 h 580"/>
                <a:gd name="T14" fmla="*/ 58 w 489"/>
                <a:gd name="T15" fmla="*/ 193 h 580"/>
                <a:gd name="T16" fmla="*/ 76 w 489"/>
                <a:gd name="T17" fmla="*/ 231 h 580"/>
                <a:gd name="T18" fmla="*/ 68 w 489"/>
                <a:gd name="T19" fmla="*/ 285 h 580"/>
                <a:gd name="T20" fmla="*/ 48 w 489"/>
                <a:gd name="T21" fmla="*/ 323 h 580"/>
                <a:gd name="T22" fmla="*/ 78 w 489"/>
                <a:gd name="T23" fmla="*/ 333 h 580"/>
                <a:gd name="T24" fmla="*/ 138 w 489"/>
                <a:gd name="T25" fmla="*/ 291 h 580"/>
                <a:gd name="T26" fmla="*/ 185 w 489"/>
                <a:gd name="T27" fmla="*/ 301 h 580"/>
                <a:gd name="T28" fmla="*/ 258 w 489"/>
                <a:gd name="T29" fmla="*/ 298 h 580"/>
                <a:gd name="T30" fmla="*/ 297 w 489"/>
                <a:gd name="T31" fmla="*/ 369 h 580"/>
                <a:gd name="T32" fmla="*/ 326 w 489"/>
                <a:gd name="T33" fmla="*/ 429 h 580"/>
                <a:gd name="T34" fmla="*/ 346 w 489"/>
                <a:gd name="T35" fmla="*/ 481 h 580"/>
                <a:gd name="T36" fmla="*/ 345 w 489"/>
                <a:gd name="T37" fmla="*/ 529 h 580"/>
                <a:gd name="T38" fmla="*/ 331 w 489"/>
                <a:gd name="T39" fmla="*/ 544 h 580"/>
                <a:gd name="T40" fmla="*/ 330 w 489"/>
                <a:gd name="T41" fmla="*/ 545 h 580"/>
                <a:gd name="T42" fmla="*/ 366 w 489"/>
                <a:gd name="T43" fmla="*/ 565 h 580"/>
                <a:gd name="T44" fmla="*/ 397 w 489"/>
                <a:gd name="T45" fmla="*/ 528 h 580"/>
                <a:gd name="T46" fmla="*/ 448 w 489"/>
                <a:gd name="T47" fmla="*/ 534 h 580"/>
                <a:gd name="T48" fmla="*/ 473 w 489"/>
                <a:gd name="T49" fmla="*/ 510 h 580"/>
                <a:gd name="T50" fmla="*/ 473 w 489"/>
                <a:gd name="T51" fmla="*/ 509 h 580"/>
                <a:gd name="T52" fmla="*/ 473 w 489"/>
                <a:gd name="T53" fmla="*/ 507 h 580"/>
                <a:gd name="T54" fmla="*/ 478 w 489"/>
                <a:gd name="T55" fmla="*/ 476 h 580"/>
                <a:gd name="T56" fmla="*/ 468 w 489"/>
                <a:gd name="T57" fmla="*/ 439 h 580"/>
                <a:gd name="T58" fmla="*/ 428 w 489"/>
                <a:gd name="T59" fmla="*/ 399 h 580"/>
                <a:gd name="T60" fmla="*/ 366 w 489"/>
                <a:gd name="T61" fmla="*/ 327 h 580"/>
                <a:gd name="T62" fmla="*/ 325 w 489"/>
                <a:gd name="T63" fmla="*/ 261 h 580"/>
                <a:gd name="T64" fmla="*/ 249 w 489"/>
                <a:gd name="T65" fmla="*/ 219 h 580"/>
                <a:gd name="T66" fmla="*/ 298 w 489"/>
                <a:gd name="T67" fmla="*/ 179 h 580"/>
                <a:gd name="T68" fmla="*/ 284 w 489"/>
                <a:gd name="T69" fmla="*/ 143 h 580"/>
                <a:gd name="T70" fmla="*/ 249 w 489"/>
                <a:gd name="T71" fmla="*/ 109 h 580"/>
                <a:gd name="T72" fmla="*/ 187 w 489"/>
                <a:gd name="T73" fmla="*/ 97 h 580"/>
                <a:gd name="T74" fmla="*/ 172 w 489"/>
                <a:gd name="T75" fmla="*/ 52 h 580"/>
                <a:gd name="T76" fmla="*/ 133 w 489"/>
                <a:gd name="T77" fmla="*/ 3 h 580"/>
                <a:gd name="T78" fmla="*/ 125 w 489"/>
                <a:gd name="T79" fmla="*/ 4 h 580"/>
                <a:gd name="T80" fmla="*/ 104 w 489"/>
                <a:gd name="T81" fmla="*/ 0 h 580"/>
                <a:gd name="T82" fmla="*/ 100 w 489"/>
                <a:gd name="T83" fmla="*/ 40 h 580"/>
                <a:gd name="T84" fmla="*/ 106 w 489"/>
                <a:gd name="T85" fmla="*/ 86 h 580"/>
                <a:gd name="T86" fmla="*/ 70 w 489"/>
                <a:gd name="T87" fmla="*/ 61 h 580"/>
                <a:gd name="T88" fmla="*/ 69 w 489"/>
                <a:gd name="T89" fmla="*/ 57 h 580"/>
                <a:gd name="T90" fmla="*/ 63 w 489"/>
                <a:gd name="T91" fmla="*/ 49 h 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89" h="580">
                  <a:moveTo>
                    <a:pt x="50" y="78"/>
                  </a:moveTo>
                  <a:cubicBezTo>
                    <a:pt x="43" y="84"/>
                    <a:pt x="42" y="86"/>
                    <a:pt x="39" y="96"/>
                  </a:cubicBezTo>
                  <a:cubicBezTo>
                    <a:pt x="36" y="107"/>
                    <a:pt x="28" y="109"/>
                    <a:pt x="19" y="114"/>
                  </a:cubicBezTo>
                  <a:cubicBezTo>
                    <a:pt x="9" y="119"/>
                    <a:pt x="9" y="116"/>
                    <a:pt x="7" y="132"/>
                  </a:cubicBezTo>
                  <a:cubicBezTo>
                    <a:pt x="6" y="133"/>
                    <a:pt x="6" y="134"/>
                    <a:pt x="6" y="135"/>
                  </a:cubicBezTo>
                  <a:cubicBezTo>
                    <a:pt x="6" y="135"/>
                    <a:pt x="6" y="135"/>
                    <a:pt x="6" y="135"/>
                  </a:cubicBezTo>
                  <a:cubicBezTo>
                    <a:pt x="6" y="136"/>
                    <a:pt x="5" y="136"/>
                    <a:pt x="5" y="137"/>
                  </a:cubicBezTo>
                  <a:cubicBezTo>
                    <a:pt x="5" y="137"/>
                    <a:pt x="5" y="137"/>
                    <a:pt x="5" y="137"/>
                  </a:cubicBezTo>
                  <a:cubicBezTo>
                    <a:pt x="5" y="138"/>
                    <a:pt x="5" y="138"/>
                    <a:pt x="4" y="139"/>
                  </a:cubicBezTo>
                  <a:cubicBezTo>
                    <a:pt x="4" y="139"/>
                    <a:pt x="4" y="139"/>
                    <a:pt x="4" y="139"/>
                  </a:cubicBezTo>
                  <a:cubicBezTo>
                    <a:pt x="4" y="140"/>
                    <a:pt x="3" y="140"/>
                    <a:pt x="3" y="141"/>
                  </a:cubicBezTo>
                  <a:cubicBezTo>
                    <a:pt x="3" y="141"/>
                    <a:pt x="3" y="141"/>
                    <a:pt x="2" y="141"/>
                  </a:cubicBezTo>
                  <a:cubicBezTo>
                    <a:pt x="2" y="141"/>
                    <a:pt x="2" y="142"/>
                    <a:pt x="2" y="142"/>
                  </a:cubicBezTo>
                  <a:cubicBezTo>
                    <a:pt x="2" y="142"/>
                    <a:pt x="1" y="142"/>
                    <a:pt x="1" y="142"/>
                  </a:cubicBezTo>
                  <a:cubicBezTo>
                    <a:pt x="1" y="143"/>
                    <a:pt x="1" y="143"/>
                    <a:pt x="1" y="143"/>
                  </a:cubicBezTo>
                  <a:cubicBezTo>
                    <a:pt x="0" y="143"/>
                    <a:pt x="0" y="143"/>
                    <a:pt x="0" y="143"/>
                  </a:cubicBezTo>
                  <a:cubicBezTo>
                    <a:pt x="1" y="147"/>
                    <a:pt x="5" y="149"/>
                    <a:pt x="10" y="149"/>
                  </a:cubicBezTo>
                  <a:cubicBezTo>
                    <a:pt x="24" y="147"/>
                    <a:pt x="25" y="157"/>
                    <a:pt x="27" y="160"/>
                  </a:cubicBezTo>
                  <a:cubicBezTo>
                    <a:pt x="29" y="163"/>
                    <a:pt x="38" y="162"/>
                    <a:pt x="30" y="170"/>
                  </a:cubicBezTo>
                  <a:cubicBezTo>
                    <a:pt x="22" y="178"/>
                    <a:pt x="22" y="178"/>
                    <a:pt x="22" y="183"/>
                  </a:cubicBezTo>
                  <a:cubicBezTo>
                    <a:pt x="22" y="187"/>
                    <a:pt x="12" y="187"/>
                    <a:pt x="21" y="194"/>
                  </a:cubicBezTo>
                  <a:cubicBezTo>
                    <a:pt x="30" y="201"/>
                    <a:pt x="29" y="206"/>
                    <a:pt x="38" y="205"/>
                  </a:cubicBezTo>
                  <a:cubicBezTo>
                    <a:pt x="46" y="205"/>
                    <a:pt x="49" y="205"/>
                    <a:pt x="49" y="200"/>
                  </a:cubicBezTo>
                  <a:cubicBezTo>
                    <a:pt x="49" y="195"/>
                    <a:pt x="54" y="193"/>
                    <a:pt x="58" y="193"/>
                  </a:cubicBezTo>
                  <a:cubicBezTo>
                    <a:pt x="63" y="193"/>
                    <a:pt x="68" y="195"/>
                    <a:pt x="68" y="201"/>
                  </a:cubicBezTo>
                  <a:cubicBezTo>
                    <a:pt x="68" y="207"/>
                    <a:pt x="72" y="213"/>
                    <a:pt x="74" y="214"/>
                  </a:cubicBezTo>
                  <a:cubicBezTo>
                    <a:pt x="76" y="215"/>
                    <a:pt x="76" y="224"/>
                    <a:pt x="76" y="231"/>
                  </a:cubicBezTo>
                  <a:cubicBezTo>
                    <a:pt x="76" y="237"/>
                    <a:pt x="78" y="253"/>
                    <a:pt x="73" y="256"/>
                  </a:cubicBezTo>
                  <a:cubicBezTo>
                    <a:pt x="68" y="259"/>
                    <a:pt x="63" y="262"/>
                    <a:pt x="64" y="267"/>
                  </a:cubicBezTo>
                  <a:cubicBezTo>
                    <a:pt x="64" y="273"/>
                    <a:pt x="64" y="282"/>
                    <a:pt x="68" y="285"/>
                  </a:cubicBezTo>
                  <a:cubicBezTo>
                    <a:pt x="72" y="287"/>
                    <a:pt x="72" y="293"/>
                    <a:pt x="69" y="298"/>
                  </a:cubicBezTo>
                  <a:cubicBezTo>
                    <a:pt x="66" y="303"/>
                    <a:pt x="58" y="306"/>
                    <a:pt x="58" y="310"/>
                  </a:cubicBezTo>
                  <a:cubicBezTo>
                    <a:pt x="58" y="314"/>
                    <a:pt x="52" y="319"/>
                    <a:pt x="48" y="323"/>
                  </a:cubicBezTo>
                  <a:cubicBezTo>
                    <a:pt x="45" y="327"/>
                    <a:pt x="48" y="329"/>
                    <a:pt x="54" y="333"/>
                  </a:cubicBezTo>
                  <a:cubicBezTo>
                    <a:pt x="60" y="336"/>
                    <a:pt x="52" y="339"/>
                    <a:pt x="61" y="339"/>
                  </a:cubicBezTo>
                  <a:cubicBezTo>
                    <a:pt x="70" y="339"/>
                    <a:pt x="75" y="340"/>
                    <a:pt x="78" y="333"/>
                  </a:cubicBezTo>
                  <a:cubicBezTo>
                    <a:pt x="82" y="327"/>
                    <a:pt x="86" y="318"/>
                    <a:pt x="96" y="314"/>
                  </a:cubicBezTo>
                  <a:cubicBezTo>
                    <a:pt x="106" y="310"/>
                    <a:pt x="98" y="303"/>
                    <a:pt x="110" y="299"/>
                  </a:cubicBezTo>
                  <a:cubicBezTo>
                    <a:pt x="122" y="295"/>
                    <a:pt x="128" y="278"/>
                    <a:pt x="138" y="291"/>
                  </a:cubicBezTo>
                  <a:cubicBezTo>
                    <a:pt x="149" y="305"/>
                    <a:pt x="149" y="300"/>
                    <a:pt x="154" y="302"/>
                  </a:cubicBezTo>
                  <a:cubicBezTo>
                    <a:pt x="160" y="304"/>
                    <a:pt x="166" y="318"/>
                    <a:pt x="172" y="311"/>
                  </a:cubicBezTo>
                  <a:cubicBezTo>
                    <a:pt x="178" y="305"/>
                    <a:pt x="172" y="303"/>
                    <a:pt x="185" y="301"/>
                  </a:cubicBezTo>
                  <a:cubicBezTo>
                    <a:pt x="198" y="299"/>
                    <a:pt x="194" y="281"/>
                    <a:pt x="202" y="278"/>
                  </a:cubicBezTo>
                  <a:cubicBezTo>
                    <a:pt x="210" y="275"/>
                    <a:pt x="232" y="274"/>
                    <a:pt x="238" y="280"/>
                  </a:cubicBezTo>
                  <a:cubicBezTo>
                    <a:pt x="244" y="286"/>
                    <a:pt x="252" y="289"/>
                    <a:pt x="258" y="298"/>
                  </a:cubicBezTo>
                  <a:cubicBezTo>
                    <a:pt x="263" y="307"/>
                    <a:pt x="273" y="321"/>
                    <a:pt x="282" y="327"/>
                  </a:cubicBezTo>
                  <a:cubicBezTo>
                    <a:pt x="292" y="332"/>
                    <a:pt x="299" y="341"/>
                    <a:pt x="301" y="347"/>
                  </a:cubicBezTo>
                  <a:cubicBezTo>
                    <a:pt x="303" y="354"/>
                    <a:pt x="296" y="361"/>
                    <a:pt x="297" y="369"/>
                  </a:cubicBezTo>
                  <a:cubicBezTo>
                    <a:pt x="298" y="376"/>
                    <a:pt x="298" y="382"/>
                    <a:pt x="298" y="389"/>
                  </a:cubicBezTo>
                  <a:cubicBezTo>
                    <a:pt x="298" y="397"/>
                    <a:pt x="291" y="404"/>
                    <a:pt x="304" y="411"/>
                  </a:cubicBezTo>
                  <a:cubicBezTo>
                    <a:pt x="316" y="419"/>
                    <a:pt x="320" y="425"/>
                    <a:pt x="326" y="429"/>
                  </a:cubicBezTo>
                  <a:cubicBezTo>
                    <a:pt x="332" y="432"/>
                    <a:pt x="346" y="437"/>
                    <a:pt x="349" y="445"/>
                  </a:cubicBezTo>
                  <a:cubicBezTo>
                    <a:pt x="352" y="454"/>
                    <a:pt x="360" y="464"/>
                    <a:pt x="356" y="469"/>
                  </a:cubicBezTo>
                  <a:cubicBezTo>
                    <a:pt x="351" y="473"/>
                    <a:pt x="346" y="477"/>
                    <a:pt x="346" y="481"/>
                  </a:cubicBezTo>
                  <a:cubicBezTo>
                    <a:pt x="345" y="486"/>
                    <a:pt x="332" y="487"/>
                    <a:pt x="340" y="494"/>
                  </a:cubicBezTo>
                  <a:cubicBezTo>
                    <a:pt x="347" y="501"/>
                    <a:pt x="347" y="507"/>
                    <a:pt x="347" y="512"/>
                  </a:cubicBezTo>
                  <a:cubicBezTo>
                    <a:pt x="347" y="517"/>
                    <a:pt x="348" y="527"/>
                    <a:pt x="345" y="529"/>
                  </a:cubicBezTo>
                  <a:cubicBezTo>
                    <a:pt x="342" y="531"/>
                    <a:pt x="333" y="538"/>
                    <a:pt x="332" y="543"/>
                  </a:cubicBezTo>
                  <a:cubicBezTo>
                    <a:pt x="332" y="543"/>
                    <a:pt x="331" y="543"/>
                    <a:pt x="331" y="543"/>
                  </a:cubicBezTo>
                  <a:cubicBezTo>
                    <a:pt x="331" y="544"/>
                    <a:pt x="331" y="544"/>
                    <a:pt x="331" y="544"/>
                  </a:cubicBezTo>
                  <a:cubicBezTo>
                    <a:pt x="331" y="544"/>
                    <a:pt x="331" y="544"/>
                    <a:pt x="331" y="544"/>
                  </a:cubicBezTo>
                  <a:cubicBezTo>
                    <a:pt x="331" y="544"/>
                    <a:pt x="330" y="544"/>
                    <a:pt x="330" y="545"/>
                  </a:cubicBezTo>
                  <a:cubicBezTo>
                    <a:pt x="330" y="545"/>
                    <a:pt x="330" y="545"/>
                    <a:pt x="330" y="545"/>
                  </a:cubicBezTo>
                  <a:cubicBezTo>
                    <a:pt x="330" y="545"/>
                    <a:pt x="329" y="545"/>
                    <a:pt x="329" y="545"/>
                  </a:cubicBezTo>
                  <a:cubicBezTo>
                    <a:pt x="334" y="554"/>
                    <a:pt x="341" y="556"/>
                    <a:pt x="345" y="556"/>
                  </a:cubicBezTo>
                  <a:cubicBezTo>
                    <a:pt x="350" y="556"/>
                    <a:pt x="353" y="551"/>
                    <a:pt x="366" y="565"/>
                  </a:cubicBezTo>
                  <a:cubicBezTo>
                    <a:pt x="378" y="580"/>
                    <a:pt x="382" y="570"/>
                    <a:pt x="386" y="566"/>
                  </a:cubicBezTo>
                  <a:cubicBezTo>
                    <a:pt x="390" y="562"/>
                    <a:pt x="385" y="556"/>
                    <a:pt x="383" y="549"/>
                  </a:cubicBezTo>
                  <a:cubicBezTo>
                    <a:pt x="381" y="541"/>
                    <a:pt x="394" y="533"/>
                    <a:pt x="397" y="528"/>
                  </a:cubicBezTo>
                  <a:cubicBezTo>
                    <a:pt x="400" y="523"/>
                    <a:pt x="408" y="524"/>
                    <a:pt x="414" y="530"/>
                  </a:cubicBezTo>
                  <a:cubicBezTo>
                    <a:pt x="420" y="536"/>
                    <a:pt x="425" y="539"/>
                    <a:pt x="432" y="543"/>
                  </a:cubicBezTo>
                  <a:cubicBezTo>
                    <a:pt x="438" y="547"/>
                    <a:pt x="446" y="540"/>
                    <a:pt x="448" y="534"/>
                  </a:cubicBezTo>
                  <a:cubicBezTo>
                    <a:pt x="450" y="528"/>
                    <a:pt x="454" y="525"/>
                    <a:pt x="464" y="523"/>
                  </a:cubicBezTo>
                  <a:cubicBezTo>
                    <a:pt x="465" y="523"/>
                    <a:pt x="465" y="523"/>
                    <a:pt x="466" y="523"/>
                  </a:cubicBezTo>
                  <a:cubicBezTo>
                    <a:pt x="473" y="521"/>
                    <a:pt x="474" y="515"/>
                    <a:pt x="473" y="510"/>
                  </a:cubicBezTo>
                  <a:cubicBezTo>
                    <a:pt x="473" y="510"/>
                    <a:pt x="473" y="510"/>
                    <a:pt x="473" y="510"/>
                  </a:cubicBezTo>
                  <a:cubicBezTo>
                    <a:pt x="473" y="510"/>
                    <a:pt x="473" y="509"/>
                    <a:pt x="473" y="509"/>
                  </a:cubicBezTo>
                  <a:cubicBezTo>
                    <a:pt x="473" y="509"/>
                    <a:pt x="473" y="509"/>
                    <a:pt x="473" y="509"/>
                  </a:cubicBezTo>
                  <a:cubicBezTo>
                    <a:pt x="473" y="509"/>
                    <a:pt x="473" y="508"/>
                    <a:pt x="473" y="508"/>
                  </a:cubicBezTo>
                  <a:cubicBezTo>
                    <a:pt x="473" y="508"/>
                    <a:pt x="473" y="508"/>
                    <a:pt x="473" y="508"/>
                  </a:cubicBezTo>
                  <a:cubicBezTo>
                    <a:pt x="473" y="508"/>
                    <a:pt x="473" y="508"/>
                    <a:pt x="473" y="507"/>
                  </a:cubicBezTo>
                  <a:cubicBezTo>
                    <a:pt x="472" y="507"/>
                    <a:pt x="472" y="507"/>
                    <a:pt x="472" y="507"/>
                  </a:cubicBezTo>
                  <a:cubicBezTo>
                    <a:pt x="471" y="503"/>
                    <a:pt x="469" y="498"/>
                    <a:pt x="479" y="495"/>
                  </a:cubicBezTo>
                  <a:cubicBezTo>
                    <a:pt x="489" y="491"/>
                    <a:pt x="484" y="483"/>
                    <a:pt x="478" y="476"/>
                  </a:cubicBezTo>
                  <a:cubicBezTo>
                    <a:pt x="472" y="469"/>
                    <a:pt x="466" y="465"/>
                    <a:pt x="457" y="461"/>
                  </a:cubicBezTo>
                  <a:cubicBezTo>
                    <a:pt x="448" y="458"/>
                    <a:pt x="452" y="451"/>
                    <a:pt x="452" y="446"/>
                  </a:cubicBezTo>
                  <a:cubicBezTo>
                    <a:pt x="452" y="441"/>
                    <a:pt x="463" y="441"/>
                    <a:pt x="468" y="439"/>
                  </a:cubicBezTo>
                  <a:cubicBezTo>
                    <a:pt x="474" y="436"/>
                    <a:pt x="464" y="427"/>
                    <a:pt x="460" y="425"/>
                  </a:cubicBezTo>
                  <a:cubicBezTo>
                    <a:pt x="456" y="423"/>
                    <a:pt x="456" y="417"/>
                    <a:pt x="446" y="413"/>
                  </a:cubicBezTo>
                  <a:cubicBezTo>
                    <a:pt x="436" y="409"/>
                    <a:pt x="439" y="402"/>
                    <a:pt x="428" y="399"/>
                  </a:cubicBezTo>
                  <a:cubicBezTo>
                    <a:pt x="416" y="397"/>
                    <a:pt x="416" y="391"/>
                    <a:pt x="413" y="380"/>
                  </a:cubicBezTo>
                  <a:cubicBezTo>
                    <a:pt x="410" y="369"/>
                    <a:pt x="408" y="363"/>
                    <a:pt x="401" y="357"/>
                  </a:cubicBezTo>
                  <a:cubicBezTo>
                    <a:pt x="394" y="351"/>
                    <a:pt x="375" y="333"/>
                    <a:pt x="366" y="327"/>
                  </a:cubicBezTo>
                  <a:cubicBezTo>
                    <a:pt x="356" y="321"/>
                    <a:pt x="351" y="315"/>
                    <a:pt x="351" y="305"/>
                  </a:cubicBezTo>
                  <a:cubicBezTo>
                    <a:pt x="351" y="295"/>
                    <a:pt x="344" y="294"/>
                    <a:pt x="332" y="287"/>
                  </a:cubicBezTo>
                  <a:cubicBezTo>
                    <a:pt x="320" y="281"/>
                    <a:pt x="325" y="268"/>
                    <a:pt x="325" y="261"/>
                  </a:cubicBezTo>
                  <a:cubicBezTo>
                    <a:pt x="325" y="253"/>
                    <a:pt x="314" y="254"/>
                    <a:pt x="305" y="253"/>
                  </a:cubicBezTo>
                  <a:cubicBezTo>
                    <a:pt x="296" y="253"/>
                    <a:pt x="291" y="246"/>
                    <a:pt x="280" y="239"/>
                  </a:cubicBezTo>
                  <a:cubicBezTo>
                    <a:pt x="268" y="233"/>
                    <a:pt x="268" y="226"/>
                    <a:pt x="249" y="219"/>
                  </a:cubicBezTo>
                  <a:cubicBezTo>
                    <a:pt x="230" y="211"/>
                    <a:pt x="251" y="203"/>
                    <a:pt x="252" y="197"/>
                  </a:cubicBezTo>
                  <a:cubicBezTo>
                    <a:pt x="252" y="191"/>
                    <a:pt x="278" y="195"/>
                    <a:pt x="284" y="195"/>
                  </a:cubicBezTo>
                  <a:cubicBezTo>
                    <a:pt x="291" y="195"/>
                    <a:pt x="298" y="187"/>
                    <a:pt x="298" y="179"/>
                  </a:cubicBezTo>
                  <a:cubicBezTo>
                    <a:pt x="298" y="172"/>
                    <a:pt x="309" y="173"/>
                    <a:pt x="311" y="167"/>
                  </a:cubicBezTo>
                  <a:cubicBezTo>
                    <a:pt x="313" y="162"/>
                    <a:pt x="311" y="153"/>
                    <a:pt x="301" y="154"/>
                  </a:cubicBezTo>
                  <a:cubicBezTo>
                    <a:pt x="291" y="155"/>
                    <a:pt x="291" y="147"/>
                    <a:pt x="284" y="143"/>
                  </a:cubicBezTo>
                  <a:cubicBezTo>
                    <a:pt x="276" y="140"/>
                    <a:pt x="280" y="137"/>
                    <a:pt x="282" y="131"/>
                  </a:cubicBezTo>
                  <a:cubicBezTo>
                    <a:pt x="283" y="125"/>
                    <a:pt x="276" y="118"/>
                    <a:pt x="272" y="112"/>
                  </a:cubicBezTo>
                  <a:cubicBezTo>
                    <a:pt x="268" y="106"/>
                    <a:pt x="257" y="106"/>
                    <a:pt x="249" y="109"/>
                  </a:cubicBezTo>
                  <a:cubicBezTo>
                    <a:pt x="241" y="111"/>
                    <a:pt x="236" y="113"/>
                    <a:pt x="234" y="119"/>
                  </a:cubicBezTo>
                  <a:cubicBezTo>
                    <a:pt x="232" y="126"/>
                    <a:pt x="216" y="119"/>
                    <a:pt x="205" y="118"/>
                  </a:cubicBezTo>
                  <a:cubicBezTo>
                    <a:pt x="194" y="117"/>
                    <a:pt x="196" y="105"/>
                    <a:pt x="187" y="97"/>
                  </a:cubicBezTo>
                  <a:cubicBezTo>
                    <a:pt x="178" y="89"/>
                    <a:pt x="170" y="82"/>
                    <a:pt x="176" y="81"/>
                  </a:cubicBezTo>
                  <a:cubicBezTo>
                    <a:pt x="182" y="79"/>
                    <a:pt x="186" y="67"/>
                    <a:pt x="186" y="62"/>
                  </a:cubicBezTo>
                  <a:cubicBezTo>
                    <a:pt x="186" y="57"/>
                    <a:pt x="181" y="53"/>
                    <a:pt x="172" y="52"/>
                  </a:cubicBezTo>
                  <a:cubicBezTo>
                    <a:pt x="164" y="51"/>
                    <a:pt x="165" y="52"/>
                    <a:pt x="162" y="43"/>
                  </a:cubicBezTo>
                  <a:cubicBezTo>
                    <a:pt x="160" y="35"/>
                    <a:pt x="151" y="27"/>
                    <a:pt x="141" y="24"/>
                  </a:cubicBezTo>
                  <a:cubicBezTo>
                    <a:pt x="134" y="22"/>
                    <a:pt x="133" y="11"/>
                    <a:pt x="133" y="3"/>
                  </a:cubicBezTo>
                  <a:cubicBezTo>
                    <a:pt x="132" y="4"/>
                    <a:pt x="130" y="4"/>
                    <a:pt x="128" y="4"/>
                  </a:cubicBezTo>
                  <a:cubicBezTo>
                    <a:pt x="128" y="4"/>
                    <a:pt x="128" y="4"/>
                    <a:pt x="128" y="4"/>
                  </a:cubicBezTo>
                  <a:cubicBezTo>
                    <a:pt x="127" y="4"/>
                    <a:pt x="126" y="4"/>
                    <a:pt x="125" y="4"/>
                  </a:cubicBezTo>
                  <a:cubicBezTo>
                    <a:pt x="125" y="3"/>
                    <a:pt x="125" y="3"/>
                    <a:pt x="125" y="3"/>
                  </a:cubicBezTo>
                  <a:cubicBezTo>
                    <a:pt x="124" y="3"/>
                    <a:pt x="122" y="3"/>
                    <a:pt x="121" y="3"/>
                  </a:cubicBezTo>
                  <a:cubicBezTo>
                    <a:pt x="112" y="0"/>
                    <a:pt x="112" y="0"/>
                    <a:pt x="104" y="0"/>
                  </a:cubicBezTo>
                  <a:cubicBezTo>
                    <a:pt x="95" y="0"/>
                    <a:pt x="98" y="14"/>
                    <a:pt x="95" y="15"/>
                  </a:cubicBezTo>
                  <a:cubicBezTo>
                    <a:pt x="91" y="16"/>
                    <a:pt x="90" y="23"/>
                    <a:pt x="90" y="29"/>
                  </a:cubicBezTo>
                  <a:cubicBezTo>
                    <a:pt x="90" y="34"/>
                    <a:pt x="99" y="34"/>
                    <a:pt x="100" y="40"/>
                  </a:cubicBezTo>
                  <a:cubicBezTo>
                    <a:pt x="101" y="45"/>
                    <a:pt x="103" y="45"/>
                    <a:pt x="108" y="49"/>
                  </a:cubicBezTo>
                  <a:cubicBezTo>
                    <a:pt x="113" y="53"/>
                    <a:pt x="111" y="63"/>
                    <a:pt x="108" y="68"/>
                  </a:cubicBezTo>
                  <a:cubicBezTo>
                    <a:pt x="106" y="72"/>
                    <a:pt x="107" y="78"/>
                    <a:pt x="106" y="86"/>
                  </a:cubicBezTo>
                  <a:cubicBezTo>
                    <a:pt x="106" y="93"/>
                    <a:pt x="90" y="88"/>
                    <a:pt x="81" y="88"/>
                  </a:cubicBezTo>
                  <a:cubicBezTo>
                    <a:pt x="72" y="89"/>
                    <a:pt x="74" y="79"/>
                    <a:pt x="72" y="74"/>
                  </a:cubicBezTo>
                  <a:cubicBezTo>
                    <a:pt x="69" y="68"/>
                    <a:pt x="70" y="67"/>
                    <a:pt x="70" y="61"/>
                  </a:cubicBezTo>
                  <a:cubicBezTo>
                    <a:pt x="70" y="60"/>
                    <a:pt x="69" y="60"/>
                    <a:pt x="69" y="59"/>
                  </a:cubicBezTo>
                  <a:cubicBezTo>
                    <a:pt x="69" y="59"/>
                    <a:pt x="69" y="58"/>
                    <a:pt x="69" y="58"/>
                  </a:cubicBezTo>
                  <a:cubicBezTo>
                    <a:pt x="69" y="57"/>
                    <a:pt x="69" y="57"/>
                    <a:pt x="69" y="57"/>
                  </a:cubicBezTo>
                  <a:cubicBezTo>
                    <a:pt x="69" y="56"/>
                    <a:pt x="69" y="56"/>
                    <a:pt x="69" y="55"/>
                  </a:cubicBezTo>
                  <a:cubicBezTo>
                    <a:pt x="69" y="55"/>
                    <a:pt x="69" y="55"/>
                    <a:pt x="69" y="55"/>
                  </a:cubicBezTo>
                  <a:cubicBezTo>
                    <a:pt x="68" y="51"/>
                    <a:pt x="66" y="49"/>
                    <a:pt x="63" y="49"/>
                  </a:cubicBezTo>
                  <a:cubicBezTo>
                    <a:pt x="63" y="49"/>
                    <a:pt x="63" y="49"/>
                    <a:pt x="63" y="49"/>
                  </a:cubicBezTo>
                  <a:cubicBezTo>
                    <a:pt x="60" y="61"/>
                    <a:pt x="55" y="73"/>
                    <a:pt x="50" y="78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339" name="Freeform 25476"/>
            <p:cNvSpPr>
              <a:spLocks/>
            </p:cNvSpPr>
            <p:nvPr/>
          </p:nvSpPr>
          <p:spPr bwMode="auto">
            <a:xfrm>
              <a:off x="6711282" y="3481406"/>
              <a:ext cx="129424" cy="112220"/>
            </a:xfrm>
            <a:custGeom>
              <a:avLst/>
              <a:gdLst>
                <a:gd name="T0" fmla="*/ 154 w 347"/>
                <a:gd name="T1" fmla="*/ 266 h 301"/>
                <a:gd name="T2" fmla="*/ 180 w 347"/>
                <a:gd name="T3" fmla="*/ 256 h 301"/>
                <a:gd name="T4" fmla="*/ 197 w 347"/>
                <a:gd name="T5" fmla="*/ 238 h 301"/>
                <a:gd name="T6" fmla="*/ 232 w 347"/>
                <a:gd name="T7" fmla="*/ 241 h 301"/>
                <a:gd name="T8" fmla="*/ 249 w 347"/>
                <a:gd name="T9" fmla="*/ 250 h 301"/>
                <a:gd name="T10" fmla="*/ 255 w 347"/>
                <a:gd name="T11" fmla="*/ 233 h 301"/>
                <a:gd name="T12" fmla="*/ 236 w 347"/>
                <a:gd name="T13" fmla="*/ 221 h 301"/>
                <a:gd name="T14" fmla="*/ 226 w 347"/>
                <a:gd name="T15" fmla="*/ 204 h 301"/>
                <a:gd name="T16" fmla="*/ 236 w 347"/>
                <a:gd name="T17" fmla="*/ 190 h 301"/>
                <a:gd name="T18" fmla="*/ 248 w 347"/>
                <a:gd name="T19" fmla="*/ 182 h 301"/>
                <a:gd name="T20" fmla="*/ 264 w 347"/>
                <a:gd name="T21" fmla="*/ 192 h 301"/>
                <a:gd name="T22" fmla="*/ 276 w 347"/>
                <a:gd name="T23" fmla="*/ 172 h 301"/>
                <a:gd name="T24" fmla="*/ 295 w 347"/>
                <a:gd name="T25" fmla="*/ 164 h 301"/>
                <a:gd name="T26" fmla="*/ 310 w 347"/>
                <a:gd name="T27" fmla="*/ 155 h 301"/>
                <a:gd name="T28" fmla="*/ 331 w 347"/>
                <a:gd name="T29" fmla="*/ 131 h 301"/>
                <a:gd name="T30" fmla="*/ 346 w 347"/>
                <a:gd name="T31" fmla="*/ 104 h 301"/>
                <a:gd name="T32" fmla="*/ 340 w 347"/>
                <a:gd name="T33" fmla="*/ 62 h 301"/>
                <a:gd name="T34" fmla="*/ 330 w 347"/>
                <a:gd name="T35" fmla="*/ 41 h 301"/>
                <a:gd name="T36" fmla="*/ 326 w 347"/>
                <a:gd name="T37" fmla="*/ 20 h 301"/>
                <a:gd name="T38" fmla="*/ 330 w 347"/>
                <a:gd name="T39" fmla="*/ 0 h 301"/>
                <a:gd name="T40" fmla="*/ 328 w 347"/>
                <a:gd name="T41" fmla="*/ 0 h 301"/>
                <a:gd name="T42" fmla="*/ 312 w 347"/>
                <a:gd name="T43" fmla="*/ 11 h 301"/>
                <a:gd name="T44" fmla="*/ 296 w 347"/>
                <a:gd name="T45" fmla="*/ 20 h 301"/>
                <a:gd name="T46" fmla="*/ 278 w 347"/>
                <a:gd name="T47" fmla="*/ 7 h 301"/>
                <a:gd name="T48" fmla="*/ 261 w 347"/>
                <a:gd name="T49" fmla="*/ 5 h 301"/>
                <a:gd name="T50" fmla="*/ 247 w 347"/>
                <a:gd name="T51" fmla="*/ 26 h 301"/>
                <a:gd name="T52" fmla="*/ 250 w 347"/>
                <a:gd name="T53" fmla="*/ 43 h 301"/>
                <a:gd name="T54" fmla="*/ 230 w 347"/>
                <a:gd name="T55" fmla="*/ 42 h 301"/>
                <a:gd name="T56" fmla="*/ 209 w 347"/>
                <a:gd name="T57" fmla="*/ 33 h 301"/>
                <a:gd name="T58" fmla="*/ 193 w 347"/>
                <a:gd name="T59" fmla="*/ 22 h 301"/>
                <a:gd name="T60" fmla="*/ 186 w 347"/>
                <a:gd name="T61" fmla="*/ 23 h 301"/>
                <a:gd name="T62" fmla="*/ 186 w 347"/>
                <a:gd name="T63" fmla="*/ 23 h 301"/>
                <a:gd name="T64" fmla="*/ 184 w 347"/>
                <a:gd name="T65" fmla="*/ 23 h 301"/>
                <a:gd name="T66" fmla="*/ 183 w 347"/>
                <a:gd name="T67" fmla="*/ 23 h 301"/>
                <a:gd name="T68" fmla="*/ 181 w 347"/>
                <a:gd name="T69" fmla="*/ 22 h 301"/>
                <a:gd name="T70" fmla="*/ 181 w 347"/>
                <a:gd name="T71" fmla="*/ 22 h 301"/>
                <a:gd name="T72" fmla="*/ 178 w 347"/>
                <a:gd name="T73" fmla="*/ 21 h 301"/>
                <a:gd name="T74" fmla="*/ 178 w 347"/>
                <a:gd name="T75" fmla="*/ 21 h 301"/>
                <a:gd name="T76" fmla="*/ 176 w 347"/>
                <a:gd name="T77" fmla="*/ 20 h 301"/>
                <a:gd name="T78" fmla="*/ 176 w 347"/>
                <a:gd name="T79" fmla="*/ 19 h 301"/>
                <a:gd name="T80" fmla="*/ 174 w 347"/>
                <a:gd name="T81" fmla="*/ 18 h 301"/>
                <a:gd name="T82" fmla="*/ 156 w 347"/>
                <a:gd name="T83" fmla="*/ 11 h 301"/>
                <a:gd name="T84" fmla="*/ 136 w 347"/>
                <a:gd name="T85" fmla="*/ 18 h 301"/>
                <a:gd name="T86" fmla="*/ 108 w 347"/>
                <a:gd name="T87" fmla="*/ 17 h 301"/>
                <a:gd name="T88" fmla="*/ 88 w 347"/>
                <a:gd name="T89" fmla="*/ 12 h 301"/>
                <a:gd name="T90" fmla="*/ 63 w 347"/>
                <a:gd name="T91" fmla="*/ 18 h 301"/>
                <a:gd name="T92" fmla="*/ 46 w 347"/>
                <a:gd name="T93" fmla="*/ 30 h 301"/>
                <a:gd name="T94" fmla="*/ 14 w 347"/>
                <a:gd name="T95" fmla="*/ 72 h 301"/>
                <a:gd name="T96" fmla="*/ 10 w 347"/>
                <a:gd name="T97" fmla="*/ 98 h 301"/>
                <a:gd name="T98" fmla="*/ 22 w 347"/>
                <a:gd name="T99" fmla="*/ 128 h 301"/>
                <a:gd name="T100" fmla="*/ 36 w 347"/>
                <a:gd name="T101" fmla="*/ 154 h 301"/>
                <a:gd name="T102" fmla="*/ 39 w 347"/>
                <a:gd name="T103" fmla="*/ 182 h 301"/>
                <a:gd name="T104" fmla="*/ 57 w 347"/>
                <a:gd name="T105" fmla="*/ 205 h 301"/>
                <a:gd name="T106" fmla="*/ 50 w 347"/>
                <a:gd name="T107" fmla="*/ 234 h 301"/>
                <a:gd name="T108" fmla="*/ 70 w 347"/>
                <a:gd name="T109" fmla="*/ 238 h 301"/>
                <a:gd name="T110" fmla="*/ 91 w 347"/>
                <a:gd name="T111" fmla="*/ 226 h 301"/>
                <a:gd name="T112" fmla="*/ 86 w 347"/>
                <a:gd name="T113" fmla="*/ 255 h 301"/>
                <a:gd name="T114" fmla="*/ 104 w 347"/>
                <a:gd name="T115" fmla="*/ 261 h 301"/>
                <a:gd name="T116" fmla="*/ 113 w 347"/>
                <a:gd name="T117" fmla="*/ 285 h 301"/>
                <a:gd name="T118" fmla="*/ 126 w 347"/>
                <a:gd name="T119" fmla="*/ 268 h 301"/>
                <a:gd name="T120" fmla="*/ 138 w 347"/>
                <a:gd name="T121" fmla="*/ 271 h 301"/>
                <a:gd name="T122" fmla="*/ 154 w 347"/>
                <a:gd name="T123" fmla="*/ 266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47" h="301">
                  <a:moveTo>
                    <a:pt x="154" y="266"/>
                  </a:moveTo>
                  <a:cubicBezTo>
                    <a:pt x="176" y="268"/>
                    <a:pt x="180" y="265"/>
                    <a:pt x="180" y="256"/>
                  </a:cubicBezTo>
                  <a:cubicBezTo>
                    <a:pt x="180" y="248"/>
                    <a:pt x="172" y="238"/>
                    <a:pt x="197" y="238"/>
                  </a:cubicBezTo>
                  <a:cubicBezTo>
                    <a:pt x="222" y="238"/>
                    <a:pt x="227" y="233"/>
                    <a:pt x="232" y="241"/>
                  </a:cubicBezTo>
                  <a:cubicBezTo>
                    <a:pt x="236" y="249"/>
                    <a:pt x="243" y="256"/>
                    <a:pt x="249" y="250"/>
                  </a:cubicBezTo>
                  <a:cubicBezTo>
                    <a:pt x="255" y="244"/>
                    <a:pt x="262" y="238"/>
                    <a:pt x="255" y="233"/>
                  </a:cubicBezTo>
                  <a:cubicBezTo>
                    <a:pt x="248" y="228"/>
                    <a:pt x="236" y="232"/>
                    <a:pt x="236" y="221"/>
                  </a:cubicBezTo>
                  <a:cubicBezTo>
                    <a:pt x="235" y="210"/>
                    <a:pt x="226" y="213"/>
                    <a:pt x="226" y="204"/>
                  </a:cubicBezTo>
                  <a:cubicBezTo>
                    <a:pt x="227" y="194"/>
                    <a:pt x="228" y="193"/>
                    <a:pt x="236" y="190"/>
                  </a:cubicBezTo>
                  <a:cubicBezTo>
                    <a:pt x="244" y="186"/>
                    <a:pt x="244" y="177"/>
                    <a:pt x="248" y="182"/>
                  </a:cubicBezTo>
                  <a:cubicBezTo>
                    <a:pt x="253" y="186"/>
                    <a:pt x="254" y="192"/>
                    <a:pt x="264" y="192"/>
                  </a:cubicBezTo>
                  <a:cubicBezTo>
                    <a:pt x="273" y="192"/>
                    <a:pt x="268" y="172"/>
                    <a:pt x="276" y="172"/>
                  </a:cubicBezTo>
                  <a:cubicBezTo>
                    <a:pt x="284" y="172"/>
                    <a:pt x="286" y="164"/>
                    <a:pt x="295" y="164"/>
                  </a:cubicBezTo>
                  <a:cubicBezTo>
                    <a:pt x="304" y="163"/>
                    <a:pt x="305" y="164"/>
                    <a:pt x="310" y="155"/>
                  </a:cubicBezTo>
                  <a:cubicBezTo>
                    <a:pt x="314" y="146"/>
                    <a:pt x="322" y="139"/>
                    <a:pt x="331" y="131"/>
                  </a:cubicBezTo>
                  <a:cubicBezTo>
                    <a:pt x="340" y="123"/>
                    <a:pt x="344" y="117"/>
                    <a:pt x="346" y="104"/>
                  </a:cubicBezTo>
                  <a:cubicBezTo>
                    <a:pt x="347" y="90"/>
                    <a:pt x="345" y="64"/>
                    <a:pt x="340" y="62"/>
                  </a:cubicBezTo>
                  <a:cubicBezTo>
                    <a:pt x="336" y="61"/>
                    <a:pt x="338" y="44"/>
                    <a:pt x="330" y="41"/>
                  </a:cubicBezTo>
                  <a:cubicBezTo>
                    <a:pt x="322" y="38"/>
                    <a:pt x="324" y="32"/>
                    <a:pt x="326" y="20"/>
                  </a:cubicBezTo>
                  <a:cubicBezTo>
                    <a:pt x="328" y="12"/>
                    <a:pt x="330" y="6"/>
                    <a:pt x="330" y="0"/>
                  </a:cubicBezTo>
                  <a:cubicBezTo>
                    <a:pt x="329" y="0"/>
                    <a:pt x="329" y="0"/>
                    <a:pt x="328" y="0"/>
                  </a:cubicBezTo>
                  <a:cubicBezTo>
                    <a:pt x="318" y="2"/>
                    <a:pt x="314" y="5"/>
                    <a:pt x="312" y="11"/>
                  </a:cubicBezTo>
                  <a:cubicBezTo>
                    <a:pt x="310" y="17"/>
                    <a:pt x="302" y="24"/>
                    <a:pt x="296" y="20"/>
                  </a:cubicBezTo>
                  <a:cubicBezTo>
                    <a:pt x="289" y="16"/>
                    <a:pt x="284" y="13"/>
                    <a:pt x="278" y="7"/>
                  </a:cubicBezTo>
                  <a:cubicBezTo>
                    <a:pt x="272" y="1"/>
                    <a:pt x="264" y="0"/>
                    <a:pt x="261" y="5"/>
                  </a:cubicBezTo>
                  <a:cubicBezTo>
                    <a:pt x="258" y="10"/>
                    <a:pt x="245" y="18"/>
                    <a:pt x="247" y="26"/>
                  </a:cubicBezTo>
                  <a:cubicBezTo>
                    <a:pt x="249" y="33"/>
                    <a:pt x="254" y="39"/>
                    <a:pt x="250" y="43"/>
                  </a:cubicBezTo>
                  <a:cubicBezTo>
                    <a:pt x="246" y="47"/>
                    <a:pt x="242" y="57"/>
                    <a:pt x="230" y="42"/>
                  </a:cubicBezTo>
                  <a:cubicBezTo>
                    <a:pt x="217" y="28"/>
                    <a:pt x="214" y="33"/>
                    <a:pt x="209" y="33"/>
                  </a:cubicBezTo>
                  <a:cubicBezTo>
                    <a:pt x="205" y="33"/>
                    <a:pt x="198" y="31"/>
                    <a:pt x="193" y="22"/>
                  </a:cubicBezTo>
                  <a:cubicBezTo>
                    <a:pt x="191" y="23"/>
                    <a:pt x="189" y="23"/>
                    <a:pt x="186" y="23"/>
                  </a:cubicBezTo>
                  <a:cubicBezTo>
                    <a:pt x="186" y="23"/>
                    <a:pt x="186" y="23"/>
                    <a:pt x="186" y="23"/>
                  </a:cubicBezTo>
                  <a:cubicBezTo>
                    <a:pt x="185" y="23"/>
                    <a:pt x="185" y="23"/>
                    <a:pt x="184" y="23"/>
                  </a:cubicBezTo>
                  <a:cubicBezTo>
                    <a:pt x="184" y="23"/>
                    <a:pt x="184" y="23"/>
                    <a:pt x="183" y="23"/>
                  </a:cubicBezTo>
                  <a:cubicBezTo>
                    <a:pt x="183" y="22"/>
                    <a:pt x="182" y="22"/>
                    <a:pt x="181" y="22"/>
                  </a:cubicBezTo>
                  <a:cubicBezTo>
                    <a:pt x="181" y="22"/>
                    <a:pt x="181" y="22"/>
                    <a:pt x="181" y="22"/>
                  </a:cubicBezTo>
                  <a:cubicBezTo>
                    <a:pt x="180" y="21"/>
                    <a:pt x="179" y="21"/>
                    <a:pt x="178" y="21"/>
                  </a:cubicBezTo>
                  <a:cubicBezTo>
                    <a:pt x="178" y="21"/>
                    <a:pt x="178" y="21"/>
                    <a:pt x="178" y="21"/>
                  </a:cubicBezTo>
                  <a:cubicBezTo>
                    <a:pt x="177" y="20"/>
                    <a:pt x="177" y="20"/>
                    <a:pt x="176" y="20"/>
                  </a:cubicBezTo>
                  <a:cubicBezTo>
                    <a:pt x="176" y="19"/>
                    <a:pt x="176" y="19"/>
                    <a:pt x="176" y="19"/>
                  </a:cubicBezTo>
                  <a:cubicBezTo>
                    <a:pt x="175" y="19"/>
                    <a:pt x="174" y="18"/>
                    <a:pt x="174" y="18"/>
                  </a:cubicBezTo>
                  <a:cubicBezTo>
                    <a:pt x="167" y="11"/>
                    <a:pt x="158" y="6"/>
                    <a:pt x="156" y="11"/>
                  </a:cubicBezTo>
                  <a:cubicBezTo>
                    <a:pt x="153" y="16"/>
                    <a:pt x="139" y="20"/>
                    <a:pt x="136" y="18"/>
                  </a:cubicBezTo>
                  <a:cubicBezTo>
                    <a:pt x="134" y="16"/>
                    <a:pt x="116" y="14"/>
                    <a:pt x="108" y="17"/>
                  </a:cubicBezTo>
                  <a:cubicBezTo>
                    <a:pt x="100" y="20"/>
                    <a:pt x="93" y="4"/>
                    <a:pt x="88" y="12"/>
                  </a:cubicBezTo>
                  <a:cubicBezTo>
                    <a:pt x="82" y="19"/>
                    <a:pt x="69" y="18"/>
                    <a:pt x="63" y="18"/>
                  </a:cubicBezTo>
                  <a:cubicBezTo>
                    <a:pt x="57" y="18"/>
                    <a:pt x="50" y="20"/>
                    <a:pt x="46" y="30"/>
                  </a:cubicBezTo>
                  <a:cubicBezTo>
                    <a:pt x="43" y="39"/>
                    <a:pt x="22" y="68"/>
                    <a:pt x="14" y="72"/>
                  </a:cubicBezTo>
                  <a:cubicBezTo>
                    <a:pt x="6" y="77"/>
                    <a:pt x="0" y="84"/>
                    <a:pt x="10" y="98"/>
                  </a:cubicBezTo>
                  <a:cubicBezTo>
                    <a:pt x="21" y="111"/>
                    <a:pt x="16" y="117"/>
                    <a:pt x="22" y="128"/>
                  </a:cubicBezTo>
                  <a:cubicBezTo>
                    <a:pt x="28" y="138"/>
                    <a:pt x="34" y="146"/>
                    <a:pt x="36" y="154"/>
                  </a:cubicBezTo>
                  <a:cubicBezTo>
                    <a:pt x="37" y="159"/>
                    <a:pt x="39" y="171"/>
                    <a:pt x="39" y="182"/>
                  </a:cubicBezTo>
                  <a:cubicBezTo>
                    <a:pt x="47" y="191"/>
                    <a:pt x="54" y="200"/>
                    <a:pt x="57" y="205"/>
                  </a:cubicBezTo>
                  <a:cubicBezTo>
                    <a:pt x="66" y="219"/>
                    <a:pt x="50" y="224"/>
                    <a:pt x="50" y="234"/>
                  </a:cubicBezTo>
                  <a:cubicBezTo>
                    <a:pt x="50" y="244"/>
                    <a:pt x="66" y="245"/>
                    <a:pt x="70" y="238"/>
                  </a:cubicBezTo>
                  <a:cubicBezTo>
                    <a:pt x="74" y="231"/>
                    <a:pt x="83" y="218"/>
                    <a:pt x="91" y="226"/>
                  </a:cubicBezTo>
                  <a:cubicBezTo>
                    <a:pt x="100" y="235"/>
                    <a:pt x="90" y="241"/>
                    <a:pt x="86" y="255"/>
                  </a:cubicBezTo>
                  <a:cubicBezTo>
                    <a:pt x="81" y="269"/>
                    <a:pt x="97" y="259"/>
                    <a:pt x="104" y="261"/>
                  </a:cubicBezTo>
                  <a:cubicBezTo>
                    <a:pt x="112" y="262"/>
                    <a:pt x="113" y="269"/>
                    <a:pt x="113" y="285"/>
                  </a:cubicBezTo>
                  <a:cubicBezTo>
                    <a:pt x="113" y="301"/>
                    <a:pt x="124" y="278"/>
                    <a:pt x="126" y="268"/>
                  </a:cubicBezTo>
                  <a:cubicBezTo>
                    <a:pt x="127" y="262"/>
                    <a:pt x="132" y="266"/>
                    <a:pt x="138" y="271"/>
                  </a:cubicBezTo>
                  <a:cubicBezTo>
                    <a:pt x="140" y="268"/>
                    <a:pt x="145" y="265"/>
                    <a:pt x="154" y="266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340" name="Freeform 25477"/>
            <p:cNvSpPr>
              <a:spLocks/>
            </p:cNvSpPr>
            <p:nvPr/>
          </p:nvSpPr>
          <p:spPr bwMode="auto">
            <a:xfrm>
              <a:off x="6816400" y="3619826"/>
              <a:ext cx="4893" cy="12311"/>
            </a:xfrm>
            <a:custGeom>
              <a:avLst/>
              <a:gdLst>
                <a:gd name="T0" fmla="*/ 11 w 13"/>
                <a:gd name="T1" fmla="*/ 18 h 33"/>
                <a:gd name="T2" fmla="*/ 13 w 13"/>
                <a:gd name="T3" fmla="*/ 2 h 33"/>
                <a:gd name="T4" fmla="*/ 0 w 13"/>
                <a:gd name="T5" fmla="*/ 17 h 33"/>
                <a:gd name="T6" fmla="*/ 11 w 13"/>
                <a:gd name="T7" fmla="*/ 18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33">
                  <a:moveTo>
                    <a:pt x="11" y="18"/>
                  </a:move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0" y="0"/>
                    <a:pt x="0" y="17"/>
                  </a:cubicBezTo>
                  <a:cubicBezTo>
                    <a:pt x="0" y="33"/>
                    <a:pt x="11" y="18"/>
                    <a:pt x="11" y="18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341" name="Freeform 25478"/>
            <p:cNvSpPr>
              <a:spLocks/>
            </p:cNvSpPr>
            <p:nvPr/>
          </p:nvSpPr>
          <p:spPr bwMode="auto">
            <a:xfrm>
              <a:off x="6802195" y="3621720"/>
              <a:ext cx="6313" cy="7418"/>
            </a:xfrm>
            <a:custGeom>
              <a:avLst/>
              <a:gdLst>
                <a:gd name="T0" fmla="*/ 9 w 17"/>
                <a:gd name="T1" fmla="*/ 20 h 20"/>
                <a:gd name="T2" fmla="*/ 17 w 17"/>
                <a:gd name="T3" fmla="*/ 3 h 20"/>
                <a:gd name="T4" fmla="*/ 1 w 17"/>
                <a:gd name="T5" fmla="*/ 10 h 20"/>
                <a:gd name="T6" fmla="*/ 9 w 17"/>
                <a:gd name="T7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" h="20">
                  <a:moveTo>
                    <a:pt x="9" y="20"/>
                  </a:moveTo>
                  <a:cubicBezTo>
                    <a:pt x="17" y="3"/>
                    <a:pt x="17" y="3"/>
                    <a:pt x="17" y="3"/>
                  </a:cubicBezTo>
                  <a:cubicBezTo>
                    <a:pt x="17" y="3"/>
                    <a:pt x="0" y="0"/>
                    <a:pt x="1" y="10"/>
                  </a:cubicBezTo>
                  <a:cubicBezTo>
                    <a:pt x="3" y="20"/>
                    <a:pt x="9" y="20"/>
                    <a:pt x="9" y="2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342" name="Freeform 25479"/>
            <p:cNvSpPr>
              <a:spLocks/>
            </p:cNvSpPr>
            <p:nvPr/>
          </p:nvSpPr>
          <p:spPr bwMode="auto">
            <a:xfrm>
              <a:off x="6740639" y="3605622"/>
              <a:ext cx="11206" cy="9312"/>
            </a:xfrm>
            <a:custGeom>
              <a:avLst/>
              <a:gdLst>
                <a:gd name="T0" fmla="*/ 6 w 30"/>
                <a:gd name="T1" fmla="*/ 0 h 25"/>
                <a:gd name="T2" fmla="*/ 0 w 30"/>
                <a:gd name="T3" fmla="*/ 9 h 25"/>
                <a:gd name="T4" fmla="*/ 20 w 30"/>
                <a:gd name="T5" fmla="*/ 15 h 25"/>
                <a:gd name="T6" fmla="*/ 16 w 30"/>
                <a:gd name="T7" fmla="*/ 0 h 25"/>
                <a:gd name="T8" fmla="*/ 6 w 30"/>
                <a:gd name="T9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25">
                  <a:moveTo>
                    <a:pt x="6" y="0"/>
                  </a:move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11" y="25"/>
                    <a:pt x="20" y="15"/>
                  </a:cubicBezTo>
                  <a:cubicBezTo>
                    <a:pt x="30" y="5"/>
                    <a:pt x="16" y="0"/>
                    <a:pt x="16" y="0"/>
                  </a:cubicBezTo>
                  <a:lnTo>
                    <a:pt x="6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343" name="Freeform 25480"/>
            <p:cNvSpPr>
              <a:spLocks/>
            </p:cNvSpPr>
            <p:nvPr/>
          </p:nvSpPr>
          <p:spPr bwMode="auto">
            <a:xfrm>
              <a:off x="6760053" y="3595836"/>
              <a:ext cx="7418" cy="7892"/>
            </a:xfrm>
            <a:custGeom>
              <a:avLst/>
              <a:gdLst>
                <a:gd name="T0" fmla="*/ 20 w 20"/>
                <a:gd name="T1" fmla="*/ 8 h 21"/>
                <a:gd name="T2" fmla="*/ 15 w 20"/>
                <a:gd name="T3" fmla="*/ 0 h 21"/>
                <a:gd name="T4" fmla="*/ 2 w 20"/>
                <a:gd name="T5" fmla="*/ 7 h 21"/>
                <a:gd name="T6" fmla="*/ 10 w 20"/>
                <a:gd name="T7" fmla="*/ 21 h 21"/>
                <a:gd name="T8" fmla="*/ 20 w 20"/>
                <a:gd name="T9" fmla="*/ 8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21">
                  <a:moveTo>
                    <a:pt x="20" y="8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2" y="7"/>
                    <a:pt x="0" y="21"/>
                    <a:pt x="10" y="21"/>
                  </a:cubicBezTo>
                  <a:cubicBezTo>
                    <a:pt x="20" y="21"/>
                    <a:pt x="20" y="8"/>
                    <a:pt x="20" y="8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344" name="Freeform 25481"/>
            <p:cNvSpPr>
              <a:spLocks/>
            </p:cNvSpPr>
            <p:nvPr/>
          </p:nvSpPr>
          <p:spPr bwMode="auto">
            <a:xfrm>
              <a:off x="6710177" y="3264384"/>
              <a:ext cx="172986" cy="366648"/>
            </a:xfrm>
            <a:custGeom>
              <a:avLst/>
              <a:gdLst>
                <a:gd name="T0" fmla="*/ 285 w 464"/>
                <a:gd name="T1" fmla="*/ 87 h 983"/>
                <a:gd name="T2" fmla="*/ 284 w 464"/>
                <a:gd name="T3" fmla="*/ 33 h 983"/>
                <a:gd name="T4" fmla="*/ 210 w 464"/>
                <a:gd name="T5" fmla="*/ 12 h 983"/>
                <a:gd name="T6" fmla="*/ 169 w 464"/>
                <a:gd name="T7" fmla="*/ 32 h 983"/>
                <a:gd name="T8" fmla="*/ 109 w 464"/>
                <a:gd name="T9" fmla="*/ 53 h 983"/>
                <a:gd name="T10" fmla="*/ 75 w 464"/>
                <a:gd name="T11" fmla="*/ 45 h 983"/>
                <a:gd name="T12" fmla="*/ 41 w 464"/>
                <a:gd name="T13" fmla="*/ 56 h 983"/>
                <a:gd name="T14" fmla="*/ 4 w 464"/>
                <a:gd name="T15" fmla="*/ 60 h 983"/>
                <a:gd name="T16" fmla="*/ 0 w 464"/>
                <a:gd name="T17" fmla="*/ 62 h 983"/>
                <a:gd name="T18" fmla="*/ 39 w 464"/>
                <a:gd name="T19" fmla="*/ 111 h 983"/>
                <a:gd name="T20" fmla="*/ 54 w 464"/>
                <a:gd name="T21" fmla="*/ 156 h 983"/>
                <a:gd name="T22" fmla="*/ 116 w 464"/>
                <a:gd name="T23" fmla="*/ 168 h 983"/>
                <a:gd name="T24" fmla="*/ 151 w 464"/>
                <a:gd name="T25" fmla="*/ 202 h 983"/>
                <a:gd name="T26" fmla="*/ 165 w 464"/>
                <a:gd name="T27" fmla="*/ 238 h 983"/>
                <a:gd name="T28" fmla="*/ 116 w 464"/>
                <a:gd name="T29" fmla="*/ 278 h 983"/>
                <a:gd name="T30" fmla="*/ 192 w 464"/>
                <a:gd name="T31" fmla="*/ 320 h 983"/>
                <a:gd name="T32" fmla="*/ 233 w 464"/>
                <a:gd name="T33" fmla="*/ 386 h 983"/>
                <a:gd name="T34" fmla="*/ 295 w 464"/>
                <a:gd name="T35" fmla="*/ 458 h 983"/>
                <a:gd name="T36" fmla="*/ 335 w 464"/>
                <a:gd name="T37" fmla="*/ 498 h 983"/>
                <a:gd name="T38" fmla="*/ 345 w 464"/>
                <a:gd name="T39" fmla="*/ 535 h 983"/>
                <a:gd name="T40" fmla="*/ 340 w 464"/>
                <a:gd name="T41" fmla="*/ 566 h 983"/>
                <a:gd name="T42" fmla="*/ 340 w 464"/>
                <a:gd name="T43" fmla="*/ 568 h 983"/>
                <a:gd name="T44" fmla="*/ 340 w 464"/>
                <a:gd name="T45" fmla="*/ 569 h 983"/>
                <a:gd name="T46" fmla="*/ 333 w 464"/>
                <a:gd name="T47" fmla="*/ 623 h 983"/>
                <a:gd name="T48" fmla="*/ 334 w 464"/>
                <a:gd name="T49" fmla="*/ 713 h 983"/>
                <a:gd name="T50" fmla="*/ 279 w 464"/>
                <a:gd name="T51" fmla="*/ 754 h 983"/>
                <a:gd name="T52" fmla="*/ 239 w 464"/>
                <a:gd name="T53" fmla="*/ 772 h 983"/>
                <a:gd name="T54" fmla="*/ 258 w 464"/>
                <a:gd name="T55" fmla="*/ 815 h 983"/>
                <a:gd name="T56" fmla="*/ 200 w 464"/>
                <a:gd name="T57" fmla="*/ 820 h 983"/>
                <a:gd name="T58" fmla="*/ 141 w 464"/>
                <a:gd name="T59" fmla="*/ 853 h 983"/>
                <a:gd name="T60" fmla="*/ 185 w 464"/>
                <a:gd name="T61" fmla="*/ 887 h 983"/>
                <a:gd name="T62" fmla="*/ 228 w 464"/>
                <a:gd name="T63" fmla="*/ 936 h 983"/>
                <a:gd name="T64" fmla="*/ 282 w 464"/>
                <a:gd name="T65" fmla="*/ 877 h 983"/>
                <a:gd name="T66" fmla="*/ 321 w 464"/>
                <a:gd name="T67" fmla="*/ 849 h 983"/>
                <a:gd name="T68" fmla="*/ 437 w 464"/>
                <a:gd name="T69" fmla="*/ 786 h 983"/>
                <a:gd name="T70" fmla="*/ 464 w 464"/>
                <a:gd name="T71" fmla="*/ 694 h 983"/>
                <a:gd name="T72" fmla="*/ 433 w 464"/>
                <a:gd name="T73" fmla="*/ 548 h 983"/>
                <a:gd name="T74" fmla="*/ 360 w 464"/>
                <a:gd name="T75" fmla="*/ 460 h 983"/>
                <a:gd name="T76" fmla="*/ 269 w 464"/>
                <a:gd name="T77" fmla="*/ 358 h 983"/>
                <a:gd name="T78" fmla="*/ 229 w 464"/>
                <a:gd name="T79" fmla="*/ 282 h 983"/>
                <a:gd name="T80" fmla="*/ 281 w 464"/>
                <a:gd name="T81" fmla="*/ 201 h 983"/>
                <a:gd name="T82" fmla="*/ 352 w 464"/>
                <a:gd name="T83" fmla="*/ 136 h 983"/>
                <a:gd name="T84" fmla="*/ 333 w 464"/>
                <a:gd name="T85" fmla="*/ 121 h 9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64" h="983">
                  <a:moveTo>
                    <a:pt x="333" y="121"/>
                  </a:moveTo>
                  <a:cubicBezTo>
                    <a:pt x="322" y="121"/>
                    <a:pt x="311" y="114"/>
                    <a:pt x="308" y="111"/>
                  </a:cubicBezTo>
                  <a:cubicBezTo>
                    <a:pt x="304" y="107"/>
                    <a:pt x="289" y="91"/>
                    <a:pt x="285" y="87"/>
                  </a:cubicBezTo>
                  <a:cubicBezTo>
                    <a:pt x="280" y="83"/>
                    <a:pt x="280" y="71"/>
                    <a:pt x="280" y="64"/>
                  </a:cubicBezTo>
                  <a:cubicBezTo>
                    <a:pt x="280" y="58"/>
                    <a:pt x="283" y="56"/>
                    <a:pt x="288" y="53"/>
                  </a:cubicBezTo>
                  <a:cubicBezTo>
                    <a:pt x="293" y="50"/>
                    <a:pt x="289" y="39"/>
                    <a:pt x="284" y="33"/>
                  </a:cubicBezTo>
                  <a:cubicBezTo>
                    <a:pt x="279" y="27"/>
                    <a:pt x="259" y="31"/>
                    <a:pt x="249" y="31"/>
                  </a:cubicBezTo>
                  <a:cubicBezTo>
                    <a:pt x="238" y="30"/>
                    <a:pt x="234" y="27"/>
                    <a:pt x="226" y="25"/>
                  </a:cubicBezTo>
                  <a:cubicBezTo>
                    <a:pt x="219" y="23"/>
                    <a:pt x="213" y="19"/>
                    <a:pt x="210" y="12"/>
                  </a:cubicBezTo>
                  <a:cubicBezTo>
                    <a:pt x="206" y="5"/>
                    <a:pt x="201" y="0"/>
                    <a:pt x="194" y="0"/>
                  </a:cubicBezTo>
                  <a:cubicBezTo>
                    <a:pt x="187" y="0"/>
                    <a:pt x="186" y="9"/>
                    <a:pt x="178" y="10"/>
                  </a:cubicBezTo>
                  <a:cubicBezTo>
                    <a:pt x="171" y="11"/>
                    <a:pt x="176" y="17"/>
                    <a:pt x="169" y="32"/>
                  </a:cubicBezTo>
                  <a:cubicBezTo>
                    <a:pt x="163" y="48"/>
                    <a:pt x="151" y="38"/>
                    <a:pt x="142" y="38"/>
                  </a:cubicBezTo>
                  <a:cubicBezTo>
                    <a:pt x="132" y="38"/>
                    <a:pt x="132" y="41"/>
                    <a:pt x="123" y="42"/>
                  </a:cubicBezTo>
                  <a:cubicBezTo>
                    <a:pt x="115" y="44"/>
                    <a:pt x="114" y="52"/>
                    <a:pt x="109" y="53"/>
                  </a:cubicBezTo>
                  <a:cubicBezTo>
                    <a:pt x="103" y="53"/>
                    <a:pt x="101" y="49"/>
                    <a:pt x="99" y="46"/>
                  </a:cubicBezTo>
                  <a:cubicBezTo>
                    <a:pt x="97" y="42"/>
                    <a:pt x="92" y="43"/>
                    <a:pt x="89" y="47"/>
                  </a:cubicBezTo>
                  <a:cubicBezTo>
                    <a:pt x="87" y="52"/>
                    <a:pt x="79" y="47"/>
                    <a:pt x="75" y="45"/>
                  </a:cubicBezTo>
                  <a:cubicBezTo>
                    <a:pt x="71" y="42"/>
                    <a:pt x="66" y="51"/>
                    <a:pt x="63" y="54"/>
                  </a:cubicBezTo>
                  <a:cubicBezTo>
                    <a:pt x="61" y="57"/>
                    <a:pt x="58" y="63"/>
                    <a:pt x="53" y="63"/>
                  </a:cubicBezTo>
                  <a:cubicBezTo>
                    <a:pt x="47" y="63"/>
                    <a:pt x="43" y="62"/>
                    <a:pt x="41" y="56"/>
                  </a:cubicBezTo>
                  <a:cubicBezTo>
                    <a:pt x="40" y="50"/>
                    <a:pt x="30" y="47"/>
                    <a:pt x="25" y="45"/>
                  </a:cubicBezTo>
                  <a:cubicBezTo>
                    <a:pt x="20" y="43"/>
                    <a:pt x="10" y="53"/>
                    <a:pt x="5" y="58"/>
                  </a:cubicBezTo>
                  <a:cubicBezTo>
                    <a:pt x="5" y="59"/>
                    <a:pt x="4" y="59"/>
                    <a:pt x="4" y="60"/>
                  </a:cubicBezTo>
                  <a:cubicBezTo>
                    <a:pt x="3" y="60"/>
                    <a:pt x="3" y="60"/>
                    <a:pt x="3" y="60"/>
                  </a:cubicBezTo>
                  <a:cubicBezTo>
                    <a:pt x="3" y="60"/>
                    <a:pt x="3" y="61"/>
                    <a:pt x="2" y="61"/>
                  </a:cubicBezTo>
                  <a:cubicBezTo>
                    <a:pt x="2" y="61"/>
                    <a:pt x="1" y="62"/>
                    <a:pt x="0" y="62"/>
                  </a:cubicBezTo>
                  <a:cubicBezTo>
                    <a:pt x="0" y="70"/>
                    <a:pt x="1" y="81"/>
                    <a:pt x="8" y="83"/>
                  </a:cubicBezTo>
                  <a:cubicBezTo>
                    <a:pt x="18" y="86"/>
                    <a:pt x="27" y="94"/>
                    <a:pt x="29" y="102"/>
                  </a:cubicBezTo>
                  <a:cubicBezTo>
                    <a:pt x="32" y="111"/>
                    <a:pt x="31" y="110"/>
                    <a:pt x="39" y="111"/>
                  </a:cubicBezTo>
                  <a:cubicBezTo>
                    <a:pt x="48" y="112"/>
                    <a:pt x="53" y="116"/>
                    <a:pt x="53" y="121"/>
                  </a:cubicBezTo>
                  <a:cubicBezTo>
                    <a:pt x="53" y="126"/>
                    <a:pt x="49" y="138"/>
                    <a:pt x="43" y="140"/>
                  </a:cubicBezTo>
                  <a:cubicBezTo>
                    <a:pt x="37" y="141"/>
                    <a:pt x="45" y="148"/>
                    <a:pt x="54" y="156"/>
                  </a:cubicBezTo>
                  <a:cubicBezTo>
                    <a:pt x="63" y="164"/>
                    <a:pt x="61" y="176"/>
                    <a:pt x="72" y="177"/>
                  </a:cubicBezTo>
                  <a:cubicBezTo>
                    <a:pt x="83" y="178"/>
                    <a:pt x="99" y="185"/>
                    <a:pt x="101" y="178"/>
                  </a:cubicBezTo>
                  <a:cubicBezTo>
                    <a:pt x="103" y="172"/>
                    <a:pt x="108" y="170"/>
                    <a:pt x="116" y="168"/>
                  </a:cubicBezTo>
                  <a:cubicBezTo>
                    <a:pt x="124" y="165"/>
                    <a:pt x="135" y="165"/>
                    <a:pt x="139" y="171"/>
                  </a:cubicBezTo>
                  <a:cubicBezTo>
                    <a:pt x="143" y="177"/>
                    <a:pt x="150" y="184"/>
                    <a:pt x="149" y="190"/>
                  </a:cubicBezTo>
                  <a:cubicBezTo>
                    <a:pt x="147" y="196"/>
                    <a:pt x="143" y="199"/>
                    <a:pt x="151" y="202"/>
                  </a:cubicBezTo>
                  <a:cubicBezTo>
                    <a:pt x="158" y="206"/>
                    <a:pt x="158" y="214"/>
                    <a:pt x="168" y="213"/>
                  </a:cubicBezTo>
                  <a:cubicBezTo>
                    <a:pt x="178" y="212"/>
                    <a:pt x="180" y="221"/>
                    <a:pt x="178" y="226"/>
                  </a:cubicBezTo>
                  <a:cubicBezTo>
                    <a:pt x="176" y="232"/>
                    <a:pt x="165" y="231"/>
                    <a:pt x="165" y="238"/>
                  </a:cubicBezTo>
                  <a:cubicBezTo>
                    <a:pt x="165" y="246"/>
                    <a:pt x="158" y="254"/>
                    <a:pt x="151" y="254"/>
                  </a:cubicBezTo>
                  <a:cubicBezTo>
                    <a:pt x="145" y="254"/>
                    <a:pt x="119" y="250"/>
                    <a:pt x="119" y="256"/>
                  </a:cubicBezTo>
                  <a:cubicBezTo>
                    <a:pt x="118" y="262"/>
                    <a:pt x="97" y="270"/>
                    <a:pt x="116" y="278"/>
                  </a:cubicBezTo>
                  <a:cubicBezTo>
                    <a:pt x="135" y="285"/>
                    <a:pt x="135" y="292"/>
                    <a:pt x="147" y="298"/>
                  </a:cubicBezTo>
                  <a:cubicBezTo>
                    <a:pt x="158" y="305"/>
                    <a:pt x="163" y="312"/>
                    <a:pt x="172" y="312"/>
                  </a:cubicBezTo>
                  <a:cubicBezTo>
                    <a:pt x="181" y="313"/>
                    <a:pt x="192" y="312"/>
                    <a:pt x="192" y="320"/>
                  </a:cubicBezTo>
                  <a:cubicBezTo>
                    <a:pt x="192" y="327"/>
                    <a:pt x="187" y="340"/>
                    <a:pt x="199" y="346"/>
                  </a:cubicBezTo>
                  <a:cubicBezTo>
                    <a:pt x="211" y="353"/>
                    <a:pt x="218" y="354"/>
                    <a:pt x="218" y="364"/>
                  </a:cubicBezTo>
                  <a:cubicBezTo>
                    <a:pt x="218" y="374"/>
                    <a:pt x="223" y="380"/>
                    <a:pt x="233" y="386"/>
                  </a:cubicBezTo>
                  <a:cubicBezTo>
                    <a:pt x="242" y="392"/>
                    <a:pt x="261" y="410"/>
                    <a:pt x="268" y="416"/>
                  </a:cubicBezTo>
                  <a:cubicBezTo>
                    <a:pt x="275" y="422"/>
                    <a:pt x="277" y="428"/>
                    <a:pt x="280" y="439"/>
                  </a:cubicBezTo>
                  <a:cubicBezTo>
                    <a:pt x="283" y="450"/>
                    <a:pt x="283" y="456"/>
                    <a:pt x="295" y="458"/>
                  </a:cubicBezTo>
                  <a:cubicBezTo>
                    <a:pt x="306" y="461"/>
                    <a:pt x="303" y="468"/>
                    <a:pt x="313" y="472"/>
                  </a:cubicBezTo>
                  <a:cubicBezTo>
                    <a:pt x="323" y="476"/>
                    <a:pt x="323" y="482"/>
                    <a:pt x="327" y="484"/>
                  </a:cubicBezTo>
                  <a:cubicBezTo>
                    <a:pt x="331" y="486"/>
                    <a:pt x="341" y="495"/>
                    <a:pt x="335" y="498"/>
                  </a:cubicBezTo>
                  <a:cubicBezTo>
                    <a:pt x="330" y="500"/>
                    <a:pt x="319" y="500"/>
                    <a:pt x="319" y="505"/>
                  </a:cubicBezTo>
                  <a:cubicBezTo>
                    <a:pt x="319" y="510"/>
                    <a:pt x="315" y="517"/>
                    <a:pt x="324" y="520"/>
                  </a:cubicBezTo>
                  <a:cubicBezTo>
                    <a:pt x="333" y="524"/>
                    <a:pt x="339" y="528"/>
                    <a:pt x="345" y="535"/>
                  </a:cubicBezTo>
                  <a:cubicBezTo>
                    <a:pt x="351" y="542"/>
                    <a:pt x="356" y="550"/>
                    <a:pt x="346" y="554"/>
                  </a:cubicBezTo>
                  <a:cubicBezTo>
                    <a:pt x="336" y="557"/>
                    <a:pt x="338" y="562"/>
                    <a:pt x="339" y="566"/>
                  </a:cubicBezTo>
                  <a:cubicBezTo>
                    <a:pt x="339" y="566"/>
                    <a:pt x="339" y="566"/>
                    <a:pt x="340" y="566"/>
                  </a:cubicBezTo>
                  <a:cubicBezTo>
                    <a:pt x="340" y="567"/>
                    <a:pt x="340" y="567"/>
                    <a:pt x="340" y="567"/>
                  </a:cubicBezTo>
                  <a:cubicBezTo>
                    <a:pt x="340" y="567"/>
                    <a:pt x="340" y="567"/>
                    <a:pt x="340" y="567"/>
                  </a:cubicBezTo>
                  <a:cubicBezTo>
                    <a:pt x="340" y="567"/>
                    <a:pt x="340" y="568"/>
                    <a:pt x="340" y="568"/>
                  </a:cubicBezTo>
                  <a:cubicBezTo>
                    <a:pt x="340" y="568"/>
                    <a:pt x="340" y="568"/>
                    <a:pt x="340" y="568"/>
                  </a:cubicBezTo>
                  <a:cubicBezTo>
                    <a:pt x="340" y="568"/>
                    <a:pt x="340" y="569"/>
                    <a:pt x="340" y="569"/>
                  </a:cubicBezTo>
                  <a:cubicBezTo>
                    <a:pt x="340" y="569"/>
                    <a:pt x="340" y="569"/>
                    <a:pt x="340" y="569"/>
                  </a:cubicBezTo>
                  <a:cubicBezTo>
                    <a:pt x="341" y="574"/>
                    <a:pt x="340" y="580"/>
                    <a:pt x="333" y="582"/>
                  </a:cubicBezTo>
                  <a:cubicBezTo>
                    <a:pt x="333" y="588"/>
                    <a:pt x="331" y="594"/>
                    <a:pt x="329" y="602"/>
                  </a:cubicBezTo>
                  <a:cubicBezTo>
                    <a:pt x="327" y="614"/>
                    <a:pt x="325" y="620"/>
                    <a:pt x="333" y="623"/>
                  </a:cubicBezTo>
                  <a:cubicBezTo>
                    <a:pt x="341" y="626"/>
                    <a:pt x="339" y="643"/>
                    <a:pt x="343" y="644"/>
                  </a:cubicBezTo>
                  <a:cubicBezTo>
                    <a:pt x="348" y="646"/>
                    <a:pt x="350" y="672"/>
                    <a:pt x="349" y="686"/>
                  </a:cubicBezTo>
                  <a:cubicBezTo>
                    <a:pt x="347" y="699"/>
                    <a:pt x="343" y="705"/>
                    <a:pt x="334" y="713"/>
                  </a:cubicBezTo>
                  <a:cubicBezTo>
                    <a:pt x="325" y="721"/>
                    <a:pt x="317" y="728"/>
                    <a:pt x="313" y="737"/>
                  </a:cubicBezTo>
                  <a:cubicBezTo>
                    <a:pt x="308" y="746"/>
                    <a:pt x="307" y="745"/>
                    <a:pt x="298" y="746"/>
                  </a:cubicBezTo>
                  <a:cubicBezTo>
                    <a:pt x="289" y="746"/>
                    <a:pt x="287" y="754"/>
                    <a:pt x="279" y="754"/>
                  </a:cubicBezTo>
                  <a:cubicBezTo>
                    <a:pt x="271" y="754"/>
                    <a:pt x="276" y="774"/>
                    <a:pt x="267" y="774"/>
                  </a:cubicBezTo>
                  <a:cubicBezTo>
                    <a:pt x="257" y="774"/>
                    <a:pt x="256" y="768"/>
                    <a:pt x="251" y="764"/>
                  </a:cubicBezTo>
                  <a:cubicBezTo>
                    <a:pt x="247" y="759"/>
                    <a:pt x="247" y="768"/>
                    <a:pt x="239" y="772"/>
                  </a:cubicBezTo>
                  <a:cubicBezTo>
                    <a:pt x="231" y="775"/>
                    <a:pt x="230" y="776"/>
                    <a:pt x="229" y="786"/>
                  </a:cubicBezTo>
                  <a:cubicBezTo>
                    <a:pt x="229" y="795"/>
                    <a:pt x="238" y="792"/>
                    <a:pt x="239" y="803"/>
                  </a:cubicBezTo>
                  <a:cubicBezTo>
                    <a:pt x="239" y="814"/>
                    <a:pt x="251" y="810"/>
                    <a:pt x="258" y="815"/>
                  </a:cubicBezTo>
                  <a:cubicBezTo>
                    <a:pt x="265" y="820"/>
                    <a:pt x="258" y="826"/>
                    <a:pt x="252" y="832"/>
                  </a:cubicBezTo>
                  <a:cubicBezTo>
                    <a:pt x="246" y="838"/>
                    <a:pt x="239" y="831"/>
                    <a:pt x="235" y="823"/>
                  </a:cubicBezTo>
                  <a:cubicBezTo>
                    <a:pt x="230" y="815"/>
                    <a:pt x="225" y="820"/>
                    <a:pt x="200" y="820"/>
                  </a:cubicBezTo>
                  <a:cubicBezTo>
                    <a:pt x="175" y="820"/>
                    <a:pt x="183" y="830"/>
                    <a:pt x="183" y="838"/>
                  </a:cubicBezTo>
                  <a:cubicBezTo>
                    <a:pt x="183" y="847"/>
                    <a:pt x="179" y="850"/>
                    <a:pt x="157" y="848"/>
                  </a:cubicBezTo>
                  <a:cubicBezTo>
                    <a:pt x="148" y="847"/>
                    <a:pt x="143" y="850"/>
                    <a:pt x="141" y="853"/>
                  </a:cubicBezTo>
                  <a:cubicBezTo>
                    <a:pt x="145" y="855"/>
                    <a:pt x="149" y="858"/>
                    <a:pt x="153" y="859"/>
                  </a:cubicBezTo>
                  <a:cubicBezTo>
                    <a:pt x="165" y="860"/>
                    <a:pt x="175" y="864"/>
                    <a:pt x="180" y="873"/>
                  </a:cubicBezTo>
                  <a:cubicBezTo>
                    <a:pt x="186" y="882"/>
                    <a:pt x="193" y="883"/>
                    <a:pt x="185" y="887"/>
                  </a:cubicBezTo>
                  <a:cubicBezTo>
                    <a:pt x="176" y="892"/>
                    <a:pt x="179" y="940"/>
                    <a:pt x="173" y="962"/>
                  </a:cubicBezTo>
                  <a:cubicBezTo>
                    <a:pt x="168" y="983"/>
                    <a:pt x="193" y="968"/>
                    <a:pt x="200" y="955"/>
                  </a:cubicBezTo>
                  <a:cubicBezTo>
                    <a:pt x="208" y="942"/>
                    <a:pt x="219" y="936"/>
                    <a:pt x="228" y="936"/>
                  </a:cubicBezTo>
                  <a:cubicBezTo>
                    <a:pt x="236" y="936"/>
                    <a:pt x="245" y="926"/>
                    <a:pt x="252" y="910"/>
                  </a:cubicBezTo>
                  <a:cubicBezTo>
                    <a:pt x="259" y="894"/>
                    <a:pt x="264" y="910"/>
                    <a:pt x="276" y="910"/>
                  </a:cubicBezTo>
                  <a:cubicBezTo>
                    <a:pt x="289" y="910"/>
                    <a:pt x="276" y="880"/>
                    <a:pt x="282" y="877"/>
                  </a:cubicBezTo>
                  <a:cubicBezTo>
                    <a:pt x="288" y="874"/>
                    <a:pt x="297" y="872"/>
                    <a:pt x="292" y="867"/>
                  </a:cubicBezTo>
                  <a:cubicBezTo>
                    <a:pt x="288" y="863"/>
                    <a:pt x="289" y="850"/>
                    <a:pt x="289" y="843"/>
                  </a:cubicBezTo>
                  <a:cubicBezTo>
                    <a:pt x="289" y="836"/>
                    <a:pt x="307" y="844"/>
                    <a:pt x="321" y="849"/>
                  </a:cubicBezTo>
                  <a:cubicBezTo>
                    <a:pt x="335" y="853"/>
                    <a:pt x="351" y="846"/>
                    <a:pt x="362" y="840"/>
                  </a:cubicBezTo>
                  <a:cubicBezTo>
                    <a:pt x="374" y="834"/>
                    <a:pt x="380" y="823"/>
                    <a:pt x="401" y="813"/>
                  </a:cubicBezTo>
                  <a:cubicBezTo>
                    <a:pt x="423" y="803"/>
                    <a:pt x="424" y="791"/>
                    <a:pt x="437" y="786"/>
                  </a:cubicBezTo>
                  <a:cubicBezTo>
                    <a:pt x="450" y="780"/>
                    <a:pt x="446" y="751"/>
                    <a:pt x="446" y="737"/>
                  </a:cubicBezTo>
                  <a:cubicBezTo>
                    <a:pt x="446" y="722"/>
                    <a:pt x="448" y="714"/>
                    <a:pt x="454" y="714"/>
                  </a:cubicBezTo>
                  <a:cubicBezTo>
                    <a:pt x="460" y="714"/>
                    <a:pt x="464" y="705"/>
                    <a:pt x="464" y="694"/>
                  </a:cubicBezTo>
                  <a:cubicBezTo>
                    <a:pt x="464" y="682"/>
                    <a:pt x="456" y="681"/>
                    <a:pt x="456" y="675"/>
                  </a:cubicBezTo>
                  <a:cubicBezTo>
                    <a:pt x="456" y="669"/>
                    <a:pt x="458" y="628"/>
                    <a:pt x="458" y="606"/>
                  </a:cubicBezTo>
                  <a:cubicBezTo>
                    <a:pt x="458" y="585"/>
                    <a:pt x="437" y="565"/>
                    <a:pt x="433" y="548"/>
                  </a:cubicBezTo>
                  <a:cubicBezTo>
                    <a:pt x="428" y="530"/>
                    <a:pt x="424" y="528"/>
                    <a:pt x="410" y="516"/>
                  </a:cubicBezTo>
                  <a:cubicBezTo>
                    <a:pt x="395" y="505"/>
                    <a:pt x="393" y="503"/>
                    <a:pt x="391" y="490"/>
                  </a:cubicBezTo>
                  <a:cubicBezTo>
                    <a:pt x="390" y="477"/>
                    <a:pt x="375" y="472"/>
                    <a:pt x="360" y="460"/>
                  </a:cubicBezTo>
                  <a:cubicBezTo>
                    <a:pt x="344" y="449"/>
                    <a:pt x="325" y="443"/>
                    <a:pt x="315" y="421"/>
                  </a:cubicBezTo>
                  <a:cubicBezTo>
                    <a:pt x="305" y="400"/>
                    <a:pt x="294" y="399"/>
                    <a:pt x="276" y="387"/>
                  </a:cubicBezTo>
                  <a:cubicBezTo>
                    <a:pt x="259" y="376"/>
                    <a:pt x="269" y="370"/>
                    <a:pt x="269" y="358"/>
                  </a:cubicBezTo>
                  <a:cubicBezTo>
                    <a:pt x="269" y="347"/>
                    <a:pt x="258" y="341"/>
                    <a:pt x="248" y="335"/>
                  </a:cubicBezTo>
                  <a:cubicBezTo>
                    <a:pt x="238" y="330"/>
                    <a:pt x="232" y="314"/>
                    <a:pt x="226" y="310"/>
                  </a:cubicBezTo>
                  <a:cubicBezTo>
                    <a:pt x="221" y="305"/>
                    <a:pt x="225" y="284"/>
                    <a:pt x="229" y="282"/>
                  </a:cubicBezTo>
                  <a:cubicBezTo>
                    <a:pt x="233" y="281"/>
                    <a:pt x="233" y="262"/>
                    <a:pt x="233" y="251"/>
                  </a:cubicBezTo>
                  <a:cubicBezTo>
                    <a:pt x="233" y="239"/>
                    <a:pt x="242" y="231"/>
                    <a:pt x="255" y="227"/>
                  </a:cubicBezTo>
                  <a:cubicBezTo>
                    <a:pt x="268" y="222"/>
                    <a:pt x="271" y="214"/>
                    <a:pt x="281" y="201"/>
                  </a:cubicBezTo>
                  <a:cubicBezTo>
                    <a:pt x="291" y="188"/>
                    <a:pt x="286" y="181"/>
                    <a:pt x="288" y="166"/>
                  </a:cubicBezTo>
                  <a:cubicBezTo>
                    <a:pt x="289" y="152"/>
                    <a:pt x="314" y="161"/>
                    <a:pt x="331" y="161"/>
                  </a:cubicBezTo>
                  <a:cubicBezTo>
                    <a:pt x="348" y="161"/>
                    <a:pt x="340" y="139"/>
                    <a:pt x="352" y="136"/>
                  </a:cubicBezTo>
                  <a:cubicBezTo>
                    <a:pt x="363" y="134"/>
                    <a:pt x="363" y="131"/>
                    <a:pt x="372" y="124"/>
                  </a:cubicBezTo>
                  <a:cubicBezTo>
                    <a:pt x="367" y="122"/>
                    <a:pt x="363" y="122"/>
                    <a:pt x="359" y="120"/>
                  </a:cubicBezTo>
                  <a:cubicBezTo>
                    <a:pt x="352" y="116"/>
                    <a:pt x="345" y="121"/>
                    <a:pt x="333" y="121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345" name="Freeform 25482"/>
            <p:cNvSpPr>
              <a:spLocks/>
            </p:cNvSpPr>
            <p:nvPr/>
          </p:nvSpPr>
          <p:spPr bwMode="auto">
            <a:xfrm>
              <a:off x="6595590" y="3339671"/>
              <a:ext cx="199186" cy="358756"/>
            </a:xfrm>
            <a:custGeom>
              <a:avLst/>
              <a:gdLst>
                <a:gd name="T0" fmla="*/ 324 w 534"/>
                <a:gd name="T1" fmla="*/ 452 h 962"/>
                <a:gd name="T2" fmla="*/ 398 w 534"/>
                <a:gd name="T3" fmla="*/ 392 h 962"/>
                <a:gd name="T4" fmla="*/ 466 w 534"/>
                <a:gd name="T5" fmla="*/ 391 h 962"/>
                <a:gd name="T6" fmla="*/ 486 w 534"/>
                <a:gd name="T7" fmla="*/ 400 h 962"/>
                <a:gd name="T8" fmla="*/ 491 w 534"/>
                <a:gd name="T9" fmla="*/ 402 h 962"/>
                <a:gd name="T10" fmla="*/ 494 w 534"/>
                <a:gd name="T11" fmla="*/ 403 h 962"/>
                <a:gd name="T12" fmla="*/ 503 w 534"/>
                <a:gd name="T13" fmla="*/ 402 h 962"/>
                <a:gd name="T14" fmla="*/ 505 w 534"/>
                <a:gd name="T15" fmla="*/ 401 h 962"/>
                <a:gd name="T16" fmla="*/ 506 w 534"/>
                <a:gd name="T17" fmla="*/ 400 h 962"/>
                <a:gd name="T18" fmla="*/ 514 w 534"/>
                <a:gd name="T19" fmla="*/ 351 h 962"/>
                <a:gd name="T20" fmla="*/ 523 w 534"/>
                <a:gd name="T21" fmla="*/ 302 h 962"/>
                <a:gd name="T22" fmla="*/ 472 w 534"/>
                <a:gd name="T23" fmla="*/ 246 h 962"/>
                <a:gd name="T24" fmla="*/ 456 w 534"/>
                <a:gd name="T25" fmla="*/ 184 h 962"/>
                <a:gd name="T26" fmla="*/ 376 w 534"/>
                <a:gd name="T27" fmla="*/ 135 h 962"/>
                <a:gd name="T28" fmla="*/ 328 w 534"/>
                <a:gd name="T29" fmla="*/ 159 h 962"/>
                <a:gd name="T30" fmla="*/ 270 w 534"/>
                <a:gd name="T31" fmla="*/ 171 h 962"/>
                <a:gd name="T32" fmla="*/ 228 w 534"/>
                <a:gd name="T33" fmla="*/ 190 h 962"/>
                <a:gd name="T34" fmla="*/ 243 w 534"/>
                <a:gd name="T35" fmla="*/ 155 h 962"/>
                <a:gd name="T36" fmla="*/ 247 w 534"/>
                <a:gd name="T37" fmla="*/ 113 h 962"/>
                <a:gd name="T38" fmla="*/ 242 w 534"/>
                <a:gd name="T39" fmla="*/ 58 h 962"/>
                <a:gd name="T40" fmla="*/ 212 w 534"/>
                <a:gd name="T41" fmla="*/ 62 h 962"/>
                <a:gd name="T42" fmla="*/ 204 w 534"/>
                <a:gd name="T43" fmla="*/ 27 h 962"/>
                <a:gd name="T44" fmla="*/ 174 w 534"/>
                <a:gd name="T45" fmla="*/ 0 h 962"/>
                <a:gd name="T46" fmla="*/ 169 w 534"/>
                <a:gd name="T47" fmla="*/ 2 h 962"/>
                <a:gd name="T48" fmla="*/ 155 w 534"/>
                <a:gd name="T49" fmla="*/ 3 h 962"/>
                <a:gd name="T50" fmla="*/ 125 w 534"/>
                <a:gd name="T51" fmla="*/ 20 h 962"/>
                <a:gd name="T52" fmla="*/ 41 w 534"/>
                <a:gd name="T53" fmla="*/ 47 h 962"/>
                <a:gd name="T54" fmla="*/ 14 w 534"/>
                <a:gd name="T55" fmla="*/ 137 h 962"/>
                <a:gd name="T56" fmla="*/ 68 w 534"/>
                <a:gd name="T57" fmla="*/ 229 h 962"/>
                <a:gd name="T58" fmla="*/ 80 w 534"/>
                <a:gd name="T59" fmla="*/ 287 h 962"/>
                <a:gd name="T60" fmla="*/ 56 w 534"/>
                <a:gd name="T61" fmla="*/ 361 h 962"/>
                <a:gd name="T62" fmla="*/ 116 w 534"/>
                <a:gd name="T63" fmla="*/ 435 h 962"/>
                <a:gd name="T64" fmla="*/ 138 w 534"/>
                <a:gd name="T65" fmla="*/ 542 h 962"/>
                <a:gd name="T66" fmla="*/ 100 w 534"/>
                <a:gd name="T67" fmla="*/ 622 h 962"/>
                <a:gd name="T68" fmla="*/ 70 w 534"/>
                <a:gd name="T69" fmla="*/ 715 h 962"/>
                <a:gd name="T70" fmla="*/ 62 w 534"/>
                <a:gd name="T71" fmla="*/ 817 h 962"/>
                <a:gd name="T72" fmla="*/ 75 w 534"/>
                <a:gd name="T73" fmla="*/ 789 h 962"/>
                <a:gd name="T74" fmla="*/ 135 w 534"/>
                <a:gd name="T75" fmla="*/ 839 h 962"/>
                <a:gd name="T76" fmla="*/ 179 w 534"/>
                <a:gd name="T77" fmla="*/ 897 h 962"/>
                <a:gd name="T78" fmla="*/ 229 w 534"/>
                <a:gd name="T79" fmla="*/ 917 h 962"/>
                <a:gd name="T80" fmla="*/ 240 w 534"/>
                <a:gd name="T81" fmla="*/ 960 h 962"/>
                <a:gd name="T82" fmla="*/ 277 w 534"/>
                <a:gd name="T83" fmla="*/ 952 h 962"/>
                <a:gd name="T84" fmla="*/ 304 w 534"/>
                <a:gd name="T85" fmla="*/ 920 h 962"/>
                <a:gd name="T86" fmla="*/ 191 w 534"/>
                <a:gd name="T87" fmla="*/ 849 h 962"/>
                <a:gd name="T88" fmla="*/ 176 w 534"/>
                <a:gd name="T89" fmla="*/ 774 h 962"/>
                <a:gd name="T90" fmla="*/ 133 w 534"/>
                <a:gd name="T91" fmla="*/ 724 h 962"/>
                <a:gd name="T92" fmla="*/ 122 w 534"/>
                <a:gd name="T93" fmla="*/ 652 h 962"/>
                <a:gd name="T94" fmla="*/ 171 w 534"/>
                <a:gd name="T95" fmla="*/ 538 h 962"/>
                <a:gd name="T96" fmla="*/ 172 w 534"/>
                <a:gd name="T97" fmla="*/ 470 h 962"/>
                <a:gd name="T98" fmla="*/ 227 w 534"/>
                <a:gd name="T99" fmla="*/ 496 h 962"/>
                <a:gd name="T100" fmla="*/ 349 w 534"/>
                <a:gd name="T101" fmla="*/ 562 h 9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534" h="962">
                  <a:moveTo>
                    <a:pt x="332" y="508"/>
                  </a:moveTo>
                  <a:cubicBezTo>
                    <a:pt x="326" y="497"/>
                    <a:pt x="331" y="491"/>
                    <a:pt x="320" y="478"/>
                  </a:cubicBezTo>
                  <a:cubicBezTo>
                    <a:pt x="310" y="464"/>
                    <a:pt x="316" y="457"/>
                    <a:pt x="324" y="452"/>
                  </a:cubicBezTo>
                  <a:cubicBezTo>
                    <a:pt x="332" y="448"/>
                    <a:pt x="353" y="419"/>
                    <a:pt x="356" y="410"/>
                  </a:cubicBezTo>
                  <a:cubicBezTo>
                    <a:pt x="360" y="400"/>
                    <a:pt x="367" y="398"/>
                    <a:pt x="373" y="398"/>
                  </a:cubicBezTo>
                  <a:cubicBezTo>
                    <a:pt x="379" y="398"/>
                    <a:pt x="392" y="399"/>
                    <a:pt x="398" y="392"/>
                  </a:cubicBezTo>
                  <a:cubicBezTo>
                    <a:pt x="403" y="384"/>
                    <a:pt x="410" y="400"/>
                    <a:pt x="418" y="397"/>
                  </a:cubicBezTo>
                  <a:cubicBezTo>
                    <a:pt x="426" y="394"/>
                    <a:pt x="444" y="396"/>
                    <a:pt x="446" y="398"/>
                  </a:cubicBezTo>
                  <a:cubicBezTo>
                    <a:pt x="449" y="400"/>
                    <a:pt x="463" y="396"/>
                    <a:pt x="466" y="391"/>
                  </a:cubicBezTo>
                  <a:cubicBezTo>
                    <a:pt x="468" y="386"/>
                    <a:pt x="477" y="391"/>
                    <a:pt x="484" y="398"/>
                  </a:cubicBezTo>
                  <a:cubicBezTo>
                    <a:pt x="484" y="398"/>
                    <a:pt x="485" y="399"/>
                    <a:pt x="486" y="399"/>
                  </a:cubicBezTo>
                  <a:cubicBezTo>
                    <a:pt x="486" y="399"/>
                    <a:pt x="486" y="399"/>
                    <a:pt x="486" y="400"/>
                  </a:cubicBezTo>
                  <a:cubicBezTo>
                    <a:pt x="487" y="400"/>
                    <a:pt x="487" y="400"/>
                    <a:pt x="488" y="401"/>
                  </a:cubicBezTo>
                  <a:cubicBezTo>
                    <a:pt x="488" y="401"/>
                    <a:pt x="488" y="401"/>
                    <a:pt x="488" y="401"/>
                  </a:cubicBezTo>
                  <a:cubicBezTo>
                    <a:pt x="489" y="401"/>
                    <a:pt x="490" y="401"/>
                    <a:pt x="491" y="402"/>
                  </a:cubicBezTo>
                  <a:cubicBezTo>
                    <a:pt x="491" y="402"/>
                    <a:pt x="491" y="402"/>
                    <a:pt x="491" y="402"/>
                  </a:cubicBezTo>
                  <a:cubicBezTo>
                    <a:pt x="492" y="402"/>
                    <a:pt x="493" y="402"/>
                    <a:pt x="493" y="403"/>
                  </a:cubicBezTo>
                  <a:cubicBezTo>
                    <a:pt x="494" y="403"/>
                    <a:pt x="494" y="403"/>
                    <a:pt x="494" y="403"/>
                  </a:cubicBezTo>
                  <a:cubicBezTo>
                    <a:pt x="495" y="403"/>
                    <a:pt x="495" y="403"/>
                    <a:pt x="496" y="403"/>
                  </a:cubicBezTo>
                  <a:cubicBezTo>
                    <a:pt x="496" y="403"/>
                    <a:pt x="496" y="403"/>
                    <a:pt x="496" y="403"/>
                  </a:cubicBezTo>
                  <a:cubicBezTo>
                    <a:pt x="499" y="403"/>
                    <a:pt x="501" y="403"/>
                    <a:pt x="503" y="402"/>
                  </a:cubicBezTo>
                  <a:cubicBezTo>
                    <a:pt x="503" y="402"/>
                    <a:pt x="504" y="402"/>
                    <a:pt x="504" y="402"/>
                  </a:cubicBezTo>
                  <a:cubicBezTo>
                    <a:pt x="504" y="402"/>
                    <a:pt x="504" y="402"/>
                    <a:pt x="504" y="402"/>
                  </a:cubicBezTo>
                  <a:cubicBezTo>
                    <a:pt x="504" y="401"/>
                    <a:pt x="505" y="401"/>
                    <a:pt x="505" y="401"/>
                  </a:cubicBezTo>
                  <a:cubicBezTo>
                    <a:pt x="505" y="401"/>
                    <a:pt x="505" y="401"/>
                    <a:pt x="505" y="401"/>
                  </a:cubicBezTo>
                  <a:cubicBezTo>
                    <a:pt x="505" y="401"/>
                    <a:pt x="505" y="401"/>
                    <a:pt x="505" y="400"/>
                  </a:cubicBezTo>
                  <a:cubicBezTo>
                    <a:pt x="505" y="400"/>
                    <a:pt x="506" y="400"/>
                    <a:pt x="506" y="400"/>
                  </a:cubicBezTo>
                  <a:cubicBezTo>
                    <a:pt x="507" y="395"/>
                    <a:pt x="516" y="388"/>
                    <a:pt x="519" y="386"/>
                  </a:cubicBezTo>
                  <a:cubicBezTo>
                    <a:pt x="522" y="384"/>
                    <a:pt x="521" y="374"/>
                    <a:pt x="521" y="369"/>
                  </a:cubicBezTo>
                  <a:cubicBezTo>
                    <a:pt x="521" y="364"/>
                    <a:pt x="521" y="358"/>
                    <a:pt x="514" y="351"/>
                  </a:cubicBezTo>
                  <a:cubicBezTo>
                    <a:pt x="506" y="344"/>
                    <a:pt x="519" y="343"/>
                    <a:pt x="520" y="338"/>
                  </a:cubicBezTo>
                  <a:cubicBezTo>
                    <a:pt x="520" y="334"/>
                    <a:pt x="525" y="330"/>
                    <a:pt x="530" y="326"/>
                  </a:cubicBezTo>
                  <a:cubicBezTo>
                    <a:pt x="534" y="321"/>
                    <a:pt x="526" y="311"/>
                    <a:pt x="523" y="302"/>
                  </a:cubicBezTo>
                  <a:cubicBezTo>
                    <a:pt x="520" y="294"/>
                    <a:pt x="506" y="289"/>
                    <a:pt x="500" y="286"/>
                  </a:cubicBezTo>
                  <a:cubicBezTo>
                    <a:pt x="494" y="282"/>
                    <a:pt x="490" y="276"/>
                    <a:pt x="478" y="268"/>
                  </a:cubicBezTo>
                  <a:cubicBezTo>
                    <a:pt x="465" y="261"/>
                    <a:pt x="472" y="254"/>
                    <a:pt x="472" y="246"/>
                  </a:cubicBezTo>
                  <a:cubicBezTo>
                    <a:pt x="472" y="239"/>
                    <a:pt x="472" y="233"/>
                    <a:pt x="471" y="226"/>
                  </a:cubicBezTo>
                  <a:cubicBezTo>
                    <a:pt x="470" y="218"/>
                    <a:pt x="477" y="211"/>
                    <a:pt x="475" y="204"/>
                  </a:cubicBezTo>
                  <a:cubicBezTo>
                    <a:pt x="473" y="198"/>
                    <a:pt x="466" y="189"/>
                    <a:pt x="456" y="184"/>
                  </a:cubicBezTo>
                  <a:cubicBezTo>
                    <a:pt x="447" y="178"/>
                    <a:pt x="437" y="164"/>
                    <a:pt x="432" y="155"/>
                  </a:cubicBezTo>
                  <a:cubicBezTo>
                    <a:pt x="426" y="146"/>
                    <a:pt x="418" y="143"/>
                    <a:pt x="412" y="137"/>
                  </a:cubicBezTo>
                  <a:cubicBezTo>
                    <a:pt x="406" y="131"/>
                    <a:pt x="384" y="132"/>
                    <a:pt x="376" y="135"/>
                  </a:cubicBezTo>
                  <a:cubicBezTo>
                    <a:pt x="368" y="138"/>
                    <a:pt x="372" y="156"/>
                    <a:pt x="359" y="158"/>
                  </a:cubicBezTo>
                  <a:cubicBezTo>
                    <a:pt x="346" y="160"/>
                    <a:pt x="352" y="162"/>
                    <a:pt x="346" y="168"/>
                  </a:cubicBezTo>
                  <a:cubicBezTo>
                    <a:pt x="340" y="175"/>
                    <a:pt x="334" y="161"/>
                    <a:pt x="328" y="159"/>
                  </a:cubicBezTo>
                  <a:cubicBezTo>
                    <a:pt x="323" y="157"/>
                    <a:pt x="323" y="162"/>
                    <a:pt x="312" y="148"/>
                  </a:cubicBezTo>
                  <a:cubicBezTo>
                    <a:pt x="302" y="135"/>
                    <a:pt x="296" y="152"/>
                    <a:pt x="284" y="156"/>
                  </a:cubicBezTo>
                  <a:cubicBezTo>
                    <a:pt x="272" y="160"/>
                    <a:pt x="280" y="167"/>
                    <a:pt x="270" y="171"/>
                  </a:cubicBezTo>
                  <a:cubicBezTo>
                    <a:pt x="260" y="175"/>
                    <a:pt x="256" y="184"/>
                    <a:pt x="252" y="190"/>
                  </a:cubicBezTo>
                  <a:cubicBezTo>
                    <a:pt x="249" y="197"/>
                    <a:pt x="244" y="196"/>
                    <a:pt x="235" y="196"/>
                  </a:cubicBezTo>
                  <a:cubicBezTo>
                    <a:pt x="226" y="196"/>
                    <a:pt x="234" y="193"/>
                    <a:pt x="228" y="190"/>
                  </a:cubicBezTo>
                  <a:cubicBezTo>
                    <a:pt x="222" y="186"/>
                    <a:pt x="219" y="184"/>
                    <a:pt x="222" y="180"/>
                  </a:cubicBezTo>
                  <a:cubicBezTo>
                    <a:pt x="226" y="176"/>
                    <a:pt x="232" y="171"/>
                    <a:pt x="232" y="167"/>
                  </a:cubicBezTo>
                  <a:cubicBezTo>
                    <a:pt x="232" y="163"/>
                    <a:pt x="240" y="160"/>
                    <a:pt x="243" y="155"/>
                  </a:cubicBezTo>
                  <a:cubicBezTo>
                    <a:pt x="246" y="150"/>
                    <a:pt x="246" y="144"/>
                    <a:pt x="242" y="142"/>
                  </a:cubicBezTo>
                  <a:cubicBezTo>
                    <a:pt x="238" y="139"/>
                    <a:pt x="238" y="130"/>
                    <a:pt x="238" y="124"/>
                  </a:cubicBezTo>
                  <a:cubicBezTo>
                    <a:pt x="237" y="119"/>
                    <a:pt x="242" y="116"/>
                    <a:pt x="247" y="113"/>
                  </a:cubicBezTo>
                  <a:cubicBezTo>
                    <a:pt x="252" y="110"/>
                    <a:pt x="250" y="94"/>
                    <a:pt x="250" y="88"/>
                  </a:cubicBezTo>
                  <a:cubicBezTo>
                    <a:pt x="250" y="81"/>
                    <a:pt x="250" y="72"/>
                    <a:pt x="248" y="71"/>
                  </a:cubicBezTo>
                  <a:cubicBezTo>
                    <a:pt x="246" y="70"/>
                    <a:pt x="242" y="64"/>
                    <a:pt x="242" y="58"/>
                  </a:cubicBezTo>
                  <a:cubicBezTo>
                    <a:pt x="242" y="52"/>
                    <a:pt x="237" y="50"/>
                    <a:pt x="232" y="50"/>
                  </a:cubicBezTo>
                  <a:cubicBezTo>
                    <a:pt x="228" y="50"/>
                    <a:pt x="223" y="52"/>
                    <a:pt x="223" y="57"/>
                  </a:cubicBezTo>
                  <a:cubicBezTo>
                    <a:pt x="223" y="62"/>
                    <a:pt x="220" y="62"/>
                    <a:pt x="212" y="62"/>
                  </a:cubicBezTo>
                  <a:cubicBezTo>
                    <a:pt x="203" y="63"/>
                    <a:pt x="204" y="58"/>
                    <a:pt x="195" y="51"/>
                  </a:cubicBezTo>
                  <a:cubicBezTo>
                    <a:pt x="186" y="44"/>
                    <a:pt x="196" y="44"/>
                    <a:pt x="196" y="40"/>
                  </a:cubicBezTo>
                  <a:cubicBezTo>
                    <a:pt x="196" y="35"/>
                    <a:pt x="196" y="35"/>
                    <a:pt x="204" y="27"/>
                  </a:cubicBezTo>
                  <a:cubicBezTo>
                    <a:pt x="212" y="19"/>
                    <a:pt x="203" y="20"/>
                    <a:pt x="201" y="17"/>
                  </a:cubicBezTo>
                  <a:cubicBezTo>
                    <a:pt x="199" y="14"/>
                    <a:pt x="198" y="4"/>
                    <a:pt x="184" y="6"/>
                  </a:cubicBezTo>
                  <a:cubicBezTo>
                    <a:pt x="179" y="6"/>
                    <a:pt x="175" y="4"/>
                    <a:pt x="174" y="0"/>
                  </a:cubicBezTo>
                  <a:cubicBezTo>
                    <a:pt x="173" y="1"/>
                    <a:pt x="172" y="1"/>
                    <a:pt x="171" y="1"/>
                  </a:cubicBezTo>
                  <a:cubicBezTo>
                    <a:pt x="171" y="1"/>
                    <a:pt x="171" y="1"/>
                    <a:pt x="171" y="1"/>
                  </a:cubicBezTo>
                  <a:cubicBezTo>
                    <a:pt x="171" y="2"/>
                    <a:pt x="170" y="2"/>
                    <a:pt x="169" y="2"/>
                  </a:cubicBezTo>
                  <a:cubicBezTo>
                    <a:pt x="169" y="2"/>
                    <a:pt x="169" y="2"/>
                    <a:pt x="169" y="2"/>
                  </a:cubicBezTo>
                  <a:cubicBezTo>
                    <a:pt x="165" y="3"/>
                    <a:pt x="161" y="3"/>
                    <a:pt x="156" y="3"/>
                  </a:cubicBezTo>
                  <a:cubicBezTo>
                    <a:pt x="156" y="3"/>
                    <a:pt x="155" y="3"/>
                    <a:pt x="155" y="3"/>
                  </a:cubicBezTo>
                  <a:cubicBezTo>
                    <a:pt x="154" y="3"/>
                    <a:pt x="154" y="3"/>
                    <a:pt x="153" y="3"/>
                  </a:cubicBezTo>
                  <a:cubicBezTo>
                    <a:pt x="152" y="3"/>
                    <a:pt x="151" y="3"/>
                    <a:pt x="150" y="3"/>
                  </a:cubicBezTo>
                  <a:cubicBezTo>
                    <a:pt x="133" y="4"/>
                    <a:pt x="133" y="19"/>
                    <a:pt x="125" y="20"/>
                  </a:cubicBezTo>
                  <a:cubicBezTo>
                    <a:pt x="116" y="21"/>
                    <a:pt x="109" y="25"/>
                    <a:pt x="101" y="36"/>
                  </a:cubicBezTo>
                  <a:cubicBezTo>
                    <a:pt x="93" y="47"/>
                    <a:pt x="85" y="48"/>
                    <a:pt x="71" y="44"/>
                  </a:cubicBezTo>
                  <a:cubicBezTo>
                    <a:pt x="57" y="40"/>
                    <a:pt x="54" y="40"/>
                    <a:pt x="41" y="47"/>
                  </a:cubicBezTo>
                  <a:cubicBezTo>
                    <a:pt x="28" y="53"/>
                    <a:pt x="28" y="90"/>
                    <a:pt x="28" y="107"/>
                  </a:cubicBezTo>
                  <a:cubicBezTo>
                    <a:pt x="28" y="124"/>
                    <a:pt x="20" y="120"/>
                    <a:pt x="10" y="122"/>
                  </a:cubicBezTo>
                  <a:cubicBezTo>
                    <a:pt x="0" y="124"/>
                    <a:pt x="7" y="133"/>
                    <a:pt x="14" y="137"/>
                  </a:cubicBezTo>
                  <a:cubicBezTo>
                    <a:pt x="21" y="142"/>
                    <a:pt x="21" y="156"/>
                    <a:pt x="21" y="168"/>
                  </a:cubicBezTo>
                  <a:cubicBezTo>
                    <a:pt x="21" y="180"/>
                    <a:pt x="37" y="193"/>
                    <a:pt x="50" y="203"/>
                  </a:cubicBezTo>
                  <a:cubicBezTo>
                    <a:pt x="63" y="214"/>
                    <a:pt x="66" y="221"/>
                    <a:pt x="68" y="229"/>
                  </a:cubicBezTo>
                  <a:cubicBezTo>
                    <a:pt x="71" y="238"/>
                    <a:pt x="79" y="253"/>
                    <a:pt x="86" y="259"/>
                  </a:cubicBezTo>
                  <a:cubicBezTo>
                    <a:pt x="93" y="266"/>
                    <a:pt x="96" y="264"/>
                    <a:pt x="96" y="275"/>
                  </a:cubicBezTo>
                  <a:cubicBezTo>
                    <a:pt x="96" y="285"/>
                    <a:pt x="89" y="283"/>
                    <a:pt x="80" y="287"/>
                  </a:cubicBezTo>
                  <a:cubicBezTo>
                    <a:pt x="71" y="291"/>
                    <a:pt x="78" y="302"/>
                    <a:pt x="79" y="317"/>
                  </a:cubicBezTo>
                  <a:cubicBezTo>
                    <a:pt x="79" y="331"/>
                    <a:pt x="72" y="338"/>
                    <a:pt x="60" y="340"/>
                  </a:cubicBezTo>
                  <a:cubicBezTo>
                    <a:pt x="48" y="342"/>
                    <a:pt x="52" y="358"/>
                    <a:pt x="56" y="361"/>
                  </a:cubicBezTo>
                  <a:cubicBezTo>
                    <a:pt x="61" y="365"/>
                    <a:pt x="63" y="373"/>
                    <a:pt x="66" y="380"/>
                  </a:cubicBezTo>
                  <a:cubicBezTo>
                    <a:pt x="69" y="387"/>
                    <a:pt x="84" y="406"/>
                    <a:pt x="90" y="410"/>
                  </a:cubicBezTo>
                  <a:cubicBezTo>
                    <a:pt x="97" y="415"/>
                    <a:pt x="110" y="426"/>
                    <a:pt x="116" y="435"/>
                  </a:cubicBezTo>
                  <a:cubicBezTo>
                    <a:pt x="122" y="443"/>
                    <a:pt x="120" y="471"/>
                    <a:pt x="117" y="487"/>
                  </a:cubicBezTo>
                  <a:cubicBezTo>
                    <a:pt x="114" y="503"/>
                    <a:pt x="118" y="503"/>
                    <a:pt x="128" y="508"/>
                  </a:cubicBezTo>
                  <a:cubicBezTo>
                    <a:pt x="139" y="514"/>
                    <a:pt x="131" y="537"/>
                    <a:pt x="138" y="542"/>
                  </a:cubicBezTo>
                  <a:cubicBezTo>
                    <a:pt x="145" y="547"/>
                    <a:pt x="141" y="557"/>
                    <a:pt x="142" y="572"/>
                  </a:cubicBezTo>
                  <a:cubicBezTo>
                    <a:pt x="143" y="588"/>
                    <a:pt x="133" y="579"/>
                    <a:pt x="128" y="594"/>
                  </a:cubicBezTo>
                  <a:cubicBezTo>
                    <a:pt x="122" y="608"/>
                    <a:pt x="111" y="614"/>
                    <a:pt x="100" y="622"/>
                  </a:cubicBezTo>
                  <a:cubicBezTo>
                    <a:pt x="89" y="630"/>
                    <a:pt x="87" y="644"/>
                    <a:pt x="87" y="660"/>
                  </a:cubicBezTo>
                  <a:cubicBezTo>
                    <a:pt x="87" y="670"/>
                    <a:pt x="79" y="675"/>
                    <a:pt x="75" y="676"/>
                  </a:cubicBezTo>
                  <a:cubicBezTo>
                    <a:pt x="76" y="698"/>
                    <a:pt x="72" y="699"/>
                    <a:pt x="70" y="715"/>
                  </a:cubicBezTo>
                  <a:cubicBezTo>
                    <a:pt x="69" y="733"/>
                    <a:pt x="70" y="733"/>
                    <a:pt x="62" y="744"/>
                  </a:cubicBezTo>
                  <a:cubicBezTo>
                    <a:pt x="53" y="756"/>
                    <a:pt x="55" y="754"/>
                    <a:pt x="55" y="767"/>
                  </a:cubicBezTo>
                  <a:cubicBezTo>
                    <a:pt x="55" y="780"/>
                    <a:pt x="56" y="811"/>
                    <a:pt x="62" y="817"/>
                  </a:cubicBezTo>
                  <a:cubicBezTo>
                    <a:pt x="67" y="823"/>
                    <a:pt x="72" y="804"/>
                    <a:pt x="75" y="794"/>
                  </a:cubicBezTo>
                  <a:cubicBezTo>
                    <a:pt x="76" y="791"/>
                    <a:pt x="75" y="790"/>
                    <a:pt x="75" y="789"/>
                  </a:cubicBezTo>
                  <a:cubicBezTo>
                    <a:pt x="74" y="789"/>
                    <a:pt x="75" y="789"/>
                    <a:pt x="75" y="789"/>
                  </a:cubicBezTo>
                  <a:cubicBezTo>
                    <a:pt x="76" y="789"/>
                    <a:pt x="77" y="788"/>
                    <a:pt x="79" y="787"/>
                  </a:cubicBezTo>
                  <a:cubicBezTo>
                    <a:pt x="88" y="781"/>
                    <a:pt x="100" y="797"/>
                    <a:pt x="108" y="810"/>
                  </a:cubicBezTo>
                  <a:cubicBezTo>
                    <a:pt x="115" y="823"/>
                    <a:pt x="120" y="833"/>
                    <a:pt x="135" y="839"/>
                  </a:cubicBezTo>
                  <a:cubicBezTo>
                    <a:pt x="149" y="844"/>
                    <a:pt x="155" y="886"/>
                    <a:pt x="172" y="900"/>
                  </a:cubicBezTo>
                  <a:cubicBezTo>
                    <a:pt x="173" y="901"/>
                    <a:pt x="174" y="902"/>
                    <a:pt x="174" y="902"/>
                  </a:cubicBezTo>
                  <a:cubicBezTo>
                    <a:pt x="176" y="901"/>
                    <a:pt x="178" y="899"/>
                    <a:pt x="179" y="897"/>
                  </a:cubicBezTo>
                  <a:cubicBezTo>
                    <a:pt x="181" y="891"/>
                    <a:pt x="189" y="890"/>
                    <a:pt x="191" y="895"/>
                  </a:cubicBezTo>
                  <a:cubicBezTo>
                    <a:pt x="192" y="900"/>
                    <a:pt x="194" y="904"/>
                    <a:pt x="203" y="906"/>
                  </a:cubicBezTo>
                  <a:cubicBezTo>
                    <a:pt x="211" y="907"/>
                    <a:pt x="221" y="910"/>
                    <a:pt x="229" y="917"/>
                  </a:cubicBezTo>
                  <a:cubicBezTo>
                    <a:pt x="236" y="925"/>
                    <a:pt x="245" y="930"/>
                    <a:pt x="240" y="934"/>
                  </a:cubicBezTo>
                  <a:cubicBezTo>
                    <a:pt x="235" y="938"/>
                    <a:pt x="234" y="943"/>
                    <a:pt x="234" y="949"/>
                  </a:cubicBezTo>
                  <a:cubicBezTo>
                    <a:pt x="234" y="955"/>
                    <a:pt x="235" y="958"/>
                    <a:pt x="240" y="960"/>
                  </a:cubicBezTo>
                  <a:cubicBezTo>
                    <a:pt x="244" y="961"/>
                    <a:pt x="252" y="962"/>
                    <a:pt x="252" y="955"/>
                  </a:cubicBezTo>
                  <a:cubicBezTo>
                    <a:pt x="252" y="948"/>
                    <a:pt x="256" y="943"/>
                    <a:pt x="263" y="943"/>
                  </a:cubicBezTo>
                  <a:cubicBezTo>
                    <a:pt x="269" y="943"/>
                    <a:pt x="265" y="953"/>
                    <a:pt x="277" y="952"/>
                  </a:cubicBezTo>
                  <a:cubicBezTo>
                    <a:pt x="289" y="951"/>
                    <a:pt x="289" y="948"/>
                    <a:pt x="289" y="943"/>
                  </a:cubicBezTo>
                  <a:cubicBezTo>
                    <a:pt x="289" y="937"/>
                    <a:pt x="294" y="940"/>
                    <a:pt x="297" y="934"/>
                  </a:cubicBezTo>
                  <a:cubicBezTo>
                    <a:pt x="299" y="928"/>
                    <a:pt x="300" y="924"/>
                    <a:pt x="304" y="920"/>
                  </a:cubicBezTo>
                  <a:cubicBezTo>
                    <a:pt x="294" y="913"/>
                    <a:pt x="285" y="900"/>
                    <a:pt x="278" y="886"/>
                  </a:cubicBezTo>
                  <a:cubicBezTo>
                    <a:pt x="268" y="866"/>
                    <a:pt x="247" y="880"/>
                    <a:pt x="232" y="879"/>
                  </a:cubicBezTo>
                  <a:cubicBezTo>
                    <a:pt x="218" y="877"/>
                    <a:pt x="201" y="856"/>
                    <a:pt x="191" y="849"/>
                  </a:cubicBezTo>
                  <a:cubicBezTo>
                    <a:pt x="181" y="841"/>
                    <a:pt x="188" y="833"/>
                    <a:pt x="192" y="829"/>
                  </a:cubicBezTo>
                  <a:cubicBezTo>
                    <a:pt x="196" y="824"/>
                    <a:pt x="188" y="807"/>
                    <a:pt x="188" y="791"/>
                  </a:cubicBezTo>
                  <a:cubicBezTo>
                    <a:pt x="188" y="776"/>
                    <a:pt x="176" y="774"/>
                    <a:pt x="176" y="774"/>
                  </a:cubicBezTo>
                  <a:cubicBezTo>
                    <a:pt x="176" y="774"/>
                    <a:pt x="172" y="761"/>
                    <a:pt x="171" y="751"/>
                  </a:cubicBezTo>
                  <a:cubicBezTo>
                    <a:pt x="169" y="741"/>
                    <a:pt x="165" y="738"/>
                    <a:pt x="162" y="730"/>
                  </a:cubicBezTo>
                  <a:cubicBezTo>
                    <a:pt x="159" y="721"/>
                    <a:pt x="146" y="723"/>
                    <a:pt x="133" y="724"/>
                  </a:cubicBezTo>
                  <a:cubicBezTo>
                    <a:pt x="120" y="725"/>
                    <a:pt x="126" y="720"/>
                    <a:pt x="122" y="710"/>
                  </a:cubicBezTo>
                  <a:cubicBezTo>
                    <a:pt x="118" y="700"/>
                    <a:pt x="115" y="695"/>
                    <a:pt x="115" y="684"/>
                  </a:cubicBezTo>
                  <a:cubicBezTo>
                    <a:pt x="115" y="672"/>
                    <a:pt x="118" y="662"/>
                    <a:pt x="122" y="652"/>
                  </a:cubicBezTo>
                  <a:cubicBezTo>
                    <a:pt x="126" y="642"/>
                    <a:pt x="142" y="616"/>
                    <a:pt x="143" y="605"/>
                  </a:cubicBezTo>
                  <a:cubicBezTo>
                    <a:pt x="145" y="594"/>
                    <a:pt x="153" y="582"/>
                    <a:pt x="155" y="566"/>
                  </a:cubicBezTo>
                  <a:cubicBezTo>
                    <a:pt x="156" y="551"/>
                    <a:pt x="165" y="549"/>
                    <a:pt x="171" y="538"/>
                  </a:cubicBezTo>
                  <a:cubicBezTo>
                    <a:pt x="176" y="526"/>
                    <a:pt x="174" y="513"/>
                    <a:pt x="168" y="509"/>
                  </a:cubicBezTo>
                  <a:cubicBezTo>
                    <a:pt x="162" y="505"/>
                    <a:pt x="166" y="496"/>
                    <a:pt x="172" y="492"/>
                  </a:cubicBezTo>
                  <a:cubicBezTo>
                    <a:pt x="178" y="487"/>
                    <a:pt x="179" y="482"/>
                    <a:pt x="172" y="470"/>
                  </a:cubicBezTo>
                  <a:cubicBezTo>
                    <a:pt x="165" y="459"/>
                    <a:pt x="184" y="455"/>
                    <a:pt x="186" y="449"/>
                  </a:cubicBezTo>
                  <a:cubicBezTo>
                    <a:pt x="189" y="443"/>
                    <a:pt x="214" y="444"/>
                    <a:pt x="228" y="450"/>
                  </a:cubicBezTo>
                  <a:cubicBezTo>
                    <a:pt x="242" y="456"/>
                    <a:pt x="227" y="477"/>
                    <a:pt x="227" y="496"/>
                  </a:cubicBezTo>
                  <a:cubicBezTo>
                    <a:pt x="227" y="515"/>
                    <a:pt x="252" y="509"/>
                    <a:pt x="270" y="509"/>
                  </a:cubicBezTo>
                  <a:cubicBezTo>
                    <a:pt x="287" y="509"/>
                    <a:pt x="292" y="510"/>
                    <a:pt x="308" y="522"/>
                  </a:cubicBezTo>
                  <a:cubicBezTo>
                    <a:pt x="318" y="529"/>
                    <a:pt x="335" y="546"/>
                    <a:pt x="349" y="562"/>
                  </a:cubicBezTo>
                  <a:cubicBezTo>
                    <a:pt x="349" y="551"/>
                    <a:pt x="347" y="539"/>
                    <a:pt x="346" y="534"/>
                  </a:cubicBezTo>
                  <a:cubicBezTo>
                    <a:pt x="344" y="526"/>
                    <a:pt x="338" y="518"/>
                    <a:pt x="332" y="508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346" name="Freeform 25484"/>
            <p:cNvSpPr>
              <a:spLocks/>
            </p:cNvSpPr>
            <p:nvPr/>
          </p:nvSpPr>
          <p:spPr bwMode="auto">
            <a:xfrm>
              <a:off x="8745605" y="2057112"/>
              <a:ext cx="73867" cy="28094"/>
            </a:xfrm>
            <a:custGeom>
              <a:avLst/>
              <a:gdLst>
                <a:gd name="T0" fmla="*/ 197 w 198"/>
                <a:gd name="T1" fmla="*/ 60 h 75"/>
                <a:gd name="T2" fmla="*/ 181 w 198"/>
                <a:gd name="T3" fmla="*/ 47 h 75"/>
                <a:gd name="T4" fmla="*/ 154 w 198"/>
                <a:gd name="T5" fmla="*/ 37 h 75"/>
                <a:gd name="T6" fmla="*/ 120 w 198"/>
                <a:gd name="T7" fmla="*/ 25 h 75"/>
                <a:gd name="T8" fmla="*/ 93 w 198"/>
                <a:gd name="T9" fmla="*/ 15 h 75"/>
                <a:gd name="T10" fmla="*/ 69 w 198"/>
                <a:gd name="T11" fmla="*/ 21 h 75"/>
                <a:gd name="T12" fmla="*/ 52 w 198"/>
                <a:gd name="T13" fmla="*/ 20 h 75"/>
                <a:gd name="T14" fmla="*/ 33 w 198"/>
                <a:gd name="T15" fmla="*/ 12 h 75"/>
                <a:gd name="T16" fmla="*/ 20 w 198"/>
                <a:gd name="T17" fmla="*/ 0 h 75"/>
                <a:gd name="T18" fmla="*/ 4 w 198"/>
                <a:gd name="T19" fmla="*/ 16 h 75"/>
                <a:gd name="T20" fmla="*/ 10 w 198"/>
                <a:gd name="T21" fmla="*/ 39 h 75"/>
                <a:gd name="T22" fmla="*/ 28 w 198"/>
                <a:gd name="T23" fmla="*/ 48 h 75"/>
                <a:gd name="T24" fmla="*/ 41 w 198"/>
                <a:gd name="T25" fmla="*/ 47 h 75"/>
                <a:gd name="T26" fmla="*/ 60 w 198"/>
                <a:gd name="T27" fmla="*/ 40 h 75"/>
                <a:gd name="T28" fmla="*/ 101 w 198"/>
                <a:gd name="T29" fmla="*/ 49 h 75"/>
                <a:gd name="T30" fmla="*/ 125 w 198"/>
                <a:gd name="T31" fmla="*/ 64 h 75"/>
                <a:gd name="T32" fmla="*/ 142 w 198"/>
                <a:gd name="T33" fmla="*/ 73 h 75"/>
                <a:gd name="T34" fmla="*/ 168 w 198"/>
                <a:gd name="T35" fmla="*/ 68 h 75"/>
                <a:gd name="T36" fmla="*/ 197 w 198"/>
                <a:gd name="T37" fmla="*/ 6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98" h="75">
                  <a:moveTo>
                    <a:pt x="197" y="60"/>
                  </a:moveTo>
                  <a:cubicBezTo>
                    <a:pt x="198" y="55"/>
                    <a:pt x="198" y="45"/>
                    <a:pt x="181" y="47"/>
                  </a:cubicBezTo>
                  <a:cubicBezTo>
                    <a:pt x="164" y="48"/>
                    <a:pt x="170" y="40"/>
                    <a:pt x="154" y="37"/>
                  </a:cubicBezTo>
                  <a:cubicBezTo>
                    <a:pt x="154" y="37"/>
                    <a:pt x="126" y="33"/>
                    <a:pt x="120" y="25"/>
                  </a:cubicBezTo>
                  <a:cubicBezTo>
                    <a:pt x="113" y="17"/>
                    <a:pt x="108" y="15"/>
                    <a:pt x="93" y="15"/>
                  </a:cubicBezTo>
                  <a:cubicBezTo>
                    <a:pt x="78" y="15"/>
                    <a:pt x="73" y="17"/>
                    <a:pt x="69" y="21"/>
                  </a:cubicBezTo>
                  <a:cubicBezTo>
                    <a:pt x="65" y="25"/>
                    <a:pt x="56" y="24"/>
                    <a:pt x="52" y="20"/>
                  </a:cubicBezTo>
                  <a:cubicBezTo>
                    <a:pt x="48" y="16"/>
                    <a:pt x="40" y="12"/>
                    <a:pt x="33" y="12"/>
                  </a:cubicBezTo>
                  <a:cubicBezTo>
                    <a:pt x="26" y="12"/>
                    <a:pt x="25" y="0"/>
                    <a:pt x="20" y="0"/>
                  </a:cubicBezTo>
                  <a:cubicBezTo>
                    <a:pt x="14" y="0"/>
                    <a:pt x="4" y="11"/>
                    <a:pt x="4" y="16"/>
                  </a:cubicBezTo>
                  <a:cubicBezTo>
                    <a:pt x="4" y="21"/>
                    <a:pt x="0" y="35"/>
                    <a:pt x="10" y="39"/>
                  </a:cubicBezTo>
                  <a:cubicBezTo>
                    <a:pt x="21" y="43"/>
                    <a:pt x="24" y="44"/>
                    <a:pt x="28" y="48"/>
                  </a:cubicBezTo>
                  <a:cubicBezTo>
                    <a:pt x="32" y="52"/>
                    <a:pt x="38" y="52"/>
                    <a:pt x="41" y="47"/>
                  </a:cubicBezTo>
                  <a:cubicBezTo>
                    <a:pt x="44" y="41"/>
                    <a:pt x="50" y="40"/>
                    <a:pt x="60" y="40"/>
                  </a:cubicBezTo>
                  <a:cubicBezTo>
                    <a:pt x="69" y="40"/>
                    <a:pt x="97" y="43"/>
                    <a:pt x="101" y="49"/>
                  </a:cubicBezTo>
                  <a:cubicBezTo>
                    <a:pt x="105" y="56"/>
                    <a:pt x="120" y="61"/>
                    <a:pt x="125" y="64"/>
                  </a:cubicBezTo>
                  <a:cubicBezTo>
                    <a:pt x="130" y="67"/>
                    <a:pt x="130" y="72"/>
                    <a:pt x="142" y="73"/>
                  </a:cubicBezTo>
                  <a:cubicBezTo>
                    <a:pt x="154" y="75"/>
                    <a:pt x="154" y="71"/>
                    <a:pt x="168" y="68"/>
                  </a:cubicBezTo>
                  <a:cubicBezTo>
                    <a:pt x="181" y="65"/>
                    <a:pt x="196" y="65"/>
                    <a:pt x="197" y="6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347" name="Freeform 25485"/>
            <p:cNvSpPr>
              <a:spLocks/>
            </p:cNvSpPr>
            <p:nvPr/>
          </p:nvSpPr>
          <p:spPr bwMode="auto">
            <a:xfrm>
              <a:off x="8159883" y="2223154"/>
              <a:ext cx="30935" cy="27148"/>
            </a:xfrm>
            <a:custGeom>
              <a:avLst/>
              <a:gdLst>
                <a:gd name="T0" fmla="*/ 64 w 83"/>
                <a:gd name="T1" fmla="*/ 12 h 73"/>
                <a:gd name="T2" fmla="*/ 46 w 83"/>
                <a:gd name="T3" fmla="*/ 19 h 73"/>
                <a:gd name="T4" fmla="*/ 28 w 83"/>
                <a:gd name="T5" fmla="*/ 35 h 73"/>
                <a:gd name="T6" fmla="*/ 14 w 83"/>
                <a:gd name="T7" fmla="*/ 56 h 73"/>
                <a:gd name="T8" fmla="*/ 18 w 83"/>
                <a:gd name="T9" fmla="*/ 68 h 73"/>
                <a:gd name="T10" fmla="*/ 53 w 83"/>
                <a:gd name="T11" fmla="*/ 46 h 73"/>
                <a:gd name="T12" fmla="*/ 83 w 83"/>
                <a:gd name="T13" fmla="*/ 30 h 73"/>
                <a:gd name="T14" fmla="*/ 64 w 83"/>
                <a:gd name="T15" fmla="*/ 12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3" h="73">
                  <a:moveTo>
                    <a:pt x="64" y="12"/>
                  </a:moveTo>
                  <a:cubicBezTo>
                    <a:pt x="64" y="12"/>
                    <a:pt x="59" y="19"/>
                    <a:pt x="46" y="19"/>
                  </a:cubicBezTo>
                  <a:cubicBezTo>
                    <a:pt x="33" y="19"/>
                    <a:pt x="28" y="26"/>
                    <a:pt x="28" y="35"/>
                  </a:cubicBezTo>
                  <a:cubicBezTo>
                    <a:pt x="28" y="45"/>
                    <a:pt x="21" y="52"/>
                    <a:pt x="14" y="56"/>
                  </a:cubicBezTo>
                  <a:cubicBezTo>
                    <a:pt x="6" y="60"/>
                    <a:pt x="0" y="73"/>
                    <a:pt x="18" y="68"/>
                  </a:cubicBezTo>
                  <a:cubicBezTo>
                    <a:pt x="36" y="62"/>
                    <a:pt x="34" y="48"/>
                    <a:pt x="53" y="46"/>
                  </a:cubicBezTo>
                  <a:cubicBezTo>
                    <a:pt x="73" y="44"/>
                    <a:pt x="83" y="43"/>
                    <a:pt x="83" y="30"/>
                  </a:cubicBezTo>
                  <a:cubicBezTo>
                    <a:pt x="83" y="17"/>
                    <a:pt x="82" y="0"/>
                    <a:pt x="64" y="12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348" name="Freeform 25486"/>
            <p:cNvSpPr>
              <a:spLocks/>
            </p:cNvSpPr>
            <p:nvPr/>
          </p:nvSpPr>
          <p:spPr bwMode="auto">
            <a:xfrm>
              <a:off x="7968589" y="2499521"/>
              <a:ext cx="31251" cy="31251"/>
            </a:xfrm>
            <a:custGeom>
              <a:avLst/>
              <a:gdLst>
                <a:gd name="T0" fmla="*/ 66 w 84"/>
                <a:gd name="T1" fmla="*/ 8 h 84"/>
                <a:gd name="T2" fmla="*/ 54 w 84"/>
                <a:gd name="T3" fmla="*/ 17 h 84"/>
                <a:gd name="T4" fmla="*/ 35 w 84"/>
                <a:gd name="T5" fmla="*/ 30 h 84"/>
                <a:gd name="T6" fmla="*/ 17 w 84"/>
                <a:gd name="T7" fmla="*/ 45 h 84"/>
                <a:gd name="T8" fmla="*/ 1 w 84"/>
                <a:gd name="T9" fmla="*/ 67 h 84"/>
                <a:gd name="T10" fmla="*/ 22 w 84"/>
                <a:gd name="T11" fmla="*/ 76 h 84"/>
                <a:gd name="T12" fmla="*/ 52 w 84"/>
                <a:gd name="T13" fmla="*/ 51 h 84"/>
                <a:gd name="T14" fmla="*/ 62 w 84"/>
                <a:gd name="T15" fmla="*/ 32 h 84"/>
                <a:gd name="T16" fmla="*/ 78 w 84"/>
                <a:gd name="T17" fmla="*/ 17 h 84"/>
                <a:gd name="T18" fmla="*/ 66 w 84"/>
                <a:gd name="T19" fmla="*/ 8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66" y="8"/>
                  </a:moveTo>
                  <a:cubicBezTo>
                    <a:pt x="63" y="17"/>
                    <a:pt x="60" y="23"/>
                    <a:pt x="54" y="17"/>
                  </a:cubicBezTo>
                  <a:cubicBezTo>
                    <a:pt x="47" y="10"/>
                    <a:pt x="37" y="20"/>
                    <a:pt x="35" y="30"/>
                  </a:cubicBezTo>
                  <a:cubicBezTo>
                    <a:pt x="32" y="39"/>
                    <a:pt x="27" y="40"/>
                    <a:pt x="17" y="45"/>
                  </a:cubicBezTo>
                  <a:cubicBezTo>
                    <a:pt x="8" y="49"/>
                    <a:pt x="0" y="52"/>
                    <a:pt x="1" y="67"/>
                  </a:cubicBezTo>
                  <a:cubicBezTo>
                    <a:pt x="2" y="82"/>
                    <a:pt x="14" y="84"/>
                    <a:pt x="22" y="76"/>
                  </a:cubicBezTo>
                  <a:cubicBezTo>
                    <a:pt x="29" y="67"/>
                    <a:pt x="51" y="62"/>
                    <a:pt x="52" y="51"/>
                  </a:cubicBezTo>
                  <a:cubicBezTo>
                    <a:pt x="53" y="40"/>
                    <a:pt x="53" y="33"/>
                    <a:pt x="62" y="32"/>
                  </a:cubicBezTo>
                  <a:cubicBezTo>
                    <a:pt x="72" y="31"/>
                    <a:pt x="84" y="24"/>
                    <a:pt x="78" y="17"/>
                  </a:cubicBezTo>
                  <a:cubicBezTo>
                    <a:pt x="78" y="17"/>
                    <a:pt x="68" y="0"/>
                    <a:pt x="66" y="8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349" name="Freeform 25487"/>
            <p:cNvSpPr>
              <a:spLocks/>
            </p:cNvSpPr>
            <p:nvPr/>
          </p:nvSpPr>
          <p:spPr bwMode="auto">
            <a:xfrm>
              <a:off x="7971271" y="2496522"/>
              <a:ext cx="9628" cy="8207"/>
            </a:xfrm>
            <a:custGeom>
              <a:avLst/>
              <a:gdLst>
                <a:gd name="T0" fmla="*/ 21 w 26"/>
                <a:gd name="T1" fmla="*/ 14 h 22"/>
                <a:gd name="T2" fmla="*/ 9 w 26"/>
                <a:gd name="T3" fmla="*/ 7 h 22"/>
                <a:gd name="T4" fmla="*/ 10 w 26"/>
                <a:gd name="T5" fmla="*/ 19 h 22"/>
                <a:gd name="T6" fmla="*/ 21 w 26"/>
                <a:gd name="T7" fmla="*/ 14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" h="22">
                  <a:moveTo>
                    <a:pt x="21" y="14"/>
                  </a:moveTo>
                  <a:cubicBezTo>
                    <a:pt x="16" y="10"/>
                    <a:pt x="15" y="0"/>
                    <a:pt x="9" y="7"/>
                  </a:cubicBezTo>
                  <a:cubicBezTo>
                    <a:pt x="9" y="7"/>
                    <a:pt x="0" y="17"/>
                    <a:pt x="10" y="19"/>
                  </a:cubicBezTo>
                  <a:cubicBezTo>
                    <a:pt x="21" y="22"/>
                    <a:pt x="26" y="18"/>
                    <a:pt x="21" y="14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350" name="Freeform 25488"/>
            <p:cNvSpPr>
              <a:spLocks/>
            </p:cNvSpPr>
            <p:nvPr/>
          </p:nvSpPr>
          <p:spPr bwMode="auto">
            <a:xfrm>
              <a:off x="7951858" y="2535980"/>
              <a:ext cx="12942" cy="17520"/>
            </a:xfrm>
            <a:custGeom>
              <a:avLst/>
              <a:gdLst>
                <a:gd name="T0" fmla="*/ 21 w 35"/>
                <a:gd name="T1" fmla="*/ 10 h 47"/>
                <a:gd name="T2" fmla="*/ 4 w 35"/>
                <a:gd name="T3" fmla="*/ 29 h 47"/>
                <a:gd name="T4" fmla="*/ 11 w 35"/>
                <a:gd name="T5" fmla="*/ 47 h 47"/>
                <a:gd name="T6" fmla="*/ 24 w 35"/>
                <a:gd name="T7" fmla="*/ 23 h 47"/>
                <a:gd name="T8" fmla="*/ 21 w 35"/>
                <a:gd name="T9" fmla="*/ 1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47">
                  <a:moveTo>
                    <a:pt x="21" y="10"/>
                  </a:moveTo>
                  <a:cubicBezTo>
                    <a:pt x="21" y="10"/>
                    <a:pt x="7" y="23"/>
                    <a:pt x="4" y="29"/>
                  </a:cubicBezTo>
                  <a:cubicBezTo>
                    <a:pt x="0" y="35"/>
                    <a:pt x="2" y="47"/>
                    <a:pt x="11" y="47"/>
                  </a:cubicBezTo>
                  <a:cubicBezTo>
                    <a:pt x="20" y="47"/>
                    <a:pt x="16" y="31"/>
                    <a:pt x="24" y="23"/>
                  </a:cubicBezTo>
                  <a:cubicBezTo>
                    <a:pt x="31" y="14"/>
                    <a:pt x="35" y="0"/>
                    <a:pt x="21" y="1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351" name="Freeform 25489"/>
            <p:cNvSpPr>
              <a:spLocks/>
            </p:cNvSpPr>
            <p:nvPr/>
          </p:nvSpPr>
          <p:spPr bwMode="auto">
            <a:xfrm>
              <a:off x="7931970" y="2564707"/>
              <a:ext cx="13101" cy="4577"/>
            </a:xfrm>
            <a:custGeom>
              <a:avLst/>
              <a:gdLst>
                <a:gd name="T0" fmla="*/ 19 w 35"/>
                <a:gd name="T1" fmla="*/ 1 h 12"/>
                <a:gd name="T2" fmla="*/ 15 w 35"/>
                <a:gd name="T3" fmla="*/ 12 h 12"/>
                <a:gd name="T4" fmla="*/ 19 w 35"/>
                <a:gd name="T5" fmla="*/ 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5" h="12">
                  <a:moveTo>
                    <a:pt x="19" y="1"/>
                  </a:moveTo>
                  <a:cubicBezTo>
                    <a:pt x="19" y="1"/>
                    <a:pt x="0" y="12"/>
                    <a:pt x="15" y="12"/>
                  </a:cubicBezTo>
                  <a:cubicBezTo>
                    <a:pt x="30" y="12"/>
                    <a:pt x="35" y="0"/>
                    <a:pt x="19" y="1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352" name="Freeform 25490"/>
            <p:cNvSpPr>
              <a:spLocks/>
            </p:cNvSpPr>
            <p:nvPr/>
          </p:nvSpPr>
          <p:spPr bwMode="auto">
            <a:xfrm>
              <a:off x="7880517" y="2611741"/>
              <a:ext cx="19098" cy="18309"/>
            </a:xfrm>
            <a:custGeom>
              <a:avLst/>
              <a:gdLst>
                <a:gd name="T0" fmla="*/ 36 w 51"/>
                <a:gd name="T1" fmla="*/ 12 h 49"/>
                <a:gd name="T2" fmla="*/ 16 w 51"/>
                <a:gd name="T3" fmla="*/ 30 h 49"/>
                <a:gd name="T4" fmla="*/ 21 w 51"/>
                <a:gd name="T5" fmla="*/ 40 h 49"/>
                <a:gd name="T6" fmla="*/ 36 w 51"/>
                <a:gd name="T7" fmla="*/ 12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1" h="49">
                  <a:moveTo>
                    <a:pt x="36" y="12"/>
                  </a:moveTo>
                  <a:cubicBezTo>
                    <a:pt x="36" y="12"/>
                    <a:pt x="32" y="18"/>
                    <a:pt x="16" y="30"/>
                  </a:cubicBezTo>
                  <a:cubicBezTo>
                    <a:pt x="0" y="43"/>
                    <a:pt x="8" y="49"/>
                    <a:pt x="21" y="40"/>
                  </a:cubicBezTo>
                  <a:cubicBezTo>
                    <a:pt x="34" y="31"/>
                    <a:pt x="51" y="0"/>
                    <a:pt x="36" y="12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353" name="Freeform 25491"/>
            <p:cNvSpPr>
              <a:spLocks/>
            </p:cNvSpPr>
            <p:nvPr/>
          </p:nvSpPr>
          <p:spPr bwMode="auto">
            <a:xfrm>
              <a:off x="7642345" y="2387143"/>
              <a:ext cx="78286" cy="264846"/>
            </a:xfrm>
            <a:custGeom>
              <a:avLst/>
              <a:gdLst>
                <a:gd name="T0" fmla="*/ 14 w 210"/>
                <a:gd name="T1" fmla="*/ 230 h 710"/>
                <a:gd name="T2" fmla="*/ 42 w 210"/>
                <a:gd name="T3" fmla="*/ 267 h 710"/>
                <a:gd name="T4" fmla="*/ 40 w 210"/>
                <a:gd name="T5" fmla="*/ 309 h 710"/>
                <a:gd name="T6" fmla="*/ 30 w 210"/>
                <a:gd name="T7" fmla="*/ 330 h 710"/>
                <a:gd name="T8" fmla="*/ 32 w 210"/>
                <a:gd name="T9" fmla="*/ 345 h 710"/>
                <a:gd name="T10" fmla="*/ 42 w 210"/>
                <a:gd name="T11" fmla="*/ 374 h 710"/>
                <a:gd name="T12" fmla="*/ 41 w 210"/>
                <a:gd name="T13" fmla="*/ 427 h 710"/>
                <a:gd name="T14" fmla="*/ 32 w 210"/>
                <a:gd name="T15" fmla="*/ 447 h 710"/>
                <a:gd name="T16" fmla="*/ 29 w 210"/>
                <a:gd name="T17" fmla="*/ 472 h 710"/>
                <a:gd name="T18" fmla="*/ 22 w 210"/>
                <a:gd name="T19" fmla="*/ 492 h 710"/>
                <a:gd name="T20" fmla="*/ 31 w 210"/>
                <a:gd name="T21" fmla="*/ 513 h 710"/>
                <a:gd name="T22" fmla="*/ 43 w 210"/>
                <a:gd name="T23" fmla="*/ 537 h 710"/>
                <a:gd name="T24" fmla="*/ 33 w 210"/>
                <a:gd name="T25" fmla="*/ 568 h 710"/>
                <a:gd name="T26" fmla="*/ 25 w 210"/>
                <a:gd name="T27" fmla="*/ 585 h 710"/>
                <a:gd name="T28" fmla="*/ 32 w 210"/>
                <a:gd name="T29" fmla="*/ 614 h 710"/>
                <a:gd name="T30" fmla="*/ 26 w 210"/>
                <a:gd name="T31" fmla="*/ 641 h 710"/>
                <a:gd name="T32" fmla="*/ 20 w 210"/>
                <a:gd name="T33" fmla="*/ 667 h 710"/>
                <a:gd name="T34" fmla="*/ 29 w 210"/>
                <a:gd name="T35" fmla="*/ 707 h 710"/>
                <a:gd name="T36" fmla="*/ 41 w 210"/>
                <a:gd name="T37" fmla="*/ 694 h 710"/>
                <a:gd name="T38" fmla="*/ 60 w 210"/>
                <a:gd name="T39" fmla="*/ 668 h 710"/>
                <a:gd name="T40" fmla="*/ 75 w 210"/>
                <a:gd name="T41" fmla="*/ 655 h 710"/>
                <a:gd name="T42" fmla="*/ 109 w 210"/>
                <a:gd name="T43" fmla="*/ 666 h 710"/>
                <a:gd name="T44" fmla="*/ 121 w 210"/>
                <a:gd name="T45" fmla="*/ 688 h 710"/>
                <a:gd name="T46" fmla="*/ 124 w 210"/>
                <a:gd name="T47" fmla="*/ 701 h 710"/>
                <a:gd name="T48" fmla="*/ 130 w 210"/>
                <a:gd name="T49" fmla="*/ 694 h 710"/>
                <a:gd name="T50" fmla="*/ 138 w 210"/>
                <a:gd name="T51" fmla="*/ 660 h 710"/>
                <a:gd name="T52" fmla="*/ 117 w 210"/>
                <a:gd name="T53" fmla="*/ 640 h 710"/>
                <a:gd name="T54" fmla="*/ 98 w 210"/>
                <a:gd name="T55" fmla="*/ 622 h 710"/>
                <a:gd name="T56" fmla="*/ 88 w 210"/>
                <a:gd name="T57" fmla="*/ 595 h 710"/>
                <a:gd name="T58" fmla="*/ 66 w 210"/>
                <a:gd name="T59" fmla="*/ 547 h 710"/>
                <a:gd name="T60" fmla="*/ 89 w 210"/>
                <a:gd name="T61" fmla="*/ 489 h 710"/>
                <a:gd name="T62" fmla="*/ 114 w 210"/>
                <a:gd name="T63" fmla="*/ 439 h 710"/>
                <a:gd name="T64" fmla="*/ 147 w 210"/>
                <a:gd name="T65" fmla="*/ 440 h 710"/>
                <a:gd name="T66" fmla="*/ 173 w 210"/>
                <a:gd name="T67" fmla="*/ 457 h 710"/>
                <a:gd name="T68" fmla="*/ 199 w 210"/>
                <a:gd name="T69" fmla="*/ 487 h 710"/>
                <a:gd name="T70" fmla="*/ 197 w 210"/>
                <a:gd name="T71" fmla="*/ 466 h 710"/>
                <a:gd name="T72" fmla="*/ 173 w 210"/>
                <a:gd name="T73" fmla="*/ 431 h 710"/>
                <a:gd name="T74" fmla="*/ 159 w 210"/>
                <a:gd name="T75" fmla="*/ 392 h 710"/>
                <a:gd name="T76" fmla="*/ 143 w 210"/>
                <a:gd name="T77" fmla="*/ 349 h 710"/>
                <a:gd name="T78" fmla="*/ 133 w 210"/>
                <a:gd name="T79" fmla="*/ 309 h 710"/>
                <a:gd name="T80" fmla="*/ 128 w 210"/>
                <a:gd name="T81" fmla="*/ 275 h 710"/>
                <a:gd name="T82" fmla="*/ 118 w 210"/>
                <a:gd name="T83" fmla="*/ 256 h 710"/>
                <a:gd name="T84" fmla="*/ 122 w 210"/>
                <a:gd name="T85" fmla="*/ 245 h 710"/>
                <a:gd name="T86" fmla="*/ 101 w 210"/>
                <a:gd name="T87" fmla="*/ 210 h 710"/>
                <a:gd name="T88" fmla="*/ 109 w 210"/>
                <a:gd name="T89" fmla="*/ 180 h 710"/>
                <a:gd name="T90" fmla="*/ 121 w 210"/>
                <a:gd name="T91" fmla="*/ 152 h 710"/>
                <a:gd name="T92" fmla="*/ 110 w 210"/>
                <a:gd name="T93" fmla="*/ 108 h 710"/>
                <a:gd name="T94" fmla="*/ 99 w 210"/>
                <a:gd name="T95" fmla="*/ 82 h 710"/>
                <a:gd name="T96" fmla="*/ 92 w 210"/>
                <a:gd name="T97" fmla="*/ 58 h 710"/>
                <a:gd name="T98" fmla="*/ 88 w 210"/>
                <a:gd name="T99" fmla="*/ 19 h 710"/>
                <a:gd name="T100" fmla="*/ 57 w 210"/>
                <a:gd name="T101" fmla="*/ 18 h 710"/>
                <a:gd name="T102" fmla="*/ 62 w 210"/>
                <a:gd name="T103" fmla="*/ 32 h 710"/>
                <a:gd name="T104" fmla="*/ 73 w 210"/>
                <a:gd name="T105" fmla="*/ 46 h 710"/>
                <a:gd name="T106" fmla="*/ 67 w 210"/>
                <a:gd name="T107" fmla="*/ 59 h 710"/>
                <a:gd name="T108" fmla="*/ 64 w 210"/>
                <a:gd name="T109" fmla="*/ 75 h 710"/>
                <a:gd name="T110" fmla="*/ 57 w 210"/>
                <a:gd name="T111" fmla="*/ 86 h 710"/>
                <a:gd name="T112" fmla="*/ 33 w 210"/>
                <a:gd name="T113" fmla="*/ 79 h 710"/>
                <a:gd name="T114" fmla="*/ 17 w 210"/>
                <a:gd name="T115" fmla="*/ 97 h 710"/>
                <a:gd name="T116" fmla="*/ 20 w 210"/>
                <a:gd name="T117" fmla="*/ 116 h 710"/>
                <a:gd name="T118" fmla="*/ 25 w 210"/>
                <a:gd name="T119" fmla="*/ 137 h 710"/>
                <a:gd name="T120" fmla="*/ 20 w 210"/>
                <a:gd name="T121" fmla="*/ 165 h 710"/>
                <a:gd name="T122" fmla="*/ 7 w 210"/>
                <a:gd name="T123" fmla="*/ 195 h 710"/>
                <a:gd name="T124" fmla="*/ 14 w 210"/>
                <a:gd name="T125" fmla="*/ 230 h 7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10" h="710">
                  <a:moveTo>
                    <a:pt x="14" y="230"/>
                  </a:moveTo>
                  <a:cubicBezTo>
                    <a:pt x="28" y="242"/>
                    <a:pt x="42" y="251"/>
                    <a:pt x="42" y="267"/>
                  </a:cubicBezTo>
                  <a:cubicBezTo>
                    <a:pt x="42" y="284"/>
                    <a:pt x="45" y="297"/>
                    <a:pt x="40" y="309"/>
                  </a:cubicBezTo>
                  <a:cubicBezTo>
                    <a:pt x="34" y="321"/>
                    <a:pt x="30" y="323"/>
                    <a:pt x="30" y="330"/>
                  </a:cubicBezTo>
                  <a:cubicBezTo>
                    <a:pt x="30" y="336"/>
                    <a:pt x="23" y="339"/>
                    <a:pt x="32" y="345"/>
                  </a:cubicBezTo>
                  <a:cubicBezTo>
                    <a:pt x="41" y="350"/>
                    <a:pt x="42" y="358"/>
                    <a:pt x="42" y="374"/>
                  </a:cubicBezTo>
                  <a:cubicBezTo>
                    <a:pt x="42" y="391"/>
                    <a:pt x="47" y="418"/>
                    <a:pt x="41" y="427"/>
                  </a:cubicBezTo>
                  <a:cubicBezTo>
                    <a:pt x="34" y="435"/>
                    <a:pt x="32" y="438"/>
                    <a:pt x="32" y="447"/>
                  </a:cubicBezTo>
                  <a:cubicBezTo>
                    <a:pt x="32" y="457"/>
                    <a:pt x="37" y="465"/>
                    <a:pt x="29" y="472"/>
                  </a:cubicBezTo>
                  <a:cubicBezTo>
                    <a:pt x="20" y="478"/>
                    <a:pt x="22" y="484"/>
                    <a:pt x="22" y="492"/>
                  </a:cubicBezTo>
                  <a:cubicBezTo>
                    <a:pt x="22" y="501"/>
                    <a:pt x="26" y="507"/>
                    <a:pt x="31" y="513"/>
                  </a:cubicBezTo>
                  <a:cubicBezTo>
                    <a:pt x="36" y="518"/>
                    <a:pt x="44" y="520"/>
                    <a:pt x="43" y="537"/>
                  </a:cubicBezTo>
                  <a:cubicBezTo>
                    <a:pt x="42" y="554"/>
                    <a:pt x="35" y="555"/>
                    <a:pt x="33" y="568"/>
                  </a:cubicBezTo>
                  <a:cubicBezTo>
                    <a:pt x="31" y="581"/>
                    <a:pt x="23" y="575"/>
                    <a:pt x="25" y="585"/>
                  </a:cubicBezTo>
                  <a:cubicBezTo>
                    <a:pt x="26" y="596"/>
                    <a:pt x="32" y="599"/>
                    <a:pt x="32" y="614"/>
                  </a:cubicBezTo>
                  <a:cubicBezTo>
                    <a:pt x="32" y="629"/>
                    <a:pt x="30" y="633"/>
                    <a:pt x="26" y="641"/>
                  </a:cubicBezTo>
                  <a:cubicBezTo>
                    <a:pt x="21" y="648"/>
                    <a:pt x="19" y="649"/>
                    <a:pt x="20" y="667"/>
                  </a:cubicBezTo>
                  <a:cubicBezTo>
                    <a:pt x="21" y="684"/>
                    <a:pt x="14" y="704"/>
                    <a:pt x="29" y="707"/>
                  </a:cubicBezTo>
                  <a:cubicBezTo>
                    <a:pt x="44" y="710"/>
                    <a:pt x="37" y="709"/>
                    <a:pt x="41" y="694"/>
                  </a:cubicBezTo>
                  <a:cubicBezTo>
                    <a:pt x="44" y="679"/>
                    <a:pt x="57" y="683"/>
                    <a:pt x="60" y="668"/>
                  </a:cubicBezTo>
                  <a:cubicBezTo>
                    <a:pt x="63" y="653"/>
                    <a:pt x="65" y="655"/>
                    <a:pt x="75" y="655"/>
                  </a:cubicBezTo>
                  <a:cubicBezTo>
                    <a:pt x="84" y="655"/>
                    <a:pt x="109" y="652"/>
                    <a:pt x="109" y="666"/>
                  </a:cubicBezTo>
                  <a:cubicBezTo>
                    <a:pt x="109" y="679"/>
                    <a:pt x="114" y="684"/>
                    <a:pt x="121" y="688"/>
                  </a:cubicBezTo>
                  <a:cubicBezTo>
                    <a:pt x="127" y="692"/>
                    <a:pt x="117" y="701"/>
                    <a:pt x="124" y="701"/>
                  </a:cubicBezTo>
                  <a:cubicBezTo>
                    <a:pt x="132" y="701"/>
                    <a:pt x="129" y="702"/>
                    <a:pt x="130" y="694"/>
                  </a:cubicBezTo>
                  <a:cubicBezTo>
                    <a:pt x="132" y="687"/>
                    <a:pt x="141" y="681"/>
                    <a:pt x="138" y="660"/>
                  </a:cubicBezTo>
                  <a:cubicBezTo>
                    <a:pt x="135" y="640"/>
                    <a:pt x="126" y="643"/>
                    <a:pt x="117" y="640"/>
                  </a:cubicBezTo>
                  <a:cubicBezTo>
                    <a:pt x="107" y="637"/>
                    <a:pt x="97" y="630"/>
                    <a:pt x="98" y="622"/>
                  </a:cubicBezTo>
                  <a:cubicBezTo>
                    <a:pt x="99" y="613"/>
                    <a:pt x="99" y="606"/>
                    <a:pt x="88" y="595"/>
                  </a:cubicBezTo>
                  <a:cubicBezTo>
                    <a:pt x="76" y="584"/>
                    <a:pt x="63" y="564"/>
                    <a:pt x="66" y="547"/>
                  </a:cubicBezTo>
                  <a:cubicBezTo>
                    <a:pt x="70" y="530"/>
                    <a:pt x="82" y="516"/>
                    <a:pt x="89" y="489"/>
                  </a:cubicBezTo>
                  <a:cubicBezTo>
                    <a:pt x="95" y="462"/>
                    <a:pt x="101" y="441"/>
                    <a:pt x="114" y="439"/>
                  </a:cubicBezTo>
                  <a:cubicBezTo>
                    <a:pt x="128" y="437"/>
                    <a:pt x="134" y="430"/>
                    <a:pt x="147" y="440"/>
                  </a:cubicBezTo>
                  <a:cubicBezTo>
                    <a:pt x="159" y="449"/>
                    <a:pt x="163" y="442"/>
                    <a:pt x="173" y="457"/>
                  </a:cubicBezTo>
                  <a:cubicBezTo>
                    <a:pt x="184" y="472"/>
                    <a:pt x="191" y="489"/>
                    <a:pt x="199" y="487"/>
                  </a:cubicBezTo>
                  <a:cubicBezTo>
                    <a:pt x="206" y="485"/>
                    <a:pt x="210" y="477"/>
                    <a:pt x="197" y="466"/>
                  </a:cubicBezTo>
                  <a:cubicBezTo>
                    <a:pt x="184" y="456"/>
                    <a:pt x="173" y="445"/>
                    <a:pt x="173" y="431"/>
                  </a:cubicBezTo>
                  <a:cubicBezTo>
                    <a:pt x="173" y="417"/>
                    <a:pt x="163" y="410"/>
                    <a:pt x="159" y="392"/>
                  </a:cubicBezTo>
                  <a:cubicBezTo>
                    <a:pt x="156" y="373"/>
                    <a:pt x="143" y="373"/>
                    <a:pt x="143" y="349"/>
                  </a:cubicBezTo>
                  <a:cubicBezTo>
                    <a:pt x="143" y="324"/>
                    <a:pt x="134" y="327"/>
                    <a:pt x="133" y="309"/>
                  </a:cubicBezTo>
                  <a:cubicBezTo>
                    <a:pt x="132" y="291"/>
                    <a:pt x="140" y="287"/>
                    <a:pt x="128" y="275"/>
                  </a:cubicBezTo>
                  <a:cubicBezTo>
                    <a:pt x="117" y="263"/>
                    <a:pt x="113" y="260"/>
                    <a:pt x="118" y="256"/>
                  </a:cubicBezTo>
                  <a:cubicBezTo>
                    <a:pt x="122" y="251"/>
                    <a:pt x="128" y="254"/>
                    <a:pt x="122" y="245"/>
                  </a:cubicBezTo>
                  <a:cubicBezTo>
                    <a:pt x="116" y="236"/>
                    <a:pt x="102" y="225"/>
                    <a:pt x="101" y="210"/>
                  </a:cubicBezTo>
                  <a:cubicBezTo>
                    <a:pt x="99" y="195"/>
                    <a:pt x="107" y="196"/>
                    <a:pt x="109" y="180"/>
                  </a:cubicBezTo>
                  <a:cubicBezTo>
                    <a:pt x="111" y="164"/>
                    <a:pt x="120" y="177"/>
                    <a:pt x="121" y="152"/>
                  </a:cubicBezTo>
                  <a:cubicBezTo>
                    <a:pt x="122" y="127"/>
                    <a:pt x="118" y="122"/>
                    <a:pt x="110" y="108"/>
                  </a:cubicBezTo>
                  <a:cubicBezTo>
                    <a:pt x="103" y="94"/>
                    <a:pt x="106" y="82"/>
                    <a:pt x="99" y="82"/>
                  </a:cubicBezTo>
                  <a:cubicBezTo>
                    <a:pt x="93" y="82"/>
                    <a:pt x="92" y="71"/>
                    <a:pt x="92" y="58"/>
                  </a:cubicBezTo>
                  <a:cubicBezTo>
                    <a:pt x="92" y="45"/>
                    <a:pt x="94" y="25"/>
                    <a:pt x="88" y="19"/>
                  </a:cubicBezTo>
                  <a:cubicBezTo>
                    <a:pt x="81" y="14"/>
                    <a:pt x="58" y="0"/>
                    <a:pt x="57" y="18"/>
                  </a:cubicBezTo>
                  <a:cubicBezTo>
                    <a:pt x="57" y="18"/>
                    <a:pt x="53" y="29"/>
                    <a:pt x="62" y="32"/>
                  </a:cubicBezTo>
                  <a:cubicBezTo>
                    <a:pt x="71" y="35"/>
                    <a:pt x="73" y="35"/>
                    <a:pt x="73" y="46"/>
                  </a:cubicBezTo>
                  <a:cubicBezTo>
                    <a:pt x="73" y="57"/>
                    <a:pt x="74" y="57"/>
                    <a:pt x="67" y="59"/>
                  </a:cubicBezTo>
                  <a:cubicBezTo>
                    <a:pt x="61" y="61"/>
                    <a:pt x="63" y="65"/>
                    <a:pt x="64" y="75"/>
                  </a:cubicBezTo>
                  <a:cubicBezTo>
                    <a:pt x="65" y="84"/>
                    <a:pt x="65" y="88"/>
                    <a:pt x="57" y="86"/>
                  </a:cubicBezTo>
                  <a:cubicBezTo>
                    <a:pt x="48" y="83"/>
                    <a:pt x="36" y="73"/>
                    <a:pt x="33" y="79"/>
                  </a:cubicBezTo>
                  <a:cubicBezTo>
                    <a:pt x="30" y="86"/>
                    <a:pt x="17" y="84"/>
                    <a:pt x="17" y="97"/>
                  </a:cubicBezTo>
                  <a:cubicBezTo>
                    <a:pt x="17" y="110"/>
                    <a:pt x="14" y="110"/>
                    <a:pt x="20" y="116"/>
                  </a:cubicBezTo>
                  <a:cubicBezTo>
                    <a:pt x="27" y="121"/>
                    <a:pt x="25" y="127"/>
                    <a:pt x="25" y="137"/>
                  </a:cubicBezTo>
                  <a:cubicBezTo>
                    <a:pt x="25" y="147"/>
                    <a:pt x="29" y="153"/>
                    <a:pt x="20" y="165"/>
                  </a:cubicBezTo>
                  <a:cubicBezTo>
                    <a:pt x="12" y="177"/>
                    <a:pt x="6" y="182"/>
                    <a:pt x="7" y="195"/>
                  </a:cubicBezTo>
                  <a:cubicBezTo>
                    <a:pt x="9" y="208"/>
                    <a:pt x="0" y="218"/>
                    <a:pt x="14" y="23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354" name="Freeform 25492"/>
            <p:cNvSpPr>
              <a:spLocks/>
            </p:cNvSpPr>
            <p:nvPr/>
          </p:nvSpPr>
          <p:spPr bwMode="auto">
            <a:xfrm>
              <a:off x="7829063" y="2641887"/>
              <a:ext cx="29515" cy="19098"/>
            </a:xfrm>
            <a:custGeom>
              <a:avLst/>
              <a:gdLst>
                <a:gd name="T0" fmla="*/ 73 w 79"/>
                <a:gd name="T1" fmla="*/ 6 h 51"/>
                <a:gd name="T2" fmla="*/ 51 w 79"/>
                <a:gd name="T3" fmla="*/ 12 h 51"/>
                <a:gd name="T4" fmla="*/ 31 w 79"/>
                <a:gd name="T5" fmla="*/ 27 h 51"/>
                <a:gd name="T6" fmla="*/ 9 w 79"/>
                <a:gd name="T7" fmla="*/ 50 h 51"/>
                <a:gd name="T8" fmla="*/ 40 w 79"/>
                <a:gd name="T9" fmla="*/ 40 h 51"/>
                <a:gd name="T10" fmla="*/ 64 w 79"/>
                <a:gd name="T11" fmla="*/ 22 h 51"/>
                <a:gd name="T12" fmla="*/ 73 w 79"/>
                <a:gd name="T13" fmla="*/ 6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9" h="51">
                  <a:moveTo>
                    <a:pt x="73" y="6"/>
                  </a:moveTo>
                  <a:cubicBezTo>
                    <a:pt x="66" y="6"/>
                    <a:pt x="63" y="0"/>
                    <a:pt x="51" y="12"/>
                  </a:cubicBezTo>
                  <a:cubicBezTo>
                    <a:pt x="51" y="12"/>
                    <a:pt x="43" y="18"/>
                    <a:pt x="31" y="27"/>
                  </a:cubicBezTo>
                  <a:cubicBezTo>
                    <a:pt x="19" y="37"/>
                    <a:pt x="0" y="49"/>
                    <a:pt x="9" y="50"/>
                  </a:cubicBezTo>
                  <a:cubicBezTo>
                    <a:pt x="19" y="51"/>
                    <a:pt x="29" y="50"/>
                    <a:pt x="40" y="40"/>
                  </a:cubicBezTo>
                  <a:cubicBezTo>
                    <a:pt x="52" y="31"/>
                    <a:pt x="63" y="30"/>
                    <a:pt x="64" y="22"/>
                  </a:cubicBezTo>
                  <a:cubicBezTo>
                    <a:pt x="65" y="15"/>
                    <a:pt x="79" y="6"/>
                    <a:pt x="73" y="6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355" name="Freeform 25493"/>
            <p:cNvSpPr>
              <a:spLocks/>
            </p:cNvSpPr>
            <p:nvPr/>
          </p:nvSpPr>
          <p:spPr bwMode="auto">
            <a:xfrm>
              <a:off x="7767981" y="2661301"/>
              <a:ext cx="51138" cy="33934"/>
            </a:xfrm>
            <a:custGeom>
              <a:avLst/>
              <a:gdLst>
                <a:gd name="T0" fmla="*/ 122 w 137"/>
                <a:gd name="T1" fmla="*/ 10 h 91"/>
                <a:gd name="T2" fmla="*/ 103 w 137"/>
                <a:gd name="T3" fmla="*/ 23 h 91"/>
                <a:gd name="T4" fmla="*/ 60 w 137"/>
                <a:gd name="T5" fmla="*/ 32 h 91"/>
                <a:gd name="T6" fmla="*/ 26 w 137"/>
                <a:gd name="T7" fmla="*/ 70 h 91"/>
                <a:gd name="T8" fmla="*/ 9 w 137"/>
                <a:gd name="T9" fmla="*/ 89 h 91"/>
                <a:gd name="T10" fmla="*/ 37 w 137"/>
                <a:gd name="T11" fmla="*/ 78 h 91"/>
                <a:gd name="T12" fmla="*/ 66 w 137"/>
                <a:gd name="T13" fmla="*/ 51 h 91"/>
                <a:gd name="T14" fmla="*/ 92 w 137"/>
                <a:gd name="T15" fmla="*/ 41 h 91"/>
                <a:gd name="T16" fmla="*/ 118 w 137"/>
                <a:gd name="T17" fmla="*/ 28 h 91"/>
                <a:gd name="T18" fmla="*/ 122 w 137"/>
                <a:gd name="T19" fmla="*/ 1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7" h="91">
                  <a:moveTo>
                    <a:pt x="122" y="10"/>
                  </a:moveTo>
                  <a:cubicBezTo>
                    <a:pt x="122" y="10"/>
                    <a:pt x="118" y="20"/>
                    <a:pt x="103" y="23"/>
                  </a:cubicBezTo>
                  <a:cubicBezTo>
                    <a:pt x="88" y="25"/>
                    <a:pt x="66" y="21"/>
                    <a:pt x="60" y="32"/>
                  </a:cubicBezTo>
                  <a:cubicBezTo>
                    <a:pt x="54" y="43"/>
                    <a:pt x="34" y="64"/>
                    <a:pt x="26" y="70"/>
                  </a:cubicBezTo>
                  <a:cubicBezTo>
                    <a:pt x="17" y="75"/>
                    <a:pt x="0" y="89"/>
                    <a:pt x="9" y="89"/>
                  </a:cubicBezTo>
                  <a:cubicBezTo>
                    <a:pt x="17" y="89"/>
                    <a:pt x="27" y="91"/>
                    <a:pt x="37" y="78"/>
                  </a:cubicBezTo>
                  <a:cubicBezTo>
                    <a:pt x="48" y="65"/>
                    <a:pt x="54" y="55"/>
                    <a:pt x="66" y="51"/>
                  </a:cubicBezTo>
                  <a:cubicBezTo>
                    <a:pt x="79" y="48"/>
                    <a:pt x="87" y="49"/>
                    <a:pt x="92" y="41"/>
                  </a:cubicBezTo>
                  <a:cubicBezTo>
                    <a:pt x="97" y="32"/>
                    <a:pt x="106" y="31"/>
                    <a:pt x="118" y="28"/>
                  </a:cubicBezTo>
                  <a:cubicBezTo>
                    <a:pt x="129" y="25"/>
                    <a:pt x="137" y="0"/>
                    <a:pt x="122" y="1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356" name="Freeform 25494"/>
            <p:cNvSpPr>
              <a:spLocks/>
            </p:cNvSpPr>
            <p:nvPr/>
          </p:nvSpPr>
          <p:spPr bwMode="auto">
            <a:xfrm>
              <a:off x="7734363" y="2685607"/>
              <a:ext cx="29199" cy="29830"/>
            </a:xfrm>
            <a:custGeom>
              <a:avLst/>
              <a:gdLst>
                <a:gd name="T0" fmla="*/ 71 w 78"/>
                <a:gd name="T1" fmla="*/ 38 h 80"/>
                <a:gd name="T2" fmla="*/ 44 w 78"/>
                <a:gd name="T3" fmla="*/ 19 h 80"/>
                <a:gd name="T4" fmla="*/ 23 w 78"/>
                <a:gd name="T5" fmla="*/ 56 h 80"/>
                <a:gd name="T6" fmla="*/ 15 w 78"/>
                <a:gd name="T7" fmla="*/ 75 h 80"/>
                <a:gd name="T8" fmla="*/ 42 w 78"/>
                <a:gd name="T9" fmla="*/ 52 h 80"/>
                <a:gd name="T10" fmla="*/ 62 w 78"/>
                <a:gd name="T11" fmla="*/ 46 h 80"/>
                <a:gd name="T12" fmla="*/ 71 w 78"/>
                <a:gd name="T13" fmla="*/ 38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8" h="80">
                  <a:moveTo>
                    <a:pt x="71" y="38"/>
                  </a:moveTo>
                  <a:cubicBezTo>
                    <a:pt x="63" y="29"/>
                    <a:pt x="48" y="0"/>
                    <a:pt x="44" y="19"/>
                  </a:cubicBezTo>
                  <a:cubicBezTo>
                    <a:pt x="44" y="19"/>
                    <a:pt x="32" y="52"/>
                    <a:pt x="23" y="56"/>
                  </a:cubicBezTo>
                  <a:cubicBezTo>
                    <a:pt x="13" y="60"/>
                    <a:pt x="0" y="80"/>
                    <a:pt x="15" y="75"/>
                  </a:cubicBezTo>
                  <a:cubicBezTo>
                    <a:pt x="30" y="71"/>
                    <a:pt x="33" y="58"/>
                    <a:pt x="42" y="52"/>
                  </a:cubicBezTo>
                  <a:cubicBezTo>
                    <a:pt x="50" y="45"/>
                    <a:pt x="56" y="40"/>
                    <a:pt x="62" y="46"/>
                  </a:cubicBezTo>
                  <a:cubicBezTo>
                    <a:pt x="69" y="53"/>
                    <a:pt x="78" y="46"/>
                    <a:pt x="71" y="38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357" name="Freeform 25495"/>
            <p:cNvSpPr>
              <a:spLocks/>
            </p:cNvSpPr>
            <p:nvPr/>
          </p:nvSpPr>
          <p:spPr bwMode="auto">
            <a:xfrm>
              <a:off x="4934545" y="1447400"/>
              <a:ext cx="3866302" cy="1344430"/>
            </a:xfrm>
            <a:custGeom>
              <a:avLst/>
              <a:gdLst>
                <a:gd name="T0" fmla="*/ 9690 w 10369"/>
                <a:gd name="T1" fmla="*/ 1069 h 3605"/>
                <a:gd name="T2" fmla="*/ 8881 w 10369"/>
                <a:gd name="T3" fmla="*/ 1021 h 3605"/>
                <a:gd name="T4" fmla="*/ 7791 w 10369"/>
                <a:gd name="T5" fmla="*/ 755 h 3605"/>
                <a:gd name="T6" fmla="*/ 7148 w 10369"/>
                <a:gd name="T7" fmla="*/ 707 h 3605"/>
                <a:gd name="T8" fmla="*/ 6450 w 10369"/>
                <a:gd name="T9" fmla="*/ 759 h 3605"/>
                <a:gd name="T10" fmla="*/ 5568 w 10369"/>
                <a:gd name="T11" fmla="*/ 538 h 3605"/>
                <a:gd name="T12" fmla="*/ 5059 w 10369"/>
                <a:gd name="T13" fmla="*/ 553 h 3605"/>
                <a:gd name="T14" fmla="*/ 5403 w 10369"/>
                <a:gd name="T15" fmla="*/ 183 h 3605"/>
                <a:gd name="T16" fmla="*/ 4719 w 10369"/>
                <a:gd name="T17" fmla="*/ 73 h 3605"/>
                <a:gd name="T18" fmla="*/ 4300 w 10369"/>
                <a:gd name="T19" fmla="*/ 207 h 3605"/>
                <a:gd name="T20" fmla="*/ 3747 w 10369"/>
                <a:gd name="T21" fmla="*/ 439 h 3605"/>
                <a:gd name="T22" fmla="*/ 3321 w 10369"/>
                <a:gd name="T23" fmla="*/ 697 h 3605"/>
                <a:gd name="T24" fmla="*/ 3169 w 10369"/>
                <a:gd name="T25" fmla="*/ 834 h 3605"/>
                <a:gd name="T26" fmla="*/ 2953 w 10369"/>
                <a:gd name="T27" fmla="*/ 1026 h 3605"/>
                <a:gd name="T28" fmla="*/ 3019 w 10369"/>
                <a:gd name="T29" fmla="*/ 1101 h 3605"/>
                <a:gd name="T30" fmla="*/ 2830 w 10369"/>
                <a:gd name="T31" fmla="*/ 1302 h 3605"/>
                <a:gd name="T32" fmla="*/ 2755 w 10369"/>
                <a:gd name="T33" fmla="*/ 628 h 3605"/>
                <a:gd name="T34" fmla="*/ 2513 w 10369"/>
                <a:gd name="T35" fmla="*/ 1094 h 3605"/>
                <a:gd name="T36" fmla="*/ 1912 w 10369"/>
                <a:gd name="T37" fmla="*/ 1127 h 3605"/>
                <a:gd name="T38" fmla="*/ 1335 w 10369"/>
                <a:gd name="T39" fmla="*/ 1226 h 3605"/>
                <a:gd name="T40" fmla="*/ 1047 w 10369"/>
                <a:gd name="T41" fmla="*/ 1271 h 3605"/>
                <a:gd name="T42" fmla="*/ 707 w 10369"/>
                <a:gd name="T43" fmla="*/ 1534 h 3605"/>
                <a:gd name="T44" fmla="*/ 397 w 10369"/>
                <a:gd name="T45" fmla="*/ 1373 h 3605"/>
                <a:gd name="T46" fmla="*/ 724 w 10369"/>
                <a:gd name="T47" fmla="*/ 1153 h 3605"/>
                <a:gd name="T48" fmla="*/ 227 w 10369"/>
                <a:gd name="T49" fmla="*/ 1013 h 3605"/>
                <a:gd name="T50" fmla="*/ 134 w 10369"/>
                <a:gd name="T51" fmla="*/ 1348 h 3605"/>
                <a:gd name="T52" fmla="*/ 51 w 10369"/>
                <a:gd name="T53" fmla="*/ 1936 h 3605"/>
                <a:gd name="T54" fmla="*/ 50 w 10369"/>
                <a:gd name="T55" fmla="*/ 2363 h 3605"/>
                <a:gd name="T56" fmla="*/ 267 w 10369"/>
                <a:gd name="T57" fmla="*/ 2697 h 3605"/>
                <a:gd name="T58" fmla="*/ 665 w 10369"/>
                <a:gd name="T59" fmla="*/ 2898 h 3605"/>
                <a:gd name="T60" fmla="*/ 730 w 10369"/>
                <a:gd name="T61" fmla="*/ 3153 h 3605"/>
                <a:gd name="T62" fmla="*/ 1057 w 10369"/>
                <a:gd name="T63" fmla="*/ 3499 h 3605"/>
                <a:gd name="T64" fmla="*/ 1354 w 10369"/>
                <a:gd name="T65" fmla="*/ 3548 h 3605"/>
                <a:gd name="T66" fmla="*/ 1393 w 10369"/>
                <a:gd name="T67" fmla="*/ 3214 h 3605"/>
                <a:gd name="T68" fmla="*/ 1223 w 10369"/>
                <a:gd name="T69" fmla="*/ 3031 h 3605"/>
                <a:gd name="T70" fmla="*/ 1654 w 10369"/>
                <a:gd name="T71" fmla="*/ 2778 h 3605"/>
                <a:gd name="T72" fmla="*/ 2183 w 10369"/>
                <a:gd name="T73" fmla="*/ 2798 h 3605"/>
                <a:gd name="T74" fmla="*/ 2247 w 10369"/>
                <a:gd name="T75" fmla="*/ 2559 h 3605"/>
                <a:gd name="T76" fmla="*/ 2875 w 10369"/>
                <a:gd name="T77" fmla="*/ 2562 h 3605"/>
                <a:gd name="T78" fmla="*/ 3257 w 10369"/>
                <a:gd name="T79" fmla="*/ 2682 h 3605"/>
                <a:gd name="T80" fmla="*/ 3800 w 10369"/>
                <a:gd name="T81" fmla="*/ 2959 h 3605"/>
                <a:gd name="T82" fmla="*/ 3847 w 10369"/>
                <a:gd name="T83" fmla="*/ 2979 h 3605"/>
                <a:gd name="T84" fmla="*/ 4261 w 10369"/>
                <a:gd name="T85" fmla="*/ 2862 h 3605"/>
                <a:gd name="T86" fmla="*/ 4559 w 10369"/>
                <a:gd name="T87" fmla="*/ 2730 h 3605"/>
                <a:gd name="T88" fmla="*/ 5082 w 10369"/>
                <a:gd name="T89" fmla="*/ 2905 h 3605"/>
                <a:gd name="T90" fmla="*/ 5680 w 10369"/>
                <a:gd name="T91" fmla="*/ 2912 h 3605"/>
                <a:gd name="T92" fmla="*/ 5695 w 10369"/>
                <a:gd name="T93" fmla="*/ 2928 h 3605"/>
                <a:gd name="T94" fmla="*/ 5904 w 10369"/>
                <a:gd name="T95" fmla="*/ 2663 h 3605"/>
                <a:gd name="T96" fmla="*/ 6375 w 10369"/>
                <a:gd name="T97" fmla="*/ 2890 h 3605"/>
                <a:gd name="T98" fmla="*/ 6829 w 10369"/>
                <a:gd name="T99" fmla="*/ 3058 h 3605"/>
                <a:gd name="T100" fmla="*/ 6581 w 10369"/>
                <a:gd name="T101" fmla="*/ 3477 h 3605"/>
                <a:gd name="T102" fmla="*/ 7198 w 10369"/>
                <a:gd name="T103" fmla="*/ 2865 h 3605"/>
                <a:gd name="T104" fmla="*/ 6987 w 10369"/>
                <a:gd name="T105" fmla="*/ 2536 h 3605"/>
                <a:gd name="T106" fmla="*/ 7467 w 10369"/>
                <a:gd name="T107" fmla="*/ 2069 h 3605"/>
                <a:gd name="T108" fmla="*/ 7990 w 10369"/>
                <a:gd name="T109" fmla="*/ 2110 h 3605"/>
                <a:gd name="T110" fmla="*/ 8459 w 10369"/>
                <a:gd name="T111" fmla="*/ 1832 h 3605"/>
                <a:gd name="T112" fmla="*/ 8690 w 10369"/>
                <a:gd name="T113" fmla="*/ 1843 h 3605"/>
                <a:gd name="T114" fmla="*/ 8164 w 10369"/>
                <a:gd name="T115" fmla="*/ 2386 h 3605"/>
                <a:gd name="T116" fmla="*/ 8527 w 10369"/>
                <a:gd name="T117" fmla="*/ 2514 h 3605"/>
                <a:gd name="T118" fmla="*/ 8668 w 10369"/>
                <a:gd name="T119" fmla="*/ 2015 h 3605"/>
                <a:gd name="T120" fmla="*/ 9445 w 10369"/>
                <a:gd name="T121" fmla="*/ 1789 h 3605"/>
                <a:gd name="T122" fmla="*/ 9533 w 10369"/>
                <a:gd name="T123" fmla="*/ 1518 h 3605"/>
                <a:gd name="T124" fmla="*/ 10171 w 10369"/>
                <a:gd name="T125" fmla="*/ 1555 h 36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0369" h="3605">
                  <a:moveTo>
                    <a:pt x="10262" y="1460"/>
                  </a:moveTo>
                  <a:cubicBezTo>
                    <a:pt x="10292" y="1460"/>
                    <a:pt x="10246" y="1441"/>
                    <a:pt x="10266" y="1441"/>
                  </a:cubicBezTo>
                  <a:cubicBezTo>
                    <a:pt x="10285" y="1441"/>
                    <a:pt x="10309" y="1441"/>
                    <a:pt x="10311" y="1430"/>
                  </a:cubicBezTo>
                  <a:cubicBezTo>
                    <a:pt x="10313" y="1419"/>
                    <a:pt x="10326" y="1415"/>
                    <a:pt x="10348" y="1404"/>
                  </a:cubicBezTo>
                  <a:cubicBezTo>
                    <a:pt x="10369" y="1393"/>
                    <a:pt x="10343" y="1385"/>
                    <a:pt x="10326" y="1378"/>
                  </a:cubicBezTo>
                  <a:cubicBezTo>
                    <a:pt x="10309" y="1372"/>
                    <a:pt x="10307" y="1355"/>
                    <a:pt x="10285" y="1348"/>
                  </a:cubicBezTo>
                  <a:cubicBezTo>
                    <a:pt x="10264" y="1342"/>
                    <a:pt x="10255" y="1327"/>
                    <a:pt x="10240" y="1309"/>
                  </a:cubicBezTo>
                  <a:cubicBezTo>
                    <a:pt x="10225" y="1292"/>
                    <a:pt x="10186" y="1292"/>
                    <a:pt x="10169" y="1305"/>
                  </a:cubicBezTo>
                  <a:cubicBezTo>
                    <a:pt x="10152" y="1318"/>
                    <a:pt x="10133" y="1301"/>
                    <a:pt x="10130" y="1290"/>
                  </a:cubicBezTo>
                  <a:cubicBezTo>
                    <a:pt x="10128" y="1279"/>
                    <a:pt x="10107" y="1286"/>
                    <a:pt x="10079" y="1288"/>
                  </a:cubicBezTo>
                  <a:cubicBezTo>
                    <a:pt x="10051" y="1290"/>
                    <a:pt x="10072" y="1312"/>
                    <a:pt x="10085" y="1325"/>
                  </a:cubicBezTo>
                  <a:cubicBezTo>
                    <a:pt x="10098" y="1337"/>
                    <a:pt x="10087" y="1346"/>
                    <a:pt x="10085" y="1355"/>
                  </a:cubicBezTo>
                  <a:cubicBezTo>
                    <a:pt x="10083" y="1363"/>
                    <a:pt x="10064" y="1368"/>
                    <a:pt x="10049" y="1352"/>
                  </a:cubicBezTo>
                  <a:cubicBezTo>
                    <a:pt x="10034" y="1337"/>
                    <a:pt x="10047" y="1320"/>
                    <a:pt x="10038" y="1305"/>
                  </a:cubicBezTo>
                  <a:cubicBezTo>
                    <a:pt x="10029" y="1290"/>
                    <a:pt x="10038" y="1297"/>
                    <a:pt x="10047" y="1277"/>
                  </a:cubicBezTo>
                  <a:cubicBezTo>
                    <a:pt x="10055" y="1258"/>
                    <a:pt x="10023" y="1262"/>
                    <a:pt x="10019" y="1247"/>
                  </a:cubicBezTo>
                  <a:cubicBezTo>
                    <a:pt x="10014" y="1232"/>
                    <a:pt x="9961" y="1202"/>
                    <a:pt x="9939" y="1191"/>
                  </a:cubicBezTo>
                  <a:cubicBezTo>
                    <a:pt x="9918" y="1180"/>
                    <a:pt x="9922" y="1174"/>
                    <a:pt x="9859" y="1155"/>
                  </a:cubicBezTo>
                  <a:cubicBezTo>
                    <a:pt x="9797" y="1135"/>
                    <a:pt x="9816" y="1150"/>
                    <a:pt x="9793" y="1114"/>
                  </a:cubicBezTo>
                  <a:cubicBezTo>
                    <a:pt x="9769" y="1077"/>
                    <a:pt x="9748" y="1105"/>
                    <a:pt x="9743" y="1092"/>
                  </a:cubicBezTo>
                  <a:cubicBezTo>
                    <a:pt x="9739" y="1079"/>
                    <a:pt x="9707" y="1090"/>
                    <a:pt x="9690" y="1069"/>
                  </a:cubicBezTo>
                  <a:cubicBezTo>
                    <a:pt x="9672" y="1047"/>
                    <a:pt x="9647" y="1058"/>
                    <a:pt x="9634" y="1039"/>
                  </a:cubicBezTo>
                  <a:cubicBezTo>
                    <a:pt x="9621" y="1019"/>
                    <a:pt x="9567" y="1021"/>
                    <a:pt x="9526" y="1013"/>
                  </a:cubicBezTo>
                  <a:cubicBezTo>
                    <a:pt x="9485" y="1004"/>
                    <a:pt x="9488" y="1004"/>
                    <a:pt x="9472" y="983"/>
                  </a:cubicBezTo>
                  <a:cubicBezTo>
                    <a:pt x="9457" y="961"/>
                    <a:pt x="9356" y="981"/>
                    <a:pt x="9333" y="976"/>
                  </a:cubicBezTo>
                  <a:cubicBezTo>
                    <a:pt x="9309" y="972"/>
                    <a:pt x="9296" y="974"/>
                    <a:pt x="9285" y="983"/>
                  </a:cubicBezTo>
                  <a:cubicBezTo>
                    <a:pt x="9275" y="991"/>
                    <a:pt x="9245" y="963"/>
                    <a:pt x="9204" y="965"/>
                  </a:cubicBezTo>
                  <a:cubicBezTo>
                    <a:pt x="9163" y="968"/>
                    <a:pt x="9163" y="968"/>
                    <a:pt x="9137" y="950"/>
                  </a:cubicBezTo>
                  <a:cubicBezTo>
                    <a:pt x="9111" y="933"/>
                    <a:pt x="9107" y="953"/>
                    <a:pt x="9107" y="965"/>
                  </a:cubicBezTo>
                  <a:cubicBezTo>
                    <a:pt x="9107" y="978"/>
                    <a:pt x="9107" y="985"/>
                    <a:pt x="9094" y="993"/>
                  </a:cubicBezTo>
                  <a:cubicBezTo>
                    <a:pt x="9081" y="1002"/>
                    <a:pt x="9092" y="1013"/>
                    <a:pt x="9105" y="1015"/>
                  </a:cubicBezTo>
                  <a:cubicBezTo>
                    <a:pt x="9118" y="1017"/>
                    <a:pt x="9126" y="1039"/>
                    <a:pt x="9137" y="1058"/>
                  </a:cubicBezTo>
                  <a:cubicBezTo>
                    <a:pt x="9148" y="1077"/>
                    <a:pt x="9146" y="1084"/>
                    <a:pt x="9124" y="1084"/>
                  </a:cubicBezTo>
                  <a:cubicBezTo>
                    <a:pt x="9103" y="1084"/>
                    <a:pt x="9103" y="1107"/>
                    <a:pt x="9077" y="1105"/>
                  </a:cubicBezTo>
                  <a:cubicBezTo>
                    <a:pt x="9051" y="1103"/>
                    <a:pt x="9036" y="1090"/>
                    <a:pt x="9027" y="1075"/>
                  </a:cubicBezTo>
                  <a:cubicBezTo>
                    <a:pt x="9019" y="1060"/>
                    <a:pt x="8993" y="1054"/>
                    <a:pt x="8974" y="1054"/>
                  </a:cubicBezTo>
                  <a:cubicBezTo>
                    <a:pt x="8954" y="1054"/>
                    <a:pt x="8956" y="1034"/>
                    <a:pt x="8950" y="1017"/>
                  </a:cubicBezTo>
                  <a:cubicBezTo>
                    <a:pt x="8944" y="1000"/>
                    <a:pt x="8974" y="998"/>
                    <a:pt x="8995" y="1011"/>
                  </a:cubicBezTo>
                  <a:cubicBezTo>
                    <a:pt x="9017" y="1024"/>
                    <a:pt x="9023" y="1017"/>
                    <a:pt x="9027" y="998"/>
                  </a:cubicBezTo>
                  <a:cubicBezTo>
                    <a:pt x="9032" y="978"/>
                    <a:pt x="9004" y="972"/>
                    <a:pt x="8974" y="965"/>
                  </a:cubicBezTo>
                  <a:cubicBezTo>
                    <a:pt x="8944" y="959"/>
                    <a:pt x="8935" y="978"/>
                    <a:pt x="8922" y="993"/>
                  </a:cubicBezTo>
                  <a:cubicBezTo>
                    <a:pt x="8909" y="1008"/>
                    <a:pt x="8916" y="1021"/>
                    <a:pt x="8881" y="1021"/>
                  </a:cubicBezTo>
                  <a:cubicBezTo>
                    <a:pt x="8847" y="1021"/>
                    <a:pt x="8827" y="1021"/>
                    <a:pt x="8817" y="1015"/>
                  </a:cubicBezTo>
                  <a:cubicBezTo>
                    <a:pt x="8806" y="1008"/>
                    <a:pt x="8784" y="1011"/>
                    <a:pt x="8757" y="1015"/>
                  </a:cubicBezTo>
                  <a:cubicBezTo>
                    <a:pt x="8729" y="1019"/>
                    <a:pt x="8720" y="1015"/>
                    <a:pt x="8707" y="1004"/>
                  </a:cubicBezTo>
                  <a:cubicBezTo>
                    <a:pt x="8694" y="993"/>
                    <a:pt x="8664" y="996"/>
                    <a:pt x="8645" y="998"/>
                  </a:cubicBezTo>
                  <a:cubicBezTo>
                    <a:pt x="8625" y="1000"/>
                    <a:pt x="8593" y="1000"/>
                    <a:pt x="8576" y="1000"/>
                  </a:cubicBezTo>
                  <a:cubicBezTo>
                    <a:pt x="8559" y="1000"/>
                    <a:pt x="8535" y="1006"/>
                    <a:pt x="8531" y="1017"/>
                  </a:cubicBezTo>
                  <a:cubicBezTo>
                    <a:pt x="8526" y="1028"/>
                    <a:pt x="8505" y="1026"/>
                    <a:pt x="8499" y="1013"/>
                  </a:cubicBezTo>
                  <a:cubicBezTo>
                    <a:pt x="8492" y="1000"/>
                    <a:pt x="8449" y="1000"/>
                    <a:pt x="8425" y="989"/>
                  </a:cubicBezTo>
                  <a:cubicBezTo>
                    <a:pt x="8402" y="978"/>
                    <a:pt x="8428" y="959"/>
                    <a:pt x="8438" y="942"/>
                  </a:cubicBezTo>
                  <a:cubicBezTo>
                    <a:pt x="8449" y="925"/>
                    <a:pt x="8395" y="869"/>
                    <a:pt x="8344" y="849"/>
                  </a:cubicBezTo>
                  <a:cubicBezTo>
                    <a:pt x="8292" y="830"/>
                    <a:pt x="8208" y="839"/>
                    <a:pt x="8174" y="839"/>
                  </a:cubicBezTo>
                  <a:cubicBezTo>
                    <a:pt x="8139" y="839"/>
                    <a:pt x="8092" y="849"/>
                    <a:pt x="8058" y="858"/>
                  </a:cubicBezTo>
                  <a:cubicBezTo>
                    <a:pt x="8023" y="867"/>
                    <a:pt x="8000" y="875"/>
                    <a:pt x="7972" y="875"/>
                  </a:cubicBezTo>
                  <a:cubicBezTo>
                    <a:pt x="7944" y="875"/>
                    <a:pt x="7918" y="867"/>
                    <a:pt x="7927" y="849"/>
                  </a:cubicBezTo>
                  <a:cubicBezTo>
                    <a:pt x="7935" y="832"/>
                    <a:pt x="7912" y="834"/>
                    <a:pt x="7897" y="815"/>
                  </a:cubicBezTo>
                  <a:cubicBezTo>
                    <a:pt x="7881" y="796"/>
                    <a:pt x="7862" y="804"/>
                    <a:pt x="7854" y="813"/>
                  </a:cubicBezTo>
                  <a:cubicBezTo>
                    <a:pt x="7845" y="821"/>
                    <a:pt x="7836" y="828"/>
                    <a:pt x="7821" y="811"/>
                  </a:cubicBezTo>
                  <a:cubicBezTo>
                    <a:pt x="7806" y="793"/>
                    <a:pt x="7819" y="787"/>
                    <a:pt x="7791" y="785"/>
                  </a:cubicBezTo>
                  <a:cubicBezTo>
                    <a:pt x="7763" y="783"/>
                    <a:pt x="7778" y="776"/>
                    <a:pt x="7763" y="776"/>
                  </a:cubicBezTo>
                  <a:cubicBezTo>
                    <a:pt x="7748" y="776"/>
                    <a:pt x="7735" y="763"/>
                    <a:pt x="7744" y="759"/>
                  </a:cubicBezTo>
                  <a:cubicBezTo>
                    <a:pt x="7752" y="755"/>
                    <a:pt x="7765" y="759"/>
                    <a:pt x="7791" y="755"/>
                  </a:cubicBezTo>
                  <a:cubicBezTo>
                    <a:pt x="7817" y="750"/>
                    <a:pt x="7774" y="714"/>
                    <a:pt x="7750" y="705"/>
                  </a:cubicBezTo>
                  <a:cubicBezTo>
                    <a:pt x="7727" y="697"/>
                    <a:pt x="7647" y="692"/>
                    <a:pt x="7617" y="692"/>
                  </a:cubicBezTo>
                  <a:cubicBezTo>
                    <a:pt x="7587" y="692"/>
                    <a:pt x="7576" y="692"/>
                    <a:pt x="7557" y="692"/>
                  </a:cubicBezTo>
                  <a:cubicBezTo>
                    <a:pt x="7537" y="692"/>
                    <a:pt x="7542" y="714"/>
                    <a:pt x="7550" y="723"/>
                  </a:cubicBezTo>
                  <a:cubicBezTo>
                    <a:pt x="7559" y="731"/>
                    <a:pt x="7542" y="731"/>
                    <a:pt x="7542" y="750"/>
                  </a:cubicBezTo>
                  <a:cubicBezTo>
                    <a:pt x="7542" y="770"/>
                    <a:pt x="7525" y="755"/>
                    <a:pt x="7518" y="766"/>
                  </a:cubicBezTo>
                  <a:cubicBezTo>
                    <a:pt x="7512" y="776"/>
                    <a:pt x="7494" y="781"/>
                    <a:pt x="7479" y="770"/>
                  </a:cubicBezTo>
                  <a:cubicBezTo>
                    <a:pt x="7464" y="759"/>
                    <a:pt x="7482" y="748"/>
                    <a:pt x="7503" y="744"/>
                  </a:cubicBezTo>
                  <a:cubicBezTo>
                    <a:pt x="7525" y="740"/>
                    <a:pt x="7527" y="725"/>
                    <a:pt x="7527" y="716"/>
                  </a:cubicBezTo>
                  <a:cubicBezTo>
                    <a:pt x="7527" y="707"/>
                    <a:pt x="7531" y="697"/>
                    <a:pt x="7510" y="695"/>
                  </a:cubicBezTo>
                  <a:cubicBezTo>
                    <a:pt x="7488" y="692"/>
                    <a:pt x="7492" y="703"/>
                    <a:pt x="7471" y="703"/>
                  </a:cubicBezTo>
                  <a:cubicBezTo>
                    <a:pt x="7449" y="703"/>
                    <a:pt x="7467" y="690"/>
                    <a:pt x="7482" y="677"/>
                  </a:cubicBezTo>
                  <a:cubicBezTo>
                    <a:pt x="7497" y="664"/>
                    <a:pt x="7486" y="660"/>
                    <a:pt x="7464" y="660"/>
                  </a:cubicBezTo>
                  <a:cubicBezTo>
                    <a:pt x="7443" y="660"/>
                    <a:pt x="7387" y="647"/>
                    <a:pt x="7329" y="647"/>
                  </a:cubicBezTo>
                  <a:cubicBezTo>
                    <a:pt x="7271" y="647"/>
                    <a:pt x="7320" y="634"/>
                    <a:pt x="7277" y="643"/>
                  </a:cubicBezTo>
                  <a:cubicBezTo>
                    <a:pt x="7234" y="652"/>
                    <a:pt x="7239" y="630"/>
                    <a:pt x="7213" y="624"/>
                  </a:cubicBezTo>
                  <a:cubicBezTo>
                    <a:pt x="7187" y="617"/>
                    <a:pt x="7215" y="643"/>
                    <a:pt x="7215" y="658"/>
                  </a:cubicBezTo>
                  <a:cubicBezTo>
                    <a:pt x="7215" y="673"/>
                    <a:pt x="7202" y="673"/>
                    <a:pt x="7181" y="673"/>
                  </a:cubicBezTo>
                  <a:cubicBezTo>
                    <a:pt x="7159" y="673"/>
                    <a:pt x="7148" y="671"/>
                    <a:pt x="7123" y="673"/>
                  </a:cubicBezTo>
                  <a:cubicBezTo>
                    <a:pt x="7097" y="675"/>
                    <a:pt x="7099" y="701"/>
                    <a:pt x="7103" y="712"/>
                  </a:cubicBezTo>
                  <a:cubicBezTo>
                    <a:pt x="7107" y="723"/>
                    <a:pt x="7129" y="712"/>
                    <a:pt x="7148" y="707"/>
                  </a:cubicBezTo>
                  <a:cubicBezTo>
                    <a:pt x="7168" y="703"/>
                    <a:pt x="7157" y="729"/>
                    <a:pt x="7144" y="733"/>
                  </a:cubicBezTo>
                  <a:cubicBezTo>
                    <a:pt x="7131" y="738"/>
                    <a:pt x="7138" y="759"/>
                    <a:pt x="7155" y="778"/>
                  </a:cubicBezTo>
                  <a:cubicBezTo>
                    <a:pt x="7172" y="798"/>
                    <a:pt x="7157" y="802"/>
                    <a:pt x="7138" y="802"/>
                  </a:cubicBezTo>
                  <a:cubicBezTo>
                    <a:pt x="7118" y="802"/>
                    <a:pt x="7105" y="802"/>
                    <a:pt x="7101" y="791"/>
                  </a:cubicBezTo>
                  <a:cubicBezTo>
                    <a:pt x="7097" y="781"/>
                    <a:pt x="7086" y="785"/>
                    <a:pt x="7069" y="778"/>
                  </a:cubicBezTo>
                  <a:cubicBezTo>
                    <a:pt x="7052" y="772"/>
                    <a:pt x="7039" y="789"/>
                    <a:pt x="7015" y="785"/>
                  </a:cubicBezTo>
                  <a:cubicBezTo>
                    <a:pt x="6991" y="781"/>
                    <a:pt x="6989" y="787"/>
                    <a:pt x="6996" y="798"/>
                  </a:cubicBezTo>
                  <a:cubicBezTo>
                    <a:pt x="7002" y="809"/>
                    <a:pt x="7017" y="804"/>
                    <a:pt x="7037" y="813"/>
                  </a:cubicBezTo>
                  <a:cubicBezTo>
                    <a:pt x="7056" y="821"/>
                    <a:pt x="7034" y="832"/>
                    <a:pt x="7015" y="828"/>
                  </a:cubicBezTo>
                  <a:cubicBezTo>
                    <a:pt x="6996" y="824"/>
                    <a:pt x="6987" y="826"/>
                    <a:pt x="6976" y="806"/>
                  </a:cubicBezTo>
                  <a:cubicBezTo>
                    <a:pt x="6966" y="787"/>
                    <a:pt x="6942" y="802"/>
                    <a:pt x="6925" y="783"/>
                  </a:cubicBezTo>
                  <a:cubicBezTo>
                    <a:pt x="6908" y="763"/>
                    <a:pt x="6888" y="789"/>
                    <a:pt x="6862" y="789"/>
                  </a:cubicBezTo>
                  <a:cubicBezTo>
                    <a:pt x="6837" y="789"/>
                    <a:pt x="6841" y="800"/>
                    <a:pt x="6822" y="813"/>
                  </a:cubicBezTo>
                  <a:cubicBezTo>
                    <a:pt x="6802" y="826"/>
                    <a:pt x="6774" y="815"/>
                    <a:pt x="6751" y="802"/>
                  </a:cubicBezTo>
                  <a:cubicBezTo>
                    <a:pt x="6727" y="789"/>
                    <a:pt x="6725" y="793"/>
                    <a:pt x="6718" y="766"/>
                  </a:cubicBezTo>
                  <a:cubicBezTo>
                    <a:pt x="6712" y="738"/>
                    <a:pt x="6695" y="750"/>
                    <a:pt x="6682" y="757"/>
                  </a:cubicBezTo>
                  <a:cubicBezTo>
                    <a:pt x="6669" y="763"/>
                    <a:pt x="6667" y="787"/>
                    <a:pt x="6656" y="809"/>
                  </a:cubicBezTo>
                  <a:cubicBezTo>
                    <a:pt x="6645" y="830"/>
                    <a:pt x="6641" y="841"/>
                    <a:pt x="6632" y="864"/>
                  </a:cubicBezTo>
                  <a:cubicBezTo>
                    <a:pt x="6624" y="888"/>
                    <a:pt x="6598" y="890"/>
                    <a:pt x="6585" y="871"/>
                  </a:cubicBezTo>
                  <a:cubicBezTo>
                    <a:pt x="6572" y="852"/>
                    <a:pt x="6555" y="864"/>
                    <a:pt x="6533" y="849"/>
                  </a:cubicBezTo>
                  <a:cubicBezTo>
                    <a:pt x="6512" y="834"/>
                    <a:pt x="6458" y="776"/>
                    <a:pt x="6450" y="759"/>
                  </a:cubicBezTo>
                  <a:cubicBezTo>
                    <a:pt x="6441" y="742"/>
                    <a:pt x="6407" y="738"/>
                    <a:pt x="6407" y="714"/>
                  </a:cubicBezTo>
                  <a:cubicBezTo>
                    <a:pt x="6407" y="690"/>
                    <a:pt x="6456" y="731"/>
                    <a:pt x="6475" y="723"/>
                  </a:cubicBezTo>
                  <a:cubicBezTo>
                    <a:pt x="6495" y="714"/>
                    <a:pt x="6495" y="682"/>
                    <a:pt x="6469" y="680"/>
                  </a:cubicBezTo>
                  <a:cubicBezTo>
                    <a:pt x="6443" y="677"/>
                    <a:pt x="6439" y="667"/>
                    <a:pt x="6447" y="660"/>
                  </a:cubicBezTo>
                  <a:cubicBezTo>
                    <a:pt x="6456" y="654"/>
                    <a:pt x="6486" y="645"/>
                    <a:pt x="6458" y="634"/>
                  </a:cubicBezTo>
                  <a:cubicBezTo>
                    <a:pt x="6430" y="624"/>
                    <a:pt x="6462" y="611"/>
                    <a:pt x="6458" y="596"/>
                  </a:cubicBezTo>
                  <a:cubicBezTo>
                    <a:pt x="6454" y="581"/>
                    <a:pt x="6430" y="587"/>
                    <a:pt x="6407" y="561"/>
                  </a:cubicBezTo>
                  <a:cubicBezTo>
                    <a:pt x="6383" y="535"/>
                    <a:pt x="6331" y="546"/>
                    <a:pt x="6299" y="559"/>
                  </a:cubicBezTo>
                  <a:cubicBezTo>
                    <a:pt x="6267" y="572"/>
                    <a:pt x="6230" y="557"/>
                    <a:pt x="6189" y="529"/>
                  </a:cubicBezTo>
                  <a:cubicBezTo>
                    <a:pt x="6149" y="501"/>
                    <a:pt x="6146" y="523"/>
                    <a:pt x="6121" y="529"/>
                  </a:cubicBezTo>
                  <a:cubicBezTo>
                    <a:pt x="6095" y="535"/>
                    <a:pt x="6099" y="561"/>
                    <a:pt x="6116" y="578"/>
                  </a:cubicBezTo>
                  <a:cubicBezTo>
                    <a:pt x="6134" y="596"/>
                    <a:pt x="6110" y="594"/>
                    <a:pt x="6097" y="613"/>
                  </a:cubicBezTo>
                  <a:cubicBezTo>
                    <a:pt x="6084" y="632"/>
                    <a:pt x="6084" y="621"/>
                    <a:pt x="6054" y="619"/>
                  </a:cubicBezTo>
                  <a:cubicBezTo>
                    <a:pt x="6024" y="617"/>
                    <a:pt x="6017" y="628"/>
                    <a:pt x="5966" y="628"/>
                  </a:cubicBezTo>
                  <a:cubicBezTo>
                    <a:pt x="5914" y="628"/>
                    <a:pt x="5908" y="613"/>
                    <a:pt x="5901" y="604"/>
                  </a:cubicBezTo>
                  <a:cubicBezTo>
                    <a:pt x="5895" y="596"/>
                    <a:pt x="5873" y="598"/>
                    <a:pt x="5854" y="606"/>
                  </a:cubicBezTo>
                  <a:cubicBezTo>
                    <a:pt x="5835" y="615"/>
                    <a:pt x="5820" y="611"/>
                    <a:pt x="5792" y="587"/>
                  </a:cubicBezTo>
                  <a:cubicBezTo>
                    <a:pt x="5764" y="563"/>
                    <a:pt x="5809" y="561"/>
                    <a:pt x="5807" y="551"/>
                  </a:cubicBezTo>
                  <a:cubicBezTo>
                    <a:pt x="5805" y="540"/>
                    <a:pt x="5751" y="544"/>
                    <a:pt x="5708" y="542"/>
                  </a:cubicBezTo>
                  <a:cubicBezTo>
                    <a:pt x="5665" y="540"/>
                    <a:pt x="5663" y="531"/>
                    <a:pt x="5635" y="529"/>
                  </a:cubicBezTo>
                  <a:cubicBezTo>
                    <a:pt x="5607" y="527"/>
                    <a:pt x="5583" y="520"/>
                    <a:pt x="5568" y="538"/>
                  </a:cubicBezTo>
                  <a:cubicBezTo>
                    <a:pt x="5553" y="555"/>
                    <a:pt x="5521" y="544"/>
                    <a:pt x="5495" y="544"/>
                  </a:cubicBezTo>
                  <a:cubicBezTo>
                    <a:pt x="5469" y="544"/>
                    <a:pt x="5478" y="555"/>
                    <a:pt x="5493" y="572"/>
                  </a:cubicBezTo>
                  <a:cubicBezTo>
                    <a:pt x="5508" y="589"/>
                    <a:pt x="5484" y="589"/>
                    <a:pt x="5465" y="572"/>
                  </a:cubicBezTo>
                  <a:cubicBezTo>
                    <a:pt x="5446" y="555"/>
                    <a:pt x="5465" y="551"/>
                    <a:pt x="5456" y="516"/>
                  </a:cubicBezTo>
                  <a:cubicBezTo>
                    <a:pt x="5448" y="482"/>
                    <a:pt x="5430" y="514"/>
                    <a:pt x="5424" y="527"/>
                  </a:cubicBezTo>
                  <a:cubicBezTo>
                    <a:pt x="5418" y="540"/>
                    <a:pt x="5396" y="527"/>
                    <a:pt x="5362" y="520"/>
                  </a:cubicBezTo>
                  <a:cubicBezTo>
                    <a:pt x="5327" y="514"/>
                    <a:pt x="5347" y="514"/>
                    <a:pt x="5340" y="501"/>
                  </a:cubicBezTo>
                  <a:cubicBezTo>
                    <a:pt x="5334" y="488"/>
                    <a:pt x="5340" y="501"/>
                    <a:pt x="5304" y="499"/>
                  </a:cubicBezTo>
                  <a:cubicBezTo>
                    <a:pt x="5267" y="497"/>
                    <a:pt x="5289" y="499"/>
                    <a:pt x="5256" y="492"/>
                  </a:cubicBezTo>
                  <a:cubicBezTo>
                    <a:pt x="5224" y="486"/>
                    <a:pt x="5222" y="514"/>
                    <a:pt x="5224" y="531"/>
                  </a:cubicBezTo>
                  <a:cubicBezTo>
                    <a:pt x="5226" y="548"/>
                    <a:pt x="5254" y="529"/>
                    <a:pt x="5271" y="529"/>
                  </a:cubicBezTo>
                  <a:cubicBezTo>
                    <a:pt x="5289" y="529"/>
                    <a:pt x="5265" y="542"/>
                    <a:pt x="5250" y="551"/>
                  </a:cubicBezTo>
                  <a:cubicBezTo>
                    <a:pt x="5235" y="559"/>
                    <a:pt x="5231" y="557"/>
                    <a:pt x="5213" y="553"/>
                  </a:cubicBezTo>
                  <a:cubicBezTo>
                    <a:pt x="5196" y="548"/>
                    <a:pt x="5185" y="576"/>
                    <a:pt x="5170" y="576"/>
                  </a:cubicBezTo>
                  <a:cubicBezTo>
                    <a:pt x="5155" y="576"/>
                    <a:pt x="5129" y="576"/>
                    <a:pt x="5108" y="591"/>
                  </a:cubicBezTo>
                  <a:cubicBezTo>
                    <a:pt x="5086" y="606"/>
                    <a:pt x="5063" y="604"/>
                    <a:pt x="5037" y="596"/>
                  </a:cubicBezTo>
                  <a:cubicBezTo>
                    <a:pt x="5011" y="587"/>
                    <a:pt x="5000" y="611"/>
                    <a:pt x="4994" y="630"/>
                  </a:cubicBezTo>
                  <a:cubicBezTo>
                    <a:pt x="4988" y="649"/>
                    <a:pt x="4973" y="649"/>
                    <a:pt x="4945" y="647"/>
                  </a:cubicBezTo>
                  <a:cubicBezTo>
                    <a:pt x="4917" y="645"/>
                    <a:pt x="4970" y="630"/>
                    <a:pt x="4977" y="611"/>
                  </a:cubicBezTo>
                  <a:cubicBezTo>
                    <a:pt x="4983" y="591"/>
                    <a:pt x="4992" y="585"/>
                    <a:pt x="5009" y="581"/>
                  </a:cubicBezTo>
                  <a:cubicBezTo>
                    <a:pt x="5026" y="576"/>
                    <a:pt x="5041" y="576"/>
                    <a:pt x="5059" y="553"/>
                  </a:cubicBezTo>
                  <a:cubicBezTo>
                    <a:pt x="5076" y="529"/>
                    <a:pt x="5108" y="535"/>
                    <a:pt x="5129" y="529"/>
                  </a:cubicBezTo>
                  <a:cubicBezTo>
                    <a:pt x="5151" y="523"/>
                    <a:pt x="5155" y="525"/>
                    <a:pt x="5172" y="503"/>
                  </a:cubicBezTo>
                  <a:cubicBezTo>
                    <a:pt x="5190" y="482"/>
                    <a:pt x="5200" y="488"/>
                    <a:pt x="5220" y="482"/>
                  </a:cubicBezTo>
                  <a:cubicBezTo>
                    <a:pt x="5239" y="475"/>
                    <a:pt x="5228" y="475"/>
                    <a:pt x="5237" y="452"/>
                  </a:cubicBezTo>
                  <a:cubicBezTo>
                    <a:pt x="5246" y="428"/>
                    <a:pt x="5261" y="441"/>
                    <a:pt x="5280" y="432"/>
                  </a:cubicBezTo>
                  <a:cubicBezTo>
                    <a:pt x="5299" y="424"/>
                    <a:pt x="5312" y="417"/>
                    <a:pt x="5334" y="411"/>
                  </a:cubicBezTo>
                  <a:cubicBezTo>
                    <a:pt x="5355" y="404"/>
                    <a:pt x="5368" y="409"/>
                    <a:pt x="5379" y="389"/>
                  </a:cubicBezTo>
                  <a:cubicBezTo>
                    <a:pt x="5390" y="370"/>
                    <a:pt x="5398" y="379"/>
                    <a:pt x="5420" y="372"/>
                  </a:cubicBezTo>
                  <a:cubicBezTo>
                    <a:pt x="5441" y="366"/>
                    <a:pt x="5458" y="346"/>
                    <a:pt x="5473" y="323"/>
                  </a:cubicBezTo>
                  <a:cubicBezTo>
                    <a:pt x="5489" y="299"/>
                    <a:pt x="5469" y="303"/>
                    <a:pt x="5467" y="297"/>
                  </a:cubicBezTo>
                  <a:cubicBezTo>
                    <a:pt x="5465" y="290"/>
                    <a:pt x="5450" y="295"/>
                    <a:pt x="5439" y="297"/>
                  </a:cubicBezTo>
                  <a:cubicBezTo>
                    <a:pt x="5428" y="299"/>
                    <a:pt x="5435" y="282"/>
                    <a:pt x="5422" y="271"/>
                  </a:cubicBezTo>
                  <a:cubicBezTo>
                    <a:pt x="5409" y="260"/>
                    <a:pt x="5407" y="258"/>
                    <a:pt x="5426" y="262"/>
                  </a:cubicBezTo>
                  <a:cubicBezTo>
                    <a:pt x="5446" y="267"/>
                    <a:pt x="5439" y="267"/>
                    <a:pt x="5458" y="280"/>
                  </a:cubicBezTo>
                  <a:cubicBezTo>
                    <a:pt x="5478" y="293"/>
                    <a:pt x="5489" y="284"/>
                    <a:pt x="5495" y="273"/>
                  </a:cubicBezTo>
                  <a:cubicBezTo>
                    <a:pt x="5501" y="262"/>
                    <a:pt x="5504" y="252"/>
                    <a:pt x="5489" y="252"/>
                  </a:cubicBezTo>
                  <a:cubicBezTo>
                    <a:pt x="5473" y="252"/>
                    <a:pt x="5471" y="247"/>
                    <a:pt x="5471" y="232"/>
                  </a:cubicBezTo>
                  <a:cubicBezTo>
                    <a:pt x="5471" y="217"/>
                    <a:pt x="5473" y="211"/>
                    <a:pt x="5467" y="211"/>
                  </a:cubicBezTo>
                  <a:cubicBezTo>
                    <a:pt x="5461" y="211"/>
                    <a:pt x="5446" y="228"/>
                    <a:pt x="5435" y="228"/>
                  </a:cubicBezTo>
                  <a:cubicBezTo>
                    <a:pt x="5424" y="228"/>
                    <a:pt x="5415" y="217"/>
                    <a:pt x="5415" y="200"/>
                  </a:cubicBezTo>
                  <a:cubicBezTo>
                    <a:pt x="5415" y="183"/>
                    <a:pt x="5403" y="183"/>
                    <a:pt x="5403" y="183"/>
                  </a:cubicBezTo>
                  <a:cubicBezTo>
                    <a:pt x="5403" y="183"/>
                    <a:pt x="5377" y="189"/>
                    <a:pt x="5381" y="181"/>
                  </a:cubicBezTo>
                  <a:cubicBezTo>
                    <a:pt x="5385" y="172"/>
                    <a:pt x="5379" y="159"/>
                    <a:pt x="5372" y="159"/>
                  </a:cubicBezTo>
                  <a:cubicBezTo>
                    <a:pt x="5366" y="159"/>
                    <a:pt x="5357" y="164"/>
                    <a:pt x="5334" y="146"/>
                  </a:cubicBezTo>
                  <a:cubicBezTo>
                    <a:pt x="5310" y="129"/>
                    <a:pt x="5289" y="129"/>
                    <a:pt x="5269" y="138"/>
                  </a:cubicBezTo>
                  <a:cubicBezTo>
                    <a:pt x="5250" y="146"/>
                    <a:pt x="5246" y="151"/>
                    <a:pt x="5215" y="140"/>
                  </a:cubicBezTo>
                  <a:cubicBezTo>
                    <a:pt x="5185" y="129"/>
                    <a:pt x="5170" y="144"/>
                    <a:pt x="5149" y="140"/>
                  </a:cubicBezTo>
                  <a:cubicBezTo>
                    <a:pt x="5127" y="136"/>
                    <a:pt x="5117" y="142"/>
                    <a:pt x="5110" y="164"/>
                  </a:cubicBezTo>
                  <a:cubicBezTo>
                    <a:pt x="5104" y="185"/>
                    <a:pt x="5071" y="168"/>
                    <a:pt x="5046" y="168"/>
                  </a:cubicBezTo>
                  <a:cubicBezTo>
                    <a:pt x="5020" y="168"/>
                    <a:pt x="5031" y="166"/>
                    <a:pt x="5037" y="146"/>
                  </a:cubicBezTo>
                  <a:cubicBezTo>
                    <a:pt x="5043" y="127"/>
                    <a:pt x="5065" y="136"/>
                    <a:pt x="5074" y="116"/>
                  </a:cubicBezTo>
                  <a:cubicBezTo>
                    <a:pt x="5082" y="97"/>
                    <a:pt x="5043" y="103"/>
                    <a:pt x="5005" y="97"/>
                  </a:cubicBezTo>
                  <a:cubicBezTo>
                    <a:pt x="4966" y="90"/>
                    <a:pt x="4975" y="101"/>
                    <a:pt x="4921" y="101"/>
                  </a:cubicBezTo>
                  <a:cubicBezTo>
                    <a:pt x="4867" y="101"/>
                    <a:pt x="4895" y="90"/>
                    <a:pt x="4917" y="82"/>
                  </a:cubicBezTo>
                  <a:cubicBezTo>
                    <a:pt x="4938" y="73"/>
                    <a:pt x="4947" y="82"/>
                    <a:pt x="4951" y="71"/>
                  </a:cubicBezTo>
                  <a:cubicBezTo>
                    <a:pt x="4955" y="60"/>
                    <a:pt x="4985" y="58"/>
                    <a:pt x="4985" y="50"/>
                  </a:cubicBezTo>
                  <a:cubicBezTo>
                    <a:pt x="4985" y="41"/>
                    <a:pt x="4977" y="30"/>
                    <a:pt x="4953" y="30"/>
                  </a:cubicBezTo>
                  <a:cubicBezTo>
                    <a:pt x="4930" y="30"/>
                    <a:pt x="4925" y="28"/>
                    <a:pt x="4906" y="15"/>
                  </a:cubicBezTo>
                  <a:cubicBezTo>
                    <a:pt x="4887" y="2"/>
                    <a:pt x="4869" y="0"/>
                    <a:pt x="4852" y="11"/>
                  </a:cubicBezTo>
                  <a:cubicBezTo>
                    <a:pt x="4835" y="22"/>
                    <a:pt x="4828" y="17"/>
                    <a:pt x="4803" y="13"/>
                  </a:cubicBezTo>
                  <a:cubicBezTo>
                    <a:pt x="4777" y="9"/>
                    <a:pt x="4777" y="35"/>
                    <a:pt x="4758" y="41"/>
                  </a:cubicBezTo>
                  <a:cubicBezTo>
                    <a:pt x="4738" y="47"/>
                    <a:pt x="4738" y="65"/>
                    <a:pt x="4719" y="73"/>
                  </a:cubicBezTo>
                  <a:cubicBezTo>
                    <a:pt x="4699" y="82"/>
                    <a:pt x="4695" y="90"/>
                    <a:pt x="4680" y="103"/>
                  </a:cubicBezTo>
                  <a:cubicBezTo>
                    <a:pt x="4665" y="116"/>
                    <a:pt x="4667" y="127"/>
                    <a:pt x="4674" y="127"/>
                  </a:cubicBezTo>
                  <a:cubicBezTo>
                    <a:pt x="4680" y="127"/>
                    <a:pt x="4678" y="138"/>
                    <a:pt x="4684" y="157"/>
                  </a:cubicBezTo>
                  <a:cubicBezTo>
                    <a:pt x="4691" y="176"/>
                    <a:pt x="4699" y="168"/>
                    <a:pt x="4734" y="176"/>
                  </a:cubicBezTo>
                  <a:cubicBezTo>
                    <a:pt x="4768" y="185"/>
                    <a:pt x="4732" y="191"/>
                    <a:pt x="4717" y="185"/>
                  </a:cubicBezTo>
                  <a:cubicBezTo>
                    <a:pt x="4702" y="179"/>
                    <a:pt x="4687" y="176"/>
                    <a:pt x="4654" y="174"/>
                  </a:cubicBezTo>
                  <a:cubicBezTo>
                    <a:pt x="4622" y="172"/>
                    <a:pt x="4609" y="181"/>
                    <a:pt x="4583" y="172"/>
                  </a:cubicBezTo>
                  <a:cubicBezTo>
                    <a:pt x="4558" y="164"/>
                    <a:pt x="4543" y="159"/>
                    <a:pt x="4551" y="176"/>
                  </a:cubicBezTo>
                  <a:cubicBezTo>
                    <a:pt x="4560" y="194"/>
                    <a:pt x="4555" y="198"/>
                    <a:pt x="4581" y="204"/>
                  </a:cubicBezTo>
                  <a:cubicBezTo>
                    <a:pt x="4607" y="211"/>
                    <a:pt x="4603" y="224"/>
                    <a:pt x="4592" y="226"/>
                  </a:cubicBezTo>
                  <a:cubicBezTo>
                    <a:pt x="4581" y="228"/>
                    <a:pt x="4566" y="226"/>
                    <a:pt x="4543" y="215"/>
                  </a:cubicBezTo>
                  <a:cubicBezTo>
                    <a:pt x="4519" y="204"/>
                    <a:pt x="4500" y="211"/>
                    <a:pt x="4497" y="219"/>
                  </a:cubicBezTo>
                  <a:cubicBezTo>
                    <a:pt x="4495" y="228"/>
                    <a:pt x="4487" y="219"/>
                    <a:pt x="4469" y="237"/>
                  </a:cubicBezTo>
                  <a:cubicBezTo>
                    <a:pt x="4452" y="254"/>
                    <a:pt x="4437" y="237"/>
                    <a:pt x="4429" y="243"/>
                  </a:cubicBezTo>
                  <a:cubicBezTo>
                    <a:pt x="4420" y="250"/>
                    <a:pt x="4401" y="247"/>
                    <a:pt x="4401" y="247"/>
                  </a:cubicBezTo>
                  <a:cubicBezTo>
                    <a:pt x="4401" y="247"/>
                    <a:pt x="4360" y="254"/>
                    <a:pt x="4338" y="252"/>
                  </a:cubicBezTo>
                  <a:cubicBezTo>
                    <a:pt x="4317" y="250"/>
                    <a:pt x="4362" y="239"/>
                    <a:pt x="4364" y="226"/>
                  </a:cubicBezTo>
                  <a:cubicBezTo>
                    <a:pt x="4366" y="213"/>
                    <a:pt x="4388" y="219"/>
                    <a:pt x="4390" y="207"/>
                  </a:cubicBezTo>
                  <a:cubicBezTo>
                    <a:pt x="4392" y="194"/>
                    <a:pt x="4360" y="200"/>
                    <a:pt x="4347" y="200"/>
                  </a:cubicBezTo>
                  <a:cubicBezTo>
                    <a:pt x="4334" y="200"/>
                    <a:pt x="4321" y="204"/>
                    <a:pt x="4321" y="211"/>
                  </a:cubicBezTo>
                  <a:cubicBezTo>
                    <a:pt x="4321" y="217"/>
                    <a:pt x="4312" y="224"/>
                    <a:pt x="4300" y="207"/>
                  </a:cubicBezTo>
                  <a:cubicBezTo>
                    <a:pt x="4287" y="189"/>
                    <a:pt x="4276" y="200"/>
                    <a:pt x="4276" y="217"/>
                  </a:cubicBezTo>
                  <a:cubicBezTo>
                    <a:pt x="4276" y="234"/>
                    <a:pt x="4265" y="228"/>
                    <a:pt x="4250" y="228"/>
                  </a:cubicBezTo>
                  <a:cubicBezTo>
                    <a:pt x="4235" y="228"/>
                    <a:pt x="4209" y="228"/>
                    <a:pt x="4192" y="228"/>
                  </a:cubicBezTo>
                  <a:cubicBezTo>
                    <a:pt x="4175" y="228"/>
                    <a:pt x="4166" y="228"/>
                    <a:pt x="4156" y="234"/>
                  </a:cubicBezTo>
                  <a:cubicBezTo>
                    <a:pt x="4145" y="241"/>
                    <a:pt x="4162" y="245"/>
                    <a:pt x="4177" y="245"/>
                  </a:cubicBezTo>
                  <a:cubicBezTo>
                    <a:pt x="4192" y="245"/>
                    <a:pt x="4203" y="247"/>
                    <a:pt x="4192" y="262"/>
                  </a:cubicBezTo>
                  <a:cubicBezTo>
                    <a:pt x="4181" y="277"/>
                    <a:pt x="4168" y="271"/>
                    <a:pt x="4149" y="269"/>
                  </a:cubicBezTo>
                  <a:cubicBezTo>
                    <a:pt x="4130" y="267"/>
                    <a:pt x="4104" y="269"/>
                    <a:pt x="4085" y="282"/>
                  </a:cubicBezTo>
                  <a:cubicBezTo>
                    <a:pt x="4065" y="295"/>
                    <a:pt x="4042" y="284"/>
                    <a:pt x="4033" y="284"/>
                  </a:cubicBezTo>
                  <a:cubicBezTo>
                    <a:pt x="4024" y="284"/>
                    <a:pt x="3992" y="295"/>
                    <a:pt x="3977" y="303"/>
                  </a:cubicBezTo>
                  <a:cubicBezTo>
                    <a:pt x="3962" y="312"/>
                    <a:pt x="3947" y="310"/>
                    <a:pt x="3932" y="310"/>
                  </a:cubicBezTo>
                  <a:cubicBezTo>
                    <a:pt x="3917" y="310"/>
                    <a:pt x="3890" y="318"/>
                    <a:pt x="3879" y="340"/>
                  </a:cubicBezTo>
                  <a:cubicBezTo>
                    <a:pt x="3867" y="361"/>
                    <a:pt x="3833" y="351"/>
                    <a:pt x="3809" y="346"/>
                  </a:cubicBezTo>
                  <a:cubicBezTo>
                    <a:pt x="3784" y="340"/>
                    <a:pt x="3796" y="367"/>
                    <a:pt x="3786" y="367"/>
                  </a:cubicBezTo>
                  <a:cubicBezTo>
                    <a:pt x="3776" y="367"/>
                    <a:pt x="3758" y="380"/>
                    <a:pt x="3769" y="384"/>
                  </a:cubicBezTo>
                  <a:cubicBezTo>
                    <a:pt x="3779" y="389"/>
                    <a:pt x="3786" y="400"/>
                    <a:pt x="3783" y="407"/>
                  </a:cubicBezTo>
                  <a:cubicBezTo>
                    <a:pt x="3780" y="414"/>
                    <a:pt x="3764" y="406"/>
                    <a:pt x="3753" y="399"/>
                  </a:cubicBezTo>
                  <a:cubicBezTo>
                    <a:pt x="3741" y="391"/>
                    <a:pt x="3723" y="404"/>
                    <a:pt x="3723" y="413"/>
                  </a:cubicBezTo>
                  <a:cubicBezTo>
                    <a:pt x="3723" y="422"/>
                    <a:pt x="3750" y="420"/>
                    <a:pt x="3767" y="429"/>
                  </a:cubicBezTo>
                  <a:cubicBezTo>
                    <a:pt x="3784" y="437"/>
                    <a:pt x="3796" y="452"/>
                    <a:pt x="3791" y="457"/>
                  </a:cubicBezTo>
                  <a:cubicBezTo>
                    <a:pt x="3787" y="463"/>
                    <a:pt x="3770" y="446"/>
                    <a:pt x="3747" y="439"/>
                  </a:cubicBezTo>
                  <a:cubicBezTo>
                    <a:pt x="3724" y="432"/>
                    <a:pt x="3731" y="460"/>
                    <a:pt x="3736" y="460"/>
                  </a:cubicBezTo>
                  <a:cubicBezTo>
                    <a:pt x="3740" y="460"/>
                    <a:pt x="3763" y="465"/>
                    <a:pt x="3774" y="475"/>
                  </a:cubicBezTo>
                  <a:cubicBezTo>
                    <a:pt x="3786" y="485"/>
                    <a:pt x="3801" y="486"/>
                    <a:pt x="3803" y="499"/>
                  </a:cubicBezTo>
                  <a:cubicBezTo>
                    <a:pt x="3804" y="512"/>
                    <a:pt x="3776" y="509"/>
                    <a:pt x="3748" y="509"/>
                  </a:cubicBezTo>
                  <a:cubicBezTo>
                    <a:pt x="3721" y="509"/>
                    <a:pt x="3711" y="516"/>
                    <a:pt x="3704" y="528"/>
                  </a:cubicBezTo>
                  <a:cubicBezTo>
                    <a:pt x="3697" y="539"/>
                    <a:pt x="3672" y="533"/>
                    <a:pt x="3657" y="526"/>
                  </a:cubicBezTo>
                  <a:cubicBezTo>
                    <a:pt x="3641" y="519"/>
                    <a:pt x="3622" y="528"/>
                    <a:pt x="3615" y="532"/>
                  </a:cubicBezTo>
                  <a:cubicBezTo>
                    <a:pt x="3608" y="536"/>
                    <a:pt x="3554" y="529"/>
                    <a:pt x="3515" y="532"/>
                  </a:cubicBezTo>
                  <a:cubicBezTo>
                    <a:pt x="3476" y="535"/>
                    <a:pt x="3475" y="542"/>
                    <a:pt x="3440" y="542"/>
                  </a:cubicBezTo>
                  <a:cubicBezTo>
                    <a:pt x="3406" y="542"/>
                    <a:pt x="3400" y="551"/>
                    <a:pt x="3389" y="556"/>
                  </a:cubicBezTo>
                  <a:cubicBezTo>
                    <a:pt x="3377" y="562"/>
                    <a:pt x="3373" y="586"/>
                    <a:pt x="3373" y="595"/>
                  </a:cubicBezTo>
                  <a:cubicBezTo>
                    <a:pt x="3373" y="604"/>
                    <a:pt x="3392" y="615"/>
                    <a:pt x="3402" y="625"/>
                  </a:cubicBezTo>
                  <a:cubicBezTo>
                    <a:pt x="3412" y="635"/>
                    <a:pt x="3403" y="642"/>
                    <a:pt x="3394" y="649"/>
                  </a:cubicBezTo>
                  <a:cubicBezTo>
                    <a:pt x="3386" y="657"/>
                    <a:pt x="3402" y="678"/>
                    <a:pt x="3407" y="690"/>
                  </a:cubicBezTo>
                  <a:cubicBezTo>
                    <a:pt x="3413" y="701"/>
                    <a:pt x="3449" y="704"/>
                    <a:pt x="3479" y="704"/>
                  </a:cubicBezTo>
                  <a:cubicBezTo>
                    <a:pt x="3509" y="704"/>
                    <a:pt x="3483" y="727"/>
                    <a:pt x="3503" y="741"/>
                  </a:cubicBezTo>
                  <a:cubicBezTo>
                    <a:pt x="3523" y="756"/>
                    <a:pt x="3516" y="767"/>
                    <a:pt x="3502" y="771"/>
                  </a:cubicBezTo>
                  <a:cubicBezTo>
                    <a:pt x="3488" y="776"/>
                    <a:pt x="3485" y="776"/>
                    <a:pt x="3449" y="770"/>
                  </a:cubicBezTo>
                  <a:cubicBezTo>
                    <a:pt x="3413" y="764"/>
                    <a:pt x="3413" y="753"/>
                    <a:pt x="3406" y="738"/>
                  </a:cubicBezTo>
                  <a:cubicBezTo>
                    <a:pt x="3399" y="724"/>
                    <a:pt x="3380" y="718"/>
                    <a:pt x="3359" y="714"/>
                  </a:cubicBezTo>
                  <a:cubicBezTo>
                    <a:pt x="3337" y="710"/>
                    <a:pt x="3334" y="710"/>
                    <a:pt x="3321" y="697"/>
                  </a:cubicBezTo>
                  <a:cubicBezTo>
                    <a:pt x="3308" y="684"/>
                    <a:pt x="3287" y="690"/>
                    <a:pt x="3268" y="690"/>
                  </a:cubicBezTo>
                  <a:cubicBezTo>
                    <a:pt x="3250" y="690"/>
                    <a:pt x="3237" y="674"/>
                    <a:pt x="3225" y="665"/>
                  </a:cubicBezTo>
                  <a:cubicBezTo>
                    <a:pt x="3214" y="657"/>
                    <a:pt x="3189" y="661"/>
                    <a:pt x="3185" y="672"/>
                  </a:cubicBezTo>
                  <a:cubicBezTo>
                    <a:pt x="3181" y="684"/>
                    <a:pt x="3167" y="684"/>
                    <a:pt x="3154" y="691"/>
                  </a:cubicBezTo>
                  <a:cubicBezTo>
                    <a:pt x="3141" y="698"/>
                    <a:pt x="3155" y="704"/>
                    <a:pt x="3174" y="702"/>
                  </a:cubicBezTo>
                  <a:cubicBezTo>
                    <a:pt x="3192" y="701"/>
                    <a:pt x="3184" y="712"/>
                    <a:pt x="3181" y="723"/>
                  </a:cubicBezTo>
                  <a:cubicBezTo>
                    <a:pt x="3178" y="733"/>
                    <a:pt x="3199" y="730"/>
                    <a:pt x="3211" y="724"/>
                  </a:cubicBezTo>
                  <a:cubicBezTo>
                    <a:pt x="3222" y="718"/>
                    <a:pt x="3235" y="733"/>
                    <a:pt x="3238" y="745"/>
                  </a:cubicBezTo>
                  <a:cubicBezTo>
                    <a:pt x="3241" y="758"/>
                    <a:pt x="3215" y="757"/>
                    <a:pt x="3201" y="757"/>
                  </a:cubicBezTo>
                  <a:cubicBezTo>
                    <a:pt x="3187" y="757"/>
                    <a:pt x="3171" y="750"/>
                    <a:pt x="3162" y="738"/>
                  </a:cubicBezTo>
                  <a:cubicBezTo>
                    <a:pt x="3154" y="727"/>
                    <a:pt x="3135" y="731"/>
                    <a:pt x="3135" y="741"/>
                  </a:cubicBezTo>
                  <a:cubicBezTo>
                    <a:pt x="3135" y="751"/>
                    <a:pt x="3103" y="735"/>
                    <a:pt x="3095" y="748"/>
                  </a:cubicBezTo>
                  <a:cubicBezTo>
                    <a:pt x="3086" y="761"/>
                    <a:pt x="3103" y="767"/>
                    <a:pt x="3106" y="780"/>
                  </a:cubicBezTo>
                  <a:cubicBezTo>
                    <a:pt x="3109" y="793"/>
                    <a:pt x="3129" y="801"/>
                    <a:pt x="3141" y="800"/>
                  </a:cubicBezTo>
                  <a:cubicBezTo>
                    <a:pt x="3152" y="798"/>
                    <a:pt x="3175" y="811"/>
                    <a:pt x="3181" y="816"/>
                  </a:cubicBezTo>
                  <a:cubicBezTo>
                    <a:pt x="3187" y="820"/>
                    <a:pt x="3201" y="827"/>
                    <a:pt x="3205" y="820"/>
                  </a:cubicBezTo>
                  <a:cubicBezTo>
                    <a:pt x="3210" y="813"/>
                    <a:pt x="3218" y="821"/>
                    <a:pt x="3231" y="823"/>
                  </a:cubicBezTo>
                  <a:cubicBezTo>
                    <a:pt x="3244" y="824"/>
                    <a:pt x="3234" y="841"/>
                    <a:pt x="3241" y="846"/>
                  </a:cubicBezTo>
                  <a:cubicBezTo>
                    <a:pt x="3248" y="850"/>
                    <a:pt x="3253" y="870"/>
                    <a:pt x="3244" y="870"/>
                  </a:cubicBezTo>
                  <a:cubicBezTo>
                    <a:pt x="3235" y="870"/>
                    <a:pt x="3222" y="866"/>
                    <a:pt x="3214" y="852"/>
                  </a:cubicBezTo>
                  <a:cubicBezTo>
                    <a:pt x="3205" y="837"/>
                    <a:pt x="3188" y="839"/>
                    <a:pt x="3169" y="834"/>
                  </a:cubicBezTo>
                  <a:cubicBezTo>
                    <a:pt x="3151" y="830"/>
                    <a:pt x="3119" y="830"/>
                    <a:pt x="3098" y="831"/>
                  </a:cubicBezTo>
                  <a:cubicBezTo>
                    <a:pt x="3076" y="833"/>
                    <a:pt x="3069" y="820"/>
                    <a:pt x="3055" y="819"/>
                  </a:cubicBezTo>
                  <a:cubicBezTo>
                    <a:pt x="3040" y="817"/>
                    <a:pt x="3053" y="797"/>
                    <a:pt x="3062" y="786"/>
                  </a:cubicBezTo>
                  <a:cubicBezTo>
                    <a:pt x="3070" y="774"/>
                    <a:pt x="3053" y="777"/>
                    <a:pt x="3049" y="766"/>
                  </a:cubicBezTo>
                  <a:cubicBezTo>
                    <a:pt x="3045" y="754"/>
                    <a:pt x="3043" y="740"/>
                    <a:pt x="3052" y="740"/>
                  </a:cubicBezTo>
                  <a:cubicBezTo>
                    <a:pt x="3060" y="740"/>
                    <a:pt x="3066" y="721"/>
                    <a:pt x="3073" y="708"/>
                  </a:cubicBezTo>
                  <a:cubicBezTo>
                    <a:pt x="3081" y="695"/>
                    <a:pt x="3068" y="677"/>
                    <a:pt x="3068" y="668"/>
                  </a:cubicBezTo>
                  <a:cubicBezTo>
                    <a:pt x="3068" y="659"/>
                    <a:pt x="3062" y="642"/>
                    <a:pt x="3056" y="641"/>
                  </a:cubicBezTo>
                  <a:cubicBezTo>
                    <a:pt x="3050" y="639"/>
                    <a:pt x="3049" y="631"/>
                    <a:pt x="3033" y="632"/>
                  </a:cubicBezTo>
                  <a:cubicBezTo>
                    <a:pt x="3017" y="634"/>
                    <a:pt x="3025" y="657"/>
                    <a:pt x="3030" y="659"/>
                  </a:cubicBezTo>
                  <a:cubicBezTo>
                    <a:pt x="3036" y="662"/>
                    <a:pt x="3035" y="691"/>
                    <a:pt x="3035" y="704"/>
                  </a:cubicBezTo>
                  <a:cubicBezTo>
                    <a:pt x="3035" y="717"/>
                    <a:pt x="3027" y="731"/>
                    <a:pt x="3012" y="733"/>
                  </a:cubicBezTo>
                  <a:cubicBezTo>
                    <a:pt x="2996" y="734"/>
                    <a:pt x="2979" y="747"/>
                    <a:pt x="2963" y="748"/>
                  </a:cubicBezTo>
                  <a:cubicBezTo>
                    <a:pt x="2947" y="750"/>
                    <a:pt x="2939" y="757"/>
                    <a:pt x="2939" y="767"/>
                  </a:cubicBezTo>
                  <a:cubicBezTo>
                    <a:pt x="2939" y="777"/>
                    <a:pt x="2933" y="787"/>
                    <a:pt x="2917" y="801"/>
                  </a:cubicBezTo>
                  <a:cubicBezTo>
                    <a:pt x="2901" y="816"/>
                    <a:pt x="2919" y="823"/>
                    <a:pt x="2933" y="830"/>
                  </a:cubicBezTo>
                  <a:cubicBezTo>
                    <a:pt x="2947" y="837"/>
                    <a:pt x="2953" y="854"/>
                    <a:pt x="2957" y="870"/>
                  </a:cubicBezTo>
                  <a:cubicBezTo>
                    <a:pt x="2962" y="886"/>
                    <a:pt x="2982" y="884"/>
                    <a:pt x="2987" y="902"/>
                  </a:cubicBezTo>
                  <a:cubicBezTo>
                    <a:pt x="2993" y="919"/>
                    <a:pt x="2973" y="935"/>
                    <a:pt x="2957" y="943"/>
                  </a:cubicBezTo>
                  <a:cubicBezTo>
                    <a:pt x="2941" y="952"/>
                    <a:pt x="2953" y="965"/>
                    <a:pt x="2941" y="982"/>
                  </a:cubicBezTo>
                  <a:cubicBezTo>
                    <a:pt x="2930" y="999"/>
                    <a:pt x="2946" y="1021"/>
                    <a:pt x="2953" y="1026"/>
                  </a:cubicBezTo>
                  <a:cubicBezTo>
                    <a:pt x="2960" y="1032"/>
                    <a:pt x="2966" y="1038"/>
                    <a:pt x="2956" y="1049"/>
                  </a:cubicBezTo>
                  <a:cubicBezTo>
                    <a:pt x="2946" y="1061"/>
                    <a:pt x="2954" y="1065"/>
                    <a:pt x="2957" y="1071"/>
                  </a:cubicBezTo>
                  <a:cubicBezTo>
                    <a:pt x="2960" y="1077"/>
                    <a:pt x="2986" y="1072"/>
                    <a:pt x="3000" y="1074"/>
                  </a:cubicBezTo>
                  <a:cubicBezTo>
                    <a:pt x="3015" y="1075"/>
                    <a:pt x="3039" y="1069"/>
                    <a:pt x="3058" y="1059"/>
                  </a:cubicBezTo>
                  <a:cubicBezTo>
                    <a:pt x="3076" y="1049"/>
                    <a:pt x="3052" y="1068"/>
                    <a:pt x="3099" y="1069"/>
                  </a:cubicBezTo>
                  <a:cubicBezTo>
                    <a:pt x="3146" y="1071"/>
                    <a:pt x="3152" y="1081"/>
                    <a:pt x="3168" y="1085"/>
                  </a:cubicBezTo>
                  <a:cubicBezTo>
                    <a:pt x="3184" y="1089"/>
                    <a:pt x="3204" y="1095"/>
                    <a:pt x="3205" y="1110"/>
                  </a:cubicBezTo>
                  <a:cubicBezTo>
                    <a:pt x="3207" y="1124"/>
                    <a:pt x="3224" y="1145"/>
                    <a:pt x="3228" y="1151"/>
                  </a:cubicBezTo>
                  <a:cubicBezTo>
                    <a:pt x="3232" y="1157"/>
                    <a:pt x="3227" y="1173"/>
                    <a:pt x="3208" y="1173"/>
                  </a:cubicBezTo>
                  <a:cubicBezTo>
                    <a:pt x="3189" y="1173"/>
                    <a:pt x="3195" y="1193"/>
                    <a:pt x="3195" y="1211"/>
                  </a:cubicBezTo>
                  <a:cubicBezTo>
                    <a:pt x="3195" y="1230"/>
                    <a:pt x="3220" y="1230"/>
                    <a:pt x="3235" y="1230"/>
                  </a:cubicBezTo>
                  <a:cubicBezTo>
                    <a:pt x="3251" y="1230"/>
                    <a:pt x="3258" y="1249"/>
                    <a:pt x="3242" y="1247"/>
                  </a:cubicBezTo>
                  <a:cubicBezTo>
                    <a:pt x="3227" y="1246"/>
                    <a:pt x="3210" y="1249"/>
                    <a:pt x="3202" y="1236"/>
                  </a:cubicBezTo>
                  <a:cubicBezTo>
                    <a:pt x="3195" y="1223"/>
                    <a:pt x="3182" y="1230"/>
                    <a:pt x="3174" y="1218"/>
                  </a:cubicBezTo>
                  <a:cubicBezTo>
                    <a:pt x="3165" y="1207"/>
                    <a:pt x="3174" y="1193"/>
                    <a:pt x="3179" y="1183"/>
                  </a:cubicBezTo>
                  <a:cubicBezTo>
                    <a:pt x="3185" y="1173"/>
                    <a:pt x="3172" y="1167"/>
                    <a:pt x="3177" y="1157"/>
                  </a:cubicBezTo>
                  <a:cubicBezTo>
                    <a:pt x="3181" y="1147"/>
                    <a:pt x="3179" y="1138"/>
                    <a:pt x="3167" y="1132"/>
                  </a:cubicBezTo>
                  <a:cubicBezTo>
                    <a:pt x="3154" y="1127"/>
                    <a:pt x="3144" y="1120"/>
                    <a:pt x="3141" y="1107"/>
                  </a:cubicBezTo>
                  <a:cubicBezTo>
                    <a:pt x="3138" y="1094"/>
                    <a:pt x="3134" y="1087"/>
                    <a:pt x="3112" y="1087"/>
                  </a:cubicBezTo>
                  <a:cubicBezTo>
                    <a:pt x="3091" y="1087"/>
                    <a:pt x="3076" y="1084"/>
                    <a:pt x="3060" y="1097"/>
                  </a:cubicBezTo>
                  <a:cubicBezTo>
                    <a:pt x="3045" y="1110"/>
                    <a:pt x="3045" y="1101"/>
                    <a:pt x="3019" y="1101"/>
                  </a:cubicBezTo>
                  <a:cubicBezTo>
                    <a:pt x="2993" y="1101"/>
                    <a:pt x="2995" y="1120"/>
                    <a:pt x="2993" y="1138"/>
                  </a:cubicBezTo>
                  <a:cubicBezTo>
                    <a:pt x="2992" y="1157"/>
                    <a:pt x="3000" y="1161"/>
                    <a:pt x="3010" y="1173"/>
                  </a:cubicBezTo>
                  <a:cubicBezTo>
                    <a:pt x="3020" y="1184"/>
                    <a:pt x="3025" y="1193"/>
                    <a:pt x="3020" y="1211"/>
                  </a:cubicBezTo>
                  <a:cubicBezTo>
                    <a:pt x="3016" y="1230"/>
                    <a:pt x="3006" y="1234"/>
                    <a:pt x="2987" y="1244"/>
                  </a:cubicBezTo>
                  <a:cubicBezTo>
                    <a:pt x="2969" y="1254"/>
                    <a:pt x="2974" y="1270"/>
                    <a:pt x="2967" y="1293"/>
                  </a:cubicBezTo>
                  <a:cubicBezTo>
                    <a:pt x="2960" y="1316"/>
                    <a:pt x="2946" y="1316"/>
                    <a:pt x="2927" y="1317"/>
                  </a:cubicBezTo>
                  <a:cubicBezTo>
                    <a:pt x="2909" y="1319"/>
                    <a:pt x="2913" y="1336"/>
                    <a:pt x="2891" y="1336"/>
                  </a:cubicBezTo>
                  <a:cubicBezTo>
                    <a:pt x="2870" y="1336"/>
                    <a:pt x="2877" y="1349"/>
                    <a:pt x="2871" y="1368"/>
                  </a:cubicBezTo>
                  <a:cubicBezTo>
                    <a:pt x="2866" y="1386"/>
                    <a:pt x="2851" y="1385"/>
                    <a:pt x="2841" y="1386"/>
                  </a:cubicBezTo>
                  <a:cubicBezTo>
                    <a:pt x="2831" y="1388"/>
                    <a:pt x="2821" y="1388"/>
                    <a:pt x="2812" y="1372"/>
                  </a:cubicBezTo>
                  <a:cubicBezTo>
                    <a:pt x="2804" y="1356"/>
                    <a:pt x="2778" y="1373"/>
                    <a:pt x="2755" y="1376"/>
                  </a:cubicBezTo>
                  <a:cubicBezTo>
                    <a:pt x="2732" y="1379"/>
                    <a:pt x="2731" y="1385"/>
                    <a:pt x="2719" y="1369"/>
                  </a:cubicBezTo>
                  <a:cubicBezTo>
                    <a:pt x="2708" y="1353"/>
                    <a:pt x="2696" y="1368"/>
                    <a:pt x="2692" y="1356"/>
                  </a:cubicBezTo>
                  <a:cubicBezTo>
                    <a:pt x="2688" y="1345"/>
                    <a:pt x="2681" y="1349"/>
                    <a:pt x="2668" y="1347"/>
                  </a:cubicBezTo>
                  <a:cubicBezTo>
                    <a:pt x="2655" y="1346"/>
                    <a:pt x="2653" y="1342"/>
                    <a:pt x="2653" y="1329"/>
                  </a:cubicBezTo>
                  <a:cubicBezTo>
                    <a:pt x="2653" y="1316"/>
                    <a:pt x="2678" y="1329"/>
                    <a:pt x="2682" y="1329"/>
                  </a:cubicBezTo>
                  <a:cubicBezTo>
                    <a:pt x="2686" y="1329"/>
                    <a:pt x="2702" y="1330"/>
                    <a:pt x="2719" y="1337"/>
                  </a:cubicBezTo>
                  <a:cubicBezTo>
                    <a:pt x="2737" y="1345"/>
                    <a:pt x="2752" y="1349"/>
                    <a:pt x="2762" y="1353"/>
                  </a:cubicBezTo>
                  <a:cubicBezTo>
                    <a:pt x="2772" y="1357"/>
                    <a:pt x="2782" y="1340"/>
                    <a:pt x="2795" y="1340"/>
                  </a:cubicBezTo>
                  <a:cubicBezTo>
                    <a:pt x="2808" y="1340"/>
                    <a:pt x="2812" y="1335"/>
                    <a:pt x="2811" y="1326"/>
                  </a:cubicBezTo>
                  <a:cubicBezTo>
                    <a:pt x="2810" y="1317"/>
                    <a:pt x="2814" y="1309"/>
                    <a:pt x="2830" y="1302"/>
                  </a:cubicBezTo>
                  <a:cubicBezTo>
                    <a:pt x="2845" y="1294"/>
                    <a:pt x="2843" y="1290"/>
                    <a:pt x="2845" y="1274"/>
                  </a:cubicBezTo>
                  <a:cubicBezTo>
                    <a:pt x="2848" y="1259"/>
                    <a:pt x="2871" y="1266"/>
                    <a:pt x="2873" y="1251"/>
                  </a:cubicBezTo>
                  <a:cubicBezTo>
                    <a:pt x="2874" y="1237"/>
                    <a:pt x="2886" y="1236"/>
                    <a:pt x="2901" y="1230"/>
                  </a:cubicBezTo>
                  <a:cubicBezTo>
                    <a:pt x="2917" y="1224"/>
                    <a:pt x="2919" y="1188"/>
                    <a:pt x="2920" y="1171"/>
                  </a:cubicBezTo>
                  <a:cubicBezTo>
                    <a:pt x="2921" y="1154"/>
                    <a:pt x="2924" y="1157"/>
                    <a:pt x="2937" y="1148"/>
                  </a:cubicBezTo>
                  <a:cubicBezTo>
                    <a:pt x="2950" y="1140"/>
                    <a:pt x="2930" y="1127"/>
                    <a:pt x="2916" y="1120"/>
                  </a:cubicBezTo>
                  <a:cubicBezTo>
                    <a:pt x="2901" y="1112"/>
                    <a:pt x="2893" y="1107"/>
                    <a:pt x="2887" y="1098"/>
                  </a:cubicBezTo>
                  <a:cubicBezTo>
                    <a:pt x="2881" y="1089"/>
                    <a:pt x="2874" y="1084"/>
                    <a:pt x="2874" y="1068"/>
                  </a:cubicBezTo>
                  <a:cubicBezTo>
                    <a:pt x="2874" y="1052"/>
                    <a:pt x="2881" y="1038"/>
                    <a:pt x="2883" y="1028"/>
                  </a:cubicBezTo>
                  <a:cubicBezTo>
                    <a:pt x="2884" y="1018"/>
                    <a:pt x="2884" y="996"/>
                    <a:pt x="2880" y="988"/>
                  </a:cubicBezTo>
                  <a:cubicBezTo>
                    <a:pt x="2876" y="979"/>
                    <a:pt x="2876" y="959"/>
                    <a:pt x="2874" y="949"/>
                  </a:cubicBezTo>
                  <a:cubicBezTo>
                    <a:pt x="2873" y="939"/>
                    <a:pt x="2880" y="926"/>
                    <a:pt x="2886" y="907"/>
                  </a:cubicBezTo>
                  <a:cubicBezTo>
                    <a:pt x="2891" y="889"/>
                    <a:pt x="2893" y="874"/>
                    <a:pt x="2888" y="860"/>
                  </a:cubicBezTo>
                  <a:cubicBezTo>
                    <a:pt x="2884" y="846"/>
                    <a:pt x="2873" y="831"/>
                    <a:pt x="2864" y="830"/>
                  </a:cubicBezTo>
                  <a:cubicBezTo>
                    <a:pt x="2855" y="829"/>
                    <a:pt x="2853" y="820"/>
                    <a:pt x="2843" y="814"/>
                  </a:cubicBezTo>
                  <a:cubicBezTo>
                    <a:pt x="2833" y="809"/>
                    <a:pt x="2834" y="793"/>
                    <a:pt x="2847" y="787"/>
                  </a:cubicBezTo>
                  <a:cubicBezTo>
                    <a:pt x="2860" y="781"/>
                    <a:pt x="2860" y="776"/>
                    <a:pt x="2863" y="764"/>
                  </a:cubicBezTo>
                  <a:cubicBezTo>
                    <a:pt x="2866" y="753"/>
                    <a:pt x="2870" y="744"/>
                    <a:pt x="2883" y="728"/>
                  </a:cubicBezTo>
                  <a:cubicBezTo>
                    <a:pt x="2896" y="713"/>
                    <a:pt x="2893" y="677"/>
                    <a:pt x="2891" y="662"/>
                  </a:cubicBezTo>
                  <a:cubicBezTo>
                    <a:pt x="2890" y="648"/>
                    <a:pt x="2868" y="645"/>
                    <a:pt x="2845" y="639"/>
                  </a:cubicBezTo>
                  <a:cubicBezTo>
                    <a:pt x="2823" y="634"/>
                    <a:pt x="2785" y="628"/>
                    <a:pt x="2755" y="628"/>
                  </a:cubicBezTo>
                  <a:cubicBezTo>
                    <a:pt x="2725" y="628"/>
                    <a:pt x="2721" y="634"/>
                    <a:pt x="2698" y="622"/>
                  </a:cubicBezTo>
                  <a:cubicBezTo>
                    <a:pt x="2675" y="611"/>
                    <a:pt x="2671" y="629"/>
                    <a:pt x="2656" y="645"/>
                  </a:cubicBezTo>
                  <a:cubicBezTo>
                    <a:pt x="2642" y="661"/>
                    <a:pt x="2639" y="687"/>
                    <a:pt x="2636" y="721"/>
                  </a:cubicBezTo>
                  <a:cubicBezTo>
                    <a:pt x="2633" y="755"/>
                    <a:pt x="2612" y="754"/>
                    <a:pt x="2597" y="777"/>
                  </a:cubicBezTo>
                  <a:cubicBezTo>
                    <a:pt x="2583" y="800"/>
                    <a:pt x="2543" y="814"/>
                    <a:pt x="2522" y="823"/>
                  </a:cubicBezTo>
                  <a:cubicBezTo>
                    <a:pt x="2500" y="831"/>
                    <a:pt x="2497" y="859"/>
                    <a:pt x="2499" y="870"/>
                  </a:cubicBezTo>
                  <a:cubicBezTo>
                    <a:pt x="2500" y="882"/>
                    <a:pt x="2501" y="884"/>
                    <a:pt x="2524" y="876"/>
                  </a:cubicBezTo>
                  <a:cubicBezTo>
                    <a:pt x="2547" y="867"/>
                    <a:pt x="2524" y="876"/>
                    <a:pt x="2536" y="897"/>
                  </a:cubicBezTo>
                  <a:cubicBezTo>
                    <a:pt x="2547" y="919"/>
                    <a:pt x="2534" y="920"/>
                    <a:pt x="2527" y="935"/>
                  </a:cubicBezTo>
                  <a:cubicBezTo>
                    <a:pt x="2520" y="949"/>
                    <a:pt x="2529" y="946"/>
                    <a:pt x="2540" y="962"/>
                  </a:cubicBezTo>
                  <a:cubicBezTo>
                    <a:pt x="2552" y="978"/>
                    <a:pt x="2534" y="969"/>
                    <a:pt x="2514" y="969"/>
                  </a:cubicBezTo>
                  <a:cubicBezTo>
                    <a:pt x="2494" y="969"/>
                    <a:pt x="2503" y="1011"/>
                    <a:pt x="2510" y="1022"/>
                  </a:cubicBezTo>
                  <a:cubicBezTo>
                    <a:pt x="2517" y="1034"/>
                    <a:pt x="2526" y="1009"/>
                    <a:pt x="2532" y="1009"/>
                  </a:cubicBezTo>
                  <a:cubicBezTo>
                    <a:pt x="2537" y="1009"/>
                    <a:pt x="2566" y="1022"/>
                    <a:pt x="2577" y="1024"/>
                  </a:cubicBezTo>
                  <a:cubicBezTo>
                    <a:pt x="2589" y="1025"/>
                    <a:pt x="2595" y="1051"/>
                    <a:pt x="2602" y="1067"/>
                  </a:cubicBezTo>
                  <a:cubicBezTo>
                    <a:pt x="2609" y="1082"/>
                    <a:pt x="2619" y="1092"/>
                    <a:pt x="2633" y="1094"/>
                  </a:cubicBezTo>
                  <a:cubicBezTo>
                    <a:pt x="2648" y="1095"/>
                    <a:pt x="2651" y="1124"/>
                    <a:pt x="2639" y="1131"/>
                  </a:cubicBezTo>
                  <a:cubicBezTo>
                    <a:pt x="2628" y="1138"/>
                    <a:pt x="2630" y="1145"/>
                    <a:pt x="2626" y="1157"/>
                  </a:cubicBezTo>
                  <a:cubicBezTo>
                    <a:pt x="2622" y="1168"/>
                    <a:pt x="2600" y="1157"/>
                    <a:pt x="2589" y="1144"/>
                  </a:cubicBezTo>
                  <a:cubicBezTo>
                    <a:pt x="2577" y="1131"/>
                    <a:pt x="2552" y="1124"/>
                    <a:pt x="2542" y="1112"/>
                  </a:cubicBezTo>
                  <a:cubicBezTo>
                    <a:pt x="2532" y="1101"/>
                    <a:pt x="2524" y="1094"/>
                    <a:pt x="2513" y="1094"/>
                  </a:cubicBezTo>
                  <a:cubicBezTo>
                    <a:pt x="2501" y="1094"/>
                    <a:pt x="2484" y="1085"/>
                    <a:pt x="2468" y="1074"/>
                  </a:cubicBezTo>
                  <a:cubicBezTo>
                    <a:pt x="2453" y="1062"/>
                    <a:pt x="2423" y="1056"/>
                    <a:pt x="2407" y="1056"/>
                  </a:cubicBezTo>
                  <a:cubicBezTo>
                    <a:pt x="2391" y="1056"/>
                    <a:pt x="2387" y="1051"/>
                    <a:pt x="2378" y="1038"/>
                  </a:cubicBezTo>
                  <a:cubicBezTo>
                    <a:pt x="2370" y="1025"/>
                    <a:pt x="2331" y="1021"/>
                    <a:pt x="2309" y="1016"/>
                  </a:cubicBezTo>
                  <a:cubicBezTo>
                    <a:pt x="2288" y="1012"/>
                    <a:pt x="2212" y="991"/>
                    <a:pt x="2188" y="996"/>
                  </a:cubicBezTo>
                  <a:cubicBezTo>
                    <a:pt x="2163" y="1002"/>
                    <a:pt x="2172" y="988"/>
                    <a:pt x="2152" y="988"/>
                  </a:cubicBezTo>
                  <a:cubicBezTo>
                    <a:pt x="2132" y="988"/>
                    <a:pt x="2126" y="993"/>
                    <a:pt x="2113" y="1006"/>
                  </a:cubicBezTo>
                  <a:cubicBezTo>
                    <a:pt x="2100" y="1019"/>
                    <a:pt x="2097" y="1012"/>
                    <a:pt x="2096" y="1025"/>
                  </a:cubicBezTo>
                  <a:cubicBezTo>
                    <a:pt x="2094" y="1038"/>
                    <a:pt x="2109" y="1042"/>
                    <a:pt x="2113" y="1055"/>
                  </a:cubicBezTo>
                  <a:cubicBezTo>
                    <a:pt x="2117" y="1068"/>
                    <a:pt x="2113" y="1072"/>
                    <a:pt x="2123" y="1074"/>
                  </a:cubicBezTo>
                  <a:cubicBezTo>
                    <a:pt x="2133" y="1075"/>
                    <a:pt x="2133" y="1094"/>
                    <a:pt x="2124" y="1105"/>
                  </a:cubicBezTo>
                  <a:cubicBezTo>
                    <a:pt x="2116" y="1117"/>
                    <a:pt x="2102" y="1118"/>
                    <a:pt x="2081" y="1120"/>
                  </a:cubicBezTo>
                  <a:cubicBezTo>
                    <a:pt x="2061" y="1121"/>
                    <a:pt x="2064" y="1131"/>
                    <a:pt x="2079" y="1137"/>
                  </a:cubicBezTo>
                  <a:cubicBezTo>
                    <a:pt x="2093" y="1143"/>
                    <a:pt x="2080" y="1154"/>
                    <a:pt x="2069" y="1154"/>
                  </a:cubicBezTo>
                  <a:cubicBezTo>
                    <a:pt x="2057" y="1154"/>
                    <a:pt x="2046" y="1158"/>
                    <a:pt x="2030" y="1150"/>
                  </a:cubicBezTo>
                  <a:cubicBezTo>
                    <a:pt x="2014" y="1141"/>
                    <a:pt x="2017" y="1124"/>
                    <a:pt x="2026" y="1120"/>
                  </a:cubicBezTo>
                  <a:cubicBezTo>
                    <a:pt x="2034" y="1115"/>
                    <a:pt x="2041" y="1105"/>
                    <a:pt x="2033" y="1099"/>
                  </a:cubicBezTo>
                  <a:cubicBezTo>
                    <a:pt x="2024" y="1094"/>
                    <a:pt x="2014" y="1082"/>
                    <a:pt x="2004" y="1085"/>
                  </a:cubicBezTo>
                  <a:cubicBezTo>
                    <a:pt x="1994" y="1088"/>
                    <a:pt x="1978" y="1088"/>
                    <a:pt x="1974" y="1101"/>
                  </a:cubicBezTo>
                  <a:cubicBezTo>
                    <a:pt x="1970" y="1114"/>
                    <a:pt x="1960" y="1112"/>
                    <a:pt x="1944" y="1112"/>
                  </a:cubicBezTo>
                  <a:cubicBezTo>
                    <a:pt x="1928" y="1112"/>
                    <a:pt x="1924" y="1115"/>
                    <a:pt x="1912" y="1127"/>
                  </a:cubicBezTo>
                  <a:cubicBezTo>
                    <a:pt x="1901" y="1138"/>
                    <a:pt x="1892" y="1138"/>
                    <a:pt x="1875" y="1127"/>
                  </a:cubicBezTo>
                  <a:cubicBezTo>
                    <a:pt x="1858" y="1115"/>
                    <a:pt x="1856" y="1125"/>
                    <a:pt x="1823" y="1124"/>
                  </a:cubicBezTo>
                  <a:cubicBezTo>
                    <a:pt x="1791" y="1122"/>
                    <a:pt x="1808" y="1134"/>
                    <a:pt x="1786" y="1135"/>
                  </a:cubicBezTo>
                  <a:cubicBezTo>
                    <a:pt x="1765" y="1137"/>
                    <a:pt x="1762" y="1145"/>
                    <a:pt x="1758" y="1163"/>
                  </a:cubicBezTo>
                  <a:cubicBezTo>
                    <a:pt x="1753" y="1180"/>
                    <a:pt x="1748" y="1178"/>
                    <a:pt x="1729" y="1165"/>
                  </a:cubicBezTo>
                  <a:cubicBezTo>
                    <a:pt x="1710" y="1153"/>
                    <a:pt x="1720" y="1174"/>
                    <a:pt x="1707" y="1168"/>
                  </a:cubicBezTo>
                  <a:cubicBezTo>
                    <a:pt x="1694" y="1163"/>
                    <a:pt x="1686" y="1180"/>
                    <a:pt x="1662" y="1177"/>
                  </a:cubicBezTo>
                  <a:cubicBezTo>
                    <a:pt x="1637" y="1174"/>
                    <a:pt x="1659" y="1160"/>
                    <a:pt x="1674" y="1158"/>
                  </a:cubicBezTo>
                  <a:cubicBezTo>
                    <a:pt x="1690" y="1157"/>
                    <a:pt x="1690" y="1142"/>
                    <a:pt x="1683" y="1134"/>
                  </a:cubicBezTo>
                  <a:cubicBezTo>
                    <a:pt x="1676" y="1125"/>
                    <a:pt x="1689" y="1114"/>
                    <a:pt x="1690" y="1105"/>
                  </a:cubicBezTo>
                  <a:cubicBezTo>
                    <a:pt x="1692" y="1097"/>
                    <a:pt x="1702" y="1082"/>
                    <a:pt x="1676" y="1087"/>
                  </a:cubicBezTo>
                  <a:cubicBezTo>
                    <a:pt x="1650" y="1091"/>
                    <a:pt x="1641" y="1101"/>
                    <a:pt x="1621" y="1108"/>
                  </a:cubicBezTo>
                  <a:cubicBezTo>
                    <a:pt x="1601" y="1115"/>
                    <a:pt x="1607" y="1124"/>
                    <a:pt x="1607" y="1138"/>
                  </a:cubicBezTo>
                  <a:cubicBezTo>
                    <a:pt x="1607" y="1153"/>
                    <a:pt x="1601" y="1153"/>
                    <a:pt x="1593" y="1153"/>
                  </a:cubicBezTo>
                  <a:cubicBezTo>
                    <a:pt x="1584" y="1153"/>
                    <a:pt x="1587" y="1150"/>
                    <a:pt x="1584" y="1135"/>
                  </a:cubicBezTo>
                  <a:cubicBezTo>
                    <a:pt x="1581" y="1121"/>
                    <a:pt x="1564" y="1142"/>
                    <a:pt x="1550" y="1138"/>
                  </a:cubicBezTo>
                  <a:cubicBezTo>
                    <a:pt x="1535" y="1134"/>
                    <a:pt x="1514" y="1145"/>
                    <a:pt x="1494" y="1154"/>
                  </a:cubicBezTo>
                  <a:cubicBezTo>
                    <a:pt x="1474" y="1163"/>
                    <a:pt x="1477" y="1177"/>
                    <a:pt x="1441" y="1185"/>
                  </a:cubicBezTo>
                  <a:cubicBezTo>
                    <a:pt x="1405" y="1194"/>
                    <a:pt x="1411" y="1204"/>
                    <a:pt x="1393" y="1210"/>
                  </a:cubicBezTo>
                  <a:cubicBezTo>
                    <a:pt x="1376" y="1216"/>
                    <a:pt x="1371" y="1211"/>
                    <a:pt x="1369" y="1221"/>
                  </a:cubicBezTo>
                  <a:cubicBezTo>
                    <a:pt x="1368" y="1231"/>
                    <a:pt x="1356" y="1227"/>
                    <a:pt x="1335" y="1226"/>
                  </a:cubicBezTo>
                  <a:cubicBezTo>
                    <a:pt x="1313" y="1224"/>
                    <a:pt x="1307" y="1241"/>
                    <a:pt x="1310" y="1253"/>
                  </a:cubicBezTo>
                  <a:cubicBezTo>
                    <a:pt x="1313" y="1264"/>
                    <a:pt x="1299" y="1279"/>
                    <a:pt x="1295" y="1297"/>
                  </a:cubicBezTo>
                  <a:cubicBezTo>
                    <a:pt x="1290" y="1316"/>
                    <a:pt x="1267" y="1307"/>
                    <a:pt x="1257" y="1317"/>
                  </a:cubicBezTo>
                  <a:cubicBezTo>
                    <a:pt x="1247" y="1327"/>
                    <a:pt x="1224" y="1323"/>
                    <a:pt x="1207" y="1323"/>
                  </a:cubicBezTo>
                  <a:cubicBezTo>
                    <a:pt x="1190" y="1323"/>
                    <a:pt x="1178" y="1309"/>
                    <a:pt x="1170" y="1293"/>
                  </a:cubicBezTo>
                  <a:cubicBezTo>
                    <a:pt x="1161" y="1277"/>
                    <a:pt x="1148" y="1274"/>
                    <a:pt x="1137" y="1270"/>
                  </a:cubicBezTo>
                  <a:cubicBezTo>
                    <a:pt x="1125" y="1266"/>
                    <a:pt x="1125" y="1257"/>
                    <a:pt x="1127" y="1246"/>
                  </a:cubicBezTo>
                  <a:cubicBezTo>
                    <a:pt x="1128" y="1234"/>
                    <a:pt x="1144" y="1241"/>
                    <a:pt x="1144" y="1230"/>
                  </a:cubicBezTo>
                  <a:cubicBezTo>
                    <a:pt x="1144" y="1218"/>
                    <a:pt x="1156" y="1226"/>
                    <a:pt x="1171" y="1218"/>
                  </a:cubicBezTo>
                  <a:cubicBezTo>
                    <a:pt x="1187" y="1211"/>
                    <a:pt x="1206" y="1211"/>
                    <a:pt x="1224" y="1211"/>
                  </a:cubicBezTo>
                  <a:cubicBezTo>
                    <a:pt x="1243" y="1211"/>
                    <a:pt x="1226" y="1187"/>
                    <a:pt x="1217" y="1174"/>
                  </a:cubicBezTo>
                  <a:cubicBezTo>
                    <a:pt x="1209" y="1161"/>
                    <a:pt x="1197" y="1167"/>
                    <a:pt x="1194" y="1155"/>
                  </a:cubicBezTo>
                  <a:cubicBezTo>
                    <a:pt x="1191" y="1144"/>
                    <a:pt x="1178" y="1138"/>
                    <a:pt x="1173" y="1138"/>
                  </a:cubicBezTo>
                  <a:cubicBezTo>
                    <a:pt x="1167" y="1138"/>
                    <a:pt x="1156" y="1132"/>
                    <a:pt x="1150" y="1125"/>
                  </a:cubicBezTo>
                  <a:cubicBezTo>
                    <a:pt x="1144" y="1118"/>
                    <a:pt x="1114" y="1131"/>
                    <a:pt x="1094" y="1132"/>
                  </a:cubicBezTo>
                  <a:cubicBezTo>
                    <a:pt x="1074" y="1134"/>
                    <a:pt x="1061" y="1131"/>
                    <a:pt x="1045" y="1120"/>
                  </a:cubicBezTo>
                  <a:cubicBezTo>
                    <a:pt x="1029" y="1108"/>
                    <a:pt x="1021" y="1127"/>
                    <a:pt x="1024" y="1131"/>
                  </a:cubicBezTo>
                  <a:cubicBezTo>
                    <a:pt x="1027" y="1135"/>
                    <a:pt x="1032" y="1138"/>
                    <a:pt x="1055" y="1147"/>
                  </a:cubicBezTo>
                  <a:cubicBezTo>
                    <a:pt x="1078" y="1155"/>
                    <a:pt x="1075" y="1170"/>
                    <a:pt x="1077" y="1190"/>
                  </a:cubicBezTo>
                  <a:cubicBezTo>
                    <a:pt x="1078" y="1210"/>
                    <a:pt x="1071" y="1216"/>
                    <a:pt x="1062" y="1236"/>
                  </a:cubicBezTo>
                  <a:cubicBezTo>
                    <a:pt x="1054" y="1256"/>
                    <a:pt x="1047" y="1257"/>
                    <a:pt x="1047" y="1271"/>
                  </a:cubicBezTo>
                  <a:cubicBezTo>
                    <a:pt x="1047" y="1286"/>
                    <a:pt x="1071" y="1289"/>
                    <a:pt x="1085" y="1292"/>
                  </a:cubicBezTo>
                  <a:cubicBezTo>
                    <a:pt x="1100" y="1294"/>
                    <a:pt x="1090" y="1306"/>
                    <a:pt x="1091" y="1333"/>
                  </a:cubicBezTo>
                  <a:cubicBezTo>
                    <a:pt x="1092" y="1360"/>
                    <a:pt x="1090" y="1353"/>
                    <a:pt x="1077" y="1362"/>
                  </a:cubicBezTo>
                  <a:cubicBezTo>
                    <a:pt x="1064" y="1370"/>
                    <a:pt x="1072" y="1383"/>
                    <a:pt x="1074" y="1393"/>
                  </a:cubicBezTo>
                  <a:cubicBezTo>
                    <a:pt x="1075" y="1403"/>
                    <a:pt x="1074" y="1418"/>
                    <a:pt x="1065" y="1416"/>
                  </a:cubicBezTo>
                  <a:cubicBezTo>
                    <a:pt x="1057" y="1415"/>
                    <a:pt x="1058" y="1402"/>
                    <a:pt x="1055" y="1392"/>
                  </a:cubicBezTo>
                  <a:cubicBezTo>
                    <a:pt x="1052" y="1382"/>
                    <a:pt x="1034" y="1393"/>
                    <a:pt x="1027" y="1403"/>
                  </a:cubicBezTo>
                  <a:cubicBezTo>
                    <a:pt x="1019" y="1413"/>
                    <a:pt x="1009" y="1399"/>
                    <a:pt x="1025" y="1389"/>
                  </a:cubicBezTo>
                  <a:cubicBezTo>
                    <a:pt x="1041" y="1379"/>
                    <a:pt x="1038" y="1370"/>
                    <a:pt x="1028" y="1368"/>
                  </a:cubicBezTo>
                  <a:cubicBezTo>
                    <a:pt x="1018" y="1365"/>
                    <a:pt x="1008" y="1359"/>
                    <a:pt x="992" y="1359"/>
                  </a:cubicBezTo>
                  <a:cubicBezTo>
                    <a:pt x="976" y="1359"/>
                    <a:pt x="972" y="1362"/>
                    <a:pt x="962" y="1352"/>
                  </a:cubicBezTo>
                  <a:cubicBezTo>
                    <a:pt x="952" y="1342"/>
                    <a:pt x="936" y="1357"/>
                    <a:pt x="923" y="1375"/>
                  </a:cubicBezTo>
                  <a:cubicBezTo>
                    <a:pt x="910" y="1392"/>
                    <a:pt x="892" y="1400"/>
                    <a:pt x="865" y="1403"/>
                  </a:cubicBezTo>
                  <a:cubicBezTo>
                    <a:pt x="837" y="1406"/>
                    <a:pt x="837" y="1438"/>
                    <a:pt x="810" y="1443"/>
                  </a:cubicBezTo>
                  <a:cubicBezTo>
                    <a:pt x="783" y="1449"/>
                    <a:pt x="790" y="1461"/>
                    <a:pt x="787" y="1471"/>
                  </a:cubicBezTo>
                  <a:cubicBezTo>
                    <a:pt x="784" y="1481"/>
                    <a:pt x="806" y="1498"/>
                    <a:pt x="822" y="1505"/>
                  </a:cubicBezTo>
                  <a:cubicBezTo>
                    <a:pt x="837" y="1512"/>
                    <a:pt x="836" y="1531"/>
                    <a:pt x="836" y="1550"/>
                  </a:cubicBezTo>
                  <a:cubicBezTo>
                    <a:pt x="836" y="1568"/>
                    <a:pt x="817" y="1558"/>
                    <a:pt x="807" y="1550"/>
                  </a:cubicBezTo>
                  <a:cubicBezTo>
                    <a:pt x="797" y="1541"/>
                    <a:pt x="787" y="1548"/>
                    <a:pt x="777" y="1554"/>
                  </a:cubicBezTo>
                  <a:cubicBezTo>
                    <a:pt x="767" y="1560"/>
                    <a:pt x="757" y="1550"/>
                    <a:pt x="748" y="1538"/>
                  </a:cubicBezTo>
                  <a:cubicBezTo>
                    <a:pt x="740" y="1527"/>
                    <a:pt x="714" y="1529"/>
                    <a:pt x="707" y="1534"/>
                  </a:cubicBezTo>
                  <a:cubicBezTo>
                    <a:pt x="700" y="1538"/>
                    <a:pt x="691" y="1537"/>
                    <a:pt x="688" y="1527"/>
                  </a:cubicBezTo>
                  <a:cubicBezTo>
                    <a:pt x="685" y="1517"/>
                    <a:pt x="665" y="1518"/>
                    <a:pt x="655" y="1499"/>
                  </a:cubicBezTo>
                  <a:cubicBezTo>
                    <a:pt x="645" y="1481"/>
                    <a:pt x="641" y="1489"/>
                    <a:pt x="621" y="1489"/>
                  </a:cubicBezTo>
                  <a:cubicBezTo>
                    <a:pt x="601" y="1489"/>
                    <a:pt x="609" y="1507"/>
                    <a:pt x="591" y="1517"/>
                  </a:cubicBezTo>
                  <a:cubicBezTo>
                    <a:pt x="572" y="1527"/>
                    <a:pt x="584" y="1541"/>
                    <a:pt x="594" y="1544"/>
                  </a:cubicBezTo>
                  <a:cubicBezTo>
                    <a:pt x="604" y="1547"/>
                    <a:pt x="612" y="1558"/>
                    <a:pt x="627" y="1572"/>
                  </a:cubicBezTo>
                  <a:cubicBezTo>
                    <a:pt x="641" y="1587"/>
                    <a:pt x="641" y="1580"/>
                    <a:pt x="660" y="1575"/>
                  </a:cubicBezTo>
                  <a:cubicBezTo>
                    <a:pt x="678" y="1571"/>
                    <a:pt x="681" y="1587"/>
                    <a:pt x="683" y="1604"/>
                  </a:cubicBezTo>
                  <a:cubicBezTo>
                    <a:pt x="684" y="1621"/>
                    <a:pt x="665" y="1623"/>
                    <a:pt x="658" y="1630"/>
                  </a:cubicBezTo>
                  <a:cubicBezTo>
                    <a:pt x="651" y="1637"/>
                    <a:pt x="637" y="1636"/>
                    <a:pt x="631" y="1627"/>
                  </a:cubicBezTo>
                  <a:cubicBezTo>
                    <a:pt x="625" y="1618"/>
                    <a:pt x="617" y="1621"/>
                    <a:pt x="602" y="1621"/>
                  </a:cubicBezTo>
                  <a:cubicBezTo>
                    <a:pt x="588" y="1621"/>
                    <a:pt x="574" y="1617"/>
                    <a:pt x="572" y="1607"/>
                  </a:cubicBezTo>
                  <a:cubicBezTo>
                    <a:pt x="571" y="1597"/>
                    <a:pt x="561" y="1595"/>
                    <a:pt x="551" y="1587"/>
                  </a:cubicBezTo>
                  <a:cubicBezTo>
                    <a:pt x="541" y="1578"/>
                    <a:pt x="521" y="1581"/>
                    <a:pt x="503" y="1581"/>
                  </a:cubicBezTo>
                  <a:cubicBezTo>
                    <a:pt x="486" y="1581"/>
                    <a:pt x="482" y="1568"/>
                    <a:pt x="483" y="1560"/>
                  </a:cubicBezTo>
                  <a:cubicBezTo>
                    <a:pt x="485" y="1551"/>
                    <a:pt x="485" y="1535"/>
                    <a:pt x="478" y="1518"/>
                  </a:cubicBezTo>
                  <a:cubicBezTo>
                    <a:pt x="470" y="1501"/>
                    <a:pt x="475" y="1495"/>
                    <a:pt x="462" y="1486"/>
                  </a:cubicBezTo>
                  <a:cubicBezTo>
                    <a:pt x="449" y="1478"/>
                    <a:pt x="465" y="1469"/>
                    <a:pt x="478" y="1449"/>
                  </a:cubicBezTo>
                  <a:cubicBezTo>
                    <a:pt x="490" y="1429"/>
                    <a:pt x="472" y="1426"/>
                    <a:pt x="470" y="1412"/>
                  </a:cubicBezTo>
                  <a:cubicBezTo>
                    <a:pt x="469" y="1398"/>
                    <a:pt x="445" y="1386"/>
                    <a:pt x="435" y="1382"/>
                  </a:cubicBezTo>
                  <a:cubicBezTo>
                    <a:pt x="425" y="1378"/>
                    <a:pt x="412" y="1373"/>
                    <a:pt x="397" y="1373"/>
                  </a:cubicBezTo>
                  <a:cubicBezTo>
                    <a:pt x="383" y="1373"/>
                    <a:pt x="394" y="1366"/>
                    <a:pt x="393" y="1356"/>
                  </a:cubicBezTo>
                  <a:cubicBezTo>
                    <a:pt x="392" y="1346"/>
                    <a:pt x="380" y="1347"/>
                    <a:pt x="374" y="1355"/>
                  </a:cubicBezTo>
                  <a:cubicBezTo>
                    <a:pt x="369" y="1362"/>
                    <a:pt x="356" y="1350"/>
                    <a:pt x="360" y="1343"/>
                  </a:cubicBezTo>
                  <a:cubicBezTo>
                    <a:pt x="364" y="1336"/>
                    <a:pt x="364" y="1332"/>
                    <a:pt x="350" y="1329"/>
                  </a:cubicBezTo>
                  <a:cubicBezTo>
                    <a:pt x="336" y="1326"/>
                    <a:pt x="341" y="1320"/>
                    <a:pt x="324" y="1303"/>
                  </a:cubicBezTo>
                  <a:cubicBezTo>
                    <a:pt x="307" y="1286"/>
                    <a:pt x="320" y="1283"/>
                    <a:pt x="337" y="1284"/>
                  </a:cubicBezTo>
                  <a:cubicBezTo>
                    <a:pt x="354" y="1286"/>
                    <a:pt x="366" y="1300"/>
                    <a:pt x="376" y="1316"/>
                  </a:cubicBezTo>
                  <a:cubicBezTo>
                    <a:pt x="386" y="1332"/>
                    <a:pt x="403" y="1327"/>
                    <a:pt x="416" y="1333"/>
                  </a:cubicBezTo>
                  <a:cubicBezTo>
                    <a:pt x="429" y="1339"/>
                    <a:pt x="455" y="1343"/>
                    <a:pt x="470" y="1346"/>
                  </a:cubicBezTo>
                  <a:cubicBezTo>
                    <a:pt x="486" y="1349"/>
                    <a:pt x="509" y="1357"/>
                    <a:pt x="529" y="1366"/>
                  </a:cubicBezTo>
                  <a:cubicBezTo>
                    <a:pt x="549" y="1375"/>
                    <a:pt x="588" y="1380"/>
                    <a:pt x="614" y="1380"/>
                  </a:cubicBezTo>
                  <a:cubicBezTo>
                    <a:pt x="640" y="1380"/>
                    <a:pt x="652" y="1398"/>
                    <a:pt x="693" y="1405"/>
                  </a:cubicBezTo>
                  <a:cubicBezTo>
                    <a:pt x="733" y="1412"/>
                    <a:pt x="789" y="1389"/>
                    <a:pt x="810" y="1375"/>
                  </a:cubicBezTo>
                  <a:cubicBezTo>
                    <a:pt x="832" y="1360"/>
                    <a:pt x="859" y="1342"/>
                    <a:pt x="880" y="1326"/>
                  </a:cubicBezTo>
                  <a:cubicBezTo>
                    <a:pt x="902" y="1310"/>
                    <a:pt x="899" y="1269"/>
                    <a:pt x="889" y="1263"/>
                  </a:cubicBezTo>
                  <a:cubicBezTo>
                    <a:pt x="879" y="1257"/>
                    <a:pt x="873" y="1247"/>
                    <a:pt x="872" y="1230"/>
                  </a:cubicBezTo>
                  <a:cubicBezTo>
                    <a:pt x="870" y="1213"/>
                    <a:pt x="862" y="1217"/>
                    <a:pt x="846" y="1217"/>
                  </a:cubicBezTo>
                  <a:cubicBezTo>
                    <a:pt x="830" y="1217"/>
                    <a:pt x="829" y="1211"/>
                    <a:pt x="823" y="1200"/>
                  </a:cubicBezTo>
                  <a:cubicBezTo>
                    <a:pt x="817" y="1188"/>
                    <a:pt x="809" y="1178"/>
                    <a:pt x="794" y="1178"/>
                  </a:cubicBezTo>
                  <a:cubicBezTo>
                    <a:pt x="780" y="1178"/>
                    <a:pt x="773" y="1168"/>
                    <a:pt x="753" y="1163"/>
                  </a:cubicBezTo>
                  <a:cubicBezTo>
                    <a:pt x="733" y="1157"/>
                    <a:pt x="743" y="1153"/>
                    <a:pt x="724" y="1153"/>
                  </a:cubicBezTo>
                  <a:cubicBezTo>
                    <a:pt x="705" y="1153"/>
                    <a:pt x="695" y="1148"/>
                    <a:pt x="671" y="1127"/>
                  </a:cubicBezTo>
                  <a:cubicBezTo>
                    <a:pt x="647" y="1105"/>
                    <a:pt x="625" y="1101"/>
                    <a:pt x="594" y="1082"/>
                  </a:cubicBezTo>
                  <a:cubicBezTo>
                    <a:pt x="562" y="1064"/>
                    <a:pt x="558" y="1075"/>
                    <a:pt x="539" y="1061"/>
                  </a:cubicBezTo>
                  <a:cubicBezTo>
                    <a:pt x="521" y="1046"/>
                    <a:pt x="508" y="1048"/>
                    <a:pt x="495" y="1056"/>
                  </a:cubicBezTo>
                  <a:cubicBezTo>
                    <a:pt x="482" y="1065"/>
                    <a:pt x="466" y="1054"/>
                    <a:pt x="460" y="1045"/>
                  </a:cubicBezTo>
                  <a:cubicBezTo>
                    <a:pt x="455" y="1036"/>
                    <a:pt x="425" y="1041"/>
                    <a:pt x="415" y="1041"/>
                  </a:cubicBezTo>
                  <a:cubicBezTo>
                    <a:pt x="404" y="1041"/>
                    <a:pt x="400" y="1041"/>
                    <a:pt x="399" y="1065"/>
                  </a:cubicBezTo>
                  <a:cubicBezTo>
                    <a:pt x="397" y="1089"/>
                    <a:pt x="377" y="1088"/>
                    <a:pt x="366" y="1082"/>
                  </a:cubicBezTo>
                  <a:cubicBezTo>
                    <a:pt x="354" y="1077"/>
                    <a:pt x="384" y="1064"/>
                    <a:pt x="389" y="1046"/>
                  </a:cubicBezTo>
                  <a:cubicBezTo>
                    <a:pt x="393" y="1029"/>
                    <a:pt x="377" y="1026"/>
                    <a:pt x="372" y="1035"/>
                  </a:cubicBezTo>
                  <a:cubicBezTo>
                    <a:pt x="366" y="1044"/>
                    <a:pt x="349" y="1045"/>
                    <a:pt x="349" y="1041"/>
                  </a:cubicBezTo>
                  <a:cubicBezTo>
                    <a:pt x="349" y="1036"/>
                    <a:pt x="341" y="1026"/>
                    <a:pt x="323" y="1021"/>
                  </a:cubicBezTo>
                  <a:cubicBezTo>
                    <a:pt x="304" y="1015"/>
                    <a:pt x="311" y="1002"/>
                    <a:pt x="324" y="1006"/>
                  </a:cubicBezTo>
                  <a:cubicBezTo>
                    <a:pt x="337" y="1011"/>
                    <a:pt x="357" y="1011"/>
                    <a:pt x="359" y="1003"/>
                  </a:cubicBezTo>
                  <a:cubicBezTo>
                    <a:pt x="360" y="996"/>
                    <a:pt x="354" y="988"/>
                    <a:pt x="337" y="988"/>
                  </a:cubicBezTo>
                  <a:cubicBezTo>
                    <a:pt x="320" y="988"/>
                    <a:pt x="324" y="979"/>
                    <a:pt x="310" y="972"/>
                  </a:cubicBezTo>
                  <a:cubicBezTo>
                    <a:pt x="296" y="965"/>
                    <a:pt x="281" y="970"/>
                    <a:pt x="293" y="982"/>
                  </a:cubicBezTo>
                  <a:cubicBezTo>
                    <a:pt x="304" y="993"/>
                    <a:pt x="277" y="985"/>
                    <a:pt x="267" y="1002"/>
                  </a:cubicBezTo>
                  <a:cubicBezTo>
                    <a:pt x="257" y="1019"/>
                    <a:pt x="237" y="1012"/>
                    <a:pt x="237" y="1002"/>
                  </a:cubicBezTo>
                  <a:cubicBezTo>
                    <a:pt x="237" y="995"/>
                    <a:pt x="234" y="992"/>
                    <a:pt x="227" y="990"/>
                  </a:cubicBezTo>
                  <a:cubicBezTo>
                    <a:pt x="224" y="998"/>
                    <a:pt x="226" y="1007"/>
                    <a:pt x="227" y="1013"/>
                  </a:cubicBezTo>
                  <a:cubicBezTo>
                    <a:pt x="229" y="1022"/>
                    <a:pt x="221" y="1023"/>
                    <a:pt x="211" y="1022"/>
                  </a:cubicBezTo>
                  <a:cubicBezTo>
                    <a:pt x="202" y="1022"/>
                    <a:pt x="202" y="1017"/>
                    <a:pt x="192" y="1013"/>
                  </a:cubicBezTo>
                  <a:cubicBezTo>
                    <a:pt x="181" y="1009"/>
                    <a:pt x="174" y="1022"/>
                    <a:pt x="170" y="1033"/>
                  </a:cubicBezTo>
                  <a:cubicBezTo>
                    <a:pt x="166" y="1044"/>
                    <a:pt x="156" y="1043"/>
                    <a:pt x="146" y="1043"/>
                  </a:cubicBezTo>
                  <a:cubicBezTo>
                    <a:pt x="136" y="1044"/>
                    <a:pt x="132" y="1056"/>
                    <a:pt x="125" y="1069"/>
                  </a:cubicBezTo>
                  <a:cubicBezTo>
                    <a:pt x="119" y="1078"/>
                    <a:pt x="109" y="1081"/>
                    <a:pt x="102" y="1078"/>
                  </a:cubicBezTo>
                  <a:cubicBezTo>
                    <a:pt x="99" y="1081"/>
                    <a:pt x="95" y="1085"/>
                    <a:pt x="91" y="1086"/>
                  </a:cubicBezTo>
                  <a:cubicBezTo>
                    <a:pt x="82" y="1087"/>
                    <a:pt x="72" y="1086"/>
                    <a:pt x="71" y="1090"/>
                  </a:cubicBezTo>
                  <a:cubicBezTo>
                    <a:pt x="70" y="1094"/>
                    <a:pt x="69" y="1098"/>
                    <a:pt x="76" y="1098"/>
                  </a:cubicBezTo>
                  <a:cubicBezTo>
                    <a:pt x="83" y="1098"/>
                    <a:pt x="89" y="1102"/>
                    <a:pt x="88" y="1107"/>
                  </a:cubicBezTo>
                  <a:cubicBezTo>
                    <a:pt x="87" y="1113"/>
                    <a:pt x="83" y="1118"/>
                    <a:pt x="78" y="1121"/>
                  </a:cubicBezTo>
                  <a:cubicBezTo>
                    <a:pt x="72" y="1125"/>
                    <a:pt x="73" y="1131"/>
                    <a:pt x="73" y="1139"/>
                  </a:cubicBezTo>
                  <a:cubicBezTo>
                    <a:pt x="73" y="1147"/>
                    <a:pt x="70" y="1153"/>
                    <a:pt x="80" y="1159"/>
                  </a:cubicBezTo>
                  <a:cubicBezTo>
                    <a:pt x="90" y="1165"/>
                    <a:pt x="93" y="1178"/>
                    <a:pt x="105" y="1178"/>
                  </a:cubicBezTo>
                  <a:cubicBezTo>
                    <a:pt x="118" y="1179"/>
                    <a:pt x="121" y="1179"/>
                    <a:pt x="134" y="1195"/>
                  </a:cubicBezTo>
                  <a:cubicBezTo>
                    <a:pt x="146" y="1212"/>
                    <a:pt x="156" y="1216"/>
                    <a:pt x="162" y="1220"/>
                  </a:cubicBezTo>
                  <a:cubicBezTo>
                    <a:pt x="168" y="1224"/>
                    <a:pt x="170" y="1235"/>
                    <a:pt x="160" y="1245"/>
                  </a:cubicBezTo>
                  <a:cubicBezTo>
                    <a:pt x="150" y="1255"/>
                    <a:pt x="135" y="1273"/>
                    <a:pt x="129" y="1281"/>
                  </a:cubicBezTo>
                  <a:cubicBezTo>
                    <a:pt x="122" y="1289"/>
                    <a:pt x="107" y="1300"/>
                    <a:pt x="109" y="1307"/>
                  </a:cubicBezTo>
                  <a:cubicBezTo>
                    <a:pt x="111" y="1315"/>
                    <a:pt x="103" y="1326"/>
                    <a:pt x="116" y="1331"/>
                  </a:cubicBezTo>
                  <a:cubicBezTo>
                    <a:pt x="128" y="1337"/>
                    <a:pt x="128" y="1341"/>
                    <a:pt x="134" y="1348"/>
                  </a:cubicBezTo>
                  <a:cubicBezTo>
                    <a:pt x="140" y="1355"/>
                    <a:pt x="147" y="1382"/>
                    <a:pt x="153" y="1389"/>
                  </a:cubicBezTo>
                  <a:cubicBezTo>
                    <a:pt x="159" y="1396"/>
                    <a:pt x="165" y="1405"/>
                    <a:pt x="167" y="1410"/>
                  </a:cubicBezTo>
                  <a:cubicBezTo>
                    <a:pt x="169" y="1415"/>
                    <a:pt x="181" y="1440"/>
                    <a:pt x="170" y="1442"/>
                  </a:cubicBezTo>
                  <a:cubicBezTo>
                    <a:pt x="159" y="1445"/>
                    <a:pt x="152" y="1450"/>
                    <a:pt x="152" y="1456"/>
                  </a:cubicBezTo>
                  <a:cubicBezTo>
                    <a:pt x="152" y="1463"/>
                    <a:pt x="144" y="1470"/>
                    <a:pt x="146" y="1476"/>
                  </a:cubicBezTo>
                  <a:cubicBezTo>
                    <a:pt x="148" y="1482"/>
                    <a:pt x="159" y="1492"/>
                    <a:pt x="154" y="1497"/>
                  </a:cubicBezTo>
                  <a:cubicBezTo>
                    <a:pt x="149" y="1502"/>
                    <a:pt x="145" y="1507"/>
                    <a:pt x="145" y="1515"/>
                  </a:cubicBezTo>
                  <a:cubicBezTo>
                    <a:pt x="145" y="1524"/>
                    <a:pt x="148" y="1535"/>
                    <a:pt x="154" y="1535"/>
                  </a:cubicBezTo>
                  <a:cubicBezTo>
                    <a:pt x="161" y="1536"/>
                    <a:pt x="170" y="1535"/>
                    <a:pt x="177" y="1542"/>
                  </a:cubicBezTo>
                  <a:cubicBezTo>
                    <a:pt x="184" y="1549"/>
                    <a:pt x="180" y="1554"/>
                    <a:pt x="172" y="1556"/>
                  </a:cubicBezTo>
                  <a:cubicBezTo>
                    <a:pt x="165" y="1559"/>
                    <a:pt x="166" y="1570"/>
                    <a:pt x="173" y="1575"/>
                  </a:cubicBezTo>
                  <a:cubicBezTo>
                    <a:pt x="180" y="1580"/>
                    <a:pt x="180" y="1585"/>
                    <a:pt x="188" y="1587"/>
                  </a:cubicBezTo>
                  <a:cubicBezTo>
                    <a:pt x="197" y="1588"/>
                    <a:pt x="206" y="1593"/>
                    <a:pt x="206" y="1600"/>
                  </a:cubicBezTo>
                  <a:cubicBezTo>
                    <a:pt x="206" y="1606"/>
                    <a:pt x="206" y="1616"/>
                    <a:pt x="196" y="1619"/>
                  </a:cubicBezTo>
                  <a:cubicBezTo>
                    <a:pt x="186" y="1623"/>
                    <a:pt x="155" y="1641"/>
                    <a:pt x="180" y="1653"/>
                  </a:cubicBezTo>
                  <a:cubicBezTo>
                    <a:pt x="204" y="1665"/>
                    <a:pt x="229" y="1686"/>
                    <a:pt x="239" y="1693"/>
                  </a:cubicBezTo>
                  <a:cubicBezTo>
                    <a:pt x="249" y="1699"/>
                    <a:pt x="250" y="1703"/>
                    <a:pt x="255" y="1709"/>
                  </a:cubicBezTo>
                  <a:cubicBezTo>
                    <a:pt x="260" y="1714"/>
                    <a:pt x="276" y="1726"/>
                    <a:pt x="257" y="1747"/>
                  </a:cubicBezTo>
                  <a:cubicBezTo>
                    <a:pt x="238" y="1767"/>
                    <a:pt x="171" y="1840"/>
                    <a:pt x="156" y="1854"/>
                  </a:cubicBezTo>
                  <a:cubicBezTo>
                    <a:pt x="140" y="1869"/>
                    <a:pt x="94" y="1908"/>
                    <a:pt x="81" y="1913"/>
                  </a:cubicBezTo>
                  <a:cubicBezTo>
                    <a:pt x="69" y="1919"/>
                    <a:pt x="56" y="1932"/>
                    <a:pt x="51" y="1936"/>
                  </a:cubicBezTo>
                  <a:cubicBezTo>
                    <a:pt x="47" y="1938"/>
                    <a:pt x="39" y="1946"/>
                    <a:pt x="32" y="1955"/>
                  </a:cubicBezTo>
                  <a:cubicBezTo>
                    <a:pt x="53" y="1956"/>
                    <a:pt x="75" y="1958"/>
                    <a:pt x="88" y="1972"/>
                  </a:cubicBezTo>
                  <a:cubicBezTo>
                    <a:pt x="104" y="1990"/>
                    <a:pt x="96" y="1981"/>
                    <a:pt x="135" y="1985"/>
                  </a:cubicBezTo>
                  <a:cubicBezTo>
                    <a:pt x="174" y="1990"/>
                    <a:pt x="174" y="2002"/>
                    <a:pt x="172" y="2011"/>
                  </a:cubicBezTo>
                  <a:cubicBezTo>
                    <a:pt x="171" y="2020"/>
                    <a:pt x="149" y="2010"/>
                    <a:pt x="129" y="2005"/>
                  </a:cubicBezTo>
                  <a:cubicBezTo>
                    <a:pt x="109" y="2001"/>
                    <a:pt x="111" y="2007"/>
                    <a:pt x="105" y="2018"/>
                  </a:cubicBezTo>
                  <a:cubicBezTo>
                    <a:pt x="99" y="2030"/>
                    <a:pt x="88" y="2030"/>
                    <a:pt x="68" y="2027"/>
                  </a:cubicBezTo>
                  <a:cubicBezTo>
                    <a:pt x="52" y="2025"/>
                    <a:pt x="48" y="2034"/>
                    <a:pt x="44" y="2045"/>
                  </a:cubicBezTo>
                  <a:cubicBezTo>
                    <a:pt x="53" y="2050"/>
                    <a:pt x="48" y="2059"/>
                    <a:pt x="52" y="2064"/>
                  </a:cubicBezTo>
                  <a:cubicBezTo>
                    <a:pt x="56" y="2069"/>
                    <a:pt x="56" y="2075"/>
                    <a:pt x="46" y="2078"/>
                  </a:cubicBezTo>
                  <a:cubicBezTo>
                    <a:pt x="37" y="2080"/>
                    <a:pt x="38" y="2094"/>
                    <a:pt x="25" y="2102"/>
                  </a:cubicBezTo>
                  <a:cubicBezTo>
                    <a:pt x="12" y="2110"/>
                    <a:pt x="6" y="2123"/>
                    <a:pt x="9" y="2136"/>
                  </a:cubicBezTo>
                  <a:cubicBezTo>
                    <a:pt x="12" y="2149"/>
                    <a:pt x="9" y="2155"/>
                    <a:pt x="7" y="2166"/>
                  </a:cubicBezTo>
                  <a:cubicBezTo>
                    <a:pt x="6" y="2177"/>
                    <a:pt x="24" y="2194"/>
                    <a:pt x="29" y="2206"/>
                  </a:cubicBezTo>
                  <a:cubicBezTo>
                    <a:pt x="35" y="2218"/>
                    <a:pt x="21" y="2212"/>
                    <a:pt x="11" y="2216"/>
                  </a:cubicBezTo>
                  <a:cubicBezTo>
                    <a:pt x="0" y="2221"/>
                    <a:pt x="5" y="2226"/>
                    <a:pt x="5" y="2236"/>
                  </a:cubicBezTo>
                  <a:cubicBezTo>
                    <a:pt x="5" y="2247"/>
                    <a:pt x="17" y="2250"/>
                    <a:pt x="27" y="2257"/>
                  </a:cubicBezTo>
                  <a:cubicBezTo>
                    <a:pt x="37" y="2265"/>
                    <a:pt x="29" y="2268"/>
                    <a:pt x="25" y="2276"/>
                  </a:cubicBezTo>
                  <a:cubicBezTo>
                    <a:pt x="20" y="2284"/>
                    <a:pt x="21" y="2294"/>
                    <a:pt x="26" y="2300"/>
                  </a:cubicBezTo>
                  <a:cubicBezTo>
                    <a:pt x="32" y="2305"/>
                    <a:pt x="29" y="2314"/>
                    <a:pt x="40" y="2326"/>
                  </a:cubicBezTo>
                  <a:cubicBezTo>
                    <a:pt x="51" y="2339"/>
                    <a:pt x="48" y="2349"/>
                    <a:pt x="50" y="2363"/>
                  </a:cubicBezTo>
                  <a:cubicBezTo>
                    <a:pt x="51" y="2376"/>
                    <a:pt x="73" y="2374"/>
                    <a:pt x="85" y="2376"/>
                  </a:cubicBezTo>
                  <a:cubicBezTo>
                    <a:pt x="97" y="2377"/>
                    <a:pt x="99" y="2379"/>
                    <a:pt x="113" y="2379"/>
                  </a:cubicBezTo>
                  <a:cubicBezTo>
                    <a:pt x="126" y="2379"/>
                    <a:pt x="124" y="2387"/>
                    <a:pt x="126" y="2398"/>
                  </a:cubicBezTo>
                  <a:cubicBezTo>
                    <a:pt x="129" y="2409"/>
                    <a:pt x="138" y="2410"/>
                    <a:pt x="149" y="2404"/>
                  </a:cubicBezTo>
                  <a:cubicBezTo>
                    <a:pt x="161" y="2398"/>
                    <a:pt x="159" y="2391"/>
                    <a:pt x="173" y="2392"/>
                  </a:cubicBezTo>
                  <a:cubicBezTo>
                    <a:pt x="186" y="2393"/>
                    <a:pt x="200" y="2404"/>
                    <a:pt x="218" y="2414"/>
                  </a:cubicBezTo>
                  <a:cubicBezTo>
                    <a:pt x="237" y="2424"/>
                    <a:pt x="217" y="2443"/>
                    <a:pt x="224" y="2450"/>
                  </a:cubicBezTo>
                  <a:cubicBezTo>
                    <a:pt x="231" y="2458"/>
                    <a:pt x="233" y="2465"/>
                    <a:pt x="226" y="2478"/>
                  </a:cubicBezTo>
                  <a:cubicBezTo>
                    <a:pt x="219" y="2491"/>
                    <a:pt x="229" y="2494"/>
                    <a:pt x="236" y="2506"/>
                  </a:cubicBezTo>
                  <a:cubicBezTo>
                    <a:pt x="243" y="2518"/>
                    <a:pt x="262" y="2549"/>
                    <a:pt x="273" y="2550"/>
                  </a:cubicBezTo>
                  <a:cubicBezTo>
                    <a:pt x="284" y="2552"/>
                    <a:pt x="285" y="2561"/>
                    <a:pt x="287" y="2572"/>
                  </a:cubicBezTo>
                  <a:cubicBezTo>
                    <a:pt x="288" y="2582"/>
                    <a:pt x="302" y="2577"/>
                    <a:pt x="311" y="2577"/>
                  </a:cubicBezTo>
                  <a:cubicBezTo>
                    <a:pt x="321" y="2577"/>
                    <a:pt x="323" y="2590"/>
                    <a:pt x="334" y="2600"/>
                  </a:cubicBezTo>
                  <a:cubicBezTo>
                    <a:pt x="345" y="2610"/>
                    <a:pt x="339" y="2611"/>
                    <a:pt x="337" y="2617"/>
                  </a:cubicBezTo>
                  <a:cubicBezTo>
                    <a:pt x="335" y="2622"/>
                    <a:pt x="327" y="2630"/>
                    <a:pt x="316" y="2631"/>
                  </a:cubicBezTo>
                  <a:cubicBezTo>
                    <a:pt x="305" y="2631"/>
                    <a:pt x="304" y="2642"/>
                    <a:pt x="296" y="2642"/>
                  </a:cubicBezTo>
                  <a:cubicBezTo>
                    <a:pt x="289" y="2643"/>
                    <a:pt x="285" y="2636"/>
                    <a:pt x="271" y="2630"/>
                  </a:cubicBezTo>
                  <a:cubicBezTo>
                    <a:pt x="257" y="2623"/>
                    <a:pt x="258" y="2634"/>
                    <a:pt x="253" y="2643"/>
                  </a:cubicBezTo>
                  <a:cubicBezTo>
                    <a:pt x="249" y="2652"/>
                    <a:pt x="252" y="2654"/>
                    <a:pt x="259" y="2657"/>
                  </a:cubicBezTo>
                  <a:cubicBezTo>
                    <a:pt x="266" y="2661"/>
                    <a:pt x="264" y="2670"/>
                    <a:pt x="269" y="2679"/>
                  </a:cubicBezTo>
                  <a:cubicBezTo>
                    <a:pt x="275" y="2689"/>
                    <a:pt x="263" y="2686"/>
                    <a:pt x="267" y="2697"/>
                  </a:cubicBezTo>
                  <a:cubicBezTo>
                    <a:pt x="271" y="2707"/>
                    <a:pt x="277" y="2715"/>
                    <a:pt x="285" y="2723"/>
                  </a:cubicBezTo>
                  <a:cubicBezTo>
                    <a:pt x="293" y="2732"/>
                    <a:pt x="308" y="2726"/>
                    <a:pt x="312" y="2717"/>
                  </a:cubicBezTo>
                  <a:cubicBezTo>
                    <a:pt x="316" y="2709"/>
                    <a:pt x="322" y="2708"/>
                    <a:pt x="328" y="2705"/>
                  </a:cubicBezTo>
                  <a:cubicBezTo>
                    <a:pt x="334" y="2701"/>
                    <a:pt x="338" y="2711"/>
                    <a:pt x="352" y="2713"/>
                  </a:cubicBezTo>
                  <a:cubicBezTo>
                    <a:pt x="365" y="2716"/>
                    <a:pt x="369" y="2703"/>
                    <a:pt x="376" y="2696"/>
                  </a:cubicBezTo>
                  <a:cubicBezTo>
                    <a:pt x="384" y="2689"/>
                    <a:pt x="395" y="2706"/>
                    <a:pt x="399" y="2700"/>
                  </a:cubicBezTo>
                  <a:cubicBezTo>
                    <a:pt x="404" y="2694"/>
                    <a:pt x="406" y="2703"/>
                    <a:pt x="416" y="2705"/>
                  </a:cubicBezTo>
                  <a:cubicBezTo>
                    <a:pt x="427" y="2708"/>
                    <a:pt x="429" y="2729"/>
                    <a:pt x="440" y="2739"/>
                  </a:cubicBezTo>
                  <a:cubicBezTo>
                    <a:pt x="450" y="2748"/>
                    <a:pt x="442" y="2750"/>
                    <a:pt x="436" y="2751"/>
                  </a:cubicBezTo>
                  <a:cubicBezTo>
                    <a:pt x="430" y="2752"/>
                    <a:pt x="428" y="2759"/>
                    <a:pt x="431" y="2763"/>
                  </a:cubicBezTo>
                  <a:cubicBezTo>
                    <a:pt x="434" y="2767"/>
                    <a:pt x="436" y="2776"/>
                    <a:pt x="437" y="2789"/>
                  </a:cubicBezTo>
                  <a:cubicBezTo>
                    <a:pt x="438" y="2801"/>
                    <a:pt x="450" y="2795"/>
                    <a:pt x="461" y="2802"/>
                  </a:cubicBezTo>
                  <a:cubicBezTo>
                    <a:pt x="473" y="2808"/>
                    <a:pt x="480" y="2797"/>
                    <a:pt x="489" y="2799"/>
                  </a:cubicBezTo>
                  <a:cubicBezTo>
                    <a:pt x="498" y="2800"/>
                    <a:pt x="504" y="2818"/>
                    <a:pt x="510" y="2830"/>
                  </a:cubicBezTo>
                  <a:cubicBezTo>
                    <a:pt x="516" y="2842"/>
                    <a:pt x="517" y="2864"/>
                    <a:pt x="522" y="2869"/>
                  </a:cubicBezTo>
                  <a:cubicBezTo>
                    <a:pt x="526" y="2873"/>
                    <a:pt x="537" y="2874"/>
                    <a:pt x="540" y="2869"/>
                  </a:cubicBezTo>
                  <a:cubicBezTo>
                    <a:pt x="543" y="2864"/>
                    <a:pt x="549" y="2867"/>
                    <a:pt x="557" y="2868"/>
                  </a:cubicBezTo>
                  <a:cubicBezTo>
                    <a:pt x="566" y="2869"/>
                    <a:pt x="572" y="2881"/>
                    <a:pt x="581" y="2883"/>
                  </a:cubicBezTo>
                  <a:cubicBezTo>
                    <a:pt x="590" y="2886"/>
                    <a:pt x="599" y="2882"/>
                    <a:pt x="602" y="2874"/>
                  </a:cubicBezTo>
                  <a:cubicBezTo>
                    <a:pt x="605" y="2867"/>
                    <a:pt x="622" y="2870"/>
                    <a:pt x="628" y="2865"/>
                  </a:cubicBezTo>
                  <a:cubicBezTo>
                    <a:pt x="634" y="2859"/>
                    <a:pt x="651" y="2884"/>
                    <a:pt x="665" y="2898"/>
                  </a:cubicBezTo>
                  <a:cubicBezTo>
                    <a:pt x="679" y="2912"/>
                    <a:pt x="684" y="2901"/>
                    <a:pt x="693" y="2900"/>
                  </a:cubicBezTo>
                  <a:cubicBezTo>
                    <a:pt x="703" y="2899"/>
                    <a:pt x="716" y="2905"/>
                    <a:pt x="724" y="2915"/>
                  </a:cubicBezTo>
                  <a:cubicBezTo>
                    <a:pt x="732" y="2926"/>
                    <a:pt x="743" y="2916"/>
                    <a:pt x="751" y="2912"/>
                  </a:cubicBezTo>
                  <a:cubicBezTo>
                    <a:pt x="758" y="2908"/>
                    <a:pt x="769" y="2920"/>
                    <a:pt x="780" y="2932"/>
                  </a:cubicBezTo>
                  <a:cubicBezTo>
                    <a:pt x="792" y="2943"/>
                    <a:pt x="796" y="2937"/>
                    <a:pt x="805" y="2936"/>
                  </a:cubicBezTo>
                  <a:cubicBezTo>
                    <a:pt x="813" y="2934"/>
                    <a:pt x="817" y="2942"/>
                    <a:pt x="816" y="2950"/>
                  </a:cubicBezTo>
                  <a:cubicBezTo>
                    <a:pt x="816" y="2958"/>
                    <a:pt x="816" y="2962"/>
                    <a:pt x="805" y="2972"/>
                  </a:cubicBezTo>
                  <a:cubicBezTo>
                    <a:pt x="794" y="2983"/>
                    <a:pt x="803" y="2987"/>
                    <a:pt x="807" y="2994"/>
                  </a:cubicBezTo>
                  <a:cubicBezTo>
                    <a:pt x="811" y="3000"/>
                    <a:pt x="802" y="3001"/>
                    <a:pt x="793" y="3003"/>
                  </a:cubicBezTo>
                  <a:cubicBezTo>
                    <a:pt x="783" y="3004"/>
                    <a:pt x="787" y="3016"/>
                    <a:pt x="791" y="3021"/>
                  </a:cubicBezTo>
                  <a:cubicBezTo>
                    <a:pt x="796" y="3026"/>
                    <a:pt x="796" y="3030"/>
                    <a:pt x="801" y="3038"/>
                  </a:cubicBezTo>
                  <a:cubicBezTo>
                    <a:pt x="806" y="3046"/>
                    <a:pt x="809" y="3046"/>
                    <a:pt x="807" y="3054"/>
                  </a:cubicBezTo>
                  <a:cubicBezTo>
                    <a:pt x="804" y="3062"/>
                    <a:pt x="799" y="3062"/>
                    <a:pt x="796" y="3073"/>
                  </a:cubicBezTo>
                  <a:cubicBezTo>
                    <a:pt x="794" y="3084"/>
                    <a:pt x="763" y="3077"/>
                    <a:pt x="745" y="3077"/>
                  </a:cubicBezTo>
                  <a:cubicBezTo>
                    <a:pt x="726" y="3077"/>
                    <a:pt x="725" y="3091"/>
                    <a:pt x="714" y="3095"/>
                  </a:cubicBezTo>
                  <a:cubicBezTo>
                    <a:pt x="703" y="3099"/>
                    <a:pt x="702" y="3106"/>
                    <a:pt x="693" y="3112"/>
                  </a:cubicBezTo>
                  <a:cubicBezTo>
                    <a:pt x="687" y="3116"/>
                    <a:pt x="688" y="3130"/>
                    <a:pt x="688" y="3137"/>
                  </a:cubicBezTo>
                  <a:cubicBezTo>
                    <a:pt x="695" y="3134"/>
                    <a:pt x="701" y="3132"/>
                    <a:pt x="710" y="3131"/>
                  </a:cubicBezTo>
                  <a:cubicBezTo>
                    <a:pt x="727" y="3128"/>
                    <a:pt x="734" y="3118"/>
                    <a:pt x="753" y="3126"/>
                  </a:cubicBezTo>
                  <a:cubicBezTo>
                    <a:pt x="771" y="3135"/>
                    <a:pt x="750" y="3139"/>
                    <a:pt x="744" y="3139"/>
                  </a:cubicBezTo>
                  <a:cubicBezTo>
                    <a:pt x="738" y="3139"/>
                    <a:pt x="738" y="3152"/>
                    <a:pt x="730" y="3153"/>
                  </a:cubicBezTo>
                  <a:cubicBezTo>
                    <a:pt x="721" y="3155"/>
                    <a:pt x="705" y="3156"/>
                    <a:pt x="703" y="3169"/>
                  </a:cubicBezTo>
                  <a:cubicBezTo>
                    <a:pt x="700" y="3182"/>
                    <a:pt x="677" y="3169"/>
                    <a:pt x="670" y="3182"/>
                  </a:cubicBezTo>
                  <a:cubicBezTo>
                    <a:pt x="662" y="3195"/>
                    <a:pt x="678" y="3196"/>
                    <a:pt x="700" y="3206"/>
                  </a:cubicBezTo>
                  <a:cubicBezTo>
                    <a:pt x="721" y="3217"/>
                    <a:pt x="700" y="3218"/>
                    <a:pt x="684" y="3218"/>
                  </a:cubicBezTo>
                  <a:cubicBezTo>
                    <a:pt x="668" y="3218"/>
                    <a:pt x="677" y="3232"/>
                    <a:pt x="662" y="3241"/>
                  </a:cubicBezTo>
                  <a:cubicBezTo>
                    <a:pt x="648" y="3249"/>
                    <a:pt x="652" y="3249"/>
                    <a:pt x="652" y="3267"/>
                  </a:cubicBezTo>
                  <a:cubicBezTo>
                    <a:pt x="652" y="3284"/>
                    <a:pt x="625" y="3274"/>
                    <a:pt x="611" y="3274"/>
                  </a:cubicBezTo>
                  <a:cubicBezTo>
                    <a:pt x="597" y="3274"/>
                    <a:pt x="592" y="3291"/>
                    <a:pt x="592" y="3300"/>
                  </a:cubicBezTo>
                  <a:cubicBezTo>
                    <a:pt x="592" y="3308"/>
                    <a:pt x="614" y="3303"/>
                    <a:pt x="627" y="3311"/>
                  </a:cubicBezTo>
                  <a:cubicBezTo>
                    <a:pt x="640" y="3320"/>
                    <a:pt x="650" y="3338"/>
                    <a:pt x="667" y="3337"/>
                  </a:cubicBezTo>
                  <a:cubicBezTo>
                    <a:pt x="684" y="3335"/>
                    <a:pt x="687" y="3357"/>
                    <a:pt x="724" y="3366"/>
                  </a:cubicBezTo>
                  <a:cubicBezTo>
                    <a:pt x="757" y="3373"/>
                    <a:pt x="772" y="3407"/>
                    <a:pt x="797" y="3425"/>
                  </a:cubicBezTo>
                  <a:cubicBezTo>
                    <a:pt x="802" y="3424"/>
                    <a:pt x="807" y="3423"/>
                    <a:pt x="810" y="3422"/>
                  </a:cubicBezTo>
                  <a:cubicBezTo>
                    <a:pt x="816" y="3421"/>
                    <a:pt x="828" y="3419"/>
                    <a:pt x="834" y="3422"/>
                  </a:cubicBezTo>
                  <a:cubicBezTo>
                    <a:pt x="840" y="3425"/>
                    <a:pt x="851" y="3422"/>
                    <a:pt x="860" y="3425"/>
                  </a:cubicBezTo>
                  <a:cubicBezTo>
                    <a:pt x="870" y="3429"/>
                    <a:pt x="885" y="3441"/>
                    <a:pt x="899" y="3447"/>
                  </a:cubicBezTo>
                  <a:cubicBezTo>
                    <a:pt x="912" y="3452"/>
                    <a:pt x="919" y="3453"/>
                    <a:pt x="936" y="3451"/>
                  </a:cubicBezTo>
                  <a:cubicBezTo>
                    <a:pt x="952" y="3450"/>
                    <a:pt x="988" y="3446"/>
                    <a:pt x="995" y="3454"/>
                  </a:cubicBezTo>
                  <a:cubicBezTo>
                    <a:pt x="1001" y="3462"/>
                    <a:pt x="1008" y="3470"/>
                    <a:pt x="1020" y="3472"/>
                  </a:cubicBezTo>
                  <a:cubicBezTo>
                    <a:pt x="1031" y="3474"/>
                    <a:pt x="1038" y="3476"/>
                    <a:pt x="1040" y="3482"/>
                  </a:cubicBezTo>
                  <a:cubicBezTo>
                    <a:pt x="1041" y="3488"/>
                    <a:pt x="1050" y="3499"/>
                    <a:pt x="1057" y="3499"/>
                  </a:cubicBezTo>
                  <a:cubicBezTo>
                    <a:pt x="1064" y="3499"/>
                    <a:pt x="1073" y="3495"/>
                    <a:pt x="1077" y="3490"/>
                  </a:cubicBezTo>
                  <a:cubicBezTo>
                    <a:pt x="1081" y="3485"/>
                    <a:pt x="1087" y="3483"/>
                    <a:pt x="1101" y="3483"/>
                  </a:cubicBezTo>
                  <a:cubicBezTo>
                    <a:pt x="1114" y="3483"/>
                    <a:pt x="1131" y="3479"/>
                    <a:pt x="1134" y="3486"/>
                  </a:cubicBezTo>
                  <a:cubicBezTo>
                    <a:pt x="1137" y="3494"/>
                    <a:pt x="1138" y="3498"/>
                    <a:pt x="1148" y="3498"/>
                  </a:cubicBezTo>
                  <a:cubicBezTo>
                    <a:pt x="1159" y="3498"/>
                    <a:pt x="1173" y="3503"/>
                    <a:pt x="1173" y="3515"/>
                  </a:cubicBezTo>
                  <a:cubicBezTo>
                    <a:pt x="1173" y="3526"/>
                    <a:pt x="1157" y="3526"/>
                    <a:pt x="1175" y="3535"/>
                  </a:cubicBezTo>
                  <a:cubicBezTo>
                    <a:pt x="1176" y="3535"/>
                    <a:pt x="1177" y="3536"/>
                    <a:pt x="1178" y="3536"/>
                  </a:cubicBezTo>
                  <a:cubicBezTo>
                    <a:pt x="1178" y="3536"/>
                    <a:pt x="1178" y="3536"/>
                    <a:pt x="1178" y="3536"/>
                  </a:cubicBezTo>
                  <a:cubicBezTo>
                    <a:pt x="1179" y="3537"/>
                    <a:pt x="1180" y="3537"/>
                    <a:pt x="1181" y="3537"/>
                  </a:cubicBezTo>
                  <a:cubicBezTo>
                    <a:pt x="1181" y="3537"/>
                    <a:pt x="1181" y="3537"/>
                    <a:pt x="1181" y="3537"/>
                  </a:cubicBezTo>
                  <a:cubicBezTo>
                    <a:pt x="1182" y="3537"/>
                    <a:pt x="1183" y="3538"/>
                    <a:pt x="1184" y="3538"/>
                  </a:cubicBezTo>
                  <a:cubicBezTo>
                    <a:pt x="1184" y="3538"/>
                    <a:pt x="1184" y="3538"/>
                    <a:pt x="1184" y="3538"/>
                  </a:cubicBezTo>
                  <a:cubicBezTo>
                    <a:pt x="1197" y="3541"/>
                    <a:pt x="1207" y="3536"/>
                    <a:pt x="1215" y="3543"/>
                  </a:cubicBezTo>
                  <a:cubicBezTo>
                    <a:pt x="1215" y="3543"/>
                    <a:pt x="1215" y="3543"/>
                    <a:pt x="1215" y="3543"/>
                  </a:cubicBezTo>
                  <a:cubicBezTo>
                    <a:pt x="1215" y="3543"/>
                    <a:pt x="1215" y="3543"/>
                    <a:pt x="1215" y="3544"/>
                  </a:cubicBezTo>
                  <a:cubicBezTo>
                    <a:pt x="1225" y="3553"/>
                    <a:pt x="1236" y="3552"/>
                    <a:pt x="1246" y="3566"/>
                  </a:cubicBezTo>
                  <a:cubicBezTo>
                    <a:pt x="1256" y="3580"/>
                    <a:pt x="1272" y="3598"/>
                    <a:pt x="1281" y="3600"/>
                  </a:cubicBezTo>
                  <a:cubicBezTo>
                    <a:pt x="1290" y="3602"/>
                    <a:pt x="1303" y="3605"/>
                    <a:pt x="1308" y="3597"/>
                  </a:cubicBezTo>
                  <a:cubicBezTo>
                    <a:pt x="1313" y="3589"/>
                    <a:pt x="1316" y="3584"/>
                    <a:pt x="1328" y="3583"/>
                  </a:cubicBezTo>
                  <a:cubicBezTo>
                    <a:pt x="1339" y="3581"/>
                    <a:pt x="1339" y="3575"/>
                    <a:pt x="1345" y="3567"/>
                  </a:cubicBezTo>
                  <a:cubicBezTo>
                    <a:pt x="1348" y="3563"/>
                    <a:pt x="1352" y="3554"/>
                    <a:pt x="1354" y="3548"/>
                  </a:cubicBezTo>
                  <a:cubicBezTo>
                    <a:pt x="1354" y="3548"/>
                    <a:pt x="1354" y="3548"/>
                    <a:pt x="1354" y="3548"/>
                  </a:cubicBezTo>
                  <a:cubicBezTo>
                    <a:pt x="1354" y="3547"/>
                    <a:pt x="1353" y="3547"/>
                    <a:pt x="1352" y="3546"/>
                  </a:cubicBezTo>
                  <a:cubicBezTo>
                    <a:pt x="1345" y="3542"/>
                    <a:pt x="1338" y="3538"/>
                    <a:pt x="1333" y="3525"/>
                  </a:cubicBezTo>
                  <a:cubicBezTo>
                    <a:pt x="1328" y="3512"/>
                    <a:pt x="1309" y="3494"/>
                    <a:pt x="1296" y="3481"/>
                  </a:cubicBezTo>
                  <a:cubicBezTo>
                    <a:pt x="1283" y="3468"/>
                    <a:pt x="1288" y="3434"/>
                    <a:pt x="1288" y="3420"/>
                  </a:cubicBezTo>
                  <a:cubicBezTo>
                    <a:pt x="1288" y="3406"/>
                    <a:pt x="1288" y="3402"/>
                    <a:pt x="1283" y="3395"/>
                  </a:cubicBezTo>
                  <a:cubicBezTo>
                    <a:pt x="1278" y="3388"/>
                    <a:pt x="1274" y="3382"/>
                    <a:pt x="1267" y="3372"/>
                  </a:cubicBezTo>
                  <a:cubicBezTo>
                    <a:pt x="1260" y="3362"/>
                    <a:pt x="1251" y="3359"/>
                    <a:pt x="1240" y="3353"/>
                  </a:cubicBezTo>
                  <a:cubicBezTo>
                    <a:pt x="1229" y="3347"/>
                    <a:pt x="1233" y="3332"/>
                    <a:pt x="1247" y="3326"/>
                  </a:cubicBezTo>
                  <a:cubicBezTo>
                    <a:pt x="1261" y="3320"/>
                    <a:pt x="1251" y="3314"/>
                    <a:pt x="1263" y="3306"/>
                  </a:cubicBezTo>
                  <a:cubicBezTo>
                    <a:pt x="1275" y="3298"/>
                    <a:pt x="1273" y="3290"/>
                    <a:pt x="1280" y="3281"/>
                  </a:cubicBezTo>
                  <a:cubicBezTo>
                    <a:pt x="1287" y="3272"/>
                    <a:pt x="1287" y="3270"/>
                    <a:pt x="1287" y="3260"/>
                  </a:cubicBezTo>
                  <a:cubicBezTo>
                    <a:pt x="1287" y="3250"/>
                    <a:pt x="1312" y="3252"/>
                    <a:pt x="1312" y="3252"/>
                  </a:cubicBezTo>
                  <a:cubicBezTo>
                    <a:pt x="1323" y="3251"/>
                    <a:pt x="1326" y="3260"/>
                    <a:pt x="1332" y="3250"/>
                  </a:cubicBezTo>
                  <a:cubicBezTo>
                    <a:pt x="1338" y="3240"/>
                    <a:pt x="1339" y="3243"/>
                    <a:pt x="1348" y="3239"/>
                  </a:cubicBezTo>
                  <a:cubicBezTo>
                    <a:pt x="1357" y="3235"/>
                    <a:pt x="1357" y="3240"/>
                    <a:pt x="1363" y="3245"/>
                  </a:cubicBezTo>
                  <a:cubicBezTo>
                    <a:pt x="1369" y="3250"/>
                    <a:pt x="1374" y="3231"/>
                    <a:pt x="1375" y="3225"/>
                  </a:cubicBezTo>
                  <a:cubicBezTo>
                    <a:pt x="1376" y="3219"/>
                    <a:pt x="1379" y="3216"/>
                    <a:pt x="1389" y="3215"/>
                  </a:cubicBezTo>
                  <a:cubicBezTo>
                    <a:pt x="1390" y="3215"/>
                    <a:pt x="1390" y="3215"/>
                    <a:pt x="1391" y="3215"/>
                  </a:cubicBezTo>
                  <a:cubicBezTo>
                    <a:pt x="1391" y="3215"/>
                    <a:pt x="1391" y="3215"/>
                    <a:pt x="1392" y="3215"/>
                  </a:cubicBezTo>
                  <a:cubicBezTo>
                    <a:pt x="1392" y="3215"/>
                    <a:pt x="1393" y="3214"/>
                    <a:pt x="1393" y="3214"/>
                  </a:cubicBezTo>
                  <a:cubicBezTo>
                    <a:pt x="1393" y="3214"/>
                    <a:pt x="1393" y="3214"/>
                    <a:pt x="1393" y="3214"/>
                  </a:cubicBezTo>
                  <a:cubicBezTo>
                    <a:pt x="1394" y="3214"/>
                    <a:pt x="1394" y="3214"/>
                    <a:pt x="1395" y="3214"/>
                  </a:cubicBezTo>
                  <a:cubicBezTo>
                    <a:pt x="1395" y="3214"/>
                    <a:pt x="1395" y="3214"/>
                    <a:pt x="1395" y="3214"/>
                  </a:cubicBezTo>
                  <a:cubicBezTo>
                    <a:pt x="1396" y="3214"/>
                    <a:pt x="1396" y="3213"/>
                    <a:pt x="1396" y="3213"/>
                  </a:cubicBezTo>
                  <a:cubicBezTo>
                    <a:pt x="1396" y="3213"/>
                    <a:pt x="1396" y="3213"/>
                    <a:pt x="1396" y="3213"/>
                  </a:cubicBezTo>
                  <a:cubicBezTo>
                    <a:pt x="1397" y="3213"/>
                    <a:pt x="1397" y="3213"/>
                    <a:pt x="1397" y="3212"/>
                  </a:cubicBezTo>
                  <a:cubicBezTo>
                    <a:pt x="1397" y="3212"/>
                    <a:pt x="1397" y="3212"/>
                    <a:pt x="1397" y="3212"/>
                  </a:cubicBezTo>
                  <a:cubicBezTo>
                    <a:pt x="1398" y="3212"/>
                    <a:pt x="1398" y="3212"/>
                    <a:pt x="1398" y="3211"/>
                  </a:cubicBezTo>
                  <a:cubicBezTo>
                    <a:pt x="1398" y="3211"/>
                    <a:pt x="1398" y="3211"/>
                    <a:pt x="1398" y="3211"/>
                  </a:cubicBezTo>
                  <a:cubicBezTo>
                    <a:pt x="1398" y="3211"/>
                    <a:pt x="1399" y="3211"/>
                    <a:pt x="1399" y="3210"/>
                  </a:cubicBezTo>
                  <a:cubicBezTo>
                    <a:pt x="1399" y="3210"/>
                    <a:pt x="1399" y="3210"/>
                    <a:pt x="1399" y="3210"/>
                  </a:cubicBezTo>
                  <a:cubicBezTo>
                    <a:pt x="1399" y="3210"/>
                    <a:pt x="1399" y="3209"/>
                    <a:pt x="1399" y="3209"/>
                  </a:cubicBezTo>
                  <a:cubicBezTo>
                    <a:pt x="1399" y="3209"/>
                    <a:pt x="1399" y="3209"/>
                    <a:pt x="1399" y="3209"/>
                  </a:cubicBezTo>
                  <a:cubicBezTo>
                    <a:pt x="1386" y="3196"/>
                    <a:pt x="1375" y="3194"/>
                    <a:pt x="1361" y="3188"/>
                  </a:cubicBezTo>
                  <a:cubicBezTo>
                    <a:pt x="1343" y="3180"/>
                    <a:pt x="1373" y="3168"/>
                    <a:pt x="1374" y="3161"/>
                  </a:cubicBezTo>
                  <a:cubicBezTo>
                    <a:pt x="1375" y="3154"/>
                    <a:pt x="1364" y="3140"/>
                    <a:pt x="1357" y="3134"/>
                  </a:cubicBezTo>
                  <a:cubicBezTo>
                    <a:pt x="1349" y="3129"/>
                    <a:pt x="1340" y="3111"/>
                    <a:pt x="1333" y="3099"/>
                  </a:cubicBezTo>
                  <a:cubicBezTo>
                    <a:pt x="1325" y="3087"/>
                    <a:pt x="1304" y="3087"/>
                    <a:pt x="1295" y="3084"/>
                  </a:cubicBezTo>
                  <a:cubicBezTo>
                    <a:pt x="1285" y="3082"/>
                    <a:pt x="1280" y="3089"/>
                    <a:pt x="1269" y="3089"/>
                  </a:cubicBezTo>
                  <a:cubicBezTo>
                    <a:pt x="1259" y="3089"/>
                    <a:pt x="1256" y="3066"/>
                    <a:pt x="1255" y="3052"/>
                  </a:cubicBezTo>
                  <a:cubicBezTo>
                    <a:pt x="1255" y="3037"/>
                    <a:pt x="1235" y="3042"/>
                    <a:pt x="1223" y="3031"/>
                  </a:cubicBezTo>
                  <a:cubicBezTo>
                    <a:pt x="1211" y="3020"/>
                    <a:pt x="1225" y="3018"/>
                    <a:pt x="1227" y="3009"/>
                  </a:cubicBezTo>
                  <a:cubicBezTo>
                    <a:pt x="1229" y="3000"/>
                    <a:pt x="1239" y="2991"/>
                    <a:pt x="1250" y="2982"/>
                  </a:cubicBezTo>
                  <a:cubicBezTo>
                    <a:pt x="1261" y="2972"/>
                    <a:pt x="1249" y="2962"/>
                    <a:pt x="1243" y="2955"/>
                  </a:cubicBezTo>
                  <a:cubicBezTo>
                    <a:pt x="1237" y="2948"/>
                    <a:pt x="1240" y="2934"/>
                    <a:pt x="1244" y="2926"/>
                  </a:cubicBezTo>
                  <a:cubicBezTo>
                    <a:pt x="1248" y="2918"/>
                    <a:pt x="1253" y="2908"/>
                    <a:pt x="1266" y="2902"/>
                  </a:cubicBezTo>
                  <a:cubicBezTo>
                    <a:pt x="1279" y="2895"/>
                    <a:pt x="1271" y="2882"/>
                    <a:pt x="1279" y="2872"/>
                  </a:cubicBezTo>
                  <a:cubicBezTo>
                    <a:pt x="1288" y="2863"/>
                    <a:pt x="1295" y="2868"/>
                    <a:pt x="1301" y="2876"/>
                  </a:cubicBezTo>
                  <a:cubicBezTo>
                    <a:pt x="1307" y="2883"/>
                    <a:pt x="1318" y="2888"/>
                    <a:pt x="1330" y="2907"/>
                  </a:cubicBezTo>
                  <a:cubicBezTo>
                    <a:pt x="1342" y="2926"/>
                    <a:pt x="1355" y="2914"/>
                    <a:pt x="1365" y="2906"/>
                  </a:cubicBezTo>
                  <a:cubicBezTo>
                    <a:pt x="1376" y="2898"/>
                    <a:pt x="1372" y="2894"/>
                    <a:pt x="1361" y="2888"/>
                  </a:cubicBezTo>
                  <a:cubicBezTo>
                    <a:pt x="1351" y="2882"/>
                    <a:pt x="1359" y="2868"/>
                    <a:pt x="1359" y="2856"/>
                  </a:cubicBezTo>
                  <a:cubicBezTo>
                    <a:pt x="1359" y="2843"/>
                    <a:pt x="1362" y="2847"/>
                    <a:pt x="1382" y="2844"/>
                  </a:cubicBezTo>
                  <a:cubicBezTo>
                    <a:pt x="1402" y="2840"/>
                    <a:pt x="1409" y="2823"/>
                    <a:pt x="1413" y="2813"/>
                  </a:cubicBezTo>
                  <a:cubicBezTo>
                    <a:pt x="1417" y="2803"/>
                    <a:pt x="1430" y="2801"/>
                    <a:pt x="1446" y="2800"/>
                  </a:cubicBezTo>
                  <a:cubicBezTo>
                    <a:pt x="1462" y="2798"/>
                    <a:pt x="1474" y="2788"/>
                    <a:pt x="1480" y="2776"/>
                  </a:cubicBezTo>
                  <a:cubicBezTo>
                    <a:pt x="1486" y="2764"/>
                    <a:pt x="1490" y="2756"/>
                    <a:pt x="1505" y="2757"/>
                  </a:cubicBezTo>
                  <a:cubicBezTo>
                    <a:pt x="1519" y="2758"/>
                    <a:pt x="1517" y="2770"/>
                    <a:pt x="1532" y="2777"/>
                  </a:cubicBezTo>
                  <a:cubicBezTo>
                    <a:pt x="1547" y="2784"/>
                    <a:pt x="1557" y="2775"/>
                    <a:pt x="1558" y="2764"/>
                  </a:cubicBezTo>
                  <a:cubicBezTo>
                    <a:pt x="1559" y="2754"/>
                    <a:pt x="1570" y="2758"/>
                    <a:pt x="1581" y="2758"/>
                  </a:cubicBezTo>
                  <a:cubicBezTo>
                    <a:pt x="1591" y="2758"/>
                    <a:pt x="1598" y="2762"/>
                    <a:pt x="1601" y="2774"/>
                  </a:cubicBezTo>
                  <a:cubicBezTo>
                    <a:pt x="1605" y="2785"/>
                    <a:pt x="1636" y="2778"/>
                    <a:pt x="1654" y="2778"/>
                  </a:cubicBezTo>
                  <a:cubicBezTo>
                    <a:pt x="1672" y="2777"/>
                    <a:pt x="1671" y="2800"/>
                    <a:pt x="1683" y="2802"/>
                  </a:cubicBezTo>
                  <a:cubicBezTo>
                    <a:pt x="1695" y="2805"/>
                    <a:pt x="1699" y="2818"/>
                    <a:pt x="1720" y="2830"/>
                  </a:cubicBezTo>
                  <a:cubicBezTo>
                    <a:pt x="1741" y="2842"/>
                    <a:pt x="1721" y="2858"/>
                    <a:pt x="1733" y="2860"/>
                  </a:cubicBezTo>
                  <a:cubicBezTo>
                    <a:pt x="1745" y="2861"/>
                    <a:pt x="1742" y="2837"/>
                    <a:pt x="1742" y="2829"/>
                  </a:cubicBezTo>
                  <a:cubicBezTo>
                    <a:pt x="1742" y="2821"/>
                    <a:pt x="1752" y="2822"/>
                    <a:pt x="1771" y="2838"/>
                  </a:cubicBezTo>
                  <a:cubicBezTo>
                    <a:pt x="1789" y="2853"/>
                    <a:pt x="1798" y="2856"/>
                    <a:pt x="1809" y="2855"/>
                  </a:cubicBezTo>
                  <a:cubicBezTo>
                    <a:pt x="1820" y="2854"/>
                    <a:pt x="1827" y="2842"/>
                    <a:pt x="1835" y="2833"/>
                  </a:cubicBezTo>
                  <a:cubicBezTo>
                    <a:pt x="1842" y="2823"/>
                    <a:pt x="1845" y="2818"/>
                    <a:pt x="1855" y="2820"/>
                  </a:cubicBezTo>
                  <a:cubicBezTo>
                    <a:pt x="1864" y="2822"/>
                    <a:pt x="1873" y="2814"/>
                    <a:pt x="1882" y="2813"/>
                  </a:cubicBezTo>
                  <a:cubicBezTo>
                    <a:pt x="1892" y="2812"/>
                    <a:pt x="1907" y="2826"/>
                    <a:pt x="1916" y="2831"/>
                  </a:cubicBezTo>
                  <a:cubicBezTo>
                    <a:pt x="1925" y="2836"/>
                    <a:pt x="1935" y="2820"/>
                    <a:pt x="1936" y="2814"/>
                  </a:cubicBezTo>
                  <a:cubicBezTo>
                    <a:pt x="1937" y="2808"/>
                    <a:pt x="1962" y="2811"/>
                    <a:pt x="1971" y="2811"/>
                  </a:cubicBezTo>
                  <a:cubicBezTo>
                    <a:pt x="1980" y="2811"/>
                    <a:pt x="1990" y="2830"/>
                    <a:pt x="1996" y="2837"/>
                  </a:cubicBezTo>
                  <a:cubicBezTo>
                    <a:pt x="2002" y="2845"/>
                    <a:pt x="2011" y="2847"/>
                    <a:pt x="2022" y="2847"/>
                  </a:cubicBezTo>
                  <a:cubicBezTo>
                    <a:pt x="2034" y="2847"/>
                    <a:pt x="2039" y="2851"/>
                    <a:pt x="2047" y="2863"/>
                  </a:cubicBezTo>
                  <a:cubicBezTo>
                    <a:pt x="2056" y="2875"/>
                    <a:pt x="2069" y="2854"/>
                    <a:pt x="2077" y="2841"/>
                  </a:cubicBezTo>
                  <a:cubicBezTo>
                    <a:pt x="2086" y="2827"/>
                    <a:pt x="2093" y="2836"/>
                    <a:pt x="2098" y="2843"/>
                  </a:cubicBezTo>
                  <a:cubicBezTo>
                    <a:pt x="2103" y="2851"/>
                    <a:pt x="2124" y="2850"/>
                    <a:pt x="2134" y="2850"/>
                  </a:cubicBezTo>
                  <a:cubicBezTo>
                    <a:pt x="2144" y="2850"/>
                    <a:pt x="2148" y="2841"/>
                    <a:pt x="2156" y="2841"/>
                  </a:cubicBezTo>
                  <a:cubicBezTo>
                    <a:pt x="2164" y="2841"/>
                    <a:pt x="2167" y="2825"/>
                    <a:pt x="2177" y="2818"/>
                  </a:cubicBezTo>
                  <a:cubicBezTo>
                    <a:pt x="2188" y="2810"/>
                    <a:pt x="2187" y="2802"/>
                    <a:pt x="2183" y="2798"/>
                  </a:cubicBezTo>
                  <a:cubicBezTo>
                    <a:pt x="2179" y="2795"/>
                    <a:pt x="2168" y="2783"/>
                    <a:pt x="2157" y="2781"/>
                  </a:cubicBezTo>
                  <a:cubicBezTo>
                    <a:pt x="2145" y="2778"/>
                    <a:pt x="2145" y="2774"/>
                    <a:pt x="2141" y="2770"/>
                  </a:cubicBezTo>
                  <a:cubicBezTo>
                    <a:pt x="2136" y="2766"/>
                    <a:pt x="2128" y="2767"/>
                    <a:pt x="2118" y="2767"/>
                  </a:cubicBezTo>
                  <a:cubicBezTo>
                    <a:pt x="2108" y="2767"/>
                    <a:pt x="2107" y="2751"/>
                    <a:pt x="2094" y="2746"/>
                  </a:cubicBezTo>
                  <a:cubicBezTo>
                    <a:pt x="2082" y="2741"/>
                    <a:pt x="2085" y="2732"/>
                    <a:pt x="2089" y="2731"/>
                  </a:cubicBezTo>
                  <a:cubicBezTo>
                    <a:pt x="2094" y="2731"/>
                    <a:pt x="2101" y="2727"/>
                    <a:pt x="2110" y="2725"/>
                  </a:cubicBezTo>
                  <a:cubicBezTo>
                    <a:pt x="2119" y="2722"/>
                    <a:pt x="2124" y="2720"/>
                    <a:pt x="2135" y="2712"/>
                  </a:cubicBezTo>
                  <a:cubicBezTo>
                    <a:pt x="2146" y="2705"/>
                    <a:pt x="2142" y="2691"/>
                    <a:pt x="2132" y="2684"/>
                  </a:cubicBezTo>
                  <a:cubicBezTo>
                    <a:pt x="2122" y="2678"/>
                    <a:pt x="2124" y="2669"/>
                    <a:pt x="2131" y="2667"/>
                  </a:cubicBezTo>
                  <a:cubicBezTo>
                    <a:pt x="2138" y="2664"/>
                    <a:pt x="2136" y="2654"/>
                    <a:pt x="2142" y="2649"/>
                  </a:cubicBezTo>
                  <a:cubicBezTo>
                    <a:pt x="2147" y="2644"/>
                    <a:pt x="2178" y="2652"/>
                    <a:pt x="2192" y="2655"/>
                  </a:cubicBezTo>
                  <a:cubicBezTo>
                    <a:pt x="2206" y="2658"/>
                    <a:pt x="2208" y="2642"/>
                    <a:pt x="2206" y="2638"/>
                  </a:cubicBezTo>
                  <a:cubicBezTo>
                    <a:pt x="2205" y="2633"/>
                    <a:pt x="2191" y="2634"/>
                    <a:pt x="2177" y="2632"/>
                  </a:cubicBezTo>
                  <a:cubicBezTo>
                    <a:pt x="2163" y="2630"/>
                    <a:pt x="2165" y="2625"/>
                    <a:pt x="2165" y="2616"/>
                  </a:cubicBezTo>
                  <a:cubicBezTo>
                    <a:pt x="2165" y="2607"/>
                    <a:pt x="2156" y="2608"/>
                    <a:pt x="2150" y="2605"/>
                  </a:cubicBezTo>
                  <a:cubicBezTo>
                    <a:pt x="2143" y="2603"/>
                    <a:pt x="2142" y="2598"/>
                    <a:pt x="2144" y="2594"/>
                  </a:cubicBezTo>
                  <a:cubicBezTo>
                    <a:pt x="2146" y="2589"/>
                    <a:pt x="2146" y="2580"/>
                    <a:pt x="2141" y="2570"/>
                  </a:cubicBezTo>
                  <a:cubicBezTo>
                    <a:pt x="2137" y="2560"/>
                    <a:pt x="2154" y="2562"/>
                    <a:pt x="2158" y="2560"/>
                  </a:cubicBezTo>
                  <a:cubicBezTo>
                    <a:pt x="2162" y="2557"/>
                    <a:pt x="2173" y="2556"/>
                    <a:pt x="2180" y="2561"/>
                  </a:cubicBezTo>
                  <a:cubicBezTo>
                    <a:pt x="2187" y="2566"/>
                    <a:pt x="2199" y="2567"/>
                    <a:pt x="2208" y="2558"/>
                  </a:cubicBezTo>
                  <a:cubicBezTo>
                    <a:pt x="2217" y="2549"/>
                    <a:pt x="2229" y="2562"/>
                    <a:pt x="2247" y="2559"/>
                  </a:cubicBezTo>
                  <a:cubicBezTo>
                    <a:pt x="2265" y="2556"/>
                    <a:pt x="2273" y="2556"/>
                    <a:pt x="2286" y="2547"/>
                  </a:cubicBezTo>
                  <a:cubicBezTo>
                    <a:pt x="2299" y="2538"/>
                    <a:pt x="2320" y="2544"/>
                    <a:pt x="2327" y="2536"/>
                  </a:cubicBezTo>
                  <a:cubicBezTo>
                    <a:pt x="2334" y="2528"/>
                    <a:pt x="2353" y="2530"/>
                    <a:pt x="2372" y="2530"/>
                  </a:cubicBezTo>
                  <a:cubicBezTo>
                    <a:pt x="2391" y="2530"/>
                    <a:pt x="2408" y="2529"/>
                    <a:pt x="2416" y="2518"/>
                  </a:cubicBezTo>
                  <a:cubicBezTo>
                    <a:pt x="2424" y="2507"/>
                    <a:pt x="2439" y="2506"/>
                    <a:pt x="2455" y="2504"/>
                  </a:cubicBezTo>
                  <a:cubicBezTo>
                    <a:pt x="2471" y="2502"/>
                    <a:pt x="2541" y="2485"/>
                    <a:pt x="2562" y="2483"/>
                  </a:cubicBezTo>
                  <a:cubicBezTo>
                    <a:pt x="2583" y="2481"/>
                    <a:pt x="2597" y="2483"/>
                    <a:pt x="2604" y="2463"/>
                  </a:cubicBezTo>
                  <a:cubicBezTo>
                    <a:pt x="2611" y="2443"/>
                    <a:pt x="2630" y="2456"/>
                    <a:pt x="2641" y="2448"/>
                  </a:cubicBezTo>
                  <a:cubicBezTo>
                    <a:pt x="2652" y="2440"/>
                    <a:pt x="2663" y="2434"/>
                    <a:pt x="2685" y="2441"/>
                  </a:cubicBezTo>
                  <a:cubicBezTo>
                    <a:pt x="2706" y="2448"/>
                    <a:pt x="2706" y="2453"/>
                    <a:pt x="2721" y="2460"/>
                  </a:cubicBezTo>
                  <a:cubicBezTo>
                    <a:pt x="2735" y="2467"/>
                    <a:pt x="2738" y="2457"/>
                    <a:pt x="2740" y="2451"/>
                  </a:cubicBezTo>
                  <a:cubicBezTo>
                    <a:pt x="2742" y="2444"/>
                    <a:pt x="2751" y="2446"/>
                    <a:pt x="2759" y="2449"/>
                  </a:cubicBezTo>
                  <a:cubicBezTo>
                    <a:pt x="2766" y="2452"/>
                    <a:pt x="2771" y="2459"/>
                    <a:pt x="2773" y="2473"/>
                  </a:cubicBezTo>
                  <a:cubicBezTo>
                    <a:pt x="2776" y="2487"/>
                    <a:pt x="2777" y="2492"/>
                    <a:pt x="2783" y="2501"/>
                  </a:cubicBezTo>
                  <a:cubicBezTo>
                    <a:pt x="2788" y="2511"/>
                    <a:pt x="2789" y="2507"/>
                    <a:pt x="2790" y="2516"/>
                  </a:cubicBezTo>
                  <a:cubicBezTo>
                    <a:pt x="2790" y="2525"/>
                    <a:pt x="2786" y="2532"/>
                    <a:pt x="2779" y="2536"/>
                  </a:cubicBezTo>
                  <a:cubicBezTo>
                    <a:pt x="2771" y="2540"/>
                    <a:pt x="2800" y="2545"/>
                    <a:pt x="2811" y="2552"/>
                  </a:cubicBezTo>
                  <a:cubicBezTo>
                    <a:pt x="2823" y="2559"/>
                    <a:pt x="2824" y="2541"/>
                    <a:pt x="2829" y="2541"/>
                  </a:cubicBezTo>
                  <a:cubicBezTo>
                    <a:pt x="2834" y="2541"/>
                    <a:pt x="2841" y="2540"/>
                    <a:pt x="2850" y="2531"/>
                  </a:cubicBezTo>
                  <a:cubicBezTo>
                    <a:pt x="2859" y="2522"/>
                    <a:pt x="2857" y="2539"/>
                    <a:pt x="2862" y="2542"/>
                  </a:cubicBezTo>
                  <a:cubicBezTo>
                    <a:pt x="2866" y="2546"/>
                    <a:pt x="2872" y="2552"/>
                    <a:pt x="2875" y="2562"/>
                  </a:cubicBezTo>
                  <a:cubicBezTo>
                    <a:pt x="2878" y="2573"/>
                    <a:pt x="2886" y="2561"/>
                    <a:pt x="2890" y="2552"/>
                  </a:cubicBezTo>
                  <a:cubicBezTo>
                    <a:pt x="2894" y="2543"/>
                    <a:pt x="2900" y="2557"/>
                    <a:pt x="2907" y="2563"/>
                  </a:cubicBezTo>
                  <a:cubicBezTo>
                    <a:pt x="2914" y="2570"/>
                    <a:pt x="2926" y="2570"/>
                    <a:pt x="2932" y="2562"/>
                  </a:cubicBezTo>
                  <a:cubicBezTo>
                    <a:pt x="2938" y="2553"/>
                    <a:pt x="2944" y="2551"/>
                    <a:pt x="2950" y="2558"/>
                  </a:cubicBezTo>
                  <a:cubicBezTo>
                    <a:pt x="2956" y="2564"/>
                    <a:pt x="2945" y="2568"/>
                    <a:pt x="2942" y="2575"/>
                  </a:cubicBezTo>
                  <a:cubicBezTo>
                    <a:pt x="2938" y="2582"/>
                    <a:pt x="2937" y="2584"/>
                    <a:pt x="2926" y="2588"/>
                  </a:cubicBezTo>
                  <a:cubicBezTo>
                    <a:pt x="2915" y="2592"/>
                    <a:pt x="2922" y="2603"/>
                    <a:pt x="2932" y="2612"/>
                  </a:cubicBezTo>
                  <a:cubicBezTo>
                    <a:pt x="2943" y="2621"/>
                    <a:pt x="2951" y="2597"/>
                    <a:pt x="2955" y="2596"/>
                  </a:cubicBezTo>
                  <a:cubicBezTo>
                    <a:pt x="2960" y="2594"/>
                    <a:pt x="2970" y="2592"/>
                    <a:pt x="2976" y="2595"/>
                  </a:cubicBezTo>
                  <a:cubicBezTo>
                    <a:pt x="2982" y="2598"/>
                    <a:pt x="2989" y="2600"/>
                    <a:pt x="2998" y="2607"/>
                  </a:cubicBezTo>
                  <a:cubicBezTo>
                    <a:pt x="3007" y="2614"/>
                    <a:pt x="3004" y="2596"/>
                    <a:pt x="3005" y="2590"/>
                  </a:cubicBezTo>
                  <a:cubicBezTo>
                    <a:pt x="3006" y="2585"/>
                    <a:pt x="3014" y="2581"/>
                    <a:pt x="3017" y="2577"/>
                  </a:cubicBezTo>
                  <a:cubicBezTo>
                    <a:pt x="3019" y="2572"/>
                    <a:pt x="3029" y="2575"/>
                    <a:pt x="3042" y="2574"/>
                  </a:cubicBezTo>
                  <a:cubicBezTo>
                    <a:pt x="3055" y="2573"/>
                    <a:pt x="3057" y="2564"/>
                    <a:pt x="3057" y="2556"/>
                  </a:cubicBezTo>
                  <a:cubicBezTo>
                    <a:pt x="3057" y="2549"/>
                    <a:pt x="3066" y="2550"/>
                    <a:pt x="3078" y="2550"/>
                  </a:cubicBezTo>
                  <a:cubicBezTo>
                    <a:pt x="3090" y="2550"/>
                    <a:pt x="3091" y="2549"/>
                    <a:pt x="3096" y="2542"/>
                  </a:cubicBezTo>
                  <a:cubicBezTo>
                    <a:pt x="3101" y="2536"/>
                    <a:pt x="3115" y="2530"/>
                    <a:pt x="3129" y="2528"/>
                  </a:cubicBezTo>
                  <a:cubicBezTo>
                    <a:pt x="3143" y="2526"/>
                    <a:pt x="3155" y="2520"/>
                    <a:pt x="3155" y="2531"/>
                  </a:cubicBezTo>
                  <a:cubicBezTo>
                    <a:pt x="3155" y="2542"/>
                    <a:pt x="3139" y="2545"/>
                    <a:pt x="3131" y="2557"/>
                  </a:cubicBezTo>
                  <a:cubicBezTo>
                    <a:pt x="3123" y="2569"/>
                    <a:pt x="3151" y="2580"/>
                    <a:pt x="3179" y="2596"/>
                  </a:cubicBezTo>
                  <a:cubicBezTo>
                    <a:pt x="3206" y="2613"/>
                    <a:pt x="3233" y="2658"/>
                    <a:pt x="3257" y="2682"/>
                  </a:cubicBezTo>
                  <a:cubicBezTo>
                    <a:pt x="3281" y="2706"/>
                    <a:pt x="3329" y="2808"/>
                    <a:pt x="3347" y="2832"/>
                  </a:cubicBezTo>
                  <a:cubicBezTo>
                    <a:pt x="3364" y="2856"/>
                    <a:pt x="3382" y="2822"/>
                    <a:pt x="3383" y="2812"/>
                  </a:cubicBezTo>
                  <a:cubicBezTo>
                    <a:pt x="3383" y="2802"/>
                    <a:pt x="3395" y="2791"/>
                    <a:pt x="3403" y="2793"/>
                  </a:cubicBezTo>
                  <a:cubicBezTo>
                    <a:pt x="3411" y="2795"/>
                    <a:pt x="3424" y="2800"/>
                    <a:pt x="3424" y="2818"/>
                  </a:cubicBezTo>
                  <a:cubicBezTo>
                    <a:pt x="3424" y="2836"/>
                    <a:pt x="3437" y="2820"/>
                    <a:pt x="3442" y="2828"/>
                  </a:cubicBezTo>
                  <a:cubicBezTo>
                    <a:pt x="3447" y="2836"/>
                    <a:pt x="3451" y="2838"/>
                    <a:pt x="3457" y="2837"/>
                  </a:cubicBezTo>
                  <a:cubicBezTo>
                    <a:pt x="3462" y="2836"/>
                    <a:pt x="3473" y="2836"/>
                    <a:pt x="3483" y="2843"/>
                  </a:cubicBezTo>
                  <a:cubicBezTo>
                    <a:pt x="3492" y="2850"/>
                    <a:pt x="3499" y="2852"/>
                    <a:pt x="3505" y="2844"/>
                  </a:cubicBezTo>
                  <a:cubicBezTo>
                    <a:pt x="3510" y="2836"/>
                    <a:pt x="3524" y="2839"/>
                    <a:pt x="3537" y="2830"/>
                  </a:cubicBezTo>
                  <a:cubicBezTo>
                    <a:pt x="3551" y="2822"/>
                    <a:pt x="3567" y="2821"/>
                    <a:pt x="3582" y="2825"/>
                  </a:cubicBezTo>
                  <a:cubicBezTo>
                    <a:pt x="3597" y="2829"/>
                    <a:pt x="3611" y="2853"/>
                    <a:pt x="3617" y="2871"/>
                  </a:cubicBezTo>
                  <a:cubicBezTo>
                    <a:pt x="3624" y="2889"/>
                    <a:pt x="3637" y="2888"/>
                    <a:pt x="3658" y="2890"/>
                  </a:cubicBezTo>
                  <a:cubicBezTo>
                    <a:pt x="3679" y="2892"/>
                    <a:pt x="3669" y="2906"/>
                    <a:pt x="3677" y="2920"/>
                  </a:cubicBezTo>
                  <a:cubicBezTo>
                    <a:pt x="3684" y="2935"/>
                    <a:pt x="3694" y="2936"/>
                    <a:pt x="3710" y="2942"/>
                  </a:cubicBezTo>
                  <a:cubicBezTo>
                    <a:pt x="3726" y="2949"/>
                    <a:pt x="3752" y="2942"/>
                    <a:pt x="3762" y="2930"/>
                  </a:cubicBezTo>
                  <a:cubicBezTo>
                    <a:pt x="3772" y="2917"/>
                    <a:pt x="3782" y="2930"/>
                    <a:pt x="3782" y="2939"/>
                  </a:cubicBezTo>
                  <a:cubicBezTo>
                    <a:pt x="3782" y="2948"/>
                    <a:pt x="3786" y="2951"/>
                    <a:pt x="3796" y="2956"/>
                  </a:cubicBezTo>
                  <a:cubicBezTo>
                    <a:pt x="3797" y="2957"/>
                    <a:pt x="3797" y="2957"/>
                    <a:pt x="3798" y="2957"/>
                  </a:cubicBezTo>
                  <a:cubicBezTo>
                    <a:pt x="3798" y="2958"/>
                    <a:pt x="3798" y="2958"/>
                    <a:pt x="3798" y="2958"/>
                  </a:cubicBezTo>
                  <a:cubicBezTo>
                    <a:pt x="3799" y="2958"/>
                    <a:pt x="3799" y="2958"/>
                    <a:pt x="3799" y="2959"/>
                  </a:cubicBezTo>
                  <a:cubicBezTo>
                    <a:pt x="3799" y="2959"/>
                    <a:pt x="3800" y="2959"/>
                    <a:pt x="3800" y="2959"/>
                  </a:cubicBezTo>
                  <a:cubicBezTo>
                    <a:pt x="3800" y="2960"/>
                    <a:pt x="3800" y="2960"/>
                    <a:pt x="3800" y="2960"/>
                  </a:cubicBezTo>
                  <a:cubicBezTo>
                    <a:pt x="3800" y="2960"/>
                    <a:pt x="3801" y="2961"/>
                    <a:pt x="3801" y="2961"/>
                  </a:cubicBezTo>
                  <a:cubicBezTo>
                    <a:pt x="3801" y="2961"/>
                    <a:pt x="3801" y="2961"/>
                    <a:pt x="3801" y="2962"/>
                  </a:cubicBezTo>
                  <a:cubicBezTo>
                    <a:pt x="3801" y="2962"/>
                    <a:pt x="3801" y="2962"/>
                    <a:pt x="3801" y="2962"/>
                  </a:cubicBezTo>
                  <a:cubicBezTo>
                    <a:pt x="3801" y="2963"/>
                    <a:pt x="3801" y="2963"/>
                    <a:pt x="3801" y="2963"/>
                  </a:cubicBezTo>
                  <a:cubicBezTo>
                    <a:pt x="3801" y="2964"/>
                    <a:pt x="3801" y="2964"/>
                    <a:pt x="3801" y="2964"/>
                  </a:cubicBezTo>
                  <a:cubicBezTo>
                    <a:pt x="3802" y="2964"/>
                    <a:pt x="3802" y="2965"/>
                    <a:pt x="3801" y="2965"/>
                  </a:cubicBezTo>
                  <a:cubicBezTo>
                    <a:pt x="3801" y="2965"/>
                    <a:pt x="3801" y="2965"/>
                    <a:pt x="3801" y="2965"/>
                  </a:cubicBezTo>
                  <a:cubicBezTo>
                    <a:pt x="3801" y="2967"/>
                    <a:pt x="3801" y="2968"/>
                    <a:pt x="3800" y="2969"/>
                  </a:cubicBezTo>
                  <a:cubicBezTo>
                    <a:pt x="3800" y="2969"/>
                    <a:pt x="3800" y="2969"/>
                    <a:pt x="3800" y="2969"/>
                  </a:cubicBezTo>
                  <a:cubicBezTo>
                    <a:pt x="3804" y="2970"/>
                    <a:pt x="3808" y="2972"/>
                    <a:pt x="3810" y="2975"/>
                  </a:cubicBezTo>
                  <a:cubicBezTo>
                    <a:pt x="3816" y="2982"/>
                    <a:pt x="3821" y="2979"/>
                    <a:pt x="3830" y="2980"/>
                  </a:cubicBezTo>
                  <a:cubicBezTo>
                    <a:pt x="3831" y="2980"/>
                    <a:pt x="3831" y="2980"/>
                    <a:pt x="3832" y="2980"/>
                  </a:cubicBezTo>
                  <a:cubicBezTo>
                    <a:pt x="3832" y="2980"/>
                    <a:pt x="3833" y="2980"/>
                    <a:pt x="3833" y="2980"/>
                  </a:cubicBezTo>
                  <a:cubicBezTo>
                    <a:pt x="3833" y="2980"/>
                    <a:pt x="3833" y="2980"/>
                    <a:pt x="3834" y="2980"/>
                  </a:cubicBezTo>
                  <a:cubicBezTo>
                    <a:pt x="3836" y="2980"/>
                    <a:pt x="3839" y="2981"/>
                    <a:pt x="3841" y="2981"/>
                  </a:cubicBezTo>
                  <a:cubicBezTo>
                    <a:pt x="3841" y="2981"/>
                    <a:pt x="3841" y="2981"/>
                    <a:pt x="3842" y="2981"/>
                  </a:cubicBezTo>
                  <a:cubicBezTo>
                    <a:pt x="3842" y="2980"/>
                    <a:pt x="3843" y="2980"/>
                    <a:pt x="3843" y="2980"/>
                  </a:cubicBezTo>
                  <a:cubicBezTo>
                    <a:pt x="3843" y="2980"/>
                    <a:pt x="3843" y="2980"/>
                    <a:pt x="3843" y="2980"/>
                  </a:cubicBezTo>
                  <a:cubicBezTo>
                    <a:pt x="3844" y="2980"/>
                    <a:pt x="3844" y="2980"/>
                    <a:pt x="3845" y="2980"/>
                  </a:cubicBezTo>
                  <a:cubicBezTo>
                    <a:pt x="3846" y="2979"/>
                    <a:pt x="3846" y="2979"/>
                    <a:pt x="3847" y="2979"/>
                  </a:cubicBezTo>
                  <a:cubicBezTo>
                    <a:pt x="3847" y="2979"/>
                    <a:pt x="3847" y="2979"/>
                    <a:pt x="3847" y="2979"/>
                  </a:cubicBezTo>
                  <a:cubicBezTo>
                    <a:pt x="3848" y="2978"/>
                    <a:pt x="3849" y="2978"/>
                    <a:pt x="3850" y="2977"/>
                  </a:cubicBezTo>
                  <a:cubicBezTo>
                    <a:pt x="3850" y="2977"/>
                    <a:pt x="3850" y="2977"/>
                    <a:pt x="3850" y="2977"/>
                  </a:cubicBezTo>
                  <a:cubicBezTo>
                    <a:pt x="3850" y="2976"/>
                    <a:pt x="3851" y="2976"/>
                    <a:pt x="3852" y="2975"/>
                  </a:cubicBezTo>
                  <a:cubicBezTo>
                    <a:pt x="3852" y="2975"/>
                    <a:pt x="3852" y="2975"/>
                    <a:pt x="3852" y="2974"/>
                  </a:cubicBezTo>
                  <a:cubicBezTo>
                    <a:pt x="3853" y="2974"/>
                    <a:pt x="3854" y="2973"/>
                    <a:pt x="3855" y="2972"/>
                  </a:cubicBezTo>
                  <a:cubicBezTo>
                    <a:pt x="3864" y="2960"/>
                    <a:pt x="3874" y="2945"/>
                    <a:pt x="3886" y="2945"/>
                  </a:cubicBezTo>
                  <a:cubicBezTo>
                    <a:pt x="3898" y="2945"/>
                    <a:pt x="3907" y="2952"/>
                    <a:pt x="3919" y="2944"/>
                  </a:cubicBezTo>
                  <a:cubicBezTo>
                    <a:pt x="3931" y="2936"/>
                    <a:pt x="3936" y="2934"/>
                    <a:pt x="3946" y="2936"/>
                  </a:cubicBezTo>
                  <a:cubicBezTo>
                    <a:pt x="3956" y="2939"/>
                    <a:pt x="3960" y="2930"/>
                    <a:pt x="3963" y="2922"/>
                  </a:cubicBezTo>
                  <a:cubicBezTo>
                    <a:pt x="3965" y="2914"/>
                    <a:pt x="3961" y="2902"/>
                    <a:pt x="3974" y="2902"/>
                  </a:cubicBezTo>
                  <a:cubicBezTo>
                    <a:pt x="3987" y="2902"/>
                    <a:pt x="3991" y="2886"/>
                    <a:pt x="4009" y="2886"/>
                  </a:cubicBezTo>
                  <a:cubicBezTo>
                    <a:pt x="4027" y="2885"/>
                    <a:pt x="4040" y="2880"/>
                    <a:pt x="4049" y="2871"/>
                  </a:cubicBezTo>
                  <a:cubicBezTo>
                    <a:pt x="4059" y="2862"/>
                    <a:pt x="4068" y="2860"/>
                    <a:pt x="4082" y="2860"/>
                  </a:cubicBezTo>
                  <a:cubicBezTo>
                    <a:pt x="4096" y="2861"/>
                    <a:pt x="4085" y="2844"/>
                    <a:pt x="4103" y="2845"/>
                  </a:cubicBezTo>
                  <a:cubicBezTo>
                    <a:pt x="4120" y="2846"/>
                    <a:pt x="4118" y="2836"/>
                    <a:pt x="4131" y="2835"/>
                  </a:cubicBezTo>
                  <a:cubicBezTo>
                    <a:pt x="4143" y="2834"/>
                    <a:pt x="4150" y="2834"/>
                    <a:pt x="4151" y="2840"/>
                  </a:cubicBezTo>
                  <a:cubicBezTo>
                    <a:pt x="4151" y="2847"/>
                    <a:pt x="4159" y="2850"/>
                    <a:pt x="4166" y="2848"/>
                  </a:cubicBezTo>
                  <a:cubicBezTo>
                    <a:pt x="4173" y="2845"/>
                    <a:pt x="4175" y="2842"/>
                    <a:pt x="4179" y="2849"/>
                  </a:cubicBezTo>
                  <a:cubicBezTo>
                    <a:pt x="4182" y="2856"/>
                    <a:pt x="4187" y="2855"/>
                    <a:pt x="4207" y="2855"/>
                  </a:cubicBezTo>
                  <a:cubicBezTo>
                    <a:pt x="4228" y="2855"/>
                    <a:pt x="4264" y="2850"/>
                    <a:pt x="4261" y="2862"/>
                  </a:cubicBezTo>
                  <a:cubicBezTo>
                    <a:pt x="4257" y="2873"/>
                    <a:pt x="4259" y="2890"/>
                    <a:pt x="4271" y="2894"/>
                  </a:cubicBezTo>
                  <a:cubicBezTo>
                    <a:pt x="4282" y="2898"/>
                    <a:pt x="4293" y="2891"/>
                    <a:pt x="4299" y="2900"/>
                  </a:cubicBezTo>
                  <a:cubicBezTo>
                    <a:pt x="4306" y="2910"/>
                    <a:pt x="4313" y="2904"/>
                    <a:pt x="4321" y="2909"/>
                  </a:cubicBezTo>
                  <a:cubicBezTo>
                    <a:pt x="4329" y="2914"/>
                    <a:pt x="4337" y="2919"/>
                    <a:pt x="4344" y="2912"/>
                  </a:cubicBezTo>
                  <a:cubicBezTo>
                    <a:pt x="4351" y="2904"/>
                    <a:pt x="4360" y="2901"/>
                    <a:pt x="4371" y="2904"/>
                  </a:cubicBezTo>
                  <a:cubicBezTo>
                    <a:pt x="4383" y="2908"/>
                    <a:pt x="4377" y="2915"/>
                    <a:pt x="4391" y="2915"/>
                  </a:cubicBezTo>
                  <a:cubicBezTo>
                    <a:pt x="4405" y="2915"/>
                    <a:pt x="4425" y="2908"/>
                    <a:pt x="4429" y="2917"/>
                  </a:cubicBezTo>
                  <a:cubicBezTo>
                    <a:pt x="4433" y="2926"/>
                    <a:pt x="4438" y="2920"/>
                    <a:pt x="4443" y="2926"/>
                  </a:cubicBezTo>
                  <a:cubicBezTo>
                    <a:pt x="4447" y="2932"/>
                    <a:pt x="4448" y="2929"/>
                    <a:pt x="4451" y="2924"/>
                  </a:cubicBezTo>
                  <a:cubicBezTo>
                    <a:pt x="4453" y="2920"/>
                    <a:pt x="4461" y="2924"/>
                    <a:pt x="4465" y="2918"/>
                  </a:cubicBezTo>
                  <a:cubicBezTo>
                    <a:pt x="4469" y="2912"/>
                    <a:pt x="4469" y="2908"/>
                    <a:pt x="4481" y="2906"/>
                  </a:cubicBezTo>
                  <a:cubicBezTo>
                    <a:pt x="4493" y="2904"/>
                    <a:pt x="4498" y="2904"/>
                    <a:pt x="4503" y="2894"/>
                  </a:cubicBezTo>
                  <a:cubicBezTo>
                    <a:pt x="4507" y="2885"/>
                    <a:pt x="4505" y="2882"/>
                    <a:pt x="4513" y="2878"/>
                  </a:cubicBezTo>
                  <a:cubicBezTo>
                    <a:pt x="4521" y="2873"/>
                    <a:pt x="4521" y="2867"/>
                    <a:pt x="4510" y="2860"/>
                  </a:cubicBezTo>
                  <a:cubicBezTo>
                    <a:pt x="4499" y="2854"/>
                    <a:pt x="4497" y="2852"/>
                    <a:pt x="4494" y="2842"/>
                  </a:cubicBezTo>
                  <a:cubicBezTo>
                    <a:pt x="4491" y="2833"/>
                    <a:pt x="4483" y="2831"/>
                    <a:pt x="4483" y="2822"/>
                  </a:cubicBezTo>
                  <a:cubicBezTo>
                    <a:pt x="4482" y="2812"/>
                    <a:pt x="4481" y="2809"/>
                    <a:pt x="4487" y="2801"/>
                  </a:cubicBezTo>
                  <a:cubicBezTo>
                    <a:pt x="4492" y="2793"/>
                    <a:pt x="4489" y="2783"/>
                    <a:pt x="4498" y="2780"/>
                  </a:cubicBezTo>
                  <a:cubicBezTo>
                    <a:pt x="4507" y="2778"/>
                    <a:pt x="4511" y="2758"/>
                    <a:pt x="4525" y="2753"/>
                  </a:cubicBezTo>
                  <a:cubicBezTo>
                    <a:pt x="4540" y="2748"/>
                    <a:pt x="4544" y="2747"/>
                    <a:pt x="4546" y="2738"/>
                  </a:cubicBezTo>
                  <a:cubicBezTo>
                    <a:pt x="4548" y="2730"/>
                    <a:pt x="4547" y="2718"/>
                    <a:pt x="4559" y="2730"/>
                  </a:cubicBezTo>
                  <a:cubicBezTo>
                    <a:pt x="4571" y="2741"/>
                    <a:pt x="4576" y="2740"/>
                    <a:pt x="4587" y="2742"/>
                  </a:cubicBezTo>
                  <a:cubicBezTo>
                    <a:pt x="4597" y="2744"/>
                    <a:pt x="4601" y="2744"/>
                    <a:pt x="4605" y="2751"/>
                  </a:cubicBezTo>
                  <a:cubicBezTo>
                    <a:pt x="4610" y="2758"/>
                    <a:pt x="4616" y="2758"/>
                    <a:pt x="4631" y="2758"/>
                  </a:cubicBezTo>
                  <a:cubicBezTo>
                    <a:pt x="4647" y="2757"/>
                    <a:pt x="4654" y="2754"/>
                    <a:pt x="4662" y="2760"/>
                  </a:cubicBezTo>
                  <a:cubicBezTo>
                    <a:pt x="4670" y="2767"/>
                    <a:pt x="4678" y="2772"/>
                    <a:pt x="4687" y="2773"/>
                  </a:cubicBezTo>
                  <a:cubicBezTo>
                    <a:pt x="4697" y="2774"/>
                    <a:pt x="4701" y="2784"/>
                    <a:pt x="4717" y="2783"/>
                  </a:cubicBezTo>
                  <a:cubicBezTo>
                    <a:pt x="4732" y="2782"/>
                    <a:pt x="4745" y="2781"/>
                    <a:pt x="4749" y="2791"/>
                  </a:cubicBezTo>
                  <a:cubicBezTo>
                    <a:pt x="4752" y="2801"/>
                    <a:pt x="4752" y="2809"/>
                    <a:pt x="4757" y="2814"/>
                  </a:cubicBezTo>
                  <a:cubicBezTo>
                    <a:pt x="4763" y="2820"/>
                    <a:pt x="4763" y="2828"/>
                    <a:pt x="4765" y="2839"/>
                  </a:cubicBezTo>
                  <a:cubicBezTo>
                    <a:pt x="4766" y="2850"/>
                    <a:pt x="4763" y="2853"/>
                    <a:pt x="4773" y="2859"/>
                  </a:cubicBezTo>
                  <a:cubicBezTo>
                    <a:pt x="4783" y="2865"/>
                    <a:pt x="4783" y="2870"/>
                    <a:pt x="4804" y="2876"/>
                  </a:cubicBezTo>
                  <a:cubicBezTo>
                    <a:pt x="4825" y="2881"/>
                    <a:pt x="4831" y="2880"/>
                    <a:pt x="4841" y="2888"/>
                  </a:cubicBezTo>
                  <a:cubicBezTo>
                    <a:pt x="4852" y="2895"/>
                    <a:pt x="4865" y="2894"/>
                    <a:pt x="4875" y="2892"/>
                  </a:cubicBezTo>
                  <a:cubicBezTo>
                    <a:pt x="4886" y="2890"/>
                    <a:pt x="4886" y="2884"/>
                    <a:pt x="4900" y="2877"/>
                  </a:cubicBezTo>
                  <a:cubicBezTo>
                    <a:pt x="4914" y="2870"/>
                    <a:pt x="4913" y="2870"/>
                    <a:pt x="4925" y="2870"/>
                  </a:cubicBezTo>
                  <a:cubicBezTo>
                    <a:pt x="4936" y="2869"/>
                    <a:pt x="4933" y="2862"/>
                    <a:pt x="4949" y="2862"/>
                  </a:cubicBezTo>
                  <a:cubicBezTo>
                    <a:pt x="4965" y="2862"/>
                    <a:pt x="4969" y="2860"/>
                    <a:pt x="4979" y="2866"/>
                  </a:cubicBezTo>
                  <a:cubicBezTo>
                    <a:pt x="4989" y="2872"/>
                    <a:pt x="4994" y="2870"/>
                    <a:pt x="5001" y="2872"/>
                  </a:cubicBezTo>
                  <a:cubicBezTo>
                    <a:pt x="5009" y="2874"/>
                    <a:pt x="5006" y="2881"/>
                    <a:pt x="5018" y="2880"/>
                  </a:cubicBezTo>
                  <a:cubicBezTo>
                    <a:pt x="5030" y="2880"/>
                    <a:pt x="5039" y="2866"/>
                    <a:pt x="5051" y="2877"/>
                  </a:cubicBezTo>
                  <a:cubicBezTo>
                    <a:pt x="5063" y="2888"/>
                    <a:pt x="5066" y="2905"/>
                    <a:pt x="5082" y="2905"/>
                  </a:cubicBezTo>
                  <a:cubicBezTo>
                    <a:pt x="5098" y="2905"/>
                    <a:pt x="5123" y="2900"/>
                    <a:pt x="5124" y="2916"/>
                  </a:cubicBezTo>
                  <a:cubicBezTo>
                    <a:pt x="5125" y="2932"/>
                    <a:pt x="5130" y="2939"/>
                    <a:pt x="5141" y="2944"/>
                  </a:cubicBezTo>
                  <a:cubicBezTo>
                    <a:pt x="5153" y="2948"/>
                    <a:pt x="5153" y="2960"/>
                    <a:pt x="5168" y="2959"/>
                  </a:cubicBezTo>
                  <a:cubicBezTo>
                    <a:pt x="5183" y="2958"/>
                    <a:pt x="5191" y="2949"/>
                    <a:pt x="5209" y="2958"/>
                  </a:cubicBezTo>
                  <a:cubicBezTo>
                    <a:pt x="5227" y="2966"/>
                    <a:pt x="5227" y="2971"/>
                    <a:pt x="5245" y="2971"/>
                  </a:cubicBezTo>
                  <a:cubicBezTo>
                    <a:pt x="5262" y="2971"/>
                    <a:pt x="5292" y="2972"/>
                    <a:pt x="5308" y="2972"/>
                  </a:cubicBezTo>
                  <a:cubicBezTo>
                    <a:pt x="5324" y="2971"/>
                    <a:pt x="5321" y="2955"/>
                    <a:pt x="5342" y="2955"/>
                  </a:cubicBezTo>
                  <a:cubicBezTo>
                    <a:pt x="5363" y="2955"/>
                    <a:pt x="5377" y="2952"/>
                    <a:pt x="5390" y="2950"/>
                  </a:cubicBezTo>
                  <a:cubicBezTo>
                    <a:pt x="5403" y="2948"/>
                    <a:pt x="5405" y="2942"/>
                    <a:pt x="5419" y="2942"/>
                  </a:cubicBezTo>
                  <a:cubicBezTo>
                    <a:pt x="5433" y="2942"/>
                    <a:pt x="5451" y="2944"/>
                    <a:pt x="5453" y="2933"/>
                  </a:cubicBezTo>
                  <a:cubicBezTo>
                    <a:pt x="5455" y="2922"/>
                    <a:pt x="5452" y="2918"/>
                    <a:pt x="5465" y="2912"/>
                  </a:cubicBezTo>
                  <a:cubicBezTo>
                    <a:pt x="5477" y="2907"/>
                    <a:pt x="5477" y="2900"/>
                    <a:pt x="5490" y="2898"/>
                  </a:cubicBezTo>
                  <a:cubicBezTo>
                    <a:pt x="5503" y="2895"/>
                    <a:pt x="5498" y="2894"/>
                    <a:pt x="5508" y="2888"/>
                  </a:cubicBezTo>
                  <a:cubicBezTo>
                    <a:pt x="5518" y="2881"/>
                    <a:pt x="5515" y="2880"/>
                    <a:pt x="5530" y="2880"/>
                  </a:cubicBezTo>
                  <a:cubicBezTo>
                    <a:pt x="5545" y="2879"/>
                    <a:pt x="5550" y="2880"/>
                    <a:pt x="5568" y="2886"/>
                  </a:cubicBezTo>
                  <a:cubicBezTo>
                    <a:pt x="5586" y="2893"/>
                    <a:pt x="5577" y="2900"/>
                    <a:pt x="5589" y="2907"/>
                  </a:cubicBezTo>
                  <a:cubicBezTo>
                    <a:pt x="5601" y="2914"/>
                    <a:pt x="5621" y="2916"/>
                    <a:pt x="5627" y="2910"/>
                  </a:cubicBezTo>
                  <a:cubicBezTo>
                    <a:pt x="5633" y="2904"/>
                    <a:pt x="5636" y="2898"/>
                    <a:pt x="5648" y="2900"/>
                  </a:cubicBezTo>
                  <a:cubicBezTo>
                    <a:pt x="5660" y="2902"/>
                    <a:pt x="5671" y="2900"/>
                    <a:pt x="5678" y="2909"/>
                  </a:cubicBezTo>
                  <a:cubicBezTo>
                    <a:pt x="5679" y="2910"/>
                    <a:pt x="5680" y="2911"/>
                    <a:pt x="5680" y="2912"/>
                  </a:cubicBezTo>
                  <a:cubicBezTo>
                    <a:pt x="5680" y="2912"/>
                    <a:pt x="5680" y="2912"/>
                    <a:pt x="5680" y="2912"/>
                  </a:cubicBezTo>
                  <a:cubicBezTo>
                    <a:pt x="5681" y="2913"/>
                    <a:pt x="5682" y="2914"/>
                    <a:pt x="5682" y="2915"/>
                  </a:cubicBezTo>
                  <a:cubicBezTo>
                    <a:pt x="5682" y="2915"/>
                    <a:pt x="5682" y="2915"/>
                    <a:pt x="5682" y="2915"/>
                  </a:cubicBezTo>
                  <a:cubicBezTo>
                    <a:pt x="5682" y="2915"/>
                    <a:pt x="5682" y="2915"/>
                    <a:pt x="5682" y="2915"/>
                  </a:cubicBezTo>
                  <a:cubicBezTo>
                    <a:pt x="5683" y="2916"/>
                    <a:pt x="5683" y="2916"/>
                    <a:pt x="5683" y="2917"/>
                  </a:cubicBezTo>
                  <a:cubicBezTo>
                    <a:pt x="5683" y="2917"/>
                    <a:pt x="5683" y="2917"/>
                    <a:pt x="5683" y="2917"/>
                  </a:cubicBezTo>
                  <a:cubicBezTo>
                    <a:pt x="5684" y="2918"/>
                    <a:pt x="5684" y="2918"/>
                    <a:pt x="5684" y="2919"/>
                  </a:cubicBezTo>
                  <a:cubicBezTo>
                    <a:pt x="5684" y="2919"/>
                    <a:pt x="5684" y="2919"/>
                    <a:pt x="5684" y="2919"/>
                  </a:cubicBezTo>
                  <a:cubicBezTo>
                    <a:pt x="5684" y="2919"/>
                    <a:pt x="5685" y="2920"/>
                    <a:pt x="5685" y="2920"/>
                  </a:cubicBezTo>
                  <a:cubicBezTo>
                    <a:pt x="5685" y="2920"/>
                    <a:pt x="5685" y="2920"/>
                    <a:pt x="5685" y="2920"/>
                  </a:cubicBezTo>
                  <a:cubicBezTo>
                    <a:pt x="5685" y="2921"/>
                    <a:pt x="5686" y="2921"/>
                    <a:pt x="5686" y="2921"/>
                  </a:cubicBezTo>
                  <a:cubicBezTo>
                    <a:pt x="5686" y="2922"/>
                    <a:pt x="5686" y="2922"/>
                    <a:pt x="5686" y="2922"/>
                  </a:cubicBezTo>
                  <a:cubicBezTo>
                    <a:pt x="5687" y="2922"/>
                    <a:pt x="5687" y="2922"/>
                    <a:pt x="5687" y="2923"/>
                  </a:cubicBezTo>
                  <a:cubicBezTo>
                    <a:pt x="5687" y="2923"/>
                    <a:pt x="5687" y="2923"/>
                    <a:pt x="5687" y="2923"/>
                  </a:cubicBezTo>
                  <a:cubicBezTo>
                    <a:pt x="5688" y="2923"/>
                    <a:pt x="5688" y="2924"/>
                    <a:pt x="5689" y="2924"/>
                  </a:cubicBezTo>
                  <a:cubicBezTo>
                    <a:pt x="5689" y="2924"/>
                    <a:pt x="5689" y="2924"/>
                    <a:pt x="5689" y="2924"/>
                  </a:cubicBezTo>
                  <a:cubicBezTo>
                    <a:pt x="5689" y="2925"/>
                    <a:pt x="5690" y="2925"/>
                    <a:pt x="5690" y="2925"/>
                  </a:cubicBezTo>
                  <a:cubicBezTo>
                    <a:pt x="5690" y="2925"/>
                    <a:pt x="5690" y="2925"/>
                    <a:pt x="5691" y="2926"/>
                  </a:cubicBezTo>
                  <a:cubicBezTo>
                    <a:pt x="5691" y="2926"/>
                    <a:pt x="5691" y="2926"/>
                    <a:pt x="5692" y="2926"/>
                  </a:cubicBezTo>
                  <a:cubicBezTo>
                    <a:pt x="5692" y="2926"/>
                    <a:pt x="5692" y="2927"/>
                    <a:pt x="5692" y="2927"/>
                  </a:cubicBezTo>
                  <a:cubicBezTo>
                    <a:pt x="5693" y="2927"/>
                    <a:pt x="5694" y="2927"/>
                    <a:pt x="5694" y="2927"/>
                  </a:cubicBezTo>
                  <a:cubicBezTo>
                    <a:pt x="5694" y="2928"/>
                    <a:pt x="5695" y="2928"/>
                    <a:pt x="5695" y="2928"/>
                  </a:cubicBezTo>
                  <a:cubicBezTo>
                    <a:pt x="5695" y="2928"/>
                    <a:pt x="5696" y="2928"/>
                    <a:pt x="5697" y="2928"/>
                  </a:cubicBezTo>
                  <a:cubicBezTo>
                    <a:pt x="5697" y="2928"/>
                    <a:pt x="5697" y="2928"/>
                    <a:pt x="5697" y="2928"/>
                  </a:cubicBezTo>
                  <a:cubicBezTo>
                    <a:pt x="5698" y="2929"/>
                    <a:pt x="5699" y="2929"/>
                    <a:pt x="5699" y="2929"/>
                  </a:cubicBezTo>
                  <a:cubicBezTo>
                    <a:pt x="5700" y="2929"/>
                    <a:pt x="5700" y="2929"/>
                    <a:pt x="5700" y="2929"/>
                  </a:cubicBezTo>
                  <a:cubicBezTo>
                    <a:pt x="5701" y="2929"/>
                    <a:pt x="5702" y="2930"/>
                    <a:pt x="5703" y="2930"/>
                  </a:cubicBezTo>
                  <a:cubicBezTo>
                    <a:pt x="5723" y="2932"/>
                    <a:pt x="5725" y="2934"/>
                    <a:pt x="5736" y="2938"/>
                  </a:cubicBezTo>
                  <a:cubicBezTo>
                    <a:pt x="5747" y="2942"/>
                    <a:pt x="5750" y="2950"/>
                    <a:pt x="5765" y="2941"/>
                  </a:cubicBezTo>
                  <a:cubicBezTo>
                    <a:pt x="5779" y="2932"/>
                    <a:pt x="5781" y="2920"/>
                    <a:pt x="5795" y="2916"/>
                  </a:cubicBezTo>
                  <a:cubicBezTo>
                    <a:pt x="5809" y="2912"/>
                    <a:pt x="5811" y="2904"/>
                    <a:pt x="5823" y="2904"/>
                  </a:cubicBezTo>
                  <a:cubicBezTo>
                    <a:pt x="5835" y="2904"/>
                    <a:pt x="5847" y="2900"/>
                    <a:pt x="5849" y="2891"/>
                  </a:cubicBezTo>
                  <a:cubicBezTo>
                    <a:pt x="5852" y="2882"/>
                    <a:pt x="5847" y="2878"/>
                    <a:pt x="5841" y="2873"/>
                  </a:cubicBezTo>
                  <a:cubicBezTo>
                    <a:pt x="5835" y="2868"/>
                    <a:pt x="5837" y="2858"/>
                    <a:pt x="5847" y="2851"/>
                  </a:cubicBezTo>
                  <a:cubicBezTo>
                    <a:pt x="5857" y="2844"/>
                    <a:pt x="5862" y="2836"/>
                    <a:pt x="5867" y="2824"/>
                  </a:cubicBezTo>
                  <a:cubicBezTo>
                    <a:pt x="5873" y="2812"/>
                    <a:pt x="5880" y="2807"/>
                    <a:pt x="5884" y="2792"/>
                  </a:cubicBezTo>
                  <a:cubicBezTo>
                    <a:pt x="5888" y="2776"/>
                    <a:pt x="5893" y="2760"/>
                    <a:pt x="5907" y="2753"/>
                  </a:cubicBezTo>
                  <a:cubicBezTo>
                    <a:pt x="5920" y="2746"/>
                    <a:pt x="5935" y="2740"/>
                    <a:pt x="5939" y="2731"/>
                  </a:cubicBezTo>
                  <a:cubicBezTo>
                    <a:pt x="5943" y="2722"/>
                    <a:pt x="5943" y="2720"/>
                    <a:pt x="5938" y="2716"/>
                  </a:cubicBezTo>
                  <a:cubicBezTo>
                    <a:pt x="5933" y="2712"/>
                    <a:pt x="5931" y="2706"/>
                    <a:pt x="5931" y="2700"/>
                  </a:cubicBezTo>
                  <a:cubicBezTo>
                    <a:pt x="5931" y="2694"/>
                    <a:pt x="5930" y="2682"/>
                    <a:pt x="5918" y="2683"/>
                  </a:cubicBezTo>
                  <a:cubicBezTo>
                    <a:pt x="5906" y="2684"/>
                    <a:pt x="5893" y="2684"/>
                    <a:pt x="5893" y="2676"/>
                  </a:cubicBezTo>
                  <a:cubicBezTo>
                    <a:pt x="5893" y="2669"/>
                    <a:pt x="5892" y="2666"/>
                    <a:pt x="5904" y="2663"/>
                  </a:cubicBezTo>
                  <a:cubicBezTo>
                    <a:pt x="5916" y="2660"/>
                    <a:pt x="5918" y="2643"/>
                    <a:pt x="5934" y="2635"/>
                  </a:cubicBezTo>
                  <a:cubicBezTo>
                    <a:pt x="5950" y="2627"/>
                    <a:pt x="5949" y="2624"/>
                    <a:pt x="5959" y="2624"/>
                  </a:cubicBezTo>
                  <a:cubicBezTo>
                    <a:pt x="5969" y="2624"/>
                    <a:pt x="5971" y="2616"/>
                    <a:pt x="5984" y="2616"/>
                  </a:cubicBezTo>
                  <a:cubicBezTo>
                    <a:pt x="5997" y="2615"/>
                    <a:pt x="6007" y="2616"/>
                    <a:pt x="6020" y="2614"/>
                  </a:cubicBezTo>
                  <a:cubicBezTo>
                    <a:pt x="6033" y="2611"/>
                    <a:pt x="6028" y="2606"/>
                    <a:pt x="6048" y="2606"/>
                  </a:cubicBezTo>
                  <a:cubicBezTo>
                    <a:pt x="6068" y="2606"/>
                    <a:pt x="6073" y="2611"/>
                    <a:pt x="6087" y="2607"/>
                  </a:cubicBezTo>
                  <a:cubicBezTo>
                    <a:pt x="6101" y="2603"/>
                    <a:pt x="6109" y="2598"/>
                    <a:pt x="6118" y="2600"/>
                  </a:cubicBezTo>
                  <a:cubicBezTo>
                    <a:pt x="6127" y="2603"/>
                    <a:pt x="6139" y="2612"/>
                    <a:pt x="6150" y="2614"/>
                  </a:cubicBezTo>
                  <a:cubicBezTo>
                    <a:pt x="6161" y="2616"/>
                    <a:pt x="6167" y="2621"/>
                    <a:pt x="6171" y="2626"/>
                  </a:cubicBezTo>
                  <a:cubicBezTo>
                    <a:pt x="6175" y="2630"/>
                    <a:pt x="6180" y="2633"/>
                    <a:pt x="6193" y="2632"/>
                  </a:cubicBezTo>
                  <a:cubicBezTo>
                    <a:pt x="6207" y="2632"/>
                    <a:pt x="6235" y="2628"/>
                    <a:pt x="6241" y="2638"/>
                  </a:cubicBezTo>
                  <a:cubicBezTo>
                    <a:pt x="6247" y="2648"/>
                    <a:pt x="6251" y="2657"/>
                    <a:pt x="6262" y="2660"/>
                  </a:cubicBezTo>
                  <a:cubicBezTo>
                    <a:pt x="6273" y="2664"/>
                    <a:pt x="6277" y="2672"/>
                    <a:pt x="6279" y="2681"/>
                  </a:cubicBezTo>
                  <a:cubicBezTo>
                    <a:pt x="6282" y="2690"/>
                    <a:pt x="6297" y="2692"/>
                    <a:pt x="6299" y="2706"/>
                  </a:cubicBezTo>
                  <a:cubicBezTo>
                    <a:pt x="6300" y="2720"/>
                    <a:pt x="6299" y="2736"/>
                    <a:pt x="6309" y="2748"/>
                  </a:cubicBezTo>
                  <a:cubicBezTo>
                    <a:pt x="6319" y="2759"/>
                    <a:pt x="6320" y="2762"/>
                    <a:pt x="6322" y="2769"/>
                  </a:cubicBezTo>
                  <a:cubicBezTo>
                    <a:pt x="6324" y="2776"/>
                    <a:pt x="6330" y="2783"/>
                    <a:pt x="6331" y="2796"/>
                  </a:cubicBezTo>
                  <a:cubicBezTo>
                    <a:pt x="6331" y="2808"/>
                    <a:pt x="6330" y="2811"/>
                    <a:pt x="6338" y="2819"/>
                  </a:cubicBezTo>
                  <a:cubicBezTo>
                    <a:pt x="6346" y="2827"/>
                    <a:pt x="6349" y="2830"/>
                    <a:pt x="6355" y="2840"/>
                  </a:cubicBezTo>
                  <a:cubicBezTo>
                    <a:pt x="6361" y="2851"/>
                    <a:pt x="6360" y="2855"/>
                    <a:pt x="6363" y="2867"/>
                  </a:cubicBezTo>
                  <a:cubicBezTo>
                    <a:pt x="6367" y="2879"/>
                    <a:pt x="6379" y="2876"/>
                    <a:pt x="6375" y="2890"/>
                  </a:cubicBezTo>
                  <a:cubicBezTo>
                    <a:pt x="6371" y="2904"/>
                    <a:pt x="6371" y="2917"/>
                    <a:pt x="6379" y="2924"/>
                  </a:cubicBezTo>
                  <a:cubicBezTo>
                    <a:pt x="6387" y="2932"/>
                    <a:pt x="6397" y="2941"/>
                    <a:pt x="6405" y="2942"/>
                  </a:cubicBezTo>
                  <a:cubicBezTo>
                    <a:pt x="6414" y="2944"/>
                    <a:pt x="6420" y="2953"/>
                    <a:pt x="6427" y="2944"/>
                  </a:cubicBezTo>
                  <a:cubicBezTo>
                    <a:pt x="6433" y="2934"/>
                    <a:pt x="6440" y="2934"/>
                    <a:pt x="6447" y="2940"/>
                  </a:cubicBezTo>
                  <a:cubicBezTo>
                    <a:pt x="6455" y="2946"/>
                    <a:pt x="6467" y="2964"/>
                    <a:pt x="6481" y="2956"/>
                  </a:cubicBezTo>
                  <a:cubicBezTo>
                    <a:pt x="6496" y="2948"/>
                    <a:pt x="6501" y="2954"/>
                    <a:pt x="6511" y="2963"/>
                  </a:cubicBezTo>
                  <a:cubicBezTo>
                    <a:pt x="6521" y="2972"/>
                    <a:pt x="6525" y="2989"/>
                    <a:pt x="6539" y="2994"/>
                  </a:cubicBezTo>
                  <a:cubicBezTo>
                    <a:pt x="6553" y="2998"/>
                    <a:pt x="6570" y="2994"/>
                    <a:pt x="6570" y="3004"/>
                  </a:cubicBezTo>
                  <a:cubicBezTo>
                    <a:pt x="6570" y="3013"/>
                    <a:pt x="6568" y="3019"/>
                    <a:pt x="6576" y="3024"/>
                  </a:cubicBezTo>
                  <a:cubicBezTo>
                    <a:pt x="6584" y="3030"/>
                    <a:pt x="6581" y="3044"/>
                    <a:pt x="6581" y="3052"/>
                  </a:cubicBezTo>
                  <a:cubicBezTo>
                    <a:pt x="6581" y="3060"/>
                    <a:pt x="6569" y="3069"/>
                    <a:pt x="6583" y="3076"/>
                  </a:cubicBezTo>
                  <a:cubicBezTo>
                    <a:pt x="6596" y="3082"/>
                    <a:pt x="6596" y="3090"/>
                    <a:pt x="6599" y="3092"/>
                  </a:cubicBezTo>
                  <a:cubicBezTo>
                    <a:pt x="6601" y="3095"/>
                    <a:pt x="6612" y="3097"/>
                    <a:pt x="6622" y="3092"/>
                  </a:cubicBezTo>
                  <a:cubicBezTo>
                    <a:pt x="6632" y="3086"/>
                    <a:pt x="6633" y="3095"/>
                    <a:pt x="6649" y="3096"/>
                  </a:cubicBezTo>
                  <a:cubicBezTo>
                    <a:pt x="6664" y="3098"/>
                    <a:pt x="6675" y="3100"/>
                    <a:pt x="6685" y="3090"/>
                  </a:cubicBezTo>
                  <a:cubicBezTo>
                    <a:pt x="6695" y="3080"/>
                    <a:pt x="6703" y="3064"/>
                    <a:pt x="6716" y="3063"/>
                  </a:cubicBezTo>
                  <a:cubicBezTo>
                    <a:pt x="6729" y="3062"/>
                    <a:pt x="6743" y="3063"/>
                    <a:pt x="6752" y="3058"/>
                  </a:cubicBezTo>
                  <a:cubicBezTo>
                    <a:pt x="6761" y="3052"/>
                    <a:pt x="6760" y="3050"/>
                    <a:pt x="6775" y="3048"/>
                  </a:cubicBezTo>
                  <a:cubicBezTo>
                    <a:pt x="6789" y="3045"/>
                    <a:pt x="6785" y="3034"/>
                    <a:pt x="6797" y="3034"/>
                  </a:cubicBezTo>
                  <a:cubicBezTo>
                    <a:pt x="6809" y="3034"/>
                    <a:pt x="6829" y="3034"/>
                    <a:pt x="6830" y="3041"/>
                  </a:cubicBezTo>
                  <a:cubicBezTo>
                    <a:pt x="6831" y="3048"/>
                    <a:pt x="6836" y="3055"/>
                    <a:pt x="6829" y="3058"/>
                  </a:cubicBezTo>
                  <a:cubicBezTo>
                    <a:pt x="6821" y="3062"/>
                    <a:pt x="6813" y="3068"/>
                    <a:pt x="6822" y="3075"/>
                  </a:cubicBezTo>
                  <a:cubicBezTo>
                    <a:pt x="6831" y="3082"/>
                    <a:pt x="6834" y="3090"/>
                    <a:pt x="6829" y="3101"/>
                  </a:cubicBezTo>
                  <a:cubicBezTo>
                    <a:pt x="6825" y="3112"/>
                    <a:pt x="6819" y="3114"/>
                    <a:pt x="6811" y="3114"/>
                  </a:cubicBezTo>
                  <a:cubicBezTo>
                    <a:pt x="6803" y="3115"/>
                    <a:pt x="6796" y="3125"/>
                    <a:pt x="6796" y="3139"/>
                  </a:cubicBezTo>
                  <a:cubicBezTo>
                    <a:pt x="6796" y="3153"/>
                    <a:pt x="6781" y="3164"/>
                    <a:pt x="6781" y="3177"/>
                  </a:cubicBezTo>
                  <a:cubicBezTo>
                    <a:pt x="6782" y="3190"/>
                    <a:pt x="6783" y="3207"/>
                    <a:pt x="6775" y="3214"/>
                  </a:cubicBezTo>
                  <a:cubicBezTo>
                    <a:pt x="6767" y="3222"/>
                    <a:pt x="6762" y="3223"/>
                    <a:pt x="6758" y="3236"/>
                  </a:cubicBezTo>
                  <a:cubicBezTo>
                    <a:pt x="6754" y="3250"/>
                    <a:pt x="6752" y="3264"/>
                    <a:pt x="6742" y="3267"/>
                  </a:cubicBezTo>
                  <a:cubicBezTo>
                    <a:pt x="6732" y="3270"/>
                    <a:pt x="6729" y="3273"/>
                    <a:pt x="6729" y="3287"/>
                  </a:cubicBezTo>
                  <a:cubicBezTo>
                    <a:pt x="6728" y="3301"/>
                    <a:pt x="6725" y="3308"/>
                    <a:pt x="6709" y="3305"/>
                  </a:cubicBezTo>
                  <a:cubicBezTo>
                    <a:pt x="6693" y="3302"/>
                    <a:pt x="6677" y="3296"/>
                    <a:pt x="6667" y="3290"/>
                  </a:cubicBezTo>
                  <a:cubicBezTo>
                    <a:pt x="6657" y="3285"/>
                    <a:pt x="6647" y="3280"/>
                    <a:pt x="6641" y="3290"/>
                  </a:cubicBezTo>
                  <a:cubicBezTo>
                    <a:pt x="6635" y="3299"/>
                    <a:pt x="6631" y="3307"/>
                    <a:pt x="6620" y="3309"/>
                  </a:cubicBezTo>
                  <a:cubicBezTo>
                    <a:pt x="6609" y="3311"/>
                    <a:pt x="6593" y="3311"/>
                    <a:pt x="6591" y="3319"/>
                  </a:cubicBezTo>
                  <a:cubicBezTo>
                    <a:pt x="6590" y="3327"/>
                    <a:pt x="6595" y="3335"/>
                    <a:pt x="6600" y="3340"/>
                  </a:cubicBezTo>
                  <a:cubicBezTo>
                    <a:pt x="6605" y="3344"/>
                    <a:pt x="6600" y="3350"/>
                    <a:pt x="6605" y="3355"/>
                  </a:cubicBezTo>
                  <a:cubicBezTo>
                    <a:pt x="6611" y="3360"/>
                    <a:pt x="6612" y="3370"/>
                    <a:pt x="6611" y="3380"/>
                  </a:cubicBezTo>
                  <a:cubicBezTo>
                    <a:pt x="6611" y="3390"/>
                    <a:pt x="6608" y="3410"/>
                    <a:pt x="6611" y="3418"/>
                  </a:cubicBezTo>
                  <a:cubicBezTo>
                    <a:pt x="6615" y="3426"/>
                    <a:pt x="6613" y="3437"/>
                    <a:pt x="6611" y="3446"/>
                  </a:cubicBezTo>
                  <a:cubicBezTo>
                    <a:pt x="6610" y="3456"/>
                    <a:pt x="6606" y="3452"/>
                    <a:pt x="6601" y="3462"/>
                  </a:cubicBezTo>
                  <a:cubicBezTo>
                    <a:pt x="6595" y="3472"/>
                    <a:pt x="6592" y="3476"/>
                    <a:pt x="6581" y="3477"/>
                  </a:cubicBezTo>
                  <a:cubicBezTo>
                    <a:pt x="6571" y="3478"/>
                    <a:pt x="6570" y="3474"/>
                    <a:pt x="6568" y="3482"/>
                  </a:cubicBezTo>
                  <a:cubicBezTo>
                    <a:pt x="6568" y="3483"/>
                    <a:pt x="6567" y="3484"/>
                    <a:pt x="6567" y="3485"/>
                  </a:cubicBezTo>
                  <a:cubicBezTo>
                    <a:pt x="6567" y="3486"/>
                    <a:pt x="6567" y="3486"/>
                    <a:pt x="6567" y="3486"/>
                  </a:cubicBezTo>
                  <a:cubicBezTo>
                    <a:pt x="6566" y="3487"/>
                    <a:pt x="6566" y="3487"/>
                    <a:pt x="6565" y="3488"/>
                  </a:cubicBezTo>
                  <a:cubicBezTo>
                    <a:pt x="6565" y="3488"/>
                    <a:pt x="6565" y="3488"/>
                    <a:pt x="6565" y="3488"/>
                  </a:cubicBezTo>
                  <a:cubicBezTo>
                    <a:pt x="6564" y="3490"/>
                    <a:pt x="6563" y="3491"/>
                    <a:pt x="6561" y="3492"/>
                  </a:cubicBezTo>
                  <a:cubicBezTo>
                    <a:pt x="6561" y="3492"/>
                    <a:pt x="6561" y="3492"/>
                    <a:pt x="6561" y="3492"/>
                  </a:cubicBezTo>
                  <a:cubicBezTo>
                    <a:pt x="6562" y="3495"/>
                    <a:pt x="6562" y="3497"/>
                    <a:pt x="6564" y="3499"/>
                  </a:cubicBezTo>
                  <a:cubicBezTo>
                    <a:pt x="6567" y="3503"/>
                    <a:pt x="6569" y="3505"/>
                    <a:pt x="6571" y="3508"/>
                  </a:cubicBezTo>
                  <a:cubicBezTo>
                    <a:pt x="6583" y="3488"/>
                    <a:pt x="6617" y="3473"/>
                    <a:pt x="6641" y="3467"/>
                  </a:cubicBezTo>
                  <a:cubicBezTo>
                    <a:pt x="6665" y="3462"/>
                    <a:pt x="6680" y="3476"/>
                    <a:pt x="6710" y="3482"/>
                  </a:cubicBezTo>
                  <a:cubicBezTo>
                    <a:pt x="6740" y="3487"/>
                    <a:pt x="6758" y="3480"/>
                    <a:pt x="6783" y="3470"/>
                  </a:cubicBezTo>
                  <a:cubicBezTo>
                    <a:pt x="6807" y="3460"/>
                    <a:pt x="6844" y="3429"/>
                    <a:pt x="6862" y="3407"/>
                  </a:cubicBezTo>
                  <a:cubicBezTo>
                    <a:pt x="6879" y="3386"/>
                    <a:pt x="6922" y="3343"/>
                    <a:pt x="6955" y="3305"/>
                  </a:cubicBezTo>
                  <a:cubicBezTo>
                    <a:pt x="6988" y="3268"/>
                    <a:pt x="6986" y="3270"/>
                    <a:pt x="7019" y="3244"/>
                  </a:cubicBezTo>
                  <a:cubicBezTo>
                    <a:pt x="7052" y="3218"/>
                    <a:pt x="7064" y="3178"/>
                    <a:pt x="7074" y="3151"/>
                  </a:cubicBezTo>
                  <a:cubicBezTo>
                    <a:pt x="7084" y="3123"/>
                    <a:pt x="7104" y="3122"/>
                    <a:pt x="7125" y="3088"/>
                  </a:cubicBezTo>
                  <a:cubicBezTo>
                    <a:pt x="7147" y="3053"/>
                    <a:pt x="7154" y="3045"/>
                    <a:pt x="7168" y="3033"/>
                  </a:cubicBezTo>
                  <a:cubicBezTo>
                    <a:pt x="7183" y="3022"/>
                    <a:pt x="7187" y="2997"/>
                    <a:pt x="7188" y="2977"/>
                  </a:cubicBezTo>
                  <a:cubicBezTo>
                    <a:pt x="7190" y="2957"/>
                    <a:pt x="7191" y="2959"/>
                    <a:pt x="7201" y="2938"/>
                  </a:cubicBezTo>
                  <a:cubicBezTo>
                    <a:pt x="7211" y="2918"/>
                    <a:pt x="7204" y="2885"/>
                    <a:pt x="7198" y="2865"/>
                  </a:cubicBezTo>
                  <a:cubicBezTo>
                    <a:pt x="7193" y="2845"/>
                    <a:pt x="7198" y="2840"/>
                    <a:pt x="7207" y="2824"/>
                  </a:cubicBezTo>
                  <a:cubicBezTo>
                    <a:pt x="7216" y="2808"/>
                    <a:pt x="7220" y="2787"/>
                    <a:pt x="7227" y="2768"/>
                  </a:cubicBezTo>
                  <a:cubicBezTo>
                    <a:pt x="7234" y="2749"/>
                    <a:pt x="7246" y="2748"/>
                    <a:pt x="7252" y="2734"/>
                  </a:cubicBezTo>
                  <a:cubicBezTo>
                    <a:pt x="7257" y="2721"/>
                    <a:pt x="7251" y="2713"/>
                    <a:pt x="7244" y="2706"/>
                  </a:cubicBezTo>
                  <a:cubicBezTo>
                    <a:pt x="7236" y="2698"/>
                    <a:pt x="7243" y="2690"/>
                    <a:pt x="7246" y="2685"/>
                  </a:cubicBezTo>
                  <a:cubicBezTo>
                    <a:pt x="7249" y="2680"/>
                    <a:pt x="7249" y="2667"/>
                    <a:pt x="7236" y="2653"/>
                  </a:cubicBezTo>
                  <a:cubicBezTo>
                    <a:pt x="7223" y="2638"/>
                    <a:pt x="7242" y="2644"/>
                    <a:pt x="7253" y="2636"/>
                  </a:cubicBezTo>
                  <a:cubicBezTo>
                    <a:pt x="7264" y="2628"/>
                    <a:pt x="7251" y="2620"/>
                    <a:pt x="7236" y="2612"/>
                  </a:cubicBezTo>
                  <a:cubicBezTo>
                    <a:pt x="7222" y="2604"/>
                    <a:pt x="7221" y="2602"/>
                    <a:pt x="7206" y="2594"/>
                  </a:cubicBezTo>
                  <a:cubicBezTo>
                    <a:pt x="7190" y="2587"/>
                    <a:pt x="7186" y="2567"/>
                    <a:pt x="7178" y="2551"/>
                  </a:cubicBezTo>
                  <a:cubicBezTo>
                    <a:pt x="7170" y="2535"/>
                    <a:pt x="7159" y="2536"/>
                    <a:pt x="7150" y="2539"/>
                  </a:cubicBezTo>
                  <a:cubicBezTo>
                    <a:pt x="7142" y="2543"/>
                    <a:pt x="7123" y="2541"/>
                    <a:pt x="7107" y="2535"/>
                  </a:cubicBezTo>
                  <a:cubicBezTo>
                    <a:pt x="7092" y="2529"/>
                    <a:pt x="7087" y="2526"/>
                    <a:pt x="7085" y="2539"/>
                  </a:cubicBezTo>
                  <a:cubicBezTo>
                    <a:pt x="7083" y="2551"/>
                    <a:pt x="7080" y="2565"/>
                    <a:pt x="7069" y="2565"/>
                  </a:cubicBezTo>
                  <a:cubicBezTo>
                    <a:pt x="7057" y="2565"/>
                    <a:pt x="7047" y="2574"/>
                    <a:pt x="7039" y="2589"/>
                  </a:cubicBezTo>
                  <a:cubicBezTo>
                    <a:pt x="7032" y="2604"/>
                    <a:pt x="7016" y="2599"/>
                    <a:pt x="7006" y="2592"/>
                  </a:cubicBezTo>
                  <a:cubicBezTo>
                    <a:pt x="6996" y="2585"/>
                    <a:pt x="7014" y="2578"/>
                    <a:pt x="7024" y="2568"/>
                  </a:cubicBezTo>
                  <a:cubicBezTo>
                    <a:pt x="7033" y="2558"/>
                    <a:pt x="7013" y="2562"/>
                    <a:pt x="7007" y="2554"/>
                  </a:cubicBezTo>
                  <a:cubicBezTo>
                    <a:pt x="7001" y="2545"/>
                    <a:pt x="7023" y="2536"/>
                    <a:pt x="7029" y="2522"/>
                  </a:cubicBezTo>
                  <a:cubicBezTo>
                    <a:pt x="7036" y="2508"/>
                    <a:pt x="7013" y="2516"/>
                    <a:pt x="7010" y="2521"/>
                  </a:cubicBezTo>
                  <a:cubicBezTo>
                    <a:pt x="7007" y="2526"/>
                    <a:pt x="6998" y="2531"/>
                    <a:pt x="6987" y="2536"/>
                  </a:cubicBezTo>
                  <a:cubicBezTo>
                    <a:pt x="6976" y="2542"/>
                    <a:pt x="6986" y="2554"/>
                    <a:pt x="6986" y="2564"/>
                  </a:cubicBezTo>
                  <a:cubicBezTo>
                    <a:pt x="6985" y="2575"/>
                    <a:pt x="6978" y="2581"/>
                    <a:pt x="6966" y="2581"/>
                  </a:cubicBezTo>
                  <a:cubicBezTo>
                    <a:pt x="6953" y="2581"/>
                    <a:pt x="6957" y="2549"/>
                    <a:pt x="6957" y="2536"/>
                  </a:cubicBezTo>
                  <a:cubicBezTo>
                    <a:pt x="6957" y="2522"/>
                    <a:pt x="6971" y="2512"/>
                    <a:pt x="6968" y="2503"/>
                  </a:cubicBezTo>
                  <a:cubicBezTo>
                    <a:pt x="6964" y="2493"/>
                    <a:pt x="6937" y="2497"/>
                    <a:pt x="6928" y="2503"/>
                  </a:cubicBezTo>
                  <a:cubicBezTo>
                    <a:pt x="6918" y="2508"/>
                    <a:pt x="6907" y="2508"/>
                    <a:pt x="6895" y="2500"/>
                  </a:cubicBezTo>
                  <a:cubicBezTo>
                    <a:pt x="6882" y="2492"/>
                    <a:pt x="6868" y="2496"/>
                    <a:pt x="6865" y="2486"/>
                  </a:cubicBezTo>
                  <a:cubicBezTo>
                    <a:pt x="6861" y="2475"/>
                    <a:pt x="6879" y="2459"/>
                    <a:pt x="6897" y="2453"/>
                  </a:cubicBezTo>
                  <a:cubicBezTo>
                    <a:pt x="6916" y="2448"/>
                    <a:pt x="6923" y="2443"/>
                    <a:pt x="6933" y="2427"/>
                  </a:cubicBezTo>
                  <a:cubicBezTo>
                    <a:pt x="6943" y="2412"/>
                    <a:pt x="6946" y="2415"/>
                    <a:pt x="6973" y="2403"/>
                  </a:cubicBezTo>
                  <a:cubicBezTo>
                    <a:pt x="6999" y="2392"/>
                    <a:pt x="7019" y="2359"/>
                    <a:pt x="7044" y="2347"/>
                  </a:cubicBezTo>
                  <a:cubicBezTo>
                    <a:pt x="7068" y="2335"/>
                    <a:pt x="7048" y="2328"/>
                    <a:pt x="7058" y="2318"/>
                  </a:cubicBezTo>
                  <a:cubicBezTo>
                    <a:pt x="7068" y="2308"/>
                    <a:pt x="7081" y="2291"/>
                    <a:pt x="7100" y="2278"/>
                  </a:cubicBezTo>
                  <a:cubicBezTo>
                    <a:pt x="7118" y="2264"/>
                    <a:pt x="7129" y="2263"/>
                    <a:pt x="7145" y="2249"/>
                  </a:cubicBezTo>
                  <a:cubicBezTo>
                    <a:pt x="7161" y="2235"/>
                    <a:pt x="7167" y="2223"/>
                    <a:pt x="7186" y="2217"/>
                  </a:cubicBezTo>
                  <a:cubicBezTo>
                    <a:pt x="7206" y="2212"/>
                    <a:pt x="7201" y="2204"/>
                    <a:pt x="7212" y="2179"/>
                  </a:cubicBezTo>
                  <a:cubicBezTo>
                    <a:pt x="7223" y="2154"/>
                    <a:pt x="7232" y="2158"/>
                    <a:pt x="7254" y="2150"/>
                  </a:cubicBezTo>
                  <a:cubicBezTo>
                    <a:pt x="7277" y="2142"/>
                    <a:pt x="7271" y="2122"/>
                    <a:pt x="7288" y="2103"/>
                  </a:cubicBezTo>
                  <a:cubicBezTo>
                    <a:pt x="7305" y="2083"/>
                    <a:pt x="7322" y="2090"/>
                    <a:pt x="7348" y="2081"/>
                  </a:cubicBezTo>
                  <a:cubicBezTo>
                    <a:pt x="7373" y="2071"/>
                    <a:pt x="7377" y="2076"/>
                    <a:pt x="7404" y="2072"/>
                  </a:cubicBezTo>
                  <a:cubicBezTo>
                    <a:pt x="7431" y="2068"/>
                    <a:pt x="7444" y="2069"/>
                    <a:pt x="7467" y="2069"/>
                  </a:cubicBezTo>
                  <a:cubicBezTo>
                    <a:pt x="7489" y="2069"/>
                    <a:pt x="7507" y="2068"/>
                    <a:pt x="7523" y="2068"/>
                  </a:cubicBezTo>
                  <a:cubicBezTo>
                    <a:pt x="7540" y="2067"/>
                    <a:pt x="7537" y="2086"/>
                    <a:pt x="7551" y="2090"/>
                  </a:cubicBezTo>
                  <a:cubicBezTo>
                    <a:pt x="7565" y="2094"/>
                    <a:pt x="7564" y="2079"/>
                    <a:pt x="7573" y="2068"/>
                  </a:cubicBezTo>
                  <a:cubicBezTo>
                    <a:pt x="7583" y="2056"/>
                    <a:pt x="7600" y="2073"/>
                    <a:pt x="7609" y="2071"/>
                  </a:cubicBezTo>
                  <a:cubicBezTo>
                    <a:pt x="7618" y="2069"/>
                    <a:pt x="7627" y="2071"/>
                    <a:pt x="7639" y="2079"/>
                  </a:cubicBezTo>
                  <a:cubicBezTo>
                    <a:pt x="7651" y="2088"/>
                    <a:pt x="7666" y="2073"/>
                    <a:pt x="7673" y="2065"/>
                  </a:cubicBezTo>
                  <a:cubicBezTo>
                    <a:pt x="7680" y="2057"/>
                    <a:pt x="7685" y="2063"/>
                    <a:pt x="7694" y="2073"/>
                  </a:cubicBezTo>
                  <a:cubicBezTo>
                    <a:pt x="7702" y="2082"/>
                    <a:pt x="7710" y="2078"/>
                    <a:pt x="7720" y="2078"/>
                  </a:cubicBezTo>
                  <a:cubicBezTo>
                    <a:pt x="7729" y="2077"/>
                    <a:pt x="7727" y="2070"/>
                    <a:pt x="7727" y="2060"/>
                  </a:cubicBezTo>
                  <a:cubicBezTo>
                    <a:pt x="7727" y="2050"/>
                    <a:pt x="7740" y="2056"/>
                    <a:pt x="7743" y="2048"/>
                  </a:cubicBezTo>
                  <a:cubicBezTo>
                    <a:pt x="7747" y="2040"/>
                    <a:pt x="7763" y="2033"/>
                    <a:pt x="7780" y="2034"/>
                  </a:cubicBezTo>
                  <a:cubicBezTo>
                    <a:pt x="7796" y="2035"/>
                    <a:pt x="7814" y="2043"/>
                    <a:pt x="7831" y="2053"/>
                  </a:cubicBezTo>
                  <a:cubicBezTo>
                    <a:pt x="7849" y="2063"/>
                    <a:pt x="7848" y="2066"/>
                    <a:pt x="7859" y="2062"/>
                  </a:cubicBezTo>
                  <a:cubicBezTo>
                    <a:pt x="7871" y="2058"/>
                    <a:pt x="7876" y="2048"/>
                    <a:pt x="7894" y="2058"/>
                  </a:cubicBezTo>
                  <a:cubicBezTo>
                    <a:pt x="7913" y="2067"/>
                    <a:pt x="7904" y="2069"/>
                    <a:pt x="7922" y="2081"/>
                  </a:cubicBezTo>
                  <a:cubicBezTo>
                    <a:pt x="7940" y="2094"/>
                    <a:pt x="7911" y="2088"/>
                    <a:pt x="7894" y="2088"/>
                  </a:cubicBezTo>
                  <a:cubicBezTo>
                    <a:pt x="7876" y="2087"/>
                    <a:pt x="7871" y="2106"/>
                    <a:pt x="7883" y="2117"/>
                  </a:cubicBezTo>
                  <a:cubicBezTo>
                    <a:pt x="7895" y="2128"/>
                    <a:pt x="7902" y="2124"/>
                    <a:pt x="7914" y="2117"/>
                  </a:cubicBezTo>
                  <a:cubicBezTo>
                    <a:pt x="7925" y="2110"/>
                    <a:pt x="7931" y="2112"/>
                    <a:pt x="7937" y="2107"/>
                  </a:cubicBezTo>
                  <a:cubicBezTo>
                    <a:pt x="7944" y="2102"/>
                    <a:pt x="7958" y="2109"/>
                    <a:pt x="7969" y="2115"/>
                  </a:cubicBezTo>
                  <a:cubicBezTo>
                    <a:pt x="7980" y="2121"/>
                    <a:pt x="7983" y="2116"/>
                    <a:pt x="7990" y="2110"/>
                  </a:cubicBezTo>
                  <a:cubicBezTo>
                    <a:pt x="7997" y="2104"/>
                    <a:pt x="8010" y="2097"/>
                    <a:pt x="8015" y="2085"/>
                  </a:cubicBezTo>
                  <a:cubicBezTo>
                    <a:pt x="8021" y="2073"/>
                    <a:pt x="8048" y="2091"/>
                    <a:pt x="8056" y="2097"/>
                  </a:cubicBezTo>
                  <a:cubicBezTo>
                    <a:pt x="8064" y="2104"/>
                    <a:pt x="8070" y="2097"/>
                    <a:pt x="8072" y="2091"/>
                  </a:cubicBezTo>
                  <a:cubicBezTo>
                    <a:pt x="8074" y="2084"/>
                    <a:pt x="8091" y="2086"/>
                    <a:pt x="8104" y="2089"/>
                  </a:cubicBezTo>
                  <a:cubicBezTo>
                    <a:pt x="8118" y="2092"/>
                    <a:pt x="8120" y="2085"/>
                    <a:pt x="8131" y="2082"/>
                  </a:cubicBezTo>
                  <a:cubicBezTo>
                    <a:pt x="8142" y="2079"/>
                    <a:pt x="8134" y="2070"/>
                    <a:pt x="8128" y="2064"/>
                  </a:cubicBezTo>
                  <a:cubicBezTo>
                    <a:pt x="8122" y="2058"/>
                    <a:pt x="8114" y="2063"/>
                    <a:pt x="8100" y="2055"/>
                  </a:cubicBezTo>
                  <a:cubicBezTo>
                    <a:pt x="8086" y="2047"/>
                    <a:pt x="8087" y="2064"/>
                    <a:pt x="8080" y="2064"/>
                  </a:cubicBezTo>
                  <a:cubicBezTo>
                    <a:pt x="8073" y="2064"/>
                    <a:pt x="8072" y="2050"/>
                    <a:pt x="8071" y="2038"/>
                  </a:cubicBezTo>
                  <a:cubicBezTo>
                    <a:pt x="8071" y="2027"/>
                    <a:pt x="8071" y="2021"/>
                    <a:pt x="8078" y="2021"/>
                  </a:cubicBezTo>
                  <a:cubicBezTo>
                    <a:pt x="8084" y="2021"/>
                    <a:pt x="8091" y="2007"/>
                    <a:pt x="8095" y="1998"/>
                  </a:cubicBezTo>
                  <a:cubicBezTo>
                    <a:pt x="8099" y="1990"/>
                    <a:pt x="8114" y="1980"/>
                    <a:pt x="8132" y="1970"/>
                  </a:cubicBezTo>
                  <a:cubicBezTo>
                    <a:pt x="8149" y="1959"/>
                    <a:pt x="8160" y="1941"/>
                    <a:pt x="8182" y="1924"/>
                  </a:cubicBezTo>
                  <a:cubicBezTo>
                    <a:pt x="8204" y="1908"/>
                    <a:pt x="8231" y="1873"/>
                    <a:pt x="8251" y="1855"/>
                  </a:cubicBezTo>
                  <a:cubicBezTo>
                    <a:pt x="8271" y="1836"/>
                    <a:pt x="8294" y="1836"/>
                    <a:pt x="8308" y="1840"/>
                  </a:cubicBezTo>
                  <a:cubicBezTo>
                    <a:pt x="8322" y="1844"/>
                    <a:pt x="8327" y="1845"/>
                    <a:pt x="8336" y="1835"/>
                  </a:cubicBezTo>
                  <a:cubicBezTo>
                    <a:pt x="8345" y="1825"/>
                    <a:pt x="8370" y="1838"/>
                    <a:pt x="8373" y="1831"/>
                  </a:cubicBezTo>
                  <a:cubicBezTo>
                    <a:pt x="8376" y="1824"/>
                    <a:pt x="8382" y="1825"/>
                    <a:pt x="8390" y="1825"/>
                  </a:cubicBezTo>
                  <a:cubicBezTo>
                    <a:pt x="8398" y="1826"/>
                    <a:pt x="8402" y="1836"/>
                    <a:pt x="8408" y="1846"/>
                  </a:cubicBezTo>
                  <a:cubicBezTo>
                    <a:pt x="8415" y="1856"/>
                    <a:pt x="8432" y="1845"/>
                    <a:pt x="8437" y="1835"/>
                  </a:cubicBezTo>
                  <a:cubicBezTo>
                    <a:pt x="8442" y="1825"/>
                    <a:pt x="8451" y="1823"/>
                    <a:pt x="8459" y="1832"/>
                  </a:cubicBezTo>
                  <a:cubicBezTo>
                    <a:pt x="8467" y="1841"/>
                    <a:pt x="8456" y="1841"/>
                    <a:pt x="8453" y="1851"/>
                  </a:cubicBezTo>
                  <a:cubicBezTo>
                    <a:pt x="8450" y="1861"/>
                    <a:pt x="8446" y="1861"/>
                    <a:pt x="8434" y="1871"/>
                  </a:cubicBezTo>
                  <a:cubicBezTo>
                    <a:pt x="8422" y="1882"/>
                    <a:pt x="8423" y="1877"/>
                    <a:pt x="8426" y="1889"/>
                  </a:cubicBezTo>
                  <a:cubicBezTo>
                    <a:pt x="8430" y="1901"/>
                    <a:pt x="8435" y="1894"/>
                    <a:pt x="8435" y="1907"/>
                  </a:cubicBezTo>
                  <a:cubicBezTo>
                    <a:pt x="8435" y="1921"/>
                    <a:pt x="8439" y="1920"/>
                    <a:pt x="8446" y="1915"/>
                  </a:cubicBezTo>
                  <a:cubicBezTo>
                    <a:pt x="8453" y="1910"/>
                    <a:pt x="8457" y="1916"/>
                    <a:pt x="8458" y="1925"/>
                  </a:cubicBezTo>
                  <a:cubicBezTo>
                    <a:pt x="8458" y="1934"/>
                    <a:pt x="8448" y="1932"/>
                    <a:pt x="8445" y="1947"/>
                  </a:cubicBezTo>
                  <a:cubicBezTo>
                    <a:pt x="8441" y="1963"/>
                    <a:pt x="8466" y="1949"/>
                    <a:pt x="8479" y="1942"/>
                  </a:cubicBezTo>
                  <a:cubicBezTo>
                    <a:pt x="8492" y="1934"/>
                    <a:pt x="8513" y="1919"/>
                    <a:pt x="8531" y="1898"/>
                  </a:cubicBezTo>
                  <a:cubicBezTo>
                    <a:pt x="8549" y="1876"/>
                    <a:pt x="8572" y="1868"/>
                    <a:pt x="8592" y="1855"/>
                  </a:cubicBezTo>
                  <a:cubicBezTo>
                    <a:pt x="8612" y="1842"/>
                    <a:pt x="8612" y="1856"/>
                    <a:pt x="8625" y="1858"/>
                  </a:cubicBezTo>
                  <a:cubicBezTo>
                    <a:pt x="8637" y="1860"/>
                    <a:pt x="8638" y="1846"/>
                    <a:pt x="8635" y="1835"/>
                  </a:cubicBezTo>
                  <a:cubicBezTo>
                    <a:pt x="8631" y="1824"/>
                    <a:pt x="8635" y="1824"/>
                    <a:pt x="8635" y="1813"/>
                  </a:cubicBezTo>
                  <a:cubicBezTo>
                    <a:pt x="8635" y="1803"/>
                    <a:pt x="8634" y="1798"/>
                    <a:pt x="8638" y="1793"/>
                  </a:cubicBezTo>
                  <a:cubicBezTo>
                    <a:pt x="8641" y="1788"/>
                    <a:pt x="8651" y="1773"/>
                    <a:pt x="8656" y="1762"/>
                  </a:cubicBezTo>
                  <a:cubicBezTo>
                    <a:pt x="8661" y="1750"/>
                    <a:pt x="8682" y="1762"/>
                    <a:pt x="8686" y="1753"/>
                  </a:cubicBezTo>
                  <a:cubicBezTo>
                    <a:pt x="8691" y="1744"/>
                    <a:pt x="8706" y="1751"/>
                    <a:pt x="8721" y="1750"/>
                  </a:cubicBezTo>
                  <a:cubicBezTo>
                    <a:pt x="8737" y="1750"/>
                    <a:pt x="8746" y="1757"/>
                    <a:pt x="8746" y="1767"/>
                  </a:cubicBezTo>
                  <a:cubicBezTo>
                    <a:pt x="8746" y="1777"/>
                    <a:pt x="8722" y="1767"/>
                    <a:pt x="8713" y="1771"/>
                  </a:cubicBezTo>
                  <a:cubicBezTo>
                    <a:pt x="8703" y="1775"/>
                    <a:pt x="8701" y="1791"/>
                    <a:pt x="8699" y="1805"/>
                  </a:cubicBezTo>
                  <a:cubicBezTo>
                    <a:pt x="8698" y="1820"/>
                    <a:pt x="8702" y="1830"/>
                    <a:pt x="8690" y="1843"/>
                  </a:cubicBezTo>
                  <a:cubicBezTo>
                    <a:pt x="8678" y="1856"/>
                    <a:pt x="8680" y="1854"/>
                    <a:pt x="8678" y="1861"/>
                  </a:cubicBezTo>
                  <a:cubicBezTo>
                    <a:pt x="8677" y="1868"/>
                    <a:pt x="8690" y="1869"/>
                    <a:pt x="8692" y="1878"/>
                  </a:cubicBezTo>
                  <a:cubicBezTo>
                    <a:pt x="8694" y="1886"/>
                    <a:pt x="8693" y="1885"/>
                    <a:pt x="8680" y="1891"/>
                  </a:cubicBezTo>
                  <a:cubicBezTo>
                    <a:pt x="8667" y="1898"/>
                    <a:pt x="8668" y="1908"/>
                    <a:pt x="8667" y="1922"/>
                  </a:cubicBezTo>
                  <a:cubicBezTo>
                    <a:pt x="8666" y="1935"/>
                    <a:pt x="8649" y="1931"/>
                    <a:pt x="8630" y="1935"/>
                  </a:cubicBezTo>
                  <a:cubicBezTo>
                    <a:pt x="8612" y="1939"/>
                    <a:pt x="8602" y="1953"/>
                    <a:pt x="8589" y="1958"/>
                  </a:cubicBezTo>
                  <a:cubicBezTo>
                    <a:pt x="8575" y="1963"/>
                    <a:pt x="8562" y="1962"/>
                    <a:pt x="8559" y="1978"/>
                  </a:cubicBezTo>
                  <a:cubicBezTo>
                    <a:pt x="8555" y="1994"/>
                    <a:pt x="8554" y="1993"/>
                    <a:pt x="8538" y="2005"/>
                  </a:cubicBezTo>
                  <a:cubicBezTo>
                    <a:pt x="8522" y="2016"/>
                    <a:pt x="8513" y="2030"/>
                    <a:pt x="8499" y="2038"/>
                  </a:cubicBezTo>
                  <a:cubicBezTo>
                    <a:pt x="8486" y="2046"/>
                    <a:pt x="8470" y="2063"/>
                    <a:pt x="8453" y="2073"/>
                  </a:cubicBezTo>
                  <a:cubicBezTo>
                    <a:pt x="8435" y="2083"/>
                    <a:pt x="8438" y="2087"/>
                    <a:pt x="8425" y="2109"/>
                  </a:cubicBezTo>
                  <a:cubicBezTo>
                    <a:pt x="8412" y="2130"/>
                    <a:pt x="8404" y="2131"/>
                    <a:pt x="8385" y="2148"/>
                  </a:cubicBezTo>
                  <a:cubicBezTo>
                    <a:pt x="8367" y="2164"/>
                    <a:pt x="8365" y="2167"/>
                    <a:pt x="8343" y="2182"/>
                  </a:cubicBezTo>
                  <a:cubicBezTo>
                    <a:pt x="8322" y="2198"/>
                    <a:pt x="8316" y="2198"/>
                    <a:pt x="8304" y="2196"/>
                  </a:cubicBezTo>
                  <a:cubicBezTo>
                    <a:pt x="8293" y="2194"/>
                    <a:pt x="8291" y="2198"/>
                    <a:pt x="8283" y="2209"/>
                  </a:cubicBezTo>
                  <a:cubicBezTo>
                    <a:pt x="8275" y="2219"/>
                    <a:pt x="8272" y="2217"/>
                    <a:pt x="8258" y="2215"/>
                  </a:cubicBezTo>
                  <a:cubicBezTo>
                    <a:pt x="8244" y="2214"/>
                    <a:pt x="8248" y="2216"/>
                    <a:pt x="8238" y="2219"/>
                  </a:cubicBezTo>
                  <a:cubicBezTo>
                    <a:pt x="8228" y="2223"/>
                    <a:pt x="8237" y="2231"/>
                    <a:pt x="8243" y="2247"/>
                  </a:cubicBezTo>
                  <a:cubicBezTo>
                    <a:pt x="8249" y="2264"/>
                    <a:pt x="8230" y="2278"/>
                    <a:pt x="8222" y="2284"/>
                  </a:cubicBezTo>
                  <a:cubicBezTo>
                    <a:pt x="8215" y="2290"/>
                    <a:pt x="8197" y="2303"/>
                    <a:pt x="8186" y="2325"/>
                  </a:cubicBezTo>
                  <a:cubicBezTo>
                    <a:pt x="8174" y="2347"/>
                    <a:pt x="8164" y="2376"/>
                    <a:pt x="8164" y="2386"/>
                  </a:cubicBezTo>
                  <a:cubicBezTo>
                    <a:pt x="8164" y="2395"/>
                    <a:pt x="8158" y="2432"/>
                    <a:pt x="8157" y="2455"/>
                  </a:cubicBezTo>
                  <a:cubicBezTo>
                    <a:pt x="8156" y="2479"/>
                    <a:pt x="8179" y="2574"/>
                    <a:pt x="8184" y="2582"/>
                  </a:cubicBezTo>
                  <a:cubicBezTo>
                    <a:pt x="8189" y="2591"/>
                    <a:pt x="8182" y="2616"/>
                    <a:pt x="8187" y="2642"/>
                  </a:cubicBezTo>
                  <a:cubicBezTo>
                    <a:pt x="8192" y="2669"/>
                    <a:pt x="8199" y="2670"/>
                    <a:pt x="8205" y="2683"/>
                  </a:cubicBezTo>
                  <a:cubicBezTo>
                    <a:pt x="8212" y="2695"/>
                    <a:pt x="8206" y="2734"/>
                    <a:pt x="8212" y="2744"/>
                  </a:cubicBezTo>
                  <a:cubicBezTo>
                    <a:pt x="8219" y="2754"/>
                    <a:pt x="8214" y="2778"/>
                    <a:pt x="8219" y="2791"/>
                  </a:cubicBezTo>
                  <a:cubicBezTo>
                    <a:pt x="8224" y="2803"/>
                    <a:pt x="8227" y="2801"/>
                    <a:pt x="8227" y="2813"/>
                  </a:cubicBezTo>
                  <a:cubicBezTo>
                    <a:pt x="8227" y="2826"/>
                    <a:pt x="8261" y="2800"/>
                    <a:pt x="8266" y="2794"/>
                  </a:cubicBezTo>
                  <a:cubicBezTo>
                    <a:pt x="8272" y="2787"/>
                    <a:pt x="8284" y="2779"/>
                    <a:pt x="8304" y="2762"/>
                  </a:cubicBezTo>
                  <a:cubicBezTo>
                    <a:pt x="8324" y="2744"/>
                    <a:pt x="8331" y="2741"/>
                    <a:pt x="8339" y="2725"/>
                  </a:cubicBezTo>
                  <a:cubicBezTo>
                    <a:pt x="8348" y="2709"/>
                    <a:pt x="8349" y="2692"/>
                    <a:pt x="8351" y="2675"/>
                  </a:cubicBezTo>
                  <a:cubicBezTo>
                    <a:pt x="8353" y="2657"/>
                    <a:pt x="8363" y="2658"/>
                    <a:pt x="8370" y="2649"/>
                  </a:cubicBezTo>
                  <a:cubicBezTo>
                    <a:pt x="8378" y="2640"/>
                    <a:pt x="8393" y="2640"/>
                    <a:pt x="8400" y="2634"/>
                  </a:cubicBezTo>
                  <a:cubicBezTo>
                    <a:pt x="8407" y="2629"/>
                    <a:pt x="8419" y="2626"/>
                    <a:pt x="8430" y="2633"/>
                  </a:cubicBezTo>
                  <a:cubicBezTo>
                    <a:pt x="8441" y="2641"/>
                    <a:pt x="8442" y="2638"/>
                    <a:pt x="8446" y="2634"/>
                  </a:cubicBezTo>
                  <a:cubicBezTo>
                    <a:pt x="8450" y="2630"/>
                    <a:pt x="8442" y="2623"/>
                    <a:pt x="8440" y="2619"/>
                  </a:cubicBezTo>
                  <a:cubicBezTo>
                    <a:pt x="8438" y="2615"/>
                    <a:pt x="8441" y="2605"/>
                    <a:pt x="8436" y="2596"/>
                  </a:cubicBezTo>
                  <a:cubicBezTo>
                    <a:pt x="8430" y="2587"/>
                    <a:pt x="8432" y="2582"/>
                    <a:pt x="8433" y="2573"/>
                  </a:cubicBezTo>
                  <a:cubicBezTo>
                    <a:pt x="8433" y="2565"/>
                    <a:pt x="8437" y="2553"/>
                    <a:pt x="8445" y="2550"/>
                  </a:cubicBezTo>
                  <a:cubicBezTo>
                    <a:pt x="8453" y="2547"/>
                    <a:pt x="8463" y="2532"/>
                    <a:pt x="8471" y="2523"/>
                  </a:cubicBezTo>
                  <a:cubicBezTo>
                    <a:pt x="8479" y="2514"/>
                    <a:pt x="8510" y="2509"/>
                    <a:pt x="8527" y="2514"/>
                  </a:cubicBezTo>
                  <a:cubicBezTo>
                    <a:pt x="8544" y="2519"/>
                    <a:pt x="8555" y="2508"/>
                    <a:pt x="8568" y="2495"/>
                  </a:cubicBezTo>
                  <a:cubicBezTo>
                    <a:pt x="8580" y="2482"/>
                    <a:pt x="8570" y="2471"/>
                    <a:pt x="8560" y="2462"/>
                  </a:cubicBezTo>
                  <a:cubicBezTo>
                    <a:pt x="8550" y="2454"/>
                    <a:pt x="8552" y="2446"/>
                    <a:pt x="8549" y="2430"/>
                  </a:cubicBezTo>
                  <a:cubicBezTo>
                    <a:pt x="8546" y="2415"/>
                    <a:pt x="8551" y="2407"/>
                    <a:pt x="8560" y="2391"/>
                  </a:cubicBezTo>
                  <a:cubicBezTo>
                    <a:pt x="8569" y="2375"/>
                    <a:pt x="8585" y="2371"/>
                    <a:pt x="8591" y="2356"/>
                  </a:cubicBezTo>
                  <a:cubicBezTo>
                    <a:pt x="8596" y="2341"/>
                    <a:pt x="8606" y="2353"/>
                    <a:pt x="8616" y="2366"/>
                  </a:cubicBezTo>
                  <a:cubicBezTo>
                    <a:pt x="8626" y="2380"/>
                    <a:pt x="8631" y="2373"/>
                    <a:pt x="8641" y="2367"/>
                  </a:cubicBezTo>
                  <a:cubicBezTo>
                    <a:pt x="8651" y="2361"/>
                    <a:pt x="8653" y="2348"/>
                    <a:pt x="8652" y="2335"/>
                  </a:cubicBezTo>
                  <a:cubicBezTo>
                    <a:pt x="8650" y="2322"/>
                    <a:pt x="8640" y="2318"/>
                    <a:pt x="8628" y="2310"/>
                  </a:cubicBezTo>
                  <a:cubicBezTo>
                    <a:pt x="8616" y="2303"/>
                    <a:pt x="8618" y="2305"/>
                    <a:pt x="8616" y="2296"/>
                  </a:cubicBezTo>
                  <a:cubicBezTo>
                    <a:pt x="8614" y="2287"/>
                    <a:pt x="8616" y="2278"/>
                    <a:pt x="8618" y="2265"/>
                  </a:cubicBezTo>
                  <a:cubicBezTo>
                    <a:pt x="8620" y="2252"/>
                    <a:pt x="8621" y="2249"/>
                    <a:pt x="8628" y="2244"/>
                  </a:cubicBezTo>
                  <a:cubicBezTo>
                    <a:pt x="8635" y="2240"/>
                    <a:pt x="8643" y="2232"/>
                    <a:pt x="8646" y="2222"/>
                  </a:cubicBezTo>
                  <a:cubicBezTo>
                    <a:pt x="8649" y="2212"/>
                    <a:pt x="8635" y="2213"/>
                    <a:pt x="8629" y="2212"/>
                  </a:cubicBezTo>
                  <a:cubicBezTo>
                    <a:pt x="8624" y="2212"/>
                    <a:pt x="8623" y="2208"/>
                    <a:pt x="8621" y="2202"/>
                  </a:cubicBezTo>
                  <a:cubicBezTo>
                    <a:pt x="8620" y="2196"/>
                    <a:pt x="8603" y="2202"/>
                    <a:pt x="8601" y="2209"/>
                  </a:cubicBezTo>
                  <a:cubicBezTo>
                    <a:pt x="8599" y="2215"/>
                    <a:pt x="8600" y="2202"/>
                    <a:pt x="8587" y="2212"/>
                  </a:cubicBezTo>
                  <a:cubicBezTo>
                    <a:pt x="8574" y="2223"/>
                    <a:pt x="8567" y="2230"/>
                    <a:pt x="8561" y="2193"/>
                  </a:cubicBezTo>
                  <a:cubicBezTo>
                    <a:pt x="8554" y="2157"/>
                    <a:pt x="8600" y="2131"/>
                    <a:pt x="8621" y="2114"/>
                  </a:cubicBezTo>
                  <a:cubicBezTo>
                    <a:pt x="8643" y="2096"/>
                    <a:pt x="8647" y="2083"/>
                    <a:pt x="8647" y="2071"/>
                  </a:cubicBezTo>
                  <a:cubicBezTo>
                    <a:pt x="8647" y="2058"/>
                    <a:pt x="8658" y="2036"/>
                    <a:pt x="8668" y="2015"/>
                  </a:cubicBezTo>
                  <a:cubicBezTo>
                    <a:pt x="8679" y="1993"/>
                    <a:pt x="8705" y="2015"/>
                    <a:pt x="8711" y="2008"/>
                  </a:cubicBezTo>
                  <a:cubicBezTo>
                    <a:pt x="8718" y="2002"/>
                    <a:pt x="8731" y="2008"/>
                    <a:pt x="8739" y="2019"/>
                  </a:cubicBezTo>
                  <a:cubicBezTo>
                    <a:pt x="8748" y="2030"/>
                    <a:pt x="8765" y="2015"/>
                    <a:pt x="8772" y="2002"/>
                  </a:cubicBezTo>
                  <a:cubicBezTo>
                    <a:pt x="8778" y="1989"/>
                    <a:pt x="8802" y="1989"/>
                    <a:pt x="8810" y="1980"/>
                  </a:cubicBezTo>
                  <a:cubicBezTo>
                    <a:pt x="8819" y="1972"/>
                    <a:pt x="8832" y="1957"/>
                    <a:pt x="8836" y="1970"/>
                  </a:cubicBezTo>
                  <a:cubicBezTo>
                    <a:pt x="8840" y="1982"/>
                    <a:pt x="8830" y="1993"/>
                    <a:pt x="8830" y="2015"/>
                  </a:cubicBezTo>
                  <a:cubicBezTo>
                    <a:pt x="8830" y="2036"/>
                    <a:pt x="8862" y="2019"/>
                    <a:pt x="8875" y="1997"/>
                  </a:cubicBezTo>
                  <a:cubicBezTo>
                    <a:pt x="8888" y="1976"/>
                    <a:pt x="8898" y="1976"/>
                    <a:pt x="8913" y="1972"/>
                  </a:cubicBezTo>
                  <a:cubicBezTo>
                    <a:pt x="8929" y="1967"/>
                    <a:pt x="8941" y="1952"/>
                    <a:pt x="8965" y="1952"/>
                  </a:cubicBezTo>
                  <a:cubicBezTo>
                    <a:pt x="8989" y="1952"/>
                    <a:pt x="9019" y="1957"/>
                    <a:pt x="9027" y="1957"/>
                  </a:cubicBezTo>
                  <a:cubicBezTo>
                    <a:pt x="9036" y="1957"/>
                    <a:pt x="9051" y="1976"/>
                    <a:pt x="9060" y="1978"/>
                  </a:cubicBezTo>
                  <a:cubicBezTo>
                    <a:pt x="9068" y="1980"/>
                    <a:pt x="9077" y="2000"/>
                    <a:pt x="9088" y="2017"/>
                  </a:cubicBezTo>
                  <a:cubicBezTo>
                    <a:pt x="9098" y="2034"/>
                    <a:pt x="9109" y="1982"/>
                    <a:pt x="9120" y="1965"/>
                  </a:cubicBezTo>
                  <a:cubicBezTo>
                    <a:pt x="9131" y="1948"/>
                    <a:pt x="9159" y="1957"/>
                    <a:pt x="9178" y="1944"/>
                  </a:cubicBezTo>
                  <a:cubicBezTo>
                    <a:pt x="9197" y="1931"/>
                    <a:pt x="9210" y="1929"/>
                    <a:pt x="9214" y="1916"/>
                  </a:cubicBezTo>
                  <a:cubicBezTo>
                    <a:pt x="9219" y="1903"/>
                    <a:pt x="9238" y="1896"/>
                    <a:pt x="9253" y="1881"/>
                  </a:cubicBezTo>
                  <a:cubicBezTo>
                    <a:pt x="9268" y="1866"/>
                    <a:pt x="9275" y="1884"/>
                    <a:pt x="9288" y="1860"/>
                  </a:cubicBezTo>
                  <a:cubicBezTo>
                    <a:pt x="9300" y="1836"/>
                    <a:pt x="9316" y="1860"/>
                    <a:pt x="9326" y="1845"/>
                  </a:cubicBezTo>
                  <a:cubicBezTo>
                    <a:pt x="9337" y="1830"/>
                    <a:pt x="9359" y="1843"/>
                    <a:pt x="9367" y="1828"/>
                  </a:cubicBezTo>
                  <a:cubicBezTo>
                    <a:pt x="9376" y="1813"/>
                    <a:pt x="9391" y="1825"/>
                    <a:pt x="9393" y="1817"/>
                  </a:cubicBezTo>
                  <a:cubicBezTo>
                    <a:pt x="9395" y="1808"/>
                    <a:pt x="9425" y="1798"/>
                    <a:pt x="9445" y="1789"/>
                  </a:cubicBezTo>
                  <a:cubicBezTo>
                    <a:pt x="9464" y="1780"/>
                    <a:pt x="9479" y="1787"/>
                    <a:pt x="9485" y="1774"/>
                  </a:cubicBezTo>
                  <a:cubicBezTo>
                    <a:pt x="9492" y="1761"/>
                    <a:pt x="9503" y="1761"/>
                    <a:pt x="9518" y="1759"/>
                  </a:cubicBezTo>
                  <a:cubicBezTo>
                    <a:pt x="9533" y="1757"/>
                    <a:pt x="9524" y="1731"/>
                    <a:pt x="9524" y="1731"/>
                  </a:cubicBezTo>
                  <a:cubicBezTo>
                    <a:pt x="9524" y="1731"/>
                    <a:pt x="9537" y="1731"/>
                    <a:pt x="9546" y="1746"/>
                  </a:cubicBezTo>
                  <a:cubicBezTo>
                    <a:pt x="9554" y="1761"/>
                    <a:pt x="9563" y="1763"/>
                    <a:pt x="9576" y="1763"/>
                  </a:cubicBezTo>
                  <a:cubicBezTo>
                    <a:pt x="9589" y="1763"/>
                    <a:pt x="9604" y="1765"/>
                    <a:pt x="9621" y="1774"/>
                  </a:cubicBezTo>
                  <a:cubicBezTo>
                    <a:pt x="9638" y="1782"/>
                    <a:pt x="9660" y="1776"/>
                    <a:pt x="9664" y="1767"/>
                  </a:cubicBezTo>
                  <a:cubicBezTo>
                    <a:pt x="9668" y="1759"/>
                    <a:pt x="9687" y="1757"/>
                    <a:pt x="9690" y="1739"/>
                  </a:cubicBezTo>
                  <a:cubicBezTo>
                    <a:pt x="9692" y="1722"/>
                    <a:pt x="9670" y="1727"/>
                    <a:pt x="9670" y="1714"/>
                  </a:cubicBezTo>
                  <a:cubicBezTo>
                    <a:pt x="9670" y="1701"/>
                    <a:pt x="9664" y="1692"/>
                    <a:pt x="9657" y="1692"/>
                  </a:cubicBezTo>
                  <a:cubicBezTo>
                    <a:pt x="9651" y="1692"/>
                    <a:pt x="9640" y="1684"/>
                    <a:pt x="9636" y="1664"/>
                  </a:cubicBezTo>
                  <a:cubicBezTo>
                    <a:pt x="9632" y="1645"/>
                    <a:pt x="9638" y="1632"/>
                    <a:pt x="9632" y="1626"/>
                  </a:cubicBezTo>
                  <a:cubicBezTo>
                    <a:pt x="9625" y="1619"/>
                    <a:pt x="9623" y="1608"/>
                    <a:pt x="9617" y="1593"/>
                  </a:cubicBezTo>
                  <a:cubicBezTo>
                    <a:pt x="9610" y="1578"/>
                    <a:pt x="9597" y="1583"/>
                    <a:pt x="9589" y="1589"/>
                  </a:cubicBezTo>
                  <a:cubicBezTo>
                    <a:pt x="9580" y="1595"/>
                    <a:pt x="9569" y="1587"/>
                    <a:pt x="9561" y="1583"/>
                  </a:cubicBezTo>
                  <a:cubicBezTo>
                    <a:pt x="9552" y="1578"/>
                    <a:pt x="9548" y="1570"/>
                    <a:pt x="9543" y="1557"/>
                  </a:cubicBezTo>
                  <a:cubicBezTo>
                    <a:pt x="9539" y="1544"/>
                    <a:pt x="9531" y="1537"/>
                    <a:pt x="9531" y="1537"/>
                  </a:cubicBezTo>
                  <a:cubicBezTo>
                    <a:pt x="9531" y="1537"/>
                    <a:pt x="9511" y="1555"/>
                    <a:pt x="9498" y="1555"/>
                  </a:cubicBezTo>
                  <a:cubicBezTo>
                    <a:pt x="9485" y="1555"/>
                    <a:pt x="9477" y="1555"/>
                    <a:pt x="9477" y="1537"/>
                  </a:cubicBezTo>
                  <a:cubicBezTo>
                    <a:pt x="9477" y="1520"/>
                    <a:pt x="9492" y="1518"/>
                    <a:pt x="9503" y="1527"/>
                  </a:cubicBezTo>
                  <a:cubicBezTo>
                    <a:pt x="9513" y="1535"/>
                    <a:pt x="9528" y="1524"/>
                    <a:pt x="9533" y="1518"/>
                  </a:cubicBezTo>
                  <a:cubicBezTo>
                    <a:pt x="9537" y="1512"/>
                    <a:pt x="9550" y="1516"/>
                    <a:pt x="9556" y="1524"/>
                  </a:cubicBezTo>
                  <a:cubicBezTo>
                    <a:pt x="9563" y="1533"/>
                    <a:pt x="9582" y="1548"/>
                    <a:pt x="9608" y="1548"/>
                  </a:cubicBezTo>
                  <a:cubicBezTo>
                    <a:pt x="9634" y="1548"/>
                    <a:pt x="9653" y="1546"/>
                    <a:pt x="9666" y="1533"/>
                  </a:cubicBezTo>
                  <a:cubicBezTo>
                    <a:pt x="9679" y="1520"/>
                    <a:pt x="9696" y="1516"/>
                    <a:pt x="9720" y="1505"/>
                  </a:cubicBezTo>
                  <a:cubicBezTo>
                    <a:pt x="9743" y="1494"/>
                    <a:pt x="9735" y="1488"/>
                    <a:pt x="9735" y="1477"/>
                  </a:cubicBezTo>
                  <a:cubicBezTo>
                    <a:pt x="9735" y="1466"/>
                    <a:pt x="9743" y="1464"/>
                    <a:pt x="9746" y="1447"/>
                  </a:cubicBezTo>
                  <a:cubicBezTo>
                    <a:pt x="9748" y="1430"/>
                    <a:pt x="9728" y="1426"/>
                    <a:pt x="9722" y="1408"/>
                  </a:cubicBezTo>
                  <a:cubicBezTo>
                    <a:pt x="9715" y="1391"/>
                    <a:pt x="9743" y="1402"/>
                    <a:pt x="9750" y="1385"/>
                  </a:cubicBezTo>
                  <a:cubicBezTo>
                    <a:pt x="9756" y="1368"/>
                    <a:pt x="9761" y="1380"/>
                    <a:pt x="9776" y="1376"/>
                  </a:cubicBezTo>
                  <a:cubicBezTo>
                    <a:pt x="9791" y="1372"/>
                    <a:pt x="9816" y="1387"/>
                    <a:pt x="9789" y="1404"/>
                  </a:cubicBezTo>
                  <a:cubicBezTo>
                    <a:pt x="9761" y="1421"/>
                    <a:pt x="9799" y="1436"/>
                    <a:pt x="9797" y="1449"/>
                  </a:cubicBezTo>
                  <a:cubicBezTo>
                    <a:pt x="9795" y="1462"/>
                    <a:pt x="9814" y="1462"/>
                    <a:pt x="9836" y="1462"/>
                  </a:cubicBezTo>
                  <a:cubicBezTo>
                    <a:pt x="9857" y="1462"/>
                    <a:pt x="9879" y="1462"/>
                    <a:pt x="9898" y="1456"/>
                  </a:cubicBezTo>
                  <a:cubicBezTo>
                    <a:pt x="9918" y="1449"/>
                    <a:pt x="9941" y="1458"/>
                    <a:pt x="9958" y="1460"/>
                  </a:cubicBezTo>
                  <a:cubicBezTo>
                    <a:pt x="9976" y="1462"/>
                    <a:pt x="9982" y="1505"/>
                    <a:pt x="9991" y="1520"/>
                  </a:cubicBezTo>
                  <a:cubicBezTo>
                    <a:pt x="9999" y="1535"/>
                    <a:pt x="10021" y="1548"/>
                    <a:pt x="10053" y="1544"/>
                  </a:cubicBezTo>
                  <a:cubicBezTo>
                    <a:pt x="10085" y="1540"/>
                    <a:pt x="10079" y="1546"/>
                    <a:pt x="10087" y="1565"/>
                  </a:cubicBezTo>
                  <a:cubicBezTo>
                    <a:pt x="10096" y="1585"/>
                    <a:pt x="10102" y="1570"/>
                    <a:pt x="10122" y="1570"/>
                  </a:cubicBezTo>
                  <a:cubicBezTo>
                    <a:pt x="10141" y="1570"/>
                    <a:pt x="10150" y="1585"/>
                    <a:pt x="10160" y="1580"/>
                  </a:cubicBezTo>
                  <a:cubicBezTo>
                    <a:pt x="10171" y="1576"/>
                    <a:pt x="10197" y="1574"/>
                    <a:pt x="10197" y="1565"/>
                  </a:cubicBezTo>
                  <a:cubicBezTo>
                    <a:pt x="10197" y="1557"/>
                    <a:pt x="10191" y="1557"/>
                    <a:pt x="10171" y="1555"/>
                  </a:cubicBezTo>
                  <a:cubicBezTo>
                    <a:pt x="10152" y="1552"/>
                    <a:pt x="10158" y="1524"/>
                    <a:pt x="10180" y="1524"/>
                  </a:cubicBezTo>
                  <a:cubicBezTo>
                    <a:pt x="10201" y="1524"/>
                    <a:pt x="10186" y="1512"/>
                    <a:pt x="10208" y="1503"/>
                  </a:cubicBezTo>
                  <a:cubicBezTo>
                    <a:pt x="10229" y="1494"/>
                    <a:pt x="10214" y="1479"/>
                    <a:pt x="10201" y="1462"/>
                  </a:cubicBezTo>
                  <a:cubicBezTo>
                    <a:pt x="10188" y="1445"/>
                    <a:pt x="10231" y="1460"/>
                    <a:pt x="10262" y="146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358" name="Freeform 25496"/>
            <p:cNvSpPr>
              <a:spLocks/>
            </p:cNvSpPr>
            <p:nvPr/>
          </p:nvSpPr>
          <p:spPr bwMode="auto">
            <a:xfrm>
              <a:off x="5392737" y="1280727"/>
              <a:ext cx="119323" cy="47666"/>
            </a:xfrm>
            <a:custGeom>
              <a:avLst/>
              <a:gdLst>
                <a:gd name="T0" fmla="*/ 177 w 320"/>
                <a:gd name="T1" fmla="*/ 38 h 128"/>
                <a:gd name="T2" fmla="*/ 156 w 320"/>
                <a:gd name="T3" fmla="*/ 57 h 128"/>
                <a:gd name="T4" fmla="*/ 118 w 320"/>
                <a:gd name="T5" fmla="*/ 55 h 128"/>
                <a:gd name="T6" fmla="*/ 81 w 320"/>
                <a:gd name="T7" fmla="*/ 61 h 128"/>
                <a:gd name="T8" fmla="*/ 72 w 320"/>
                <a:gd name="T9" fmla="*/ 70 h 128"/>
                <a:gd name="T10" fmla="*/ 83 w 320"/>
                <a:gd name="T11" fmla="*/ 86 h 128"/>
                <a:gd name="T12" fmla="*/ 52 w 320"/>
                <a:gd name="T13" fmla="*/ 95 h 128"/>
                <a:gd name="T14" fmla="*/ 20 w 320"/>
                <a:gd name="T15" fmla="*/ 83 h 128"/>
                <a:gd name="T16" fmla="*/ 17 w 320"/>
                <a:gd name="T17" fmla="*/ 102 h 128"/>
                <a:gd name="T18" fmla="*/ 50 w 320"/>
                <a:gd name="T19" fmla="*/ 108 h 128"/>
                <a:gd name="T20" fmla="*/ 76 w 320"/>
                <a:gd name="T21" fmla="*/ 113 h 128"/>
                <a:gd name="T22" fmla="*/ 88 w 320"/>
                <a:gd name="T23" fmla="*/ 128 h 128"/>
                <a:gd name="T24" fmla="*/ 112 w 320"/>
                <a:gd name="T25" fmla="*/ 118 h 128"/>
                <a:gd name="T26" fmla="*/ 147 w 320"/>
                <a:gd name="T27" fmla="*/ 112 h 128"/>
                <a:gd name="T28" fmla="*/ 147 w 320"/>
                <a:gd name="T29" fmla="*/ 93 h 128"/>
                <a:gd name="T30" fmla="*/ 161 w 320"/>
                <a:gd name="T31" fmla="*/ 83 h 128"/>
                <a:gd name="T32" fmla="*/ 202 w 320"/>
                <a:gd name="T33" fmla="*/ 78 h 128"/>
                <a:gd name="T34" fmla="*/ 237 w 320"/>
                <a:gd name="T35" fmla="*/ 58 h 128"/>
                <a:gd name="T36" fmla="*/ 283 w 320"/>
                <a:gd name="T37" fmla="*/ 53 h 128"/>
                <a:gd name="T38" fmla="*/ 309 w 320"/>
                <a:gd name="T39" fmla="*/ 40 h 128"/>
                <a:gd name="T40" fmla="*/ 320 w 320"/>
                <a:gd name="T41" fmla="*/ 30 h 128"/>
                <a:gd name="T42" fmla="*/ 293 w 320"/>
                <a:gd name="T43" fmla="*/ 20 h 128"/>
                <a:gd name="T44" fmla="*/ 258 w 320"/>
                <a:gd name="T45" fmla="*/ 21 h 128"/>
                <a:gd name="T46" fmla="*/ 262 w 320"/>
                <a:gd name="T47" fmla="*/ 8 h 128"/>
                <a:gd name="T48" fmla="*/ 222 w 320"/>
                <a:gd name="T49" fmla="*/ 1 h 128"/>
                <a:gd name="T50" fmla="*/ 189 w 320"/>
                <a:gd name="T51" fmla="*/ 13 h 128"/>
                <a:gd name="T52" fmla="*/ 171 w 320"/>
                <a:gd name="T53" fmla="*/ 27 h 128"/>
                <a:gd name="T54" fmla="*/ 177 w 320"/>
                <a:gd name="T55" fmla="*/ 38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20" h="128">
                  <a:moveTo>
                    <a:pt x="177" y="38"/>
                  </a:moveTo>
                  <a:cubicBezTo>
                    <a:pt x="163" y="48"/>
                    <a:pt x="171" y="57"/>
                    <a:pt x="156" y="57"/>
                  </a:cubicBezTo>
                  <a:cubicBezTo>
                    <a:pt x="141" y="57"/>
                    <a:pt x="126" y="61"/>
                    <a:pt x="118" y="55"/>
                  </a:cubicBezTo>
                  <a:cubicBezTo>
                    <a:pt x="111" y="48"/>
                    <a:pt x="87" y="61"/>
                    <a:pt x="81" y="61"/>
                  </a:cubicBezTo>
                  <a:cubicBezTo>
                    <a:pt x="75" y="61"/>
                    <a:pt x="43" y="63"/>
                    <a:pt x="72" y="70"/>
                  </a:cubicBezTo>
                  <a:cubicBezTo>
                    <a:pt x="101" y="76"/>
                    <a:pt x="92" y="82"/>
                    <a:pt x="83" y="86"/>
                  </a:cubicBezTo>
                  <a:cubicBezTo>
                    <a:pt x="75" y="90"/>
                    <a:pt x="66" y="102"/>
                    <a:pt x="52" y="95"/>
                  </a:cubicBezTo>
                  <a:cubicBezTo>
                    <a:pt x="38" y="87"/>
                    <a:pt x="31" y="81"/>
                    <a:pt x="20" y="83"/>
                  </a:cubicBezTo>
                  <a:cubicBezTo>
                    <a:pt x="8" y="86"/>
                    <a:pt x="0" y="96"/>
                    <a:pt x="17" y="102"/>
                  </a:cubicBezTo>
                  <a:cubicBezTo>
                    <a:pt x="35" y="108"/>
                    <a:pt x="40" y="111"/>
                    <a:pt x="50" y="108"/>
                  </a:cubicBezTo>
                  <a:cubicBezTo>
                    <a:pt x="60" y="106"/>
                    <a:pt x="83" y="107"/>
                    <a:pt x="76" y="113"/>
                  </a:cubicBezTo>
                  <a:cubicBezTo>
                    <a:pt x="68" y="119"/>
                    <a:pt x="72" y="128"/>
                    <a:pt x="88" y="128"/>
                  </a:cubicBezTo>
                  <a:cubicBezTo>
                    <a:pt x="105" y="128"/>
                    <a:pt x="90" y="116"/>
                    <a:pt x="112" y="118"/>
                  </a:cubicBezTo>
                  <a:cubicBezTo>
                    <a:pt x="134" y="121"/>
                    <a:pt x="143" y="121"/>
                    <a:pt x="147" y="112"/>
                  </a:cubicBezTo>
                  <a:cubicBezTo>
                    <a:pt x="151" y="103"/>
                    <a:pt x="158" y="100"/>
                    <a:pt x="147" y="93"/>
                  </a:cubicBezTo>
                  <a:cubicBezTo>
                    <a:pt x="136" y="87"/>
                    <a:pt x="136" y="80"/>
                    <a:pt x="161" y="83"/>
                  </a:cubicBezTo>
                  <a:cubicBezTo>
                    <a:pt x="186" y="87"/>
                    <a:pt x="194" y="95"/>
                    <a:pt x="202" y="78"/>
                  </a:cubicBezTo>
                  <a:cubicBezTo>
                    <a:pt x="209" y="62"/>
                    <a:pt x="222" y="58"/>
                    <a:pt x="237" y="58"/>
                  </a:cubicBezTo>
                  <a:cubicBezTo>
                    <a:pt x="252" y="58"/>
                    <a:pt x="275" y="63"/>
                    <a:pt x="283" y="53"/>
                  </a:cubicBezTo>
                  <a:cubicBezTo>
                    <a:pt x="290" y="43"/>
                    <a:pt x="299" y="40"/>
                    <a:pt x="309" y="40"/>
                  </a:cubicBezTo>
                  <a:cubicBezTo>
                    <a:pt x="319" y="40"/>
                    <a:pt x="320" y="30"/>
                    <a:pt x="320" y="30"/>
                  </a:cubicBezTo>
                  <a:cubicBezTo>
                    <a:pt x="320" y="30"/>
                    <a:pt x="313" y="20"/>
                    <a:pt x="293" y="20"/>
                  </a:cubicBezTo>
                  <a:cubicBezTo>
                    <a:pt x="273" y="20"/>
                    <a:pt x="257" y="27"/>
                    <a:pt x="258" y="21"/>
                  </a:cubicBezTo>
                  <a:cubicBezTo>
                    <a:pt x="259" y="15"/>
                    <a:pt x="270" y="10"/>
                    <a:pt x="262" y="8"/>
                  </a:cubicBezTo>
                  <a:cubicBezTo>
                    <a:pt x="253" y="7"/>
                    <a:pt x="249" y="0"/>
                    <a:pt x="222" y="1"/>
                  </a:cubicBezTo>
                  <a:cubicBezTo>
                    <a:pt x="222" y="1"/>
                    <a:pt x="207" y="13"/>
                    <a:pt x="189" y="13"/>
                  </a:cubicBezTo>
                  <a:cubicBezTo>
                    <a:pt x="172" y="13"/>
                    <a:pt x="151" y="26"/>
                    <a:pt x="171" y="27"/>
                  </a:cubicBezTo>
                  <a:cubicBezTo>
                    <a:pt x="191" y="28"/>
                    <a:pt x="191" y="28"/>
                    <a:pt x="177" y="38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359" name="Freeform 25497"/>
            <p:cNvSpPr>
              <a:spLocks/>
            </p:cNvSpPr>
            <p:nvPr/>
          </p:nvSpPr>
          <p:spPr bwMode="auto">
            <a:xfrm>
              <a:off x="5347597" y="1278833"/>
              <a:ext cx="95174" cy="29042"/>
            </a:xfrm>
            <a:custGeom>
              <a:avLst/>
              <a:gdLst>
                <a:gd name="T0" fmla="*/ 31 w 255"/>
                <a:gd name="T1" fmla="*/ 56 h 78"/>
                <a:gd name="T2" fmla="*/ 86 w 255"/>
                <a:gd name="T3" fmla="*/ 67 h 78"/>
                <a:gd name="T4" fmla="*/ 126 w 255"/>
                <a:gd name="T5" fmla="*/ 67 h 78"/>
                <a:gd name="T6" fmla="*/ 168 w 255"/>
                <a:gd name="T7" fmla="*/ 46 h 78"/>
                <a:gd name="T8" fmla="*/ 212 w 255"/>
                <a:gd name="T9" fmla="*/ 38 h 78"/>
                <a:gd name="T10" fmla="*/ 255 w 255"/>
                <a:gd name="T11" fmla="*/ 41 h 78"/>
                <a:gd name="T12" fmla="*/ 229 w 255"/>
                <a:gd name="T13" fmla="*/ 20 h 78"/>
                <a:gd name="T14" fmla="*/ 191 w 255"/>
                <a:gd name="T15" fmla="*/ 17 h 78"/>
                <a:gd name="T16" fmla="*/ 138 w 255"/>
                <a:gd name="T17" fmla="*/ 27 h 78"/>
                <a:gd name="T18" fmla="*/ 97 w 255"/>
                <a:gd name="T19" fmla="*/ 38 h 78"/>
                <a:gd name="T20" fmla="*/ 43 w 255"/>
                <a:gd name="T21" fmla="*/ 43 h 78"/>
                <a:gd name="T22" fmla="*/ 31 w 255"/>
                <a:gd name="T23" fmla="*/ 56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5" h="78">
                  <a:moveTo>
                    <a:pt x="31" y="56"/>
                  </a:moveTo>
                  <a:cubicBezTo>
                    <a:pt x="62" y="60"/>
                    <a:pt x="71" y="56"/>
                    <a:pt x="86" y="67"/>
                  </a:cubicBezTo>
                  <a:cubicBezTo>
                    <a:pt x="101" y="78"/>
                    <a:pt x="115" y="77"/>
                    <a:pt x="126" y="67"/>
                  </a:cubicBezTo>
                  <a:cubicBezTo>
                    <a:pt x="137" y="57"/>
                    <a:pt x="161" y="60"/>
                    <a:pt x="168" y="46"/>
                  </a:cubicBezTo>
                  <a:cubicBezTo>
                    <a:pt x="176" y="32"/>
                    <a:pt x="194" y="27"/>
                    <a:pt x="212" y="38"/>
                  </a:cubicBezTo>
                  <a:cubicBezTo>
                    <a:pt x="229" y="50"/>
                    <a:pt x="255" y="46"/>
                    <a:pt x="255" y="41"/>
                  </a:cubicBezTo>
                  <a:cubicBezTo>
                    <a:pt x="255" y="36"/>
                    <a:pt x="243" y="17"/>
                    <a:pt x="229" y="20"/>
                  </a:cubicBezTo>
                  <a:cubicBezTo>
                    <a:pt x="216" y="22"/>
                    <a:pt x="197" y="23"/>
                    <a:pt x="191" y="17"/>
                  </a:cubicBezTo>
                  <a:cubicBezTo>
                    <a:pt x="184" y="11"/>
                    <a:pt x="169" y="0"/>
                    <a:pt x="138" y="27"/>
                  </a:cubicBezTo>
                  <a:cubicBezTo>
                    <a:pt x="138" y="27"/>
                    <a:pt x="119" y="38"/>
                    <a:pt x="97" y="38"/>
                  </a:cubicBezTo>
                  <a:cubicBezTo>
                    <a:pt x="75" y="38"/>
                    <a:pt x="58" y="43"/>
                    <a:pt x="43" y="43"/>
                  </a:cubicBezTo>
                  <a:cubicBezTo>
                    <a:pt x="28" y="43"/>
                    <a:pt x="0" y="52"/>
                    <a:pt x="31" y="56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360" name="Freeform 25498"/>
            <p:cNvSpPr>
              <a:spLocks/>
            </p:cNvSpPr>
            <p:nvPr/>
          </p:nvSpPr>
          <p:spPr bwMode="auto">
            <a:xfrm>
              <a:off x="5465814" y="1316555"/>
              <a:ext cx="14205" cy="10417"/>
            </a:xfrm>
            <a:custGeom>
              <a:avLst/>
              <a:gdLst>
                <a:gd name="T0" fmla="*/ 28 w 38"/>
                <a:gd name="T1" fmla="*/ 18 h 28"/>
                <a:gd name="T2" fmla="*/ 30 w 38"/>
                <a:gd name="T3" fmla="*/ 4 h 28"/>
                <a:gd name="T4" fmla="*/ 18 w 38"/>
                <a:gd name="T5" fmla="*/ 2 h 28"/>
                <a:gd name="T6" fmla="*/ 8 w 38"/>
                <a:gd name="T7" fmla="*/ 14 h 28"/>
                <a:gd name="T8" fmla="*/ 7 w 38"/>
                <a:gd name="T9" fmla="*/ 28 h 28"/>
                <a:gd name="T10" fmla="*/ 28 w 38"/>
                <a:gd name="T11" fmla="*/ 1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8" h="28">
                  <a:moveTo>
                    <a:pt x="28" y="18"/>
                  </a:moveTo>
                  <a:cubicBezTo>
                    <a:pt x="33" y="10"/>
                    <a:pt x="38" y="9"/>
                    <a:pt x="30" y="4"/>
                  </a:cubicBezTo>
                  <a:cubicBezTo>
                    <a:pt x="22" y="0"/>
                    <a:pt x="19" y="0"/>
                    <a:pt x="18" y="2"/>
                  </a:cubicBezTo>
                  <a:cubicBezTo>
                    <a:pt x="18" y="2"/>
                    <a:pt x="12" y="10"/>
                    <a:pt x="8" y="14"/>
                  </a:cubicBezTo>
                  <a:cubicBezTo>
                    <a:pt x="5" y="18"/>
                    <a:pt x="0" y="28"/>
                    <a:pt x="7" y="28"/>
                  </a:cubicBezTo>
                  <a:cubicBezTo>
                    <a:pt x="14" y="28"/>
                    <a:pt x="23" y="25"/>
                    <a:pt x="28" y="18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361" name="Freeform 25499"/>
            <p:cNvSpPr>
              <a:spLocks/>
            </p:cNvSpPr>
            <p:nvPr/>
          </p:nvSpPr>
          <p:spPr bwMode="auto">
            <a:xfrm>
              <a:off x="5480335" y="1265101"/>
              <a:ext cx="19098" cy="11048"/>
            </a:xfrm>
            <a:custGeom>
              <a:avLst/>
              <a:gdLst>
                <a:gd name="T0" fmla="*/ 7 w 51"/>
                <a:gd name="T1" fmla="*/ 27 h 30"/>
                <a:gd name="T2" fmla="*/ 21 w 51"/>
                <a:gd name="T3" fmla="*/ 22 h 30"/>
                <a:gd name="T4" fmla="*/ 36 w 51"/>
                <a:gd name="T5" fmla="*/ 17 h 30"/>
                <a:gd name="T6" fmla="*/ 44 w 51"/>
                <a:gd name="T7" fmla="*/ 8 h 30"/>
                <a:gd name="T8" fmla="*/ 23 w 51"/>
                <a:gd name="T9" fmla="*/ 0 h 30"/>
                <a:gd name="T10" fmla="*/ 8 w 51"/>
                <a:gd name="T11" fmla="*/ 9 h 30"/>
                <a:gd name="T12" fmla="*/ 7 w 51"/>
                <a:gd name="T13" fmla="*/ 27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1" h="30">
                  <a:moveTo>
                    <a:pt x="7" y="27"/>
                  </a:moveTo>
                  <a:cubicBezTo>
                    <a:pt x="15" y="30"/>
                    <a:pt x="20" y="27"/>
                    <a:pt x="21" y="22"/>
                  </a:cubicBezTo>
                  <a:cubicBezTo>
                    <a:pt x="22" y="17"/>
                    <a:pt x="32" y="15"/>
                    <a:pt x="36" y="17"/>
                  </a:cubicBezTo>
                  <a:cubicBezTo>
                    <a:pt x="39" y="18"/>
                    <a:pt x="51" y="14"/>
                    <a:pt x="44" y="8"/>
                  </a:cubicBezTo>
                  <a:cubicBezTo>
                    <a:pt x="38" y="2"/>
                    <a:pt x="29" y="0"/>
                    <a:pt x="23" y="0"/>
                  </a:cubicBezTo>
                  <a:cubicBezTo>
                    <a:pt x="23" y="0"/>
                    <a:pt x="10" y="4"/>
                    <a:pt x="8" y="9"/>
                  </a:cubicBezTo>
                  <a:cubicBezTo>
                    <a:pt x="7" y="15"/>
                    <a:pt x="0" y="24"/>
                    <a:pt x="7" y="27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362" name="Freeform 25500"/>
            <p:cNvSpPr>
              <a:spLocks/>
            </p:cNvSpPr>
            <p:nvPr/>
          </p:nvSpPr>
          <p:spPr bwMode="auto">
            <a:xfrm>
              <a:off x="5475600" y="1324763"/>
              <a:ext cx="31567" cy="13732"/>
            </a:xfrm>
            <a:custGeom>
              <a:avLst/>
              <a:gdLst>
                <a:gd name="T0" fmla="*/ 29 w 85"/>
                <a:gd name="T1" fmla="*/ 28 h 37"/>
                <a:gd name="T2" fmla="*/ 49 w 85"/>
                <a:gd name="T3" fmla="*/ 32 h 37"/>
                <a:gd name="T4" fmla="*/ 77 w 85"/>
                <a:gd name="T5" fmla="*/ 32 h 37"/>
                <a:gd name="T6" fmla="*/ 71 w 85"/>
                <a:gd name="T7" fmla="*/ 10 h 37"/>
                <a:gd name="T8" fmla="*/ 50 w 85"/>
                <a:gd name="T9" fmla="*/ 4 h 37"/>
                <a:gd name="T10" fmla="*/ 33 w 85"/>
                <a:gd name="T11" fmla="*/ 13 h 37"/>
                <a:gd name="T12" fmla="*/ 3 w 85"/>
                <a:gd name="T13" fmla="*/ 23 h 37"/>
                <a:gd name="T14" fmla="*/ 29 w 85"/>
                <a:gd name="T15" fmla="*/ 28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5" h="37">
                  <a:moveTo>
                    <a:pt x="29" y="28"/>
                  </a:moveTo>
                  <a:cubicBezTo>
                    <a:pt x="39" y="28"/>
                    <a:pt x="41" y="26"/>
                    <a:pt x="49" y="32"/>
                  </a:cubicBezTo>
                  <a:cubicBezTo>
                    <a:pt x="57" y="37"/>
                    <a:pt x="72" y="34"/>
                    <a:pt x="77" y="32"/>
                  </a:cubicBezTo>
                  <a:cubicBezTo>
                    <a:pt x="83" y="30"/>
                    <a:pt x="85" y="19"/>
                    <a:pt x="71" y="10"/>
                  </a:cubicBezTo>
                  <a:cubicBezTo>
                    <a:pt x="57" y="0"/>
                    <a:pt x="57" y="3"/>
                    <a:pt x="50" y="4"/>
                  </a:cubicBezTo>
                  <a:cubicBezTo>
                    <a:pt x="50" y="4"/>
                    <a:pt x="45" y="10"/>
                    <a:pt x="33" y="13"/>
                  </a:cubicBezTo>
                  <a:cubicBezTo>
                    <a:pt x="21" y="15"/>
                    <a:pt x="0" y="15"/>
                    <a:pt x="3" y="23"/>
                  </a:cubicBezTo>
                  <a:cubicBezTo>
                    <a:pt x="5" y="31"/>
                    <a:pt x="19" y="28"/>
                    <a:pt x="29" y="28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363" name="Freeform 25501"/>
            <p:cNvSpPr>
              <a:spLocks/>
            </p:cNvSpPr>
            <p:nvPr/>
          </p:nvSpPr>
          <p:spPr bwMode="auto">
            <a:xfrm>
              <a:off x="5529579" y="1306138"/>
              <a:ext cx="29830" cy="15626"/>
            </a:xfrm>
            <a:custGeom>
              <a:avLst/>
              <a:gdLst>
                <a:gd name="T0" fmla="*/ 36 w 80"/>
                <a:gd name="T1" fmla="*/ 40 h 42"/>
                <a:gd name="T2" fmla="*/ 77 w 80"/>
                <a:gd name="T3" fmla="*/ 36 h 42"/>
                <a:gd name="T4" fmla="*/ 60 w 80"/>
                <a:gd name="T5" fmla="*/ 14 h 42"/>
                <a:gd name="T6" fmla="*/ 47 w 80"/>
                <a:gd name="T7" fmla="*/ 4 h 42"/>
                <a:gd name="T8" fmla="*/ 34 w 80"/>
                <a:gd name="T9" fmla="*/ 7 h 42"/>
                <a:gd name="T10" fmla="*/ 15 w 80"/>
                <a:gd name="T11" fmla="*/ 23 h 42"/>
                <a:gd name="T12" fmla="*/ 4 w 80"/>
                <a:gd name="T13" fmla="*/ 36 h 42"/>
                <a:gd name="T14" fmla="*/ 36 w 80"/>
                <a:gd name="T15" fmla="*/ 4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0" h="42">
                  <a:moveTo>
                    <a:pt x="36" y="40"/>
                  </a:moveTo>
                  <a:cubicBezTo>
                    <a:pt x="49" y="40"/>
                    <a:pt x="74" y="42"/>
                    <a:pt x="77" y="36"/>
                  </a:cubicBezTo>
                  <a:cubicBezTo>
                    <a:pt x="80" y="31"/>
                    <a:pt x="70" y="17"/>
                    <a:pt x="60" y="14"/>
                  </a:cubicBezTo>
                  <a:cubicBezTo>
                    <a:pt x="51" y="10"/>
                    <a:pt x="57" y="6"/>
                    <a:pt x="47" y="4"/>
                  </a:cubicBezTo>
                  <a:cubicBezTo>
                    <a:pt x="47" y="4"/>
                    <a:pt x="38" y="0"/>
                    <a:pt x="34" y="7"/>
                  </a:cubicBezTo>
                  <a:cubicBezTo>
                    <a:pt x="31" y="15"/>
                    <a:pt x="28" y="20"/>
                    <a:pt x="15" y="23"/>
                  </a:cubicBezTo>
                  <a:cubicBezTo>
                    <a:pt x="3" y="26"/>
                    <a:pt x="0" y="32"/>
                    <a:pt x="4" y="36"/>
                  </a:cubicBezTo>
                  <a:cubicBezTo>
                    <a:pt x="8" y="40"/>
                    <a:pt x="23" y="40"/>
                    <a:pt x="36" y="4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364" name="Freeform 25502"/>
            <p:cNvSpPr>
              <a:spLocks/>
            </p:cNvSpPr>
            <p:nvPr/>
          </p:nvSpPr>
          <p:spPr bwMode="auto">
            <a:xfrm>
              <a:off x="5563198" y="1297457"/>
              <a:ext cx="16415" cy="14205"/>
            </a:xfrm>
            <a:custGeom>
              <a:avLst/>
              <a:gdLst>
                <a:gd name="T0" fmla="*/ 10 w 44"/>
                <a:gd name="T1" fmla="*/ 22 h 38"/>
                <a:gd name="T2" fmla="*/ 39 w 44"/>
                <a:gd name="T3" fmla="*/ 28 h 38"/>
                <a:gd name="T4" fmla="*/ 22 w 44"/>
                <a:gd name="T5" fmla="*/ 1 h 38"/>
                <a:gd name="T6" fmla="*/ 6 w 44"/>
                <a:gd name="T7" fmla="*/ 6 h 38"/>
                <a:gd name="T8" fmla="*/ 10 w 44"/>
                <a:gd name="T9" fmla="*/ 22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38">
                  <a:moveTo>
                    <a:pt x="10" y="22"/>
                  </a:moveTo>
                  <a:cubicBezTo>
                    <a:pt x="20" y="22"/>
                    <a:pt x="33" y="38"/>
                    <a:pt x="39" y="28"/>
                  </a:cubicBezTo>
                  <a:cubicBezTo>
                    <a:pt x="44" y="19"/>
                    <a:pt x="36" y="2"/>
                    <a:pt x="22" y="1"/>
                  </a:cubicBezTo>
                  <a:cubicBezTo>
                    <a:pt x="22" y="1"/>
                    <a:pt x="6" y="0"/>
                    <a:pt x="6" y="6"/>
                  </a:cubicBezTo>
                  <a:cubicBezTo>
                    <a:pt x="6" y="12"/>
                    <a:pt x="0" y="22"/>
                    <a:pt x="10" y="22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365" name="Freeform 25503"/>
            <p:cNvSpPr>
              <a:spLocks/>
            </p:cNvSpPr>
            <p:nvPr/>
          </p:nvSpPr>
          <p:spPr bwMode="auto">
            <a:xfrm>
              <a:off x="5569827" y="1266206"/>
              <a:ext cx="117113" cy="32829"/>
            </a:xfrm>
            <a:custGeom>
              <a:avLst/>
              <a:gdLst>
                <a:gd name="T0" fmla="*/ 15 w 314"/>
                <a:gd name="T1" fmla="*/ 64 h 88"/>
                <a:gd name="T2" fmla="*/ 40 w 314"/>
                <a:gd name="T3" fmla="*/ 66 h 88"/>
                <a:gd name="T4" fmla="*/ 61 w 314"/>
                <a:gd name="T5" fmla="*/ 69 h 88"/>
                <a:gd name="T6" fmla="*/ 78 w 314"/>
                <a:gd name="T7" fmla="*/ 63 h 88"/>
                <a:gd name="T8" fmla="*/ 98 w 314"/>
                <a:gd name="T9" fmla="*/ 70 h 88"/>
                <a:gd name="T10" fmla="*/ 121 w 314"/>
                <a:gd name="T11" fmla="*/ 81 h 88"/>
                <a:gd name="T12" fmla="*/ 182 w 314"/>
                <a:gd name="T13" fmla="*/ 80 h 88"/>
                <a:gd name="T14" fmla="*/ 198 w 314"/>
                <a:gd name="T15" fmla="*/ 71 h 88"/>
                <a:gd name="T16" fmla="*/ 226 w 314"/>
                <a:gd name="T17" fmla="*/ 62 h 88"/>
                <a:gd name="T18" fmla="*/ 238 w 314"/>
                <a:gd name="T19" fmla="*/ 50 h 88"/>
                <a:gd name="T20" fmla="*/ 250 w 314"/>
                <a:gd name="T21" fmla="*/ 60 h 88"/>
                <a:gd name="T22" fmla="*/ 268 w 314"/>
                <a:gd name="T23" fmla="*/ 67 h 88"/>
                <a:gd name="T24" fmla="*/ 312 w 314"/>
                <a:gd name="T25" fmla="*/ 60 h 88"/>
                <a:gd name="T26" fmla="*/ 306 w 314"/>
                <a:gd name="T27" fmla="*/ 43 h 88"/>
                <a:gd name="T28" fmla="*/ 294 w 314"/>
                <a:gd name="T29" fmla="*/ 34 h 88"/>
                <a:gd name="T30" fmla="*/ 280 w 314"/>
                <a:gd name="T31" fmla="*/ 13 h 88"/>
                <a:gd name="T32" fmla="*/ 251 w 314"/>
                <a:gd name="T33" fmla="*/ 15 h 88"/>
                <a:gd name="T34" fmla="*/ 235 w 314"/>
                <a:gd name="T35" fmla="*/ 27 h 88"/>
                <a:gd name="T36" fmla="*/ 216 w 314"/>
                <a:gd name="T37" fmla="*/ 19 h 88"/>
                <a:gd name="T38" fmla="*/ 195 w 314"/>
                <a:gd name="T39" fmla="*/ 19 h 88"/>
                <a:gd name="T40" fmla="*/ 167 w 314"/>
                <a:gd name="T41" fmla="*/ 12 h 88"/>
                <a:gd name="T42" fmla="*/ 132 w 314"/>
                <a:gd name="T43" fmla="*/ 15 h 88"/>
                <a:gd name="T44" fmla="*/ 109 w 314"/>
                <a:gd name="T45" fmla="*/ 21 h 88"/>
                <a:gd name="T46" fmla="*/ 73 w 314"/>
                <a:gd name="T47" fmla="*/ 19 h 88"/>
                <a:gd name="T48" fmla="*/ 58 w 314"/>
                <a:gd name="T49" fmla="*/ 10 h 88"/>
                <a:gd name="T50" fmla="*/ 34 w 314"/>
                <a:gd name="T51" fmla="*/ 8 h 88"/>
                <a:gd name="T52" fmla="*/ 24 w 314"/>
                <a:gd name="T53" fmla="*/ 23 h 88"/>
                <a:gd name="T54" fmla="*/ 37 w 314"/>
                <a:gd name="T55" fmla="*/ 32 h 88"/>
                <a:gd name="T56" fmla="*/ 65 w 314"/>
                <a:gd name="T57" fmla="*/ 33 h 88"/>
                <a:gd name="T58" fmla="*/ 50 w 314"/>
                <a:gd name="T59" fmla="*/ 45 h 88"/>
                <a:gd name="T60" fmla="*/ 15 w 314"/>
                <a:gd name="T61" fmla="*/ 46 h 88"/>
                <a:gd name="T62" fmla="*/ 2 w 314"/>
                <a:gd name="T63" fmla="*/ 54 h 88"/>
                <a:gd name="T64" fmla="*/ 15 w 314"/>
                <a:gd name="T65" fmla="*/ 64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14" h="88">
                  <a:moveTo>
                    <a:pt x="15" y="64"/>
                  </a:moveTo>
                  <a:cubicBezTo>
                    <a:pt x="30" y="64"/>
                    <a:pt x="33" y="63"/>
                    <a:pt x="40" y="66"/>
                  </a:cubicBezTo>
                  <a:cubicBezTo>
                    <a:pt x="46" y="70"/>
                    <a:pt x="58" y="74"/>
                    <a:pt x="61" y="69"/>
                  </a:cubicBezTo>
                  <a:cubicBezTo>
                    <a:pt x="64" y="63"/>
                    <a:pt x="67" y="62"/>
                    <a:pt x="78" y="63"/>
                  </a:cubicBezTo>
                  <a:cubicBezTo>
                    <a:pt x="89" y="64"/>
                    <a:pt x="96" y="64"/>
                    <a:pt x="98" y="70"/>
                  </a:cubicBezTo>
                  <a:cubicBezTo>
                    <a:pt x="100" y="77"/>
                    <a:pt x="101" y="81"/>
                    <a:pt x="121" y="81"/>
                  </a:cubicBezTo>
                  <a:cubicBezTo>
                    <a:pt x="141" y="81"/>
                    <a:pt x="178" y="88"/>
                    <a:pt x="182" y="80"/>
                  </a:cubicBezTo>
                  <a:cubicBezTo>
                    <a:pt x="187" y="72"/>
                    <a:pt x="186" y="71"/>
                    <a:pt x="198" y="71"/>
                  </a:cubicBezTo>
                  <a:cubicBezTo>
                    <a:pt x="210" y="71"/>
                    <a:pt x="224" y="72"/>
                    <a:pt x="226" y="62"/>
                  </a:cubicBezTo>
                  <a:cubicBezTo>
                    <a:pt x="228" y="52"/>
                    <a:pt x="230" y="50"/>
                    <a:pt x="238" y="50"/>
                  </a:cubicBezTo>
                  <a:cubicBezTo>
                    <a:pt x="247" y="50"/>
                    <a:pt x="250" y="55"/>
                    <a:pt x="250" y="60"/>
                  </a:cubicBezTo>
                  <a:cubicBezTo>
                    <a:pt x="251" y="65"/>
                    <a:pt x="258" y="68"/>
                    <a:pt x="268" y="67"/>
                  </a:cubicBezTo>
                  <a:cubicBezTo>
                    <a:pt x="277" y="65"/>
                    <a:pt x="312" y="67"/>
                    <a:pt x="312" y="60"/>
                  </a:cubicBezTo>
                  <a:cubicBezTo>
                    <a:pt x="311" y="52"/>
                    <a:pt x="314" y="45"/>
                    <a:pt x="306" y="43"/>
                  </a:cubicBezTo>
                  <a:cubicBezTo>
                    <a:pt x="298" y="42"/>
                    <a:pt x="294" y="40"/>
                    <a:pt x="294" y="34"/>
                  </a:cubicBezTo>
                  <a:cubicBezTo>
                    <a:pt x="293" y="28"/>
                    <a:pt x="294" y="12"/>
                    <a:pt x="280" y="13"/>
                  </a:cubicBezTo>
                  <a:cubicBezTo>
                    <a:pt x="266" y="13"/>
                    <a:pt x="253" y="10"/>
                    <a:pt x="251" y="15"/>
                  </a:cubicBezTo>
                  <a:cubicBezTo>
                    <a:pt x="249" y="20"/>
                    <a:pt x="241" y="31"/>
                    <a:pt x="235" y="27"/>
                  </a:cubicBezTo>
                  <a:cubicBezTo>
                    <a:pt x="229" y="24"/>
                    <a:pt x="223" y="18"/>
                    <a:pt x="216" y="19"/>
                  </a:cubicBezTo>
                  <a:cubicBezTo>
                    <a:pt x="208" y="19"/>
                    <a:pt x="205" y="23"/>
                    <a:pt x="195" y="19"/>
                  </a:cubicBezTo>
                  <a:cubicBezTo>
                    <a:pt x="186" y="14"/>
                    <a:pt x="177" y="12"/>
                    <a:pt x="167" y="12"/>
                  </a:cubicBezTo>
                  <a:cubicBezTo>
                    <a:pt x="158" y="11"/>
                    <a:pt x="134" y="8"/>
                    <a:pt x="132" y="15"/>
                  </a:cubicBezTo>
                  <a:cubicBezTo>
                    <a:pt x="129" y="22"/>
                    <a:pt x="125" y="21"/>
                    <a:pt x="109" y="21"/>
                  </a:cubicBezTo>
                  <a:cubicBezTo>
                    <a:pt x="93" y="21"/>
                    <a:pt x="75" y="25"/>
                    <a:pt x="73" y="19"/>
                  </a:cubicBezTo>
                  <a:cubicBezTo>
                    <a:pt x="70" y="12"/>
                    <a:pt x="69" y="10"/>
                    <a:pt x="58" y="10"/>
                  </a:cubicBezTo>
                  <a:cubicBezTo>
                    <a:pt x="47" y="9"/>
                    <a:pt x="39" y="0"/>
                    <a:pt x="34" y="8"/>
                  </a:cubicBezTo>
                  <a:cubicBezTo>
                    <a:pt x="28" y="16"/>
                    <a:pt x="23" y="17"/>
                    <a:pt x="24" y="23"/>
                  </a:cubicBezTo>
                  <a:cubicBezTo>
                    <a:pt x="24" y="30"/>
                    <a:pt x="23" y="33"/>
                    <a:pt x="37" y="32"/>
                  </a:cubicBezTo>
                  <a:cubicBezTo>
                    <a:pt x="52" y="32"/>
                    <a:pt x="64" y="29"/>
                    <a:pt x="65" y="33"/>
                  </a:cubicBezTo>
                  <a:cubicBezTo>
                    <a:pt x="65" y="37"/>
                    <a:pt x="69" y="45"/>
                    <a:pt x="50" y="45"/>
                  </a:cubicBezTo>
                  <a:cubicBezTo>
                    <a:pt x="31" y="45"/>
                    <a:pt x="26" y="45"/>
                    <a:pt x="15" y="46"/>
                  </a:cubicBezTo>
                  <a:cubicBezTo>
                    <a:pt x="15" y="46"/>
                    <a:pt x="2" y="46"/>
                    <a:pt x="2" y="54"/>
                  </a:cubicBezTo>
                  <a:cubicBezTo>
                    <a:pt x="3" y="61"/>
                    <a:pt x="0" y="64"/>
                    <a:pt x="15" y="64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366" name="Freeform 25504"/>
            <p:cNvSpPr>
              <a:spLocks/>
            </p:cNvSpPr>
            <p:nvPr/>
          </p:nvSpPr>
          <p:spPr bwMode="auto">
            <a:xfrm>
              <a:off x="5603446" y="1241584"/>
              <a:ext cx="94385" cy="29042"/>
            </a:xfrm>
            <a:custGeom>
              <a:avLst/>
              <a:gdLst>
                <a:gd name="T0" fmla="*/ 20 w 253"/>
                <a:gd name="T1" fmla="*/ 65 h 78"/>
                <a:gd name="T2" fmla="*/ 73 w 253"/>
                <a:gd name="T3" fmla="*/ 62 h 78"/>
                <a:gd name="T4" fmla="*/ 109 w 253"/>
                <a:gd name="T5" fmla="*/ 63 h 78"/>
                <a:gd name="T6" fmla="*/ 123 w 253"/>
                <a:gd name="T7" fmla="*/ 73 h 78"/>
                <a:gd name="T8" fmla="*/ 149 w 253"/>
                <a:gd name="T9" fmla="*/ 71 h 78"/>
                <a:gd name="T10" fmla="*/ 160 w 253"/>
                <a:gd name="T11" fmla="*/ 57 h 78"/>
                <a:gd name="T12" fmla="*/ 163 w 253"/>
                <a:gd name="T13" fmla="*/ 41 h 78"/>
                <a:gd name="T14" fmla="*/ 188 w 253"/>
                <a:gd name="T15" fmla="*/ 44 h 78"/>
                <a:gd name="T16" fmla="*/ 208 w 253"/>
                <a:gd name="T17" fmla="*/ 50 h 78"/>
                <a:gd name="T18" fmla="*/ 238 w 253"/>
                <a:gd name="T19" fmla="*/ 50 h 78"/>
                <a:gd name="T20" fmla="*/ 244 w 253"/>
                <a:gd name="T21" fmla="*/ 40 h 78"/>
                <a:gd name="T22" fmla="*/ 245 w 253"/>
                <a:gd name="T23" fmla="*/ 34 h 78"/>
                <a:gd name="T24" fmla="*/ 223 w 253"/>
                <a:gd name="T25" fmla="*/ 26 h 78"/>
                <a:gd name="T26" fmla="*/ 201 w 253"/>
                <a:gd name="T27" fmla="*/ 31 h 78"/>
                <a:gd name="T28" fmla="*/ 172 w 253"/>
                <a:gd name="T29" fmla="*/ 20 h 78"/>
                <a:gd name="T30" fmla="*/ 157 w 253"/>
                <a:gd name="T31" fmla="*/ 14 h 78"/>
                <a:gd name="T32" fmla="*/ 130 w 253"/>
                <a:gd name="T33" fmla="*/ 5 h 78"/>
                <a:gd name="T34" fmla="*/ 110 w 253"/>
                <a:gd name="T35" fmla="*/ 12 h 78"/>
                <a:gd name="T36" fmla="*/ 92 w 253"/>
                <a:gd name="T37" fmla="*/ 23 h 78"/>
                <a:gd name="T38" fmla="*/ 72 w 253"/>
                <a:gd name="T39" fmla="*/ 33 h 78"/>
                <a:gd name="T40" fmla="*/ 52 w 253"/>
                <a:gd name="T41" fmla="*/ 45 h 78"/>
                <a:gd name="T42" fmla="*/ 29 w 253"/>
                <a:gd name="T43" fmla="*/ 44 h 78"/>
                <a:gd name="T44" fmla="*/ 4 w 253"/>
                <a:gd name="T45" fmla="*/ 49 h 78"/>
                <a:gd name="T46" fmla="*/ 20 w 253"/>
                <a:gd name="T47" fmla="*/ 65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53" h="78">
                  <a:moveTo>
                    <a:pt x="20" y="65"/>
                  </a:moveTo>
                  <a:cubicBezTo>
                    <a:pt x="41" y="65"/>
                    <a:pt x="64" y="62"/>
                    <a:pt x="73" y="62"/>
                  </a:cubicBezTo>
                  <a:cubicBezTo>
                    <a:pt x="83" y="62"/>
                    <a:pt x="106" y="55"/>
                    <a:pt x="109" y="63"/>
                  </a:cubicBezTo>
                  <a:cubicBezTo>
                    <a:pt x="112" y="70"/>
                    <a:pt x="115" y="73"/>
                    <a:pt x="123" y="73"/>
                  </a:cubicBezTo>
                  <a:cubicBezTo>
                    <a:pt x="131" y="73"/>
                    <a:pt x="147" y="78"/>
                    <a:pt x="149" y="71"/>
                  </a:cubicBezTo>
                  <a:cubicBezTo>
                    <a:pt x="151" y="63"/>
                    <a:pt x="159" y="62"/>
                    <a:pt x="160" y="57"/>
                  </a:cubicBezTo>
                  <a:cubicBezTo>
                    <a:pt x="160" y="53"/>
                    <a:pt x="150" y="42"/>
                    <a:pt x="163" y="41"/>
                  </a:cubicBezTo>
                  <a:cubicBezTo>
                    <a:pt x="176" y="40"/>
                    <a:pt x="183" y="38"/>
                    <a:pt x="188" y="44"/>
                  </a:cubicBezTo>
                  <a:cubicBezTo>
                    <a:pt x="192" y="49"/>
                    <a:pt x="203" y="50"/>
                    <a:pt x="208" y="50"/>
                  </a:cubicBezTo>
                  <a:cubicBezTo>
                    <a:pt x="212" y="50"/>
                    <a:pt x="239" y="57"/>
                    <a:pt x="238" y="50"/>
                  </a:cubicBezTo>
                  <a:cubicBezTo>
                    <a:pt x="238" y="43"/>
                    <a:pt x="238" y="41"/>
                    <a:pt x="244" y="40"/>
                  </a:cubicBezTo>
                  <a:cubicBezTo>
                    <a:pt x="251" y="40"/>
                    <a:pt x="253" y="36"/>
                    <a:pt x="245" y="34"/>
                  </a:cubicBezTo>
                  <a:cubicBezTo>
                    <a:pt x="237" y="32"/>
                    <a:pt x="235" y="24"/>
                    <a:pt x="223" y="26"/>
                  </a:cubicBezTo>
                  <a:cubicBezTo>
                    <a:pt x="212" y="28"/>
                    <a:pt x="223" y="40"/>
                    <a:pt x="201" y="31"/>
                  </a:cubicBezTo>
                  <a:cubicBezTo>
                    <a:pt x="179" y="23"/>
                    <a:pt x="181" y="20"/>
                    <a:pt x="172" y="20"/>
                  </a:cubicBezTo>
                  <a:cubicBezTo>
                    <a:pt x="162" y="20"/>
                    <a:pt x="164" y="20"/>
                    <a:pt x="157" y="14"/>
                  </a:cubicBezTo>
                  <a:cubicBezTo>
                    <a:pt x="150" y="8"/>
                    <a:pt x="135" y="0"/>
                    <a:pt x="130" y="5"/>
                  </a:cubicBezTo>
                  <a:cubicBezTo>
                    <a:pt x="125" y="11"/>
                    <a:pt x="119" y="11"/>
                    <a:pt x="110" y="12"/>
                  </a:cubicBezTo>
                  <a:cubicBezTo>
                    <a:pt x="100" y="13"/>
                    <a:pt x="102" y="18"/>
                    <a:pt x="92" y="23"/>
                  </a:cubicBezTo>
                  <a:cubicBezTo>
                    <a:pt x="83" y="27"/>
                    <a:pt x="77" y="28"/>
                    <a:pt x="72" y="33"/>
                  </a:cubicBezTo>
                  <a:cubicBezTo>
                    <a:pt x="67" y="39"/>
                    <a:pt x="63" y="45"/>
                    <a:pt x="52" y="45"/>
                  </a:cubicBezTo>
                  <a:cubicBezTo>
                    <a:pt x="40" y="45"/>
                    <a:pt x="42" y="44"/>
                    <a:pt x="29" y="44"/>
                  </a:cubicBezTo>
                  <a:cubicBezTo>
                    <a:pt x="29" y="44"/>
                    <a:pt x="5" y="41"/>
                    <a:pt x="4" y="49"/>
                  </a:cubicBezTo>
                  <a:cubicBezTo>
                    <a:pt x="3" y="57"/>
                    <a:pt x="0" y="65"/>
                    <a:pt x="20" y="6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367" name="Freeform 25505"/>
            <p:cNvSpPr>
              <a:spLocks/>
            </p:cNvSpPr>
            <p:nvPr/>
          </p:nvSpPr>
          <p:spPr bwMode="auto">
            <a:xfrm>
              <a:off x="5611179" y="1303455"/>
              <a:ext cx="83178" cy="25411"/>
            </a:xfrm>
            <a:custGeom>
              <a:avLst/>
              <a:gdLst>
                <a:gd name="T0" fmla="*/ 90 w 223"/>
                <a:gd name="T1" fmla="*/ 39 h 68"/>
                <a:gd name="T2" fmla="*/ 99 w 223"/>
                <a:gd name="T3" fmla="*/ 51 h 68"/>
                <a:gd name="T4" fmla="*/ 114 w 223"/>
                <a:gd name="T5" fmla="*/ 60 h 68"/>
                <a:gd name="T6" fmla="*/ 139 w 223"/>
                <a:gd name="T7" fmla="*/ 56 h 68"/>
                <a:gd name="T8" fmla="*/ 156 w 223"/>
                <a:gd name="T9" fmla="*/ 42 h 68"/>
                <a:gd name="T10" fmla="*/ 176 w 223"/>
                <a:gd name="T11" fmla="*/ 30 h 68"/>
                <a:gd name="T12" fmla="*/ 204 w 223"/>
                <a:gd name="T13" fmla="*/ 28 h 68"/>
                <a:gd name="T14" fmla="*/ 216 w 223"/>
                <a:gd name="T15" fmla="*/ 18 h 68"/>
                <a:gd name="T16" fmla="*/ 200 w 223"/>
                <a:gd name="T17" fmla="*/ 12 h 68"/>
                <a:gd name="T18" fmla="*/ 178 w 223"/>
                <a:gd name="T19" fmla="*/ 9 h 68"/>
                <a:gd name="T20" fmla="*/ 142 w 223"/>
                <a:gd name="T21" fmla="*/ 0 h 68"/>
                <a:gd name="T22" fmla="*/ 99 w 223"/>
                <a:gd name="T23" fmla="*/ 3 h 68"/>
                <a:gd name="T24" fmla="*/ 78 w 223"/>
                <a:gd name="T25" fmla="*/ 8 h 68"/>
                <a:gd name="T26" fmla="*/ 66 w 223"/>
                <a:gd name="T27" fmla="*/ 21 h 68"/>
                <a:gd name="T28" fmla="*/ 18 w 223"/>
                <a:gd name="T29" fmla="*/ 30 h 68"/>
                <a:gd name="T30" fmla="*/ 10 w 223"/>
                <a:gd name="T31" fmla="*/ 42 h 68"/>
                <a:gd name="T32" fmla="*/ 5 w 223"/>
                <a:gd name="T33" fmla="*/ 53 h 68"/>
                <a:gd name="T34" fmla="*/ 23 w 223"/>
                <a:gd name="T35" fmla="*/ 64 h 68"/>
                <a:gd name="T36" fmla="*/ 83 w 223"/>
                <a:gd name="T37" fmla="*/ 58 h 68"/>
                <a:gd name="T38" fmla="*/ 90 w 223"/>
                <a:gd name="T39" fmla="*/ 39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23" h="68">
                  <a:moveTo>
                    <a:pt x="90" y="39"/>
                  </a:moveTo>
                  <a:cubicBezTo>
                    <a:pt x="97" y="40"/>
                    <a:pt x="99" y="44"/>
                    <a:pt x="99" y="51"/>
                  </a:cubicBezTo>
                  <a:cubicBezTo>
                    <a:pt x="99" y="58"/>
                    <a:pt x="109" y="59"/>
                    <a:pt x="114" y="60"/>
                  </a:cubicBezTo>
                  <a:cubicBezTo>
                    <a:pt x="119" y="60"/>
                    <a:pt x="133" y="66"/>
                    <a:pt x="139" y="56"/>
                  </a:cubicBezTo>
                  <a:cubicBezTo>
                    <a:pt x="144" y="45"/>
                    <a:pt x="154" y="48"/>
                    <a:pt x="156" y="42"/>
                  </a:cubicBezTo>
                  <a:cubicBezTo>
                    <a:pt x="158" y="36"/>
                    <a:pt x="165" y="31"/>
                    <a:pt x="176" y="30"/>
                  </a:cubicBezTo>
                  <a:cubicBezTo>
                    <a:pt x="188" y="29"/>
                    <a:pt x="201" y="31"/>
                    <a:pt x="204" y="28"/>
                  </a:cubicBezTo>
                  <a:cubicBezTo>
                    <a:pt x="207" y="26"/>
                    <a:pt x="223" y="21"/>
                    <a:pt x="216" y="18"/>
                  </a:cubicBezTo>
                  <a:cubicBezTo>
                    <a:pt x="209" y="15"/>
                    <a:pt x="207" y="15"/>
                    <a:pt x="200" y="12"/>
                  </a:cubicBezTo>
                  <a:cubicBezTo>
                    <a:pt x="192" y="9"/>
                    <a:pt x="185" y="13"/>
                    <a:pt x="178" y="9"/>
                  </a:cubicBezTo>
                  <a:cubicBezTo>
                    <a:pt x="172" y="4"/>
                    <a:pt x="156" y="0"/>
                    <a:pt x="142" y="0"/>
                  </a:cubicBezTo>
                  <a:cubicBezTo>
                    <a:pt x="128" y="0"/>
                    <a:pt x="109" y="3"/>
                    <a:pt x="99" y="3"/>
                  </a:cubicBezTo>
                  <a:cubicBezTo>
                    <a:pt x="88" y="3"/>
                    <a:pt x="79" y="0"/>
                    <a:pt x="78" y="8"/>
                  </a:cubicBezTo>
                  <a:cubicBezTo>
                    <a:pt x="76" y="17"/>
                    <a:pt x="82" y="21"/>
                    <a:pt x="66" y="21"/>
                  </a:cubicBezTo>
                  <a:cubicBezTo>
                    <a:pt x="51" y="21"/>
                    <a:pt x="18" y="16"/>
                    <a:pt x="18" y="30"/>
                  </a:cubicBezTo>
                  <a:cubicBezTo>
                    <a:pt x="18" y="30"/>
                    <a:pt x="19" y="38"/>
                    <a:pt x="10" y="42"/>
                  </a:cubicBezTo>
                  <a:cubicBezTo>
                    <a:pt x="0" y="46"/>
                    <a:pt x="5" y="47"/>
                    <a:pt x="5" y="53"/>
                  </a:cubicBezTo>
                  <a:cubicBezTo>
                    <a:pt x="5" y="59"/>
                    <a:pt x="15" y="64"/>
                    <a:pt x="23" y="64"/>
                  </a:cubicBezTo>
                  <a:cubicBezTo>
                    <a:pt x="30" y="64"/>
                    <a:pt x="85" y="68"/>
                    <a:pt x="83" y="58"/>
                  </a:cubicBezTo>
                  <a:cubicBezTo>
                    <a:pt x="81" y="49"/>
                    <a:pt x="83" y="39"/>
                    <a:pt x="90" y="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368" name="Freeform 25506"/>
            <p:cNvSpPr>
              <a:spLocks/>
            </p:cNvSpPr>
            <p:nvPr/>
          </p:nvSpPr>
          <p:spPr bwMode="auto">
            <a:xfrm>
              <a:off x="5660424" y="1227063"/>
              <a:ext cx="38038" cy="14521"/>
            </a:xfrm>
            <a:custGeom>
              <a:avLst/>
              <a:gdLst>
                <a:gd name="T0" fmla="*/ 11 w 102"/>
                <a:gd name="T1" fmla="*/ 22 h 39"/>
                <a:gd name="T2" fmla="*/ 31 w 102"/>
                <a:gd name="T3" fmla="*/ 31 h 39"/>
                <a:gd name="T4" fmla="*/ 54 w 102"/>
                <a:gd name="T5" fmla="*/ 23 h 39"/>
                <a:gd name="T6" fmla="*/ 93 w 102"/>
                <a:gd name="T7" fmla="*/ 21 h 39"/>
                <a:gd name="T8" fmla="*/ 102 w 102"/>
                <a:gd name="T9" fmla="*/ 14 h 39"/>
                <a:gd name="T10" fmla="*/ 92 w 102"/>
                <a:gd name="T11" fmla="*/ 1 h 39"/>
                <a:gd name="T12" fmla="*/ 61 w 102"/>
                <a:gd name="T13" fmla="*/ 1 h 39"/>
                <a:gd name="T14" fmla="*/ 25 w 102"/>
                <a:gd name="T15" fmla="*/ 4 h 39"/>
                <a:gd name="T16" fmla="*/ 3 w 102"/>
                <a:gd name="T17" fmla="*/ 12 h 39"/>
                <a:gd name="T18" fmla="*/ 11 w 102"/>
                <a:gd name="T19" fmla="*/ 2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2" h="39">
                  <a:moveTo>
                    <a:pt x="11" y="22"/>
                  </a:moveTo>
                  <a:cubicBezTo>
                    <a:pt x="11" y="33"/>
                    <a:pt x="28" y="39"/>
                    <a:pt x="31" y="31"/>
                  </a:cubicBezTo>
                  <a:cubicBezTo>
                    <a:pt x="33" y="23"/>
                    <a:pt x="44" y="23"/>
                    <a:pt x="54" y="23"/>
                  </a:cubicBezTo>
                  <a:cubicBezTo>
                    <a:pt x="64" y="23"/>
                    <a:pt x="91" y="26"/>
                    <a:pt x="93" y="21"/>
                  </a:cubicBezTo>
                  <a:cubicBezTo>
                    <a:pt x="94" y="17"/>
                    <a:pt x="102" y="23"/>
                    <a:pt x="102" y="14"/>
                  </a:cubicBezTo>
                  <a:cubicBezTo>
                    <a:pt x="102" y="5"/>
                    <a:pt x="102" y="1"/>
                    <a:pt x="92" y="1"/>
                  </a:cubicBezTo>
                  <a:cubicBezTo>
                    <a:pt x="83" y="1"/>
                    <a:pt x="74" y="0"/>
                    <a:pt x="61" y="1"/>
                  </a:cubicBezTo>
                  <a:cubicBezTo>
                    <a:pt x="61" y="1"/>
                    <a:pt x="35" y="1"/>
                    <a:pt x="25" y="4"/>
                  </a:cubicBezTo>
                  <a:cubicBezTo>
                    <a:pt x="15" y="7"/>
                    <a:pt x="0" y="8"/>
                    <a:pt x="3" y="12"/>
                  </a:cubicBezTo>
                  <a:cubicBezTo>
                    <a:pt x="6" y="16"/>
                    <a:pt x="10" y="10"/>
                    <a:pt x="11" y="22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369" name="Freeform 25507"/>
            <p:cNvSpPr>
              <a:spLocks/>
            </p:cNvSpPr>
            <p:nvPr/>
          </p:nvSpPr>
          <p:spPr bwMode="auto">
            <a:xfrm>
              <a:off x="5680942" y="1323658"/>
              <a:ext cx="30935" cy="14836"/>
            </a:xfrm>
            <a:custGeom>
              <a:avLst/>
              <a:gdLst>
                <a:gd name="T0" fmla="*/ 11 w 83"/>
                <a:gd name="T1" fmla="*/ 26 h 40"/>
                <a:gd name="T2" fmla="*/ 25 w 83"/>
                <a:gd name="T3" fmla="*/ 32 h 40"/>
                <a:gd name="T4" fmla="*/ 47 w 83"/>
                <a:gd name="T5" fmla="*/ 38 h 40"/>
                <a:gd name="T6" fmla="*/ 60 w 83"/>
                <a:gd name="T7" fmla="*/ 33 h 40"/>
                <a:gd name="T8" fmla="*/ 80 w 83"/>
                <a:gd name="T9" fmla="*/ 25 h 40"/>
                <a:gd name="T10" fmla="*/ 75 w 83"/>
                <a:gd name="T11" fmla="*/ 15 h 40"/>
                <a:gd name="T12" fmla="*/ 60 w 83"/>
                <a:gd name="T13" fmla="*/ 10 h 40"/>
                <a:gd name="T14" fmla="*/ 44 w 83"/>
                <a:gd name="T15" fmla="*/ 4 h 40"/>
                <a:gd name="T16" fmla="*/ 21 w 83"/>
                <a:gd name="T17" fmla="*/ 7 h 40"/>
                <a:gd name="T18" fmla="*/ 7 w 83"/>
                <a:gd name="T19" fmla="*/ 16 h 40"/>
                <a:gd name="T20" fmla="*/ 11 w 83"/>
                <a:gd name="T21" fmla="*/ 2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3" h="40">
                  <a:moveTo>
                    <a:pt x="11" y="26"/>
                  </a:moveTo>
                  <a:cubicBezTo>
                    <a:pt x="20" y="26"/>
                    <a:pt x="23" y="26"/>
                    <a:pt x="25" y="32"/>
                  </a:cubicBezTo>
                  <a:cubicBezTo>
                    <a:pt x="26" y="38"/>
                    <a:pt x="37" y="38"/>
                    <a:pt x="47" y="38"/>
                  </a:cubicBezTo>
                  <a:cubicBezTo>
                    <a:pt x="58" y="38"/>
                    <a:pt x="56" y="40"/>
                    <a:pt x="60" y="33"/>
                  </a:cubicBezTo>
                  <a:cubicBezTo>
                    <a:pt x="64" y="25"/>
                    <a:pt x="78" y="35"/>
                    <a:pt x="80" y="25"/>
                  </a:cubicBezTo>
                  <a:cubicBezTo>
                    <a:pt x="82" y="15"/>
                    <a:pt x="83" y="16"/>
                    <a:pt x="75" y="15"/>
                  </a:cubicBezTo>
                  <a:cubicBezTo>
                    <a:pt x="67" y="15"/>
                    <a:pt x="62" y="16"/>
                    <a:pt x="60" y="10"/>
                  </a:cubicBezTo>
                  <a:cubicBezTo>
                    <a:pt x="58" y="4"/>
                    <a:pt x="51" y="5"/>
                    <a:pt x="44" y="4"/>
                  </a:cubicBezTo>
                  <a:cubicBezTo>
                    <a:pt x="44" y="4"/>
                    <a:pt x="25" y="0"/>
                    <a:pt x="21" y="7"/>
                  </a:cubicBezTo>
                  <a:cubicBezTo>
                    <a:pt x="17" y="14"/>
                    <a:pt x="13" y="15"/>
                    <a:pt x="7" y="16"/>
                  </a:cubicBezTo>
                  <a:cubicBezTo>
                    <a:pt x="0" y="16"/>
                    <a:pt x="3" y="26"/>
                    <a:pt x="11" y="26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370" name="Freeform 25508"/>
            <p:cNvSpPr>
              <a:spLocks/>
            </p:cNvSpPr>
            <p:nvPr/>
          </p:nvSpPr>
          <p:spPr bwMode="auto">
            <a:xfrm>
              <a:off x="5692937" y="1282147"/>
              <a:ext cx="71183" cy="28410"/>
            </a:xfrm>
            <a:custGeom>
              <a:avLst/>
              <a:gdLst>
                <a:gd name="T0" fmla="*/ 9 w 191"/>
                <a:gd name="T1" fmla="*/ 28 h 76"/>
                <a:gd name="T2" fmla="*/ 2 w 191"/>
                <a:gd name="T3" fmla="*/ 41 h 76"/>
                <a:gd name="T4" fmla="*/ 16 w 191"/>
                <a:gd name="T5" fmla="*/ 63 h 76"/>
                <a:gd name="T6" fmla="*/ 45 w 191"/>
                <a:gd name="T7" fmla="*/ 71 h 76"/>
                <a:gd name="T8" fmla="*/ 66 w 191"/>
                <a:gd name="T9" fmla="*/ 63 h 76"/>
                <a:gd name="T10" fmla="*/ 85 w 191"/>
                <a:gd name="T11" fmla="*/ 72 h 76"/>
                <a:gd name="T12" fmla="*/ 119 w 191"/>
                <a:gd name="T13" fmla="*/ 68 h 76"/>
                <a:gd name="T14" fmla="*/ 147 w 191"/>
                <a:gd name="T15" fmla="*/ 54 h 76"/>
                <a:gd name="T16" fmla="*/ 170 w 191"/>
                <a:gd name="T17" fmla="*/ 37 h 76"/>
                <a:gd name="T18" fmla="*/ 190 w 191"/>
                <a:gd name="T19" fmla="*/ 25 h 76"/>
                <a:gd name="T20" fmla="*/ 184 w 191"/>
                <a:gd name="T21" fmla="*/ 15 h 76"/>
                <a:gd name="T22" fmla="*/ 170 w 191"/>
                <a:gd name="T23" fmla="*/ 2 h 76"/>
                <a:gd name="T24" fmla="*/ 124 w 191"/>
                <a:gd name="T25" fmla="*/ 2 h 76"/>
                <a:gd name="T26" fmla="*/ 102 w 191"/>
                <a:gd name="T27" fmla="*/ 12 h 76"/>
                <a:gd name="T28" fmla="*/ 35 w 191"/>
                <a:gd name="T29" fmla="*/ 11 h 76"/>
                <a:gd name="T30" fmla="*/ 25 w 191"/>
                <a:gd name="T31" fmla="*/ 18 h 76"/>
                <a:gd name="T32" fmla="*/ 9 w 191"/>
                <a:gd name="T33" fmla="*/ 28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91" h="76">
                  <a:moveTo>
                    <a:pt x="9" y="28"/>
                  </a:moveTo>
                  <a:cubicBezTo>
                    <a:pt x="7" y="34"/>
                    <a:pt x="0" y="35"/>
                    <a:pt x="2" y="41"/>
                  </a:cubicBezTo>
                  <a:cubicBezTo>
                    <a:pt x="5" y="47"/>
                    <a:pt x="4" y="59"/>
                    <a:pt x="16" y="63"/>
                  </a:cubicBezTo>
                  <a:cubicBezTo>
                    <a:pt x="29" y="66"/>
                    <a:pt x="39" y="75"/>
                    <a:pt x="45" y="71"/>
                  </a:cubicBezTo>
                  <a:cubicBezTo>
                    <a:pt x="50" y="67"/>
                    <a:pt x="57" y="63"/>
                    <a:pt x="66" y="63"/>
                  </a:cubicBezTo>
                  <a:cubicBezTo>
                    <a:pt x="75" y="63"/>
                    <a:pt x="72" y="72"/>
                    <a:pt x="85" y="72"/>
                  </a:cubicBezTo>
                  <a:cubicBezTo>
                    <a:pt x="99" y="72"/>
                    <a:pt x="117" y="76"/>
                    <a:pt x="119" y="68"/>
                  </a:cubicBezTo>
                  <a:cubicBezTo>
                    <a:pt x="121" y="59"/>
                    <a:pt x="134" y="61"/>
                    <a:pt x="147" y="54"/>
                  </a:cubicBezTo>
                  <a:cubicBezTo>
                    <a:pt x="159" y="46"/>
                    <a:pt x="166" y="40"/>
                    <a:pt x="170" y="37"/>
                  </a:cubicBezTo>
                  <a:cubicBezTo>
                    <a:pt x="175" y="33"/>
                    <a:pt x="189" y="30"/>
                    <a:pt x="190" y="25"/>
                  </a:cubicBezTo>
                  <a:cubicBezTo>
                    <a:pt x="191" y="20"/>
                    <a:pt x="190" y="15"/>
                    <a:pt x="184" y="15"/>
                  </a:cubicBezTo>
                  <a:cubicBezTo>
                    <a:pt x="178" y="15"/>
                    <a:pt x="178" y="3"/>
                    <a:pt x="170" y="2"/>
                  </a:cubicBezTo>
                  <a:cubicBezTo>
                    <a:pt x="162" y="2"/>
                    <a:pt x="129" y="0"/>
                    <a:pt x="124" y="2"/>
                  </a:cubicBezTo>
                  <a:cubicBezTo>
                    <a:pt x="119" y="4"/>
                    <a:pt x="125" y="12"/>
                    <a:pt x="102" y="12"/>
                  </a:cubicBezTo>
                  <a:cubicBezTo>
                    <a:pt x="80" y="11"/>
                    <a:pt x="45" y="11"/>
                    <a:pt x="35" y="11"/>
                  </a:cubicBezTo>
                  <a:cubicBezTo>
                    <a:pt x="35" y="11"/>
                    <a:pt x="27" y="13"/>
                    <a:pt x="25" y="18"/>
                  </a:cubicBezTo>
                  <a:cubicBezTo>
                    <a:pt x="23" y="24"/>
                    <a:pt x="11" y="23"/>
                    <a:pt x="9" y="28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371" name="Freeform 25509"/>
            <p:cNvSpPr>
              <a:spLocks/>
            </p:cNvSpPr>
            <p:nvPr/>
          </p:nvSpPr>
          <p:spPr bwMode="auto">
            <a:xfrm>
              <a:off x="5710457" y="1269836"/>
              <a:ext cx="36460" cy="12311"/>
            </a:xfrm>
            <a:custGeom>
              <a:avLst/>
              <a:gdLst>
                <a:gd name="T0" fmla="*/ 18 w 98"/>
                <a:gd name="T1" fmla="*/ 24 h 33"/>
                <a:gd name="T2" fmla="*/ 46 w 98"/>
                <a:gd name="T3" fmla="*/ 32 h 33"/>
                <a:gd name="T4" fmla="*/ 76 w 98"/>
                <a:gd name="T5" fmla="*/ 24 h 33"/>
                <a:gd name="T6" fmla="*/ 97 w 98"/>
                <a:gd name="T7" fmla="*/ 12 h 33"/>
                <a:gd name="T8" fmla="*/ 86 w 98"/>
                <a:gd name="T9" fmla="*/ 0 h 33"/>
                <a:gd name="T10" fmla="*/ 43 w 98"/>
                <a:gd name="T11" fmla="*/ 3 h 33"/>
                <a:gd name="T12" fmla="*/ 20 w 98"/>
                <a:gd name="T13" fmla="*/ 8 h 33"/>
                <a:gd name="T14" fmla="*/ 6 w 98"/>
                <a:gd name="T15" fmla="*/ 14 h 33"/>
                <a:gd name="T16" fmla="*/ 18 w 98"/>
                <a:gd name="T17" fmla="*/ 24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8" h="33">
                  <a:moveTo>
                    <a:pt x="18" y="24"/>
                  </a:moveTo>
                  <a:cubicBezTo>
                    <a:pt x="36" y="27"/>
                    <a:pt x="36" y="33"/>
                    <a:pt x="46" y="32"/>
                  </a:cubicBezTo>
                  <a:cubicBezTo>
                    <a:pt x="57" y="32"/>
                    <a:pt x="70" y="31"/>
                    <a:pt x="76" y="24"/>
                  </a:cubicBezTo>
                  <a:cubicBezTo>
                    <a:pt x="82" y="18"/>
                    <a:pt x="96" y="18"/>
                    <a:pt x="97" y="12"/>
                  </a:cubicBezTo>
                  <a:cubicBezTo>
                    <a:pt x="98" y="7"/>
                    <a:pt x="93" y="0"/>
                    <a:pt x="86" y="0"/>
                  </a:cubicBezTo>
                  <a:cubicBezTo>
                    <a:pt x="78" y="1"/>
                    <a:pt x="58" y="3"/>
                    <a:pt x="43" y="3"/>
                  </a:cubicBezTo>
                  <a:cubicBezTo>
                    <a:pt x="43" y="3"/>
                    <a:pt x="24" y="2"/>
                    <a:pt x="20" y="8"/>
                  </a:cubicBezTo>
                  <a:cubicBezTo>
                    <a:pt x="17" y="13"/>
                    <a:pt x="6" y="8"/>
                    <a:pt x="6" y="14"/>
                  </a:cubicBezTo>
                  <a:cubicBezTo>
                    <a:pt x="7" y="19"/>
                    <a:pt x="0" y="22"/>
                    <a:pt x="18" y="24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372" name="Freeform 25510"/>
            <p:cNvSpPr>
              <a:spLocks/>
            </p:cNvSpPr>
            <p:nvPr/>
          </p:nvSpPr>
          <p:spPr bwMode="auto">
            <a:xfrm>
              <a:off x="5748495" y="1232272"/>
              <a:ext cx="50349" cy="15310"/>
            </a:xfrm>
            <a:custGeom>
              <a:avLst/>
              <a:gdLst>
                <a:gd name="T0" fmla="*/ 18 w 135"/>
                <a:gd name="T1" fmla="*/ 39 h 41"/>
                <a:gd name="T2" fmla="*/ 37 w 135"/>
                <a:gd name="T3" fmla="*/ 33 h 41"/>
                <a:gd name="T4" fmla="*/ 63 w 135"/>
                <a:gd name="T5" fmla="*/ 27 h 41"/>
                <a:gd name="T6" fmla="*/ 86 w 135"/>
                <a:gd name="T7" fmla="*/ 34 h 41"/>
                <a:gd name="T8" fmla="*/ 126 w 135"/>
                <a:gd name="T9" fmla="*/ 31 h 41"/>
                <a:gd name="T10" fmla="*/ 125 w 135"/>
                <a:gd name="T11" fmla="*/ 8 h 41"/>
                <a:gd name="T12" fmla="*/ 100 w 135"/>
                <a:gd name="T13" fmla="*/ 1 h 41"/>
                <a:gd name="T14" fmla="*/ 72 w 135"/>
                <a:gd name="T15" fmla="*/ 5 h 41"/>
                <a:gd name="T16" fmla="*/ 48 w 135"/>
                <a:gd name="T17" fmla="*/ 10 h 41"/>
                <a:gd name="T18" fmla="*/ 27 w 135"/>
                <a:gd name="T19" fmla="*/ 15 h 41"/>
                <a:gd name="T20" fmla="*/ 19 w 135"/>
                <a:gd name="T21" fmla="*/ 26 h 41"/>
                <a:gd name="T22" fmla="*/ 1 w 135"/>
                <a:gd name="T23" fmla="*/ 28 h 41"/>
                <a:gd name="T24" fmla="*/ 18 w 135"/>
                <a:gd name="T25" fmla="*/ 3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5" h="41">
                  <a:moveTo>
                    <a:pt x="18" y="39"/>
                  </a:moveTo>
                  <a:cubicBezTo>
                    <a:pt x="32" y="41"/>
                    <a:pt x="30" y="41"/>
                    <a:pt x="37" y="33"/>
                  </a:cubicBezTo>
                  <a:cubicBezTo>
                    <a:pt x="45" y="24"/>
                    <a:pt x="53" y="23"/>
                    <a:pt x="63" y="27"/>
                  </a:cubicBezTo>
                  <a:cubicBezTo>
                    <a:pt x="73" y="30"/>
                    <a:pt x="67" y="34"/>
                    <a:pt x="86" y="34"/>
                  </a:cubicBezTo>
                  <a:cubicBezTo>
                    <a:pt x="104" y="35"/>
                    <a:pt x="121" y="37"/>
                    <a:pt x="126" y="31"/>
                  </a:cubicBezTo>
                  <a:cubicBezTo>
                    <a:pt x="132" y="24"/>
                    <a:pt x="135" y="9"/>
                    <a:pt x="125" y="8"/>
                  </a:cubicBezTo>
                  <a:cubicBezTo>
                    <a:pt x="114" y="7"/>
                    <a:pt x="116" y="2"/>
                    <a:pt x="100" y="1"/>
                  </a:cubicBezTo>
                  <a:cubicBezTo>
                    <a:pt x="84" y="1"/>
                    <a:pt x="74" y="0"/>
                    <a:pt x="72" y="5"/>
                  </a:cubicBezTo>
                  <a:cubicBezTo>
                    <a:pt x="69" y="9"/>
                    <a:pt x="62" y="10"/>
                    <a:pt x="48" y="10"/>
                  </a:cubicBezTo>
                  <a:cubicBezTo>
                    <a:pt x="48" y="10"/>
                    <a:pt x="31" y="10"/>
                    <a:pt x="27" y="15"/>
                  </a:cubicBezTo>
                  <a:cubicBezTo>
                    <a:pt x="23" y="19"/>
                    <a:pt x="35" y="29"/>
                    <a:pt x="19" y="26"/>
                  </a:cubicBezTo>
                  <a:cubicBezTo>
                    <a:pt x="4" y="22"/>
                    <a:pt x="0" y="25"/>
                    <a:pt x="1" y="28"/>
                  </a:cubicBezTo>
                  <a:cubicBezTo>
                    <a:pt x="1" y="32"/>
                    <a:pt x="4" y="37"/>
                    <a:pt x="18" y="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373" name="Freeform 25511"/>
            <p:cNvSpPr>
              <a:spLocks/>
            </p:cNvSpPr>
            <p:nvPr/>
          </p:nvSpPr>
          <p:spPr bwMode="auto">
            <a:xfrm>
              <a:off x="5766330" y="1262102"/>
              <a:ext cx="70868" cy="33461"/>
            </a:xfrm>
            <a:custGeom>
              <a:avLst/>
              <a:gdLst>
                <a:gd name="T0" fmla="*/ 35 w 190"/>
                <a:gd name="T1" fmla="*/ 46 h 90"/>
                <a:gd name="T2" fmla="*/ 18 w 190"/>
                <a:gd name="T3" fmla="*/ 56 h 90"/>
                <a:gd name="T4" fmla="*/ 12 w 190"/>
                <a:gd name="T5" fmla="*/ 73 h 90"/>
                <a:gd name="T6" fmla="*/ 37 w 190"/>
                <a:gd name="T7" fmla="*/ 83 h 90"/>
                <a:gd name="T8" fmla="*/ 77 w 190"/>
                <a:gd name="T9" fmla="*/ 86 h 90"/>
                <a:gd name="T10" fmla="*/ 108 w 190"/>
                <a:gd name="T11" fmla="*/ 83 h 90"/>
                <a:gd name="T12" fmla="*/ 135 w 190"/>
                <a:gd name="T13" fmla="*/ 75 h 90"/>
                <a:gd name="T14" fmla="*/ 153 w 190"/>
                <a:gd name="T15" fmla="*/ 73 h 90"/>
                <a:gd name="T16" fmla="*/ 172 w 190"/>
                <a:gd name="T17" fmla="*/ 64 h 90"/>
                <a:gd name="T18" fmla="*/ 188 w 190"/>
                <a:gd name="T19" fmla="*/ 45 h 90"/>
                <a:gd name="T20" fmla="*/ 178 w 190"/>
                <a:gd name="T21" fmla="*/ 18 h 90"/>
                <a:gd name="T22" fmla="*/ 157 w 190"/>
                <a:gd name="T23" fmla="*/ 9 h 90"/>
                <a:gd name="T24" fmla="*/ 131 w 190"/>
                <a:gd name="T25" fmla="*/ 5 h 90"/>
                <a:gd name="T26" fmla="*/ 115 w 190"/>
                <a:gd name="T27" fmla="*/ 17 h 90"/>
                <a:gd name="T28" fmla="*/ 107 w 190"/>
                <a:gd name="T29" fmla="*/ 29 h 90"/>
                <a:gd name="T30" fmla="*/ 93 w 190"/>
                <a:gd name="T31" fmla="*/ 41 h 90"/>
                <a:gd name="T32" fmla="*/ 66 w 190"/>
                <a:gd name="T33" fmla="*/ 42 h 90"/>
                <a:gd name="T34" fmla="*/ 35 w 190"/>
                <a:gd name="T35" fmla="*/ 46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0" h="90">
                  <a:moveTo>
                    <a:pt x="35" y="46"/>
                  </a:moveTo>
                  <a:cubicBezTo>
                    <a:pt x="30" y="51"/>
                    <a:pt x="26" y="56"/>
                    <a:pt x="18" y="56"/>
                  </a:cubicBezTo>
                  <a:cubicBezTo>
                    <a:pt x="11" y="57"/>
                    <a:pt x="0" y="68"/>
                    <a:pt x="12" y="73"/>
                  </a:cubicBezTo>
                  <a:cubicBezTo>
                    <a:pt x="23" y="77"/>
                    <a:pt x="33" y="77"/>
                    <a:pt x="37" y="83"/>
                  </a:cubicBezTo>
                  <a:cubicBezTo>
                    <a:pt x="40" y="89"/>
                    <a:pt x="64" y="87"/>
                    <a:pt x="77" y="86"/>
                  </a:cubicBezTo>
                  <a:cubicBezTo>
                    <a:pt x="90" y="86"/>
                    <a:pt x="101" y="90"/>
                    <a:pt x="108" y="83"/>
                  </a:cubicBezTo>
                  <a:cubicBezTo>
                    <a:pt x="115" y="76"/>
                    <a:pt x="125" y="74"/>
                    <a:pt x="135" y="75"/>
                  </a:cubicBezTo>
                  <a:cubicBezTo>
                    <a:pt x="145" y="75"/>
                    <a:pt x="149" y="79"/>
                    <a:pt x="153" y="73"/>
                  </a:cubicBezTo>
                  <a:cubicBezTo>
                    <a:pt x="158" y="68"/>
                    <a:pt x="166" y="72"/>
                    <a:pt x="172" y="64"/>
                  </a:cubicBezTo>
                  <a:cubicBezTo>
                    <a:pt x="177" y="55"/>
                    <a:pt x="188" y="57"/>
                    <a:pt x="188" y="45"/>
                  </a:cubicBezTo>
                  <a:cubicBezTo>
                    <a:pt x="188" y="34"/>
                    <a:pt x="190" y="24"/>
                    <a:pt x="178" y="18"/>
                  </a:cubicBezTo>
                  <a:cubicBezTo>
                    <a:pt x="167" y="11"/>
                    <a:pt x="162" y="19"/>
                    <a:pt x="157" y="9"/>
                  </a:cubicBezTo>
                  <a:cubicBezTo>
                    <a:pt x="152" y="0"/>
                    <a:pt x="139" y="5"/>
                    <a:pt x="131" y="5"/>
                  </a:cubicBezTo>
                  <a:cubicBezTo>
                    <a:pt x="122" y="5"/>
                    <a:pt x="121" y="9"/>
                    <a:pt x="115" y="17"/>
                  </a:cubicBezTo>
                  <a:cubicBezTo>
                    <a:pt x="110" y="24"/>
                    <a:pt x="107" y="21"/>
                    <a:pt x="107" y="29"/>
                  </a:cubicBezTo>
                  <a:cubicBezTo>
                    <a:pt x="107" y="36"/>
                    <a:pt x="107" y="42"/>
                    <a:pt x="93" y="41"/>
                  </a:cubicBezTo>
                  <a:cubicBezTo>
                    <a:pt x="80" y="40"/>
                    <a:pt x="78" y="42"/>
                    <a:pt x="66" y="42"/>
                  </a:cubicBezTo>
                  <a:cubicBezTo>
                    <a:pt x="66" y="42"/>
                    <a:pt x="39" y="42"/>
                    <a:pt x="35" y="46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374" name="Freeform 25520"/>
            <p:cNvSpPr>
              <a:spLocks/>
            </p:cNvSpPr>
            <p:nvPr/>
          </p:nvSpPr>
          <p:spPr bwMode="auto">
            <a:xfrm>
              <a:off x="6219471" y="1534682"/>
              <a:ext cx="48455" cy="10417"/>
            </a:xfrm>
            <a:custGeom>
              <a:avLst/>
              <a:gdLst>
                <a:gd name="T0" fmla="*/ 13 w 130"/>
                <a:gd name="T1" fmla="*/ 28 h 28"/>
                <a:gd name="T2" fmla="*/ 51 w 130"/>
                <a:gd name="T3" fmla="*/ 16 h 28"/>
                <a:gd name="T4" fmla="*/ 67 w 130"/>
                <a:gd name="T5" fmla="*/ 17 h 28"/>
                <a:gd name="T6" fmla="*/ 86 w 130"/>
                <a:gd name="T7" fmla="*/ 19 h 28"/>
                <a:gd name="T8" fmla="*/ 104 w 130"/>
                <a:gd name="T9" fmla="*/ 24 h 28"/>
                <a:gd name="T10" fmla="*/ 114 w 130"/>
                <a:gd name="T11" fmla="*/ 16 h 28"/>
                <a:gd name="T12" fmla="*/ 117 w 130"/>
                <a:gd name="T13" fmla="*/ 8 h 28"/>
                <a:gd name="T14" fmla="*/ 93 w 130"/>
                <a:gd name="T15" fmla="*/ 5 h 28"/>
                <a:gd name="T16" fmla="*/ 65 w 130"/>
                <a:gd name="T17" fmla="*/ 0 h 28"/>
                <a:gd name="T18" fmla="*/ 46 w 130"/>
                <a:gd name="T19" fmla="*/ 8 h 28"/>
                <a:gd name="T20" fmla="*/ 31 w 130"/>
                <a:gd name="T21" fmla="*/ 14 h 28"/>
                <a:gd name="T22" fmla="*/ 13 w 130"/>
                <a:gd name="T23" fmla="*/ 7 h 28"/>
                <a:gd name="T24" fmla="*/ 3 w 130"/>
                <a:gd name="T25" fmla="*/ 11 h 28"/>
                <a:gd name="T26" fmla="*/ 13 w 130"/>
                <a:gd name="T27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0" h="28">
                  <a:moveTo>
                    <a:pt x="13" y="28"/>
                  </a:moveTo>
                  <a:cubicBezTo>
                    <a:pt x="26" y="28"/>
                    <a:pt x="51" y="23"/>
                    <a:pt x="51" y="16"/>
                  </a:cubicBezTo>
                  <a:cubicBezTo>
                    <a:pt x="51" y="9"/>
                    <a:pt x="58" y="17"/>
                    <a:pt x="67" y="17"/>
                  </a:cubicBezTo>
                  <a:cubicBezTo>
                    <a:pt x="76" y="17"/>
                    <a:pt x="85" y="13"/>
                    <a:pt x="86" y="19"/>
                  </a:cubicBezTo>
                  <a:cubicBezTo>
                    <a:pt x="87" y="25"/>
                    <a:pt x="102" y="27"/>
                    <a:pt x="104" y="24"/>
                  </a:cubicBezTo>
                  <a:cubicBezTo>
                    <a:pt x="106" y="21"/>
                    <a:pt x="106" y="15"/>
                    <a:pt x="114" y="16"/>
                  </a:cubicBezTo>
                  <a:cubicBezTo>
                    <a:pt x="122" y="17"/>
                    <a:pt x="130" y="8"/>
                    <a:pt x="117" y="8"/>
                  </a:cubicBezTo>
                  <a:cubicBezTo>
                    <a:pt x="104" y="8"/>
                    <a:pt x="97" y="8"/>
                    <a:pt x="93" y="5"/>
                  </a:cubicBezTo>
                  <a:cubicBezTo>
                    <a:pt x="89" y="2"/>
                    <a:pt x="70" y="0"/>
                    <a:pt x="65" y="0"/>
                  </a:cubicBezTo>
                  <a:cubicBezTo>
                    <a:pt x="60" y="0"/>
                    <a:pt x="46" y="3"/>
                    <a:pt x="46" y="8"/>
                  </a:cubicBezTo>
                  <a:cubicBezTo>
                    <a:pt x="46" y="13"/>
                    <a:pt x="40" y="14"/>
                    <a:pt x="31" y="14"/>
                  </a:cubicBezTo>
                  <a:cubicBezTo>
                    <a:pt x="22" y="14"/>
                    <a:pt x="19" y="6"/>
                    <a:pt x="13" y="7"/>
                  </a:cubicBezTo>
                  <a:cubicBezTo>
                    <a:pt x="7" y="8"/>
                    <a:pt x="4" y="6"/>
                    <a:pt x="3" y="11"/>
                  </a:cubicBezTo>
                  <a:cubicBezTo>
                    <a:pt x="3" y="11"/>
                    <a:pt x="0" y="28"/>
                    <a:pt x="13" y="28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375" name="Freeform 25528"/>
            <p:cNvSpPr>
              <a:spLocks/>
            </p:cNvSpPr>
            <p:nvPr/>
          </p:nvSpPr>
          <p:spPr bwMode="auto">
            <a:xfrm>
              <a:off x="6398771" y="1470601"/>
              <a:ext cx="10733" cy="8207"/>
            </a:xfrm>
            <a:custGeom>
              <a:avLst/>
              <a:gdLst>
                <a:gd name="T0" fmla="*/ 10 w 29"/>
                <a:gd name="T1" fmla="*/ 21 h 22"/>
                <a:gd name="T2" fmla="*/ 26 w 29"/>
                <a:gd name="T3" fmla="*/ 14 h 22"/>
                <a:gd name="T4" fmla="*/ 10 w 29"/>
                <a:gd name="T5" fmla="*/ 2 h 22"/>
                <a:gd name="T6" fmla="*/ 2 w 29"/>
                <a:gd name="T7" fmla="*/ 13 h 22"/>
                <a:gd name="T8" fmla="*/ 10 w 29"/>
                <a:gd name="T9" fmla="*/ 2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22">
                  <a:moveTo>
                    <a:pt x="10" y="21"/>
                  </a:moveTo>
                  <a:cubicBezTo>
                    <a:pt x="17" y="20"/>
                    <a:pt x="26" y="20"/>
                    <a:pt x="26" y="14"/>
                  </a:cubicBezTo>
                  <a:cubicBezTo>
                    <a:pt x="26" y="8"/>
                    <a:pt x="29" y="0"/>
                    <a:pt x="10" y="2"/>
                  </a:cubicBezTo>
                  <a:cubicBezTo>
                    <a:pt x="10" y="2"/>
                    <a:pt x="4" y="8"/>
                    <a:pt x="2" y="13"/>
                  </a:cubicBezTo>
                  <a:cubicBezTo>
                    <a:pt x="0" y="18"/>
                    <a:pt x="3" y="22"/>
                    <a:pt x="10" y="21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376" name="Freeform 25529"/>
            <p:cNvSpPr>
              <a:spLocks/>
            </p:cNvSpPr>
            <p:nvPr/>
          </p:nvSpPr>
          <p:spPr bwMode="auto">
            <a:xfrm>
              <a:off x="6385356" y="1479124"/>
              <a:ext cx="6629" cy="8207"/>
            </a:xfrm>
            <a:custGeom>
              <a:avLst/>
              <a:gdLst>
                <a:gd name="T0" fmla="*/ 15 w 18"/>
                <a:gd name="T1" fmla="*/ 1 h 22"/>
                <a:gd name="T2" fmla="*/ 2 w 18"/>
                <a:gd name="T3" fmla="*/ 4 h 22"/>
                <a:gd name="T4" fmla="*/ 15 w 18"/>
                <a:gd name="T5" fmla="*/ 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22">
                  <a:moveTo>
                    <a:pt x="15" y="1"/>
                  </a:moveTo>
                  <a:cubicBezTo>
                    <a:pt x="15" y="1"/>
                    <a:pt x="4" y="0"/>
                    <a:pt x="2" y="4"/>
                  </a:cubicBezTo>
                  <a:cubicBezTo>
                    <a:pt x="0" y="8"/>
                    <a:pt x="18" y="22"/>
                    <a:pt x="15" y="1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377" name="Freeform 25530"/>
            <p:cNvSpPr>
              <a:spLocks/>
            </p:cNvSpPr>
            <p:nvPr/>
          </p:nvSpPr>
          <p:spPr bwMode="auto">
            <a:xfrm>
              <a:off x="6544136" y="1476441"/>
              <a:ext cx="29830" cy="13889"/>
            </a:xfrm>
            <a:custGeom>
              <a:avLst/>
              <a:gdLst>
                <a:gd name="T0" fmla="*/ 59 w 80"/>
                <a:gd name="T1" fmla="*/ 31 h 37"/>
                <a:gd name="T2" fmla="*/ 78 w 80"/>
                <a:gd name="T3" fmla="*/ 22 h 37"/>
                <a:gd name="T4" fmla="*/ 71 w 80"/>
                <a:gd name="T5" fmla="*/ 0 h 37"/>
                <a:gd name="T6" fmla="*/ 55 w 80"/>
                <a:gd name="T7" fmla="*/ 7 h 37"/>
                <a:gd name="T8" fmla="*/ 27 w 80"/>
                <a:gd name="T9" fmla="*/ 14 h 37"/>
                <a:gd name="T10" fmla="*/ 0 w 80"/>
                <a:gd name="T11" fmla="*/ 19 h 37"/>
                <a:gd name="T12" fmla="*/ 9 w 80"/>
                <a:gd name="T13" fmla="*/ 30 h 37"/>
                <a:gd name="T14" fmla="*/ 59 w 80"/>
                <a:gd name="T15" fmla="*/ 31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0" h="37">
                  <a:moveTo>
                    <a:pt x="59" y="31"/>
                  </a:moveTo>
                  <a:cubicBezTo>
                    <a:pt x="59" y="25"/>
                    <a:pt x="78" y="32"/>
                    <a:pt x="78" y="22"/>
                  </a:cubicBezTo>
                  <a:cubicBezTo>
                    <a:pt x="78" y="12"/>
                    <a:pt x="80" y="0"/>
                    <a:pt x="71" y="0"/>
                  </a:cubicBezTo>
                  <a:cubicBezTo>
                    <a:pt x="62" y="0"/>
                    <a:pt x="72" y="5"/>
                    <a:pt x="55" y="7"/>
                  </a:cubicBezTo>
                  <a:cubicBezTo>
                    <a:pt x="38" y="9"/>
                    <a:pt x="26" y="6"/>
                    <a:pt x="27" y="14"/>
                  </a:cubicBezTo>
                  <a:cubicBezTo>
                    <a:pt x="27" y="14"/>
                    <a:pt x="0" y="12"/>
                    <a:pt x="0" y="19"/>
                  </a:cubicBezTo>
                  <a:cubicBezTo>
                    <a:pt x="0" y="26"/>
                    <a:pt x="1" y="28"/>
                    <a:pt x="9" y="30"/>
                  </a:cubicBezTo>
                  <a:cubicBezTo>
                    <a:pt x="17" y="32"/>
                    <a:pt x="59" y="37"/>
                    <a:pt x="59" y="31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378" name="Freeform 25531"/>
            <p:cNvSpPr>
              <a:spLocks/>
            </p:cNvSpPr>
            <p:nvPr/>
          </p:nvSpPr>
          <p:spPr bwMode="auto">
            <a:xfrm>
              <a:off x="6558657" y="1499958"/>
              <a:ext cx="15783" cy="9786"/>
            </a:xfrm>
            <a:custGeom>
              <a:avLst/>
              <a:gdLst>
                <a:gd name="T0" fmla="*/ 23 w 42"/>
                <a:gd name="T1" fmla="*/ 18 h 26"/>
                <a:gd name="T2" fmla="*/ 36 w 42"/>
                <a:gd name="T3" fmla="*/ 6 h 26"/>
                <a:gd name="T4" fmla="*/ 30 w 42"/>
                <a:gd name="T5" fmla="*/ 2 h 26"/>
                <a:gd name="T6" fmla="*/ 19 w 42"/>
                <a:gd name="T7" fmla="*/ 0 h 26"/>
                <a:gd name="T8" fmla="*/ 3 w 42"/>
                <a:gd name="T9" fmla="*/ 7 h 26"/>
                <a:gd name="T10" fmla="*/ 23 w 42"/>
                <a:gd name="T11" fmla="*/ 18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" h="26">
                  <a:moveTo>
                    <a:pt x="23" y="18"/>
                  </a:moveTo>
                  <a:cubicBezTo>
                    <a:pt x="26" y="10"/>
                    <a:pt x="30" y="6"/>
                    <a:pt x="36" y="6"/>
                  </a:cubicBezTo>
                  <a:cubicBezTo>
                    <a:pt x="42" y="6"/>
                    <a:pt x="41" y="4"/>
                    <a:pt x="30" y="2"/>
                  </a:cubicBezTo>
                  <a:cubicBezTo>
                    <a:pt x="19" y="0"/>
                    <a:pt x="27" y="0"/>
                    <a:pt x="19" y="0"/>
                  </a:cubicBezTo>
                  <a:cubicBezTo>
                    <a:pt x="19" y="0"/>
                    <a:pt x="0" y="1"/>
                    <a:pt x="3" y="7"/>
                  </a:cubicBezTo>
                  <a:cubicBezTo>
                    <a:pt x="6" y="13"/>
                    <a:pt x="20" y="26"/>
                    <a:pt x="23" y="18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379" name="Freeform 25532"/>
            <p:cNvSpPr>
              <a:spLocks/>
            </p:cNvSpPr>
            <p:nvPr/>
          </p:nvSpPr>
          <p:spPr bwMode="auto">
            <a:xfrm>
              <a:off x="6528511" y="1494750"/>
              <a:ext cx="23201" cy="13889"/>
            </a:xfrm>
            <a:custGeom>
              <a:avLst/>
              <a:gdLst>
                <a:gd name="T0" fmla="*/ 20 w 62"/>
                <a:gd name="T1" fmla="*/ 16 h 37"/>
                <a:gd name="T2" fmla="*/ 15 w 62"/>
                <a:gd name="T3" fmla="*/ 28 h 37"/>
                <a:gd name="T4" fmla="*/ 62 w 62"/>
                <a:gd name="T5" fmla="*/ 29 h 37"/>
                <a:gd name="T6" fmla="*/ 51 w 62"/>
                <a:gd name="T7" fmla="*/ 16 h 37"/>
                <a:gd name="T8" fmla="*/ 33 w 62"/>
                <a:gd name="T9" fmla="*/ 10 h 37"/>
                <a:gd name="T10" fmla="*/ 20 w 62"/>
                <a:gd name="T11" fmla="*/ 16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2" h="37">
                  <a:moveTo>
                    <a:pt x="20" y="16"/>
                  </a:moveTo>
                  <a:cubicBezTo>
                    <a:pt x="2" y="16"/>
                    <a:pt x="0" y="26"/>
                    <a:pt x="15" y="28"/>
                  </a:cubicBezTo>
                  <a:cubicBezTo>
                    <a:pt x="30" y="30"/>
                    <a:pt x="62" y="37"/>
                    <a:pt x="62" y="29"/>
                  </a:cubicBezTo>
                  <a:cubicBezTo>
                    <a:pt x="62" y="21"/>
                    <a:pt x="57" y="16"/>
                    <a:pt x="51" y="16"/>
                  </a:cubicBezTo>
                  <a:cubicBezTo>
                    <a:pt x="45" y="16"/>
                    <a:pt x="40" y="0"/>
                    <a:pt x="33" y="10"/>
                  </a:cubicBezTo>
                  <a:cubicBezTo>
                    <a:pt x="33" y="10"/>
                    <a:pt x="38" y="16"/>
                    <a:pt x="20" y="16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380" name="Freeform 25533"/>
            <p:cNvSpPr>
              <a:spLocks/>
            </p:cNvSpPr>
            <p:nvPr/>
          </p:nvSpPr>
          <p:spPr bwMode="auto">
            <a:xfrm>
              <a:off x="6509097" y="1501852"/>
              <a:ext cx="10417" cy="7418"/>
            </a:xfrm>
            <a:custGeom>
              <a:avLst/>
              <a:gdLst>
                <a:gd name="T0" fmla="*/ 8 w 28"/>
                <a:gd name="T1" fmla="*/ 6 h 20"/>
                <a:gd name="T2" fmla="*/ 14 w 28"/>
                <a:gd name="T3" fmla="*/ 20 h 20"/>
                <a:gd name="T4" fmla="*/ 8 w 28"/>
                <a:gd name="T5" fmla="*/ 6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8" h="20">
                  <a:moveTo>
                    <a:pt x="8" y="6"/>
                  </a:moveTo>
                  <a:cubicBezTo>
                    <a:pt x="8" y="6"/>
                    <a:pt x="0" y="20"/>
                    <a:pt x="14" y="20"/>
                  </a:cubicBezTo>
                  <a:cubicBezTo>
                    <a:pt x="28" y="20"/>
                    <a:pt x="17" y="0"/>
                    <a:pt x="8" y="6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381" name="Freeform 25534"/>
            <p:cNvSpPr>
              <a:spLocks/>
            </p:cNvSpPr>
            <p:nvPr/>
          </p:nvSpPr>
          <p:spPr bwMode="auto">
            <a:xfrm>
              <a:off x="6592591" y="1498064"/>
              <a:ext cx="5682" cy="11996"/>
            </a:xfrm>
            <a:custGeom>
              <a:avLst/>
              <a:gdLst>
                <a:gd name="T0" fmla="*/ 6 w 15"/>
                <a:gd name="T1" fmla="*/ 10 h 32"/>
                <a:gd name="T2" fmla="*/ 7 w 15"/>
                <a:gd name="T3" fmla="*/ 31 h 32"/>
                <a:gd name="T4" fmla="*/ 15 w 15"/>
                <a:gd name="T5" fmla="*/ 23 h 32"/>
                <a:gd name="T6" fmla="*/ 6 w 15"/>
                <a:gd name="T7" fmla="*/ 1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32">
                  <a:moveTo>
                    <a:pt x="6" y="10"/>
                  </a:moveTo>
                  <a:cubicBezTo>
                    <a:pt x="6" y="10"/>
                    <a:pt x="0" y="30"/>
                    <a:pt x="7" y="31"/>
                  </a:cubicBezTo>
                  <a:cubicBezTo>
                    <a:pt x="14" y="32"/>
                    <a:pt x="15" y="29"/>
                    <a:pt x="15" y="23"/>
                  </a:cubicBezTo>
                  <a:cubicBezTo>
                    <a:pt x="15" y="17"/>
                    <a:pt x="10" y="0"/>
                    <a:pt x="6" y="1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382" name="Freeform 25535"/>
            <p:cNvSpPr>
              <a:spLocks/>
            </p:cNvSpPr>
            <p:nvPr/>
          </p:nvSpPr>
          <p:spPr bwMode="auto">
            <a:xfrm>
              <a:off x="6455433" y="1358697"/>
              <a:ext cx="28410" cy="9628"/>
            </a:xfrm>
            <a:custGeom>
              <a:avLst/>
              <a:gdLst>
                <a:gd name="T0" fmla="*/ 76 w 76"/>
                <a:gd name="T1" fmla="*/ 16 h 26"/>
                <a:gd name="T2" fmla="*/ 46 w 76"/>
                <a:gd name="T3" fmla="*/ 1 h 26"/>
                <a:gd name="T4" fmla="*/ 28 w 76"/>
                <a:gd name="T5" fmla="*/ 7 h 26"/>
                <a:gd name="T6" fmla="*/ 18 w 76"/>
                <a:gd name="T7" fmla="*/ 19 h 26"/>
                <a:gd name="T8" fmla="*/ 42 w 76"/>
                <a:gd name="T9" fmla="*/ 17 h 26"/>
                <a:gd name="T10" fmla="*/ 62 w 76"/>
                <a:gd name="T11" fmla="*/ 16 h 26"/>
                <a:gd name="T12" fmla="*/ 76 w 76"/>
                <a:gd name="T13" fmla="*/ 1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6" h="26">
                  <a:moveTo>
                    <a:pt x="76" y="16"/>
                  </a:moveTo>
                  <a:cubicBezTo>
                    <a:pt x="76" y="11"/>
                    <a:pt x="64" y="0"/>
                    <a:pt x="46" y="1"/>
                  </a:cubicBezTo>
                  <a:cubicBezTo>
                    <a:pt x="46" y="1"/>
                    <a:pt x="36" y="1"/>
                    <a:pt x="28" y="7"/>
                  </a:cubicBezTo>
                  <a:cubicBezTo>
                    <a:pt x="20" y="13"/>
                    <a:pt x="0" y="12"/>
                    <a:pt x="18" y="19"/>
                  </a:cubicBezTo>
                  <a:cubicBezTo>
                    <a:pt x="36" y="26"/>
                    <a:pt x="31" y="19"/>
                    <a:pt x="42" y="17"/>
                  </a:cubicBezTo>
                  <a:cubicBezTo>
                    <a:pt x="53" y="15"/>
                    <a:pt x="55" y="11"/>
                    <a:pt x="62" y="16"/>
                  </a:cubicBezTo>
                  <a:cubicBezTo>
                    <a:pt x="69" y="21"/>
                    <a:pt x="76" y="21"/>
                    <a:pt x="76" y="16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383" name="Freeform 25536"/>
            <p:cNvSpPr>
              <a:spLocks/>
            </p:cNvSpPr>
            <p:nvPr/>
          </p:nvSpPr>
          <p:spPr bwMode="auto">
            <a:xfrm>
              <a:off x="6431916" y="1353015"/>
              <a:ext cx="22097" cy="10417"/>
            </a:xfrm>
            <a:custGeom>
              <a:avLst/>
              <a:gdLst>
                <a:gd name="T0" fmla="*/ 37 w 59"/>
                <a:gd name="T1" fmla="*/ 6 h 28"/>
                <a:gd name="T2" fmla="*/ 16 w 59"/>
                <a:gd name="T3" fmla="*/ 8 h 28"/>
                <a:gd name="T4" fmla="*/ 46 w 59"/>
                <a:gd name="T5" fmla="*/ 20 h 28"/>
                <a:gd name="T6" fmla="*/ 58 w 59"/>
                <a:gd name="T7" fmla="*/ 20 h 28"/>
                <a:gd name="T8" fmla="*/ 37 w 59"/>
                <a:gd name="T9" fmla="*/ 6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28">
                  <a:moveTo>
                    <a:pt x="37" y="6"/>
                  </a:moveTo>
                  <a:cubicBezTo>
                    <a:pt x="37" y="6"/>
                    <a:pt x="0" y="0"/>
                    <a:pt x="16" y="8"/>
                  </a:cubicBezTo>
                  <a:cubicBezTo>
                    <a:pt x="32" y="16"/>
                    <a:pt x="42" y="12"/>
                    <a:pt x="46" y="20"/>
                  </a:cubicBezTo>
                  <a:cubicBezTo>
                    <a:pt x="50" y="28"/>
                    <a:pt x="59" y="24"/>
                    <a:pt x="58" y="20"/>
                  </a:cubicBezTo>
                  <a:cubicBezTo>
                    <a:pt x="57" y="16"/>
                    <a:pt x="51" y="8"/>
                    <a:pt x="37" y="6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384" name="Freeform 25537"/>
            <p:cNvSpPr>
              <a:spLocks/>
            </p:cNvSpPr>
            <p:nvPr/>
          </p:nvSpPr>
          <p:spPr bwMode="auto">
            <a:xfrm>
              <a:off x="6464746" y="1372428"/>
              <a:ext cx="16415" cy="10417"/>
            </a:xfrm>
            <a:custGeom>
              <a:avLst/>
              <a:gdLst>
                <a:gd name="T0" fmla="*/ 27 w 44"/>
                <a:gd name="T1" fmla="*/ 10 h 28"/>
                <a:gd name="T2" fmla="*/ 14 w 44"/>
                <a:gd name="T3" fmla="*/ 7 h 28"/>
                <a:gd name="T4" fmla="*/ 16 w 44"/>
                <a:gd name="T5" fmla="*/ 22 h 28"/>
                <a:gd name="T6" fmla="*/ 41 w 44"/>
                <a:gd name="T7" fmla="*/ 17 h 28"/>
                <a:gd name="T8" fmla="*/ 27 w 44"/>
                <a:gd name="T9" fmla="*/ 1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28">
                  <a:moveTo>
                    <a:pt x="27" y="10"/>
                  </a:moveTo>
                  <a:cubicBezTo>
                    <a:pt x="26" y="0"/>
                    <a:pt x="16" y="1"/>
                    <a:pt x="14" y="7"/>
                  </a:cubicBezTo>
                  <a:cubicBezTo>
                    <a:pt x="14" y="7"/>
                    <a:pt x="0" y="22"/>
                    <a:pt x="16" y="22"/>
                  </a:cubicBezTo>
                  <a:cubicBezTo>
                    <a:pt x="32" y="22"/>
                    <a:pt x="44" y="28"/>
                    <a:pt x="41" y="17"/>
                  </a:cubicBezTo>
                  <a:cubicBezTo>
                    <a:pt x="38" y="6"/>
                    <a:pt x="28" y="20"/>
                    <a:pt x="27" y="1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385" name="Freeform 25538"/>
            <p:cNvSpPr>
              <a:spLocks/>
            </p:cNvSpPr>
            <p:nvPr/>
          </p:nvSpPr>
          <p:spPr bwMode="auto">
            <a:xfrm>
              <a:off x="6415975" y="1258315"/>
              <a:ext cx="39143" cy="16099"/>
            </a:xfrm>
            <a:custGeom>
              <a:avLst/>
              <a:gdLst>
                <a:gd name="T0" fmla="*/ 22 w 105"/>
                <a:gd name="T1" fmla="*/ 34 h 43"/>
                <a:gd name="T2" fmla="*/ 101 w 105"/>
                <a:gd name="T3" fmla="*/ 34 h 43"/>
                <a:gd name="T4" fmla="*/ 91 w 105"/>
                <a:gd name="T5" fmla="*/ 16 h 43"/>
                <a:gd name="T6" fmla="*/ 54 w 105"/>
                <a:gd name="T7" fmla="*/ 10 h 43"/>
                <a:gd name="T8" fmla="*/ 28 w 105"/>
                <a:gd name="T9" fmla="*/ 9 h 43"/>
                <a:gd name="T10" fmla="*/ 1 w 105"/>
                <a:gd name="T11" fmla="*/ 19 h 43"/>
                <a:gd name="T12" fmla="*/ 22 w 105"/>
                <a:gd name="T13" fmla="*/ 34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5" h="43">
                  <a:moveTo>
                    <a:pt x="22" y="34"/>
                  </a:moveTo>
                  <a:cubicBezTo>
                    <a:pt x="43" y="35"/>
                    <a:pt x="97" y="43"/>
                    <a:pt x="101" y="34"/>
                  </a:cubicBezTo>
                  <a:cubicBezTo>
                    <a:pt x="105" y="25"/>
                    <a:pt x="100" y="16"/>
                    <a:pt x="91" y="16"/>
                  </a:cubicBezTo>
                  <a:cubicBezTo>
                    <a:pt x="82" y="16"/>
                    <a:pt x="66" y="18"/>
                    <a:pt x="54" y="10"/>
                  </a:cubicBezTo>
                  <a:cubicBezTo>
                    <a:pt x="54" y="10"/>
                    <a:pt x="35" y="0"/>
                    <a:pt x="28" y="9"/>
                  </a:cubicBezTo>
                  <a:cubicBezTo>
                    <a:pt x="21" y="18"/>
                    <a:pt x="2" y="11"/>
                    <a:pt x="1" y="19"/>
                  </a:cubicBezTo>
                  <a:cubicBezTo>
                    <a:pt x="0" y="27"/>
                    <a:pt x="1" y="33"/>
                    <a:pt x="22" y="34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386" name="Freeform 25539"/>
            <p:cNvSpPr>
              <a:spLocks/>
            </p:cNvSpPr>
            <p:nvPr/>
          </p:nvSpPr>
          <p:spPr bwMode="auto">
            <a:xfrm>
              <a:off x="6433021" y="1259420"/>
              <a:ext cx="172355" cy="92491"/>
            </a:xfrm>
            <a:custGeom>
              <a:avLst/>
              <a:gdLst>
                <a:gd name="T0" fmla="*/ 52 w 462"/>
                <a:gd name="T1" fmla="*/ 142 h 248"/>
                <a:gd name="T2" fmla="*/ 70 w 462"/>
                <a:gd name="T3" fmla="*/ 148 h 248"/>
                <a:gd name="T4" fmla="*/ 100 w 462"/>
                <a:gd name="T5" fmla="*/ 155 h 248"/>
                <a:gd name="T6" fmla="*/ 118 w 462"/>
                <a:gd name="T7" fmla="*/ 168 h 248"/>
                <a:gd name="T8" fmla="*/ 145 w 462"/>
                <a:gd name="T9" fmla="*/ 182 h 248"/>
                <a:gd name="T10" fmla="*/ 126 w 462"/>
                <a:gd name="T11" fmla="*/ 186 h 248"/>
                <a:gd name="T12" fmla="*/ 98 w 462"/>
                <a:gd name="T13" fmla="*/ 186 h 248"/>
                <a:gd name="T14" fmla="*/ 80 w 462"/>
                <a:gd name="T15" fmla="*/ 186 h 248"/>
                <a:gd name="T16" fmla="*/ 64 w 462"/>
                <a:gd name="T17" fmla="*/ 176 h 248"/>
                <a:gd name="T18" fmla="*/ 43 w 462"/>
                <a:gd name="T19" fmla="*/ 184 h 248"/>
                <a:gd name="T20" fmla="*/ 30 w 462"/>
                <a:gd name="T21" fmla="*/ 181 h 248"/>
                <a:gd name="T22" fmla="*/ 15 w 462"/>
                <a:gd name="T23" fmla="*/ 176 h 248"/>
                <a:gd name="T24" fmla="*/ 11 w 462"/>
                <a:gd name="T25" fmla="*/ 187 h 248"/>
                <a:gd name="T26" fmla="*/ 32 w 462"/>
                <a:gd name="T27" fmla="*/ 201 h 248"/>
                <a:gd name="T28" fmla="*/ 47 w 462"/>
                <a:gd name="T29" fmla="*/ 221 h 248"/>
                <a:gd name="T30" fmla="*/ 84 w 462"/>
                <a:gd name="T31" fmla="*/ 230 h 248"/>
                <a:gd name="T32" fmla="*/ 108 w 462"/>
                <a:gd name="T33" fmla="*/ 240 h 248"/>
                <a:gd name="T34" fmla="*/ 148 w 462"/>
                <a:gd name="T35" fmla="*/ 237 h 248"/>
                <a:gd name="T36" fmla="*/ 167 w 462"/>
                <a:gd name="T37" fmla="*/ 224 h 248"/>
                <a:gd name="T38" fmla="*/ 193 w 462"/>
                <a:gd name="T39" fmla="*/ 215 h 248"/>
                <a:gd name="T40" fmla="*/ 189 w 462"/>
                <a:gd name="T41" fmla="*/ 202 h 248"/>
                <a:gd name="T42" fmla="*/ 199 w 462"/>
                <a:gd name="T43" fmla="*/ 190 h 248"/>
                <a:gd name="T44" fmla="*/ 229 w 462"/>
                <a:gd name="T45" fmla="*/ 186 h 248"/>
                <a:gd name="T46" fmla="*/ 260 w 462"/>
                <a:gd name="T47" fmla="*/ 175 h 248"/>
                <a:gd name="T48" fmla="*/ 313 w 462"/>
                <a:gd name="T49" fmla="*/ 165 h 248"/>
                <a:gd name="T50" fmla="*/ 382 w 462"/>
                <a:gd name="T51" fmla="*/ 156 h 248"/>
                <a:gd name="T52" fmla="*/ 428 w 462"/>
                <a:gd name="T53" fmla="*/ 144 h 248"/>
                <a:gd name="T54" fmla="*/ 411 w 462"/>
                <a:gd name="T55" fmla="*/ 127 h 248"/>
                <a:gd name="T56" fmla="*/ 404 w 462"/>
                <a:gd name="T57" fmla="*/ 107 h 248"/>
                <a:gd name="T58" fmla="*/ 417 w 462"/>
                <a:gd name="T59" fmla="*/ 94 h 248"/>
                <a:gd name="T60" fmla="*/ 448 w 462"/>
                <a:gd name="T61" fmla="*/ 91 h 248"/>
                <a:gd name="T62" fmla="*/ 462 w 462"/>
                <a:gd name="T63" fmla="*/ 83 h 248"/>
                <a:gd name="T64" fmla="*/ 439 w 462"/>
                <a:gd name="T65" fmla="*/ 69 h 248"/>
                <a:gd name="T66" fmla="*/ 401 w 462"/>
                <a:gd name="T67" fmla="*/ 58 h 248"/>
                <a:gd name="T68" fmla="*/ 374 w 462"/>
                <a:gd name="T69" fmla="*/ 40 h 248"/>
                <a:gd name="T70" fmla="*/ 326 w 462"/>
                <a:gd name="T71" fmla="*/ 1 h 248"/>
                <a:gd name="T72" fmla="*/ 283 w 462"/>
                <a:gd name="T73" fmla="*/ 4 h 248"/>
                <a:gd name="T74" fmla="*/ 256 w 462"/>
                <a:gd name="T75" fmla="*/ 26 h 248"/>
                <a:gd name="T76" fmla="*/ 208 w 462"/>
                <a:gd name="T77" fmla="*/ 33 h 248"/>
                <a:gd name="T78" fmla="*/ 175 w 462"/>
                <a:gd name="T79" fmla="*/ 40 h 248"/>
                <a:gd name="T80" fmla="*/ 146 w 462"/>
                <a:gd name="T81" fmla="*/ 56 h 248"/>
                <a:gd name="T82" fmla="*/ 135 w 462"/>
                <a:gd name="T83" fmla="*/ 80 h 248"/>
                <a:gd name="T84" fmla="*/ 156 w 462"/>
                <a:gd name="T85" fmla="*/ 84 h 248"/>
                <a:gd name="T86" fmla="*/ 132 w 462"/>
                <a:gd name="T87" fmla="*/ 105 h 248"/>
                <a:gd name="T88" fmla="*/ 115 w 462"/>
                <a:gd name="T89" fmla="*/ 115 h 248"/>
                <a:gd name="T90" fmla="*/ 92 w 462"/>
                <a:gd name="T91" fmla="*/ 124 h 248"/>
                <a:gd name="T92" fmla="*/ 74 w 462"/>
                <a:gd name="T93" fmla="*/ 131 h 248"/>
                <a:gd name="T94" fmla="*/ 52 w 462"/>
                <a:gd name="T95" fmla="*/ 142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62" h="248">
                  <a:moveTo>
                    <a:pt x="52" y="142"/>
                  </a:moveTo>
                  <a:cubicBezTo>
                    <a:pt x="54" y="151"/>
                    <a:pt x="56" y="148"/>
                    <a:pt x="70" y="148"/>
                  </a:cubicBezTo>
                  <a:cubicBezTo>
                    <a:pt x="84" y="148"/>
                    <a:pt x="97" y="148"/>
                    <a:pt x="100" y="155"/>
                  </a:cubicBezTo>
                  <a:cubicBezTo>
                    <a:pt x="103" y="162"/>
                    <a:pt x="109" y="168"/>
                    <a:pt x="118" y="168"/>
                  </a:cubicBezTo>
                  <a:cubicBezTo>
                    <a:pt x="127" y="168"/>
                    <a:pt x="145" y="172"/>
                    <a:pt x="145" y="182"/>
                  </a:cubicBezTo>
                  <a:cubicBezTo>
                    <a:pt x="145" y="192"/>
                    <a:pt x="140" y="186"/>
                    <a:pt x="126" y="186"/>
                  </a:cubicBezTo>
                  <a:cubicBezTo>
                    <a:pt x="112" y="186"/>
                    <a:pt x="111" y="185"/>
                    <a:pt x="98" y="186"/>
                  </a:cubicBezTo>
                  <a:cubicBezTo>
                    <a:pt x="98" y="186"/>
                    <a:pt x="84" y="194"/>
                    <a:pt x="80" y="186"/>
                  </a:cubicBezTo>
                  <a:cubicBezTo>
                    <a:pt x="76" y="178"/>
                    <a:pt x="75" y="175"/>
                    <a:pt x="64" y="176"/>
                  </a:cubicBezTo>
                  <a:cubicBezTo>
                    <a:pt x="53" y="177"/>
                    <a:pt x="42" y="175"/>
                    <a:pt x="43" y="184"/>
                  </a:cubicBezTo>
                  <a:cubicBezTo>
                    <a:pt x="44" y="193"/>
                    <a:pt x="32" y="188"/>
                    <a:pt x="30" y="181"/>
                  </a:cubicBezTo>
                  <a:cubicBezTo>
                    <a:pt x="28" y="174"/>
                    <a:pt x="26" y="176"/>
                    <a:pt x="15" y="176"/>
                  </a:cubicBezTo>
                  <a:cubicBezTo>
                    <a:pt x="4" y="176"/>
                    <a:pt x="0" y="186"/>
                    <a:pt x="11" y="187"/>
                  </a:cubicBezTo>
                  <a:cubicBezTo>
                    <a:pt x="22" y="188"/>
                    <a:pt x="29" y="191"/>
                    <a:pt x="32" y="201"/>
                  </a:cubicBezTo>
                  <a:cubicBezTo>
                    <a:pt x="35" y="211"/>
                    <a:pt x="29" y="220"/>
                    <a:pt x="47" y="221"/>
                  </a:cubicBezTo>
                  <a:cubicBezTo>
                    <a:pt x="65" y="222"/>
                    <a:pt x="81" y="223"/>
                    <a:pt x="84" y="230"/>
                  </a:cubicBezTo>
                  <a:cubicBezTo>
                    <a:pt x="87" y="237"/>
                    <a:pt x="94" y="237"/>
                    <a:pt x="108" y="240"/>
                  </a:cubicBezTo>
                  <a:cubicBezTo>
                    <a:pt x="122" y="243"/>
                    <a:pt x="143" y="248"/>
                    <a:pt x="148" y="237"/>
                  </a:cubicBezTo>
                  <a:cubicBezTo>
                    <a:pt x="153" y="226"/>
                    <a:pt x="160" y="224"/>
                    <a:pt x="167" y="224"/>
                  </a:cubicBezTo>
                  <a:cubicBezTo>
                    <a:pt x="174" y="224"/>
                    <a:pt x="190" y="220"/>
                    <a:pt x="193" y="215"/>
                  </a:cubicBezTo>
                  <a:cubicBezTo>
                    <a:pt x="196" y="210"/>
                    <a:pt x="193" y="206"/>
                    <a:pt x="189" y="202"/>
                  </a:cubicBezTo>
                  <a:cubicBezTo>
                    <a:pt x="185" y="198"/>
                    <a:pt x="184" y="189"/>
                    <a:pt x="199" y="190"/>
                  </a:cubicBezTo>
                  <a:cubicBezTo>
                    <a:pt x="214" y="191"/>
                    <a:pt x="220" y="193"/>
                    <a:pt x="229" y="186"/>
                  </a:cubicBezTo>
                  <a:cubicBezTo>
                    <a:pt x="238" y="179"/>
                    <a:pt x="245" y="175"/>
                    <a:pt x="260" y="175"/>
                  </a:cubicBezTo>
                  <a:cubicBezTo>
                    <a:pt x="275" y="175"/>
                    <a:pt x="282" y="174"/>
                    <a:pt x="313" y="165"/>
                  </a:cubicBezTo>
                  <a:cubicBezTo>
                    <a:pt x="344" y="156"/>
                    <a:pt x="364" y="156"/>
                    <a:pt x="382" y="156"/>
                  </a:cubicBezTo>
                  <a:cubicBezTo>
                    <a:pt x="400" y="156"/>
                    <a:pt x="430" y="154"/>
                    <a:pt x="428" y="144"/>
                  </a:cubicBezTo>
                  <a:cubicBezTo>
                    <a:pt x="426" y="134"/>
                    <a:pt x="412" y="138"/>
                    <a:pt x="411" y="127"/>
                  </a:cubicBezTo>
                  <a:cubicBezTo>
                    <a:pt x="410" y="116"/>
                    <a:pt x="402" y="116"/>
                    <a:pt x="404" y="107"/>
                  </a:cubicBezTo>
                  <a:cubicBezTo>
                    <a:pt x="406" y="98"/>
                    <a:pt x="405" y="92"/>
                    <a:pt x="417" y="94"/>
                  </a:cubicBezTo>
                  <a:cubicBezTo>
                    <a:pt x="429" y="96"/>
                    <a:pt x="436" y="90"/>
                    <a:pt x="448" y="91"/>
                  </a:cubicBezTo>
                  <a:cubicBezTo>
                    <a:pt x="460" y="92"/>
                    <a:pt x="462" y="95"/>
                    <a:pt x="462" y="83"/>
                  </a:cubicBezTo>
                  <a:cubicBezTo>
                    <a:pt x="462" y="71"/>
                    <a:pt x="461" y="73"/>
                    <a:pt x="439" y="69"/>
                  </a:cubicBezTo>
                  <a:cubicBezTo>
                    <a:pt x="417" y="65"/>
                    <a:pt x="415" y="57"/>
                    <a:pt x="401" y="58"/>
                  </a:cubicBezTo>
                  <a:cubicBezTo>
                    <a:pt x="387" y="59"/>
                    <a:pt x="389" y="51"/>
                    <a:pt x="374" y="40"/>
                  </a:cubicBezTo>
                  <a:cubicBezTo>
                    <a:pt x="359" y="29"/>
                    <a:pt x="342" y="2"/>
                    <a:pt x="326" y="1"/>
                  </a:cubicBezTo>
                  <a:cubicBezTo>
                    <a:pt x="310" y="0"/>
                    <a:pt x="296" y="2"/>
                    <a:pt x="283" y="4"/>
                  </a:cubicBezTo>
                  <a:cubicBezTo>
                    <a:pt x="270" y="6"/>
                    <a:pt x="278" y="26"/>
                    <a:pt x="256" y="26"/>
                  </a:cubicBezTo>
                  <a:cubicBezTo>
                    <a:pt x="234" y="26"/>
                    <a:pt x="224" y="30"/>
                    <a:pt x="208" y="33"/>
                  </a:cubicBezTo>
                  <a:cubicBezTo>
                    <a:pt x="192" y="36"/>
                    <a:pt x="190" y="42"/>
                    <a:pt x="175" y="40"/>
                  </a:cubicBezTo>
                  <a:cubicBezTo>
                    <a:pt x="160" y="38"/>
                    <a:pt x="162" y="48"/>
                    <a:pt x="146" y="56"/>
                  </a:cubicBezTo>
                  <a:cubicBezTo>
                    <a:pt x="130" y="64"/>
                    <a:pt x="124" y="78"/>
                    <a:pt x="135" y="80"/>
                  </a:cubicBezTo>
                  <a:cubicBezTo>
                    <a:pt x="146" y="82"/>
                    <a:pt x="166" y="73"/>
                    <a:pt x="156" y="84"/>
                  </a:cubicBezTo>
                  <a:cubicBezTo>
                    <a:pt x="146" y="95"/>
                    <a:pt x="135" y="97"/>
                    <a:pt x="132" y="105"/>
                  </a:cubicBezTo>
                  <a:cubicBezTo>
                    <a:pt x="129" y="113"/>
                    <a:pt x="124" y="115"/>
                    <a:pt x="115" y="115"/>
                  </a:cubicBezTo>
                  <a:cubicBezTo>
                    <a:pt x="106" y="115"/>
                    <a:pt x="108" y="124"/>
                    <a:pt x="92" y="124"/>
                  </a:cubicBezTo>
                  <a:cubicBezTo>
                    <a:pt x="76" y="124"/>
                    <a:pt x="77" y="126"/>
                    <a:pt x="74" y="131"/>
                  </a:cubicBezTo>
                  <a:cubicBezTo>
                    <a:pt x="71" y="136"/>
                    <a:pt x="50" y="133"/>
                    <a:pt x="52" y="142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387" name="Freeform 25540"/>
            <p:cNvSpPr>
              <a:spLocks/>
            </p:cNvSpPr>
            <p:nvPr/>
          </p:nvSpPr>
          <p:spPr bwMode="auto">
            <a:xfrm>
              <a:off x="6479740" y="1319870"/>
              <a:ext cx="180089" cy="75760"/>
            </a:xfrm>
            <a:custGeom>
              <a:avLst/>
              <a:gdLst>
                <a:gd name="T0" fmla="*/ 315 w 483"/>
                <a:gd name="T1" fmla="*/ 54 h 203"/>
                <a:gd name="T2" fmla="*/ 333 w 483"/>
                <a:gd name="T3" fmla="*/ 30 h 203"/>
                <a:gd name="T4" fmla="*/ 331 w 483"/>
                <a:gd name="T5" fmla="*/ 9 h 203"/>
                <a:gd name="T6" fmla="*/ 288 w 483"/>
                <a:gd name="T7" fmla="*/ 1 h 203"/>
                <a:gd name="T8" fmla="*/ 258 w 483"/>
                <a:gd name="T9" fmla="*/ 9 h 203"/>
                <a:gd name="T10" fmla="*/ 213 w 483"/>
                <a:gd name="T11" fmla="*/ 10 h 203"/>
                <a:gd name="T12" fmla="*/ 180 w 483"/>
                <a:gd name="T13" fmla="*/ 21 h 203"/>
                <a:gd name="T14" fmla="*/ 161 w 483"/>
                <a:gd name="T15" fmla="*/ 27 h 203"/>
                <a:gd name="T16" fmla="*/ 136 w 483"/>
                <a:gd name="T17" fmla="*/ 28 h 203"/>
                <a:gd name="T18" fmla="*/ 115 w 483"/>
                <a:gd name="T19" fmla="*/ 40 h 203"/>
                <a:gd name="T20" fmla="*/ 117 w 483"/>
                <a:gd name="T21" fmla="*/ 60 h 203"/>
                <a:gd name="T22" fmla="*/ 80 w 483"/>
                <a:gd name="T23" fmla="*/ 69 h 203"/>
                <a:gd name="T24" fmla="*/ 50 w 483"/>
                <a:gd name="T25" fmla="*/ 90 h 203"/>
                <a:gd name="T26" fmla="*/ 7 w 483"/>
                <a:gd name="T27" fmla="*/ 93 h 203"/>
                <a:gd name="T28" fmla="*/ 28 w 483"/>
                <a:gd name="T29" fmla="*/ 102 h 203"/>
                <a:gd name="T30" fmla="*/ 48 w 483"/>
                <a:gd name="T31" fmla="*/ 110 h 203"/>
                <a:gd name="T32" fmla="*/ 65 w 483"/>
                <a:gd name="T33" fmla="*/ 107 h 203"/>
                <a:gd name="T34" fmla="*/ 85 w 483"/>
                <a:gd name="T35" fmla="*/ 114 h 203"/>
                <a:gd name="T36" fmla="*/ 108 w 483"/>
                <a:gd name="T37" fmla="*/ 123 h 203"/>
                <a:gd name="T38" fmla="*/ 118 w 483"/>
                <a:gd name="T39" fmla="*/ 146 h 203"/>
                <a:gd name="T40" fmla="*/ 134 w 483"/>
                <a:gd name="T41" fmla="*/ 164 h 203"/>
                <a:gd name="T42" fmla="*/ 165 w 483"/>
                <a:gd name="T43" fmla="*/ 170 h 203"/>
                <a:gd name="T44" fmla="*/ 179 w 483"/>
                <a:gd name="T45" fmla="*/ 163 h 203"/>
                <a:gd name="T46" fmla="*/ 190 w 483"/>
                <a:gd name="T47" fmla="*/ 176 h 203"/>
                <a:gd name="T48" fmla="*/ 235 w 483"/>
                <a:gd name="T49" fmla="*/ 171 h 203"/>
                <a:gd name="T50" fmla="*/ 281 w 483"/>
                <a:gd name="T51" fmla="*/ 188 h 203"/>
                <a:gd name="T52" fmla="*/ 326 w 483"/>
                <a:gd name="T53" fmla="*/ 200 h 203"/>
                <a:gd name="T54" fmla="*/ 408 w 483"/>
                <a:gd name="T55" fmla="*/ 199 h 203"/>
                <a:gd name="T56" fmla="*/ 433 w 483"/>
                <a:gd name="T57" fmla="*/ 191 h 203"/>
                <a:gd name="T58" fmla="*/ 462 w 483"/>
                <a:gd name="T59" fmla="*/ 173 h 203"/>
                <a:gd name="T60" fmla="*/ 451 w 483"/>
                <a:gd name="T61" fmla="*/ 158 h 203"/>
                <a:gd name="T62" fmla="*/ 420 w 483"/>
                <a:gd name="T63" fmla="*/ 140 h 203"/>
                <a:gd name="T64" fmla="*/ 427 w 483"/>
                <a:gd name="T65" fmla="*/ 134 h 203"/>
                <a:gd name="T66" fmla="*/ 450 w 483"/>
                <a:gd name="T67" fmla="*/ 112 h 203"/>
                <a:gd name="T68" fmla="*/ 464 w 483"/>
                <a:gd name="T69" fmla="*/ 87 h 203"/>
                <a:gd name="T70" fmla="*/ 482 w 483"/>
                <a:gd name="T71" fmla="*/ 82 h 203"/>
                <a:gd name="T72" fmla="*/ 468 w 483"/>
                <a:gd name="T73" fmla="*/ 66 h 203"/>
                <a:gd name="T74" fmla="*/ 455 w 483"/>
                <a:gd name="T75" fmla="*/ 41 h 203"/>
                <a:gd name="T76" fmla="*/ 422 w 483"/>
                <a:gd name="T77" fmla="*/ 23 h 203"/>
                <a:gd name="T78" fmla="*/ 395 w 483"/>
                <a:gd name="T79" fmla="*/ 20 h 203"/>
                <a:gd name="T80" fmla="*/ 376 w 483"/>
                <a:gd name="T81" fmla="*/ 27 h 203"/>
                <a:gd name="T82" fmla="*/ 365 w 483"/>
                <a:gd name="T83" fmla="*/ 40 h 203"/>
                <a:gd name="T84" fmla="*/ 344 w 483"/>
                <a:gd name="T85" fmla="*/ 44 h 203"/>
                <a:gd name="T86" fmla="*/ 328 w 483"/>
                <a:gd name="T87" fmla="*/ 56 h 203"/>
                <a:gd name="T88" fmla="*/ 302 w 483"/>
                <a:gd name="T89" fmla="*/ 69 h 203"/>
                <a:gd name="T90" fmla="*/ 315 w 483"/>
                <a:gd name="T91" fmla="*/ 54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83" h="203">
                  <a:moveTo>
                    <a:pt x="315" y="54"/>
                  </a:moveTo>
                  <a:cubicBezTo>
                    <a:pt x="322" y="39"/>
                    <a:pt x="327" y="30"/>
                    <a:pt x="333" y="30"/>
                  </a:cubicBezTo>
                  <a:cubicBezTo>
                    <a:pt x="339" y="30"/>
                    <a:pt x="343" y="15"/>
                    <a:pt x="331" y="9"/>
                  </a:cubicBezTo>
                  <a:cubicBezTo>
                    <a:pt x="319" y="3"/>
                    <a:pt x="296" y="0"/>
                    <a:pt x="288" y="1"/>
                  </a:cubicBezTo>
                  <a:cubicBezTo>
                    <a:pt x="280" y="2"/>
                    <a:pt x="274" y="8"/>
                    <a:pt x="258" y="9"/>
                  </a:cubicBezTo>
                  <a:cubicBezTo>
                    <a:pt x="242" y="10"/>
                    <a:pt x="229" y="7"/>
                    <a:pt x="213" y="10"/>
                  </a:cubicBezTo>
                  <a:cubicBezTo>
                    <a:pt x="197" y="13"/>
                    <a:pt x="187" y="14"/>
                    <a:pt x="180" y="21"/>
                  </a:cubicBezTo>
                  <a:cubicBezTo>
                    <a:pt x="173" y="28"/>
                    <a:pt x="172" y="30"/>
                    <a:pt x="161" y="27"/>
                  </a:cubicBezTo>
                  <a:cubicBezTo>
                    <a:pt x="150" y="24"/>
                    <a:pt x="146" y="20"/>
                    <a:pt x="136" y="28"/>
                  </a:cubicBezTo>
                  <a:cubicBezTo>
                    <a:pt x="136" y="28"/>
                    <a:pt x="119" y="32"/>
                    <a:pt x="115" y="40"/>
                  </a:cubicBezTo>
                  <a:cubicBezTo>
                    <a:pt x="111" y="48"/>
                    <a:pt x="135" y="60"/>
                    <a:pt x="117" y="60"/>
                  </a:cubicBezTo>
                  <a:cubicBezTo>
                    <a:pt x="99" y="60"/>
                    <a:pt x="88" y="64"/>
                    <a:pt x="80" y="69"/>
                  </a:cubicBezTo>
                  <a:cubicBezTo>
                    <a:pt x="72" y="74"/>
                    <a:pt x="65" y="89"/>
                    <a:pt x="50" y="90"/>
                  </a:cubicBezTo>
                  <a:cubicBezTo>
                    <a:pt x="35" y="91"/>
                    <a:pt x="0" y="84"/>
                    <a:pt x="7" y="93"/>
                  </a:cubicBezTo>
                  <a:cubicBezTo>
                    <a:pt x="14" y="102"/>
                    <a:pt x="24" y="95"/>
                    <a:pt x="28" y="102"/>
                  </a:cubicBezTo>
                  <a:cubicBezTo>
                    <a:pt x="32" y="109"/>
                    <a:pt x="44" y="114"/>
                    <a:pt x="48" y="110"/>
                  </a:cubicBezTo>
                  <a:cubicBezTo>
                    <a:pt x="52" y="106"/>
                    <a:pt x="60" y="100"/>
                    <a:pt x="65" y="107"/>
                  </a:cubicBezTo>
                  <a:cubicBezTo>
                    <a:pt x="70" y="114"/>
                    <a:pt x="70" y="114"/>
                    <a:pt x="85" y="114"/>
                  </a:cubicBezTo>
                  <a:cubicBezTo>
                    <a:pt x="100" y="114"/>
                    <a:pt x="106" y="109"/>
                    <a:pt x="108" y="123"/>
                  </a:cubicBezTo>
                  <a:cubicBezTo>
                    <a:pt x="110" y="137"/>
                    <a:pt x="104" y="146"/>
                    <a:pt x="118" y="146"/>
                  </a:cubicBezTo>
                  <a:cubicBezTo>
                    <a:pt x="132" y="146"/>
                    <a:pt x="120" y="163"/>
                    <a:pt x="134" y="164"/>
                  </a:cubicBezTo>
                  <a:cubicBezTo>
                    <a:pt x="148" y="165"/>
                    <a:pt x="160" y="176"/>
                    <a:pt x="165" y="170"/>
                  </a:cubicBezTo>
                  <a:cubicBezTo>
                    <a:pt x="170" y="164"/>
                    <a:pt x="167" y="157"/>
                    <a:pt x="179" y="163"/>
                  </a:cubicBezTo>
                  <a:cubicBezTo>
                    <a:pt x="191" y="169"/>
                    <a:pt x="179" y="176"/>
                    <a:pt x="190" y="176"/>
                  </a:cubicBezTo>
                  <a:cubicBezTo>
                    <a:pt x="201" y="176"/>
                    <a:pt x="222" y="168"/>
                    <a:pt x="235" y="171"/>
                  </a:cubicBezTo>
                  <a:cubicBezTo>
                    <a:pt x="248" y="174"/>
                    <a:pt x="276" y="180"/>
                    <a:pt x="281" y="188"/>
                  </a:cubicBezTo>
                  <a:cubicBezTo>
                    <a:pt x="286" y="196"/>
                    <a:pt x="307" y="200"/>
                    <a:pt x="326" y="200"/>
                  </a:cubicBezTo>
                  <a:cubicBezTo>
                    <a:pt x="345" y="200"/>
                    <a:pt x="403" y="203"/>
                    <a:pt x="408" y="199"/>
                  </a:cubicBezTo>
                  <a:cubicBezTo>
                    <a:pt x="413" y="195"/>
                    <a:pt x="426" y="193"/>
                    <a:pt x="433" y="191"/>
                  </a:cubicBezTo>
                  <a:cubicBezTo>
                    <a:pt x="440" y="189"/>
                    <a:pt x="462" y="184"/>
                    <a:pt x="462" y="173"/>
                  </a:cubicBezTo>
                  <a:cubicBezTo>
                    <a:pt x="462" y="162"/>
                    <a:pt x="465" y="164"/>
                    <a:pt x="451" y="158"/>
                  </a:cubicBezTo>
                  <a:cubicBezTo>
                    <a:pt x="437" y="152"/>
                    <a:pt x="426" y="148"/>
                    <a:pt x="420" y="140"/>
                  </a:cubicBezTo>
                  <a:cubicBezTo>
                    <a:pt x="414" y="132"/>
                    <a:pt x="414" y="134"/>
                    <a:pt x="427" y="134"/>
                  </a:cubicBezTo>
                  <a:cubicBezTo>
                    <a:pt x="440" y="134"/>
                    <a:pt x="450" y="124"/>
                    <a:pt x="450" y="112"/>
                  </a:cubicBezTo>
                  <a:cubicBezTo>
                    <a:pt x="450" y="100"/>
                    <a:pt x="450" y="87"/>
                    <a:pt x="464" y="87"/>
                  </a:cubicBezTo>
                  <a:cubicBezTo>
                    <a:pt x="478" y="87"/>
                    <a:pt x="481" y="86"/>
                    <a:pt x="482" y="82"/>
                  </a:cubicBezTo>
                  <a:cubicBezTo>
                    <a:pt x="483" y="78"/>
                    <a:pt x="468" y="79"/>
                    <a:pt x="468" y="66"/>
                  </a:cubicBezTo>
                  <a:cubicBezTo>
                    <a:pt x="468" y="53"/>
                    <a:pt x="464" y="46"/>
                    <a:pt x="455" y="41"/>
                  </a:cubicBezTo>
                  <a:cubicBezTo>
                    <a:pt x="446" y="36"/>
                    <a:pt x="430" y="28"/>
                    <a:pt x="422" y="23"/>
                  </a:cubicBezTo>
                  <a:cubicBezTo>
                    <a:pt x="414" y="18"/>
                    <a:pt x="407" y="20"/>
                    <a:pt x="395" y="20"/>
                  </a:cubicBezTo>
                  <a:cubicBezTo>
                    <a:pt x="383" y="20"/>
                    <a:pt x="382" y="24"/>
                    <a:pt x="376" y="27"/>
                  </a:cubicBezTo>
                  <a:cubicBezTo>
                    <a:pt x="370" y="30"/>
                    <a:pt x="365" y="34"/>
                    <a:pt x="365" y="40"/>
                  </a:cubicBezTo>
                  <a:cubicBezTo>
                    <a:pt x="365" y="46"/>
                    <a:pt x="355" y="44"/>
                    <a:pt x="344" y="44"/>
                  </a:cubicBezTo>
                  <a:cubicBezTo>
                    <a:pt x="333" y="44"/>
                    <a:pt x="335" y="45"/>
                    <a:pt x="328" y="56"/>
                  </a:cubicBezTo>
                  <a:cubicBezTo>
                    <a:pt x="321" y="67"/>
                    <a:pt x="320" y="70"/>
                    <a:pt x="302" y="69"/>
                  </a:cubicBezTo>
                  <a:cubicBezTo>
                    <a:pt x="284" y="68"/>
                    <a:pt x="308" y="69"/>
                    <a:pt x="315" y="54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388" name="Freeform 25541"/>
            <p:cNvSpPr>
              <a:spLocks/>
            </p:cNvSpPr>
            <p:nvPr/>
          </p:nvSpPr>
          <p:spPr bwMode="auto">
            <a:xfrm>
              <a:off x="6642625" y="1358224"/>
              <a:ext cx="143944" cy="80653"/>
            </a:xfrm>
            <a:custGeom>
              <a:avLst/>
              <a:gdLst>
                <a:gd name="T0" fmla="*/ 37 w 386"/>
                <a:gd name="T1" fmla="*/ 142 h 216"/>
                <a:gd name="T2" fmla="*/ 32 w 386"/>
                <a:gd name="T3" fmla="*/ 160 h 216"/>
                <a:gd name="T4" fmla="*/ 22 w 386"/>
                <a:gd name="T5" fmla="*/ 170 h 216"/>
                <a:gd name="T6" fmla="*/ 0 w 386"/>
                <a:gd name="T7" fmla="*/ 195 h 216"/>
                <a:gd name="T8" fmla="*/ 18 w 386"/>
                <a:gd name="T9" fmla="*/ 215 h 216"/>
                <a:gd name="T10" fmla="*/ 59 w 386"/>
                <a:gd name="T11" fmla="*/ 204 h 216"/>
                <a:gd name="T12" fmla="*/ 94 w 386"/>
                <a:gd name="T13" fmla="*/ 193 h 216"/>
                <a:gd name="T14" fmla="*/ 137 w 386"/>
                <a:gd name="T15" fmla="*/ 180 h 216"/>
                <a:gd name="T16" fmla="*/ 212 w 386"/>
                <a:gd name="T17" fmla="*/ 181 h 216"/>
                <a:gd name="T18" fmla="*/ 249 w 386"/>
                <a:gd name="T19" fmla="*/ 172 h 216"/>
                <a:gd name="T20" fmla="*/ 288 w 386"/>
                <a:gd name="T21" fmla="*/ 168 h 216"/>
                <a:gd name="T22" fmla="*/ 325 w 386"/>
                <a:gd name="T23" fmla="*/ 162 h 216"/>
                <a:gd name="T24" fmla="*/ 355 w 386"/>
                <a:gd name="T25" fmla="*/ 155 h 216"/>
                <a:gd name="T26" fmla="*/ 368 w 386"/>
                <a:gd name="T27" fmla="*/ 145 h 216"/>
                <a:gd name="T28" fmla="*/ 383 w 386"/>
                <a:gd name="T29" fmla="*/ 128 h 216"/>
                <a:gd name="T30" fmla="*/ 376 w 386"/>
                <a:gd name="T31" fmla="*/ 104 h 216"/>
                <a:gd name="T32" fmla="*/ 359 w 386"/>
                <a:gd name="T33" fmla="*/ 87 h 216"/>
                <a:gd name="T34" fmla="*/ 324 w 386"/>
                <a:gd name="T35" fmla="*/ 84 h 216"/>
                <a:gd name="T36" fmla="*/ 304 w 386"/>
                <a:gd name="T37" fmla="*/ 62 h 216"/>
                <a:gd name="T38" fmla="*/ 277 w 386"/>
                <a:gd name="T39" fmla="*/ 44 h 216"/>
                <a:gd name="T40" fmla="*/ 256 w 386"/>
                <a:gd name="T41" fmla="*/ 50 h 216"/>
                <a:gd name="T42" fmla="*/ 234 w 386"/>
                <a:gd name="T43" fmla="*/ 58 h 216"/>
                <a:gd name="T44" fmla="*/ 210 w 386"/>
                <a:gd name="T45" fmla="*/ 72 h 216"/>
                <a:gd name="T46" fmla="*/ 195 w 386"/>
                <a:gd name="T47" fmla="*/ 80 h 216"/>
                <a:gd name="T48" fmla="*/ 209 w 386"/>
                <a:gd name="T49" fmla="*/ 58 h 216"/>
                <a:gd name="T50" fmla="*/ 218 w 386"/>
                <a:gd name="T51" fmla="*/ 36 h 216"/>
                <a:gd name="T52" fmla="*/ 226 w 386"/>
                <a:gd name="T53" fmla="*/ 22 h 216"/>
                <a:gd name="T54" fmla="*/ 206 w 386"/>
                <a:gd name="T55" fmla="*/ 13 h 216"/>
                <a:gd name="T56" fmla="*/ 184 w 386"/>
                <a:gd name="T57" fmla="*/ 1 h 216"/>
                <a:gd name="T58" fmla="*/ 172 w 386"/>
                <a:gd name="T59" fmla="*/ 17 h 216"/>
                <a:gd name="T60" fmla="*/ 163 w 386"/>
                <a:gd name="T61" fmla="*/ 29 h 216"/>
                <a:gd name="T62" fmla="*/ 139 w 386"/>
                <a:gd name="T63" fmla="*/ 16 h 216"/>
                <a:gd name="T64" fmla="*/ 123 w 386"/>
                <a:gd name="T65" fmla="*/ 30 h 216"/>
                <a:gd name="T66" fmla="*/ 107 w 386"/>
                <a:gd name="T67" fmla="*/ 47 h 216"/>
                <a:gd name="T68" fmla="*/ 109 w 386"/>
                <a:gd name="T69" fmla="*/ 57 h 216"/>
                <a:gd name="T70" fmla="*/ 127 w 386"/>
                <a:gd name="T71" fmla="*/ 68 h 216"/>
                <a:gd name="T72" fmla="*/ 107 w 386"/>
                <a:gd name="T73" fmla="*/ 67 h 216"/>
                <a:gd name="T74" fmla="*/ 88 w 386"/>
                <a:gd name="T75" fmla="*/ 73 h 216"/>
                <a:gd name="T76" fmla="*/ 89 w 386"/>
                <a:gd name="T77" fmla="*/ 92 h 216"/>
                <a:gd name="T78" fmla="*/ 104 w 386"/>
                <a:gd name="T79" fmla="*/ 102 h 216"/>
                <a:gd name="T80" fmla="*/ 82 w 386"/>
                <a:gd name="T81" fmla="*/ 102 h 216"/>
                <a:gd name="T82" fmla="*/ 49 w 386"/>
                <a:gd name="T83" fmla="*/ 123 h 216"/>
                <a:gd name="T84" fmla="*/ 37 w 386"/>
                <a:gd name="T85" fmla="*/ 142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86" h="216">
                  <a:moveTo>
                    <a:pt x="37" y="142"/>
                  </a:moveTo>
                  <a:cubicBezTo>
                    <a:pt x="29" y="146"/>
                    <a:pt x="32" y="160"/>
                    <a:pt x="32" y="160"/>
                  </a:cubicBezTo>
                  <a:cubicBezTo>
                    <a:pt x="32" y="160"/>
                    <a:pt x="33" y="165"/>
                    <a:pt x="22" y="170"/>
                  </a:cubicBezTo>
                  <a:cubicBezTo>
                    <a:pt x="11" y="175"/>
                    <a:pt x="0" y="185"/>
                    <a:pt x="0" y="195"/>
                  </a:cubicBezTo>
                  <a:cubicBezTo>
                    <a:pt x="0" y="205"/>
                    <a:pt x="1" y="214"/>
                    <a:pt x="18" y="215"/>
                  </a:cubicBezTo>
                  <a:cubicBezTo>
                    <a:pt x="35" y="216"/>
                    <a:pt x="42" y="206"/>
                    <a:pt x="59" y="204"/>
                  </a:cubicBezTo>
                  <a:cubicBezTo>
                    <a:pt x="76" y="202"/>
                    <a:pt x="87" y="204"/>
                    <a:pt x="94" y="193"/>
                  </a:cubicBezTo>
                  <a:cubicBezTo>
                    <a:pt x="101" y="182"/>
                    <a:pt x="111" y="179"/>
                    <a:pt x="137" y="180"/>
                  </a:cubicBezTo>
                  <a:cubicBezTo>
                    <a:pt x="163" y="181"/>
                    <a:pt x="199" y="185"/>
                    <a:pt x="212" y="181"/>
                  </a:cubicBezTo>
                  <a:cubicBezTo>
                    <a:pt x="225" y="177"/>
                    <a:pt x="227" y="172"/>
                    <a:pt x="249" y="172"/>
                  </a:cubicBezTo>
                  <a:cubicBezTo>
                    <a:pt x="271" y="172"/>
                    <a:pt x="280" y="176"/>
                    <a:pt x="288" y="168"/>
                  </a:cubicBezTo>
                  <a:cubicBezTo>
                    <a:pt x="296" y="160"/>
                    <a:pt x="311" y="163"/>
                    <a:pt x="325" y="162"/>
                  </a:cubicBezTo>
                  <a:cubicBezTo>
                    <a:pt x="339" y="161"/>
                    <a:pt x="351" y="164"/>
                    <a:pt x="355" y="155"/>
                  </a:cubicBezTo>
                  <a:cubicBezTo>
                    <a:pt x="359" y="146"/>
                    <a:pt x="361" y="147"/>
                    <a:pt x="368" y="145"/>
                  </a:cubicBezTo>
                  <a:cubicBezTo>
                    <a:pt x="375" y="143"/>
                    <a:pt x="384" y="141"/>
                    <a:pt x="383" y="128"/>
                  </a:cubicBezTo>
                  <a:cubicBezTo>
                    <a:pt x="382" y="115"/>
                    <a:pt x="386" y="108"/>
                    <a:pt x="376" y="104"/>
                  </a:cubicBezTo>
                  <a:cubicBezTo>
                    <a:pt x="366" y="100"/>
                    <a:pt x="377" y="87"/>
                    <a:pt x="359" y="87"/>
                  </a:cubicBezTo>
                  <a:cubicBezTo>
                    <a:pt x="341" y="87"/>
                    <a:pt x="333" y="97"/>
                    <a:pt x="324" y="84"/>
                  </a:cubicBezTo>
                  <a:cubicBezTo>
                    <a:pt x="315" y="71"/>
                    <a:pt x="317" y="64"/>
                    <a:pt x="304" y="62"/>
                  </a:cubicBezTo>
                  <a:cubicBezTo>
                    <a:pt x="291" y="60"/>
                    <a:pt x="290" y="46"/>
                    <a:pt x="277" y="44"/>
                  </a:cubicBezTo>
                  <a:cubicBezTo>
                    <a:pt x="264" y="42"/>
                    <a:pt x="266" y="49"/>
                    <a:pt x="256" y="50"/>
                  </a:cubicBezTo>
                  <a:cubicBezTo>
                    <a:pt x="246" y="51"/>
                    <a:pt x="243" y="50"/>
                    <a:pt x="234" y="58"/>
                  </a:cubicBezTo>
                  <a:cubicBezTo>
                    <a:pt x="225" y="66"/>
                    <a:pt x="214" y="64"/>
                    <a:pt x="210" y="72"/>
                  </a:cubicBezTo>
                  <a:cubicBezTo>
                    <a:pt x="206" y="80"/>
                    <a:pt x="197" y="90"/>
                    <a:pt x="195" y="80"/>
                  </a:cubicBezTo>
                  <a:cubicBezTo>
                    <a:pt x="193" y="70"/>
                    <a:pt x="208" y="66"/>
                    <a:pt x="209" y="58"/>
                  </a:cubicBezTo>
                  <a:cubicBezTo>
                    <a:pt x="210" y="50"/>
                    <a:pt x="217" y="44"/>
                    <a:pt x="218" y="36"/>
                  </a:cubicBezTo>
                  <a:cubicBezTo>
                    <a:pt x="219" y="28"/>
                    <a:pt x="233" y="30"/>
                    <a:pt x="226" y="22"/>
                  </a:cubicBezTo>
                  <a:cubicBezTo>
                    <a:pt x="219" y="14"/>
                    <a:pt x="215" y="13"/>
                    <a:pt x="206" y="13"/>
                  </a:cubicBezTo>
                  <a:cubicBezTo>
                    <a:pt x="197" y="13"/>
                    <a:pt x="197" y="0"/>
                    <a:pt x="184" y="1"/>
                  </a:cubicBezTo>
                  <a:cubicBezTo>
                    <a:pt x="171" y="2"/>
                    <a:pt x="172" y="10"/>
                    <a:pt x="172" y="17"/>
                  </a:cubicBezTo>
                  <a:cubicBezTo>
                    <a:pt x="172" y="24"/>
                    <a:pt x="174" y="32"/>
                    <a:pt x="163" y="29"/>
                  </a:cubicBezTo>
                  <a:cubicBezTo>
                    <a:pt x="152" y="26"/>
                    <a:pt x="150" y="16"/>
                    <a:pt x="139" y="16"/>
                  </a:cubicBezTo>
                  <a:cubicBezTo>
                    <a:pt x="128" y="16"/>
                    <a:pt x="135" y="25"/>
                    <a:pt x="123" y="30"/>
                  </a:cubicBezTo>
                  <a:cubicBezTo>
                    <a:pt x="111" y="35"/>
                    <a:pt x="108" y="41"/>
                    <a:pt x="107" y="47"/>
                  </a:cubicBezTo>
                  <a:cubicBezTo>
                    <a:pt x="106" y="53"/>
                    <a:pt x="93" y="54"/>
                    <a:pt x="109" y="57"/>
                  </a:cubicBezTo>
                  <a:cubicBezTo>
                    <a:pt x="125" y="60"/>
                    <a:pt x="130" y="61"/>
                    <a:pt x="127" y="68"/>
                  </a:cubicBezTo>
                  <a:cubicBezTo>
                    <a:pt x="124" y="75"/>
                    <a:pt x="119" y="69"/>
                    <a:pt x="107" y="67"/>
                  </a:cubicBezTo>
                  <a:cubicBezTo>
                    <a:pt x="95" y="65"/>
                    <a:pt x="90" y="69"/>
                    <a:pt x="88" y="73"/>
                  </a:cubicBezTo>
                  <a:cubicBezTo>
                    <a:pt x="86" y="77"/>
                    <a:pt x="77" y="90"/>
                    <a:pt x="89" y="92"/>
                  </a:cubicBezTo>
                  <a:cubicBezTo>
                    <a:pt x="101" y="94"/>
                    <a:pt x="108" y="96"/>
                    <a:pt x="104" y="102"/>
                  </a:cubicBezTo>
                  <a:cubicBezTo>
                    <a:pt x="100" y="108"/>
                    <a:pt x="92" y="107"/>
                    <a:pt x="82" y="102"/>
                  </a:cubicBezTo>
                  <a:cubicBezTo>
                    <a:pt x="72" y="97"/>
                    <a:pt x="58" y="88"/>
                    <a:pt x="49" y="123"/>
                  </a:cubicBezTo>
                  <a:cubicBezTo>
                    <a:pt x="49" y="123"/>
                    <a:pt x="45" y="138"/>
                    <a:pt x="37" y="142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389" name="Freeform 25542"/>
            <p:cNvSpPr>
              <a:spLocks/>
            </p:cNvSpPr>
            <p:nvPr/>
          </p:nvSpPr>
          <p:spPr bwMode="auto">
            <a:xfrm>
              <a:off x="6792883" y="1418674"/>
              <a:ext cx="17520" cy="9312"/>
            </a:xfrm>
            <a:custGeom>
              <a:avLst/>
              <a:gdLst>
                <a:gd name="T0" fmla="*/ 10 w 47"/>
                <a:gd name="T1" fmla="*/ 21 h 25"/>
                <a:gd name="T2" fmla="*/ 33 w 47"/>
                <a:gd name="T3" fmla="*/ 18 h 25"/>
                <a:gd name="T4" fmla="*/ 47 w 47"/>
                <a:gd name="T5" fmla="*/ 9 h 25"/>
                <a:gd name="T6" fmla="*/ 30 w 47"/>
                <a:gd name="T7" fmla="*/ 0 h 25"/>
                <a:gd name="T8" fmla="*/ 11 w 47"/>
                <a:gd name="T9" fmla="*/ 6 h 25"/>
                <a:gd name="T10" fmla="*/ 10 w 47"/>
                <a:gd name="T11" fmla="*/ 21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" h="25">
                  <a:moveTo>
                    <a:pt x="10" y="21"/>
                  </a:moveTo>
                  <a:cubicBezTo>
                    <a:pt x="20" y="21"/>
                    <a:pt x="28" y="25"/>
                    <a:pt x="33" y="18"/>
                  </a:cubicBezTo>
                  <a:cubicBezTo>
                    <a:pt x="38" y="11"/>
                    <a:pt x="47" y="18"/>
                    <a:pt x="47" y="9"/>
                  </a:cubicBezTo>
                  <a:cubicBezTo>
                    <a:pt x="47" y="0"/>
                    <a:pt x="40" y="0"/>
                    <a:pt x="30" y="0"/>
                  </a:cubicBezTo>
                  <a:cubicBezTo>
                    <a:pt x="30" y="0"/>
                    <a:pt x="20" y="1"/>
                    <a:pt x="11" y="6"/>
                  </a:cubicBezTo>
                  <a:cubicBezTo>
                    <a:pt x="2" y="11"/>
                    <a:pt x="0" y="21"/>
                    <a:pt x="10" y="21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390" name="Freeform 25543"/>
            <p:cNvSpPr>
              <a:spLocks/>
            </p:cNvSpPr>
            <p:nvPr/>
          </p:nvSpPr>
          <p:spPr bwMode="auto">
            <a:xfrm>
              <a:off x="6804405" y="1422777"/>
              <a:ext cx="31724" cy="13889"/>
            </a:xfrm>
            <a:custGeom>
              <a:avLst/>
              <a:gdLst>
                <a:gd name="T0" fmla="*/ 9 w 85"/>
                <a:gd name="T1" fmla="*/ 19 h 37"/>
                <a:gd name="T2" fmla="*/ 23 w 85"/>
                <a:gd name="T3" fmla="*/ 23 h 37"/>
                <a:gd name="T4" fmla="*/ 43 w 85"/>
                <a:gd name="T5" fmla="*/ 28 h 37"/>
                <a:gd name="T6" fmla="*/ 65 w 85"/>
                <a:gd name="T7" fmla="*/ 31 h 37"/>
                <a:gd name="T8" fmla="*/ 76 w 85"/>
                <a:gd name="T9" fmla="*/ 31 h 37"/>
                <a:gd name="T10" fmla="*/ 85 w 85"/>
                <a:gd name="T11" fmla="*/ 22 h 37"/>
                <a:gd name="T12" fmla="*/ 77 w 85"/>
                <a:gd name="T13" fmla="*/ 11 h 37"/>
                <a:gd name="T14" fmla="*/ 66 w 85"/>
                <a:gd name="T15" fmla="*/ 1 h 37"/>
                <a:gd name="T16" fmla="*/ 55 w 85"/>
                <a:gd name="T17" fmla="*/ 11 h 37"/>
                <a:gd name="T18" fmla="*/ 30 w 85"/>
                <a:gd name="T19" fmla="*/ 6 h 37"/>
                <a:gd name="T20" fmla="*/ 24 w 85"/>
                <a:gd name="T21" fmla="*/ 11 h 37"/>
                <a:gd name="T22" fmla="*/ 9 w 85"/>
                <a:gd name="T23" fmla="*/ 19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5" h="37">
                  <a:moveTo>
                    <a:pt x="9" y="19"/>
                  </a:moveTo>
                  <a:cubicBezTo>
                    <a:pt x="18" y="23"/>
                    <a:pt x="19" y="15"/>
                    <a:pt x="23" y="23"/>
                  </a:cubicBezTo>
                  <a:cubicBezTo>
                    <a:pt x="27" y="31"/>
                    <a:pt x="29" y="28"/>
                    <a:pt x="43" y="28"/>
                  </a:cubicBezTo>
                  <a:cubicBezTo>
                    <a:pt x="57" y="28"/>
                    <a:pt x="63" y="26"/>
                    <a:pt x="65" y="31"/>
                  </a:cubicBezTo>
                  <a:cubicBezTo>
                    <a:pt x="67" y="36"/>
                    <a:pt x="75" y="37"/>
                    <a:pt x="76" y="31"/>
                  </a:cubicBezTo>
                  <a:cubicBezTo>
                    <a:pt x="77" y="25"/>
                    <a:pt x="85" y="31"/>
                    <a:pt x="85" y="22"/>
                  </a:cubicBezTo>
                  <a:cubicBezTo>
                    <a:pt x="85" y="13"/>
                    <a:pt x="82" y="11"/>
                    <a:pt x="77" y="11"/>
                  </a:cubicBezTo>
                  <a:cubicBezTo>
                    <a:pt x="72" y="11"/>
                    <a:pt x="75" y="0"/>
                    <a:pt x="66" y="1"/>
                  </a:cubicBezTo>
                  <a:cubicBezTo>
                    <a:pt x="57" y="2"/>
                    <a:pt x="69" y="12"/>
                    <a:pt x="55" y="11"/>
                  </a:cubicBezTo>
                  <a:cubicBezTo>
                    <a:pt x="41" y="10"/>
                    <a:pt x="46" y="2"/>
                    <a:pt x="30" y="6"/>
                  </a:cubicBezTo>
                  <a:cubicBezTo>
                    <a:pt x="30" y="6"/>
                    <a:pt x="31" y="11"/>
                    <a:pt x="24" y="11"/>
                  </a:cubicBezTo>
                  <a:cubicBezTo>
                    <a:pt x="17" y="11"/>
                    <a:pt x="0" y="15"/>
                    <a:pt x="9" y="1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391" name="Freeform 25544"/>
            <p:cNvSpPr>
              <a:spLocks/>
            </p:cNvSpPr>
            <p:nvPr/>
          </p:nvSpPr>
          <p:spPr bwMode="auto">
            <a:xfrm>
              <a:off x="6805983" y="1460816"/>
              <a:ext cx="12627" cy="8523"/>
            </a:xfrm>
            <a:custGeom>
              <a:avLst/>
              <a:gdLst>
                <a:gd name="T0" fmla="*/ 15 w 34"/>
                <a:gd name="T1" fmla="*/ 3 h 23"/>
                <a:gd name="T2" fmla="*/ 6 w 34"/>
                <a:gd name="T3" fmla="*/ 15 h 23"/>
                <a:gd name="T4" fmla="*/ 28 w 34"/>
                <a:gd name="T5" fmla="*/ 16 h 23"/>
                <a:gd name="T6" fmla="*/ 15 w 34"/>
                <a:gd name="T7" fmla="*/ 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" h="23">
                  <a:moveTo>
                    <a:pt x="15" y="3"/>
                  </a:moveTo>
                  <a:cubicBezTo>
                    <a:pt x="15" y="3"/>
                    <a:pt x="0" y="11"/>
                    <a:pt x="6" y="15"/>
                  </a:cubicBezTo>
                  <a:cubicBezTo>
                    <a:pt x="12" y="19"/>
                    <a:pt x="22" y="23"/>
                    <a:pt x="28" y="16"/>
                  </a:cubicBezTo>
                  <a:cubicBezTo>
                    <a:pt x="34" y="9"/>
                    <a:pt x="27" y="0"/>
                    <a:pt x="15" y="3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392" name="Freeform 25545"/>
            <p:cNvSpPr>
              <a:spLocks/>
            </p:cNvSpPr>
            <p:nvPr/>
          </p:nvSpPr>
          <p:spPr bwMode="auto">
            <a:xfrm>
              <a:off x="6825712" y="1464919"/>
              <a:ext cx="7103" cy="13416"/>
            </a:xfrm>
            <a:custGeom>
              <a:avLst/>
              <a:gdLst>
                <a:gd name="T0" fmla="*/ 8 w 19"/>
                <a:gd name="T1" fmla="*/ 7 h 36"/>
                <a:gd name="T2" fmla="*/ 0 w 19"/>
                <a:gd name="T3" fmla="*/ 20 h 36"/>
                <a:gd name="T4" fmla="*/ 18 w 19"/>
                <a:gd name="T5" fmla="*/ 26 h 36"/>
                <a:gd name="T6" fmla="*/ 8 w 19"/>
                <a:gd name="T7" fmla="*/ 7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" h="36">
                  <a:moveTo>
                    <a:pt x="8" y="7"/>
                  </a:moveTo>
                  <a:cubicBezTo>
                    <a:pt x="8" y="7"/>
                    <a:pt x="0" y="12"/>
                    <a:pt x="0" y="20"/>
                  </a:cubicBezTo>
                  <a:cubicBezTo>
                    <a:pt x="0" y="28"/>
                    <a:pt x="17" y="36"/>
                    <a:pt x="18" y="26"/>
                  </a:cubicBezTo>
                  <a:cubicBezTo>
                    <a:pt x="19" y="16"/>
                    <a:pt x="17" y="0"/>
                    <a:pt x="8" y="7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393" name="Freeform 25554"/>
            <p:cNvSpPr>
              <a:spLocks/>
            </p:cNvSpPr>
            <p:nvPr/>
          </p:nvSpPr>
          <p:spPr bwMode="auto">
            <a:xfrm>
              <a:off x="7804125" y="1496328"/>
              <a:ext cx="22728" cy="9312"/>
            </a:xfrm>
            <a:custGeom>
              <a:avLst/>
              <a:gdLst>
                <a:gd name="T0" fmla="*/ 15 w 61"/>
                <a:gd name="T1" fmla="*/ 21 h 25"/>
                <a:gd name="T2" fmla="*/ 51 w 61"/>
                <a:gd name="T3" fmla="*/ 19 h 25"/>
                <a:gd name="T4" fmla="*/ 51 w 61"/>
                <a:gd name="T5" fmla="*/ 4 h 25"/>
                <a:gd name="T6" fmla="*/ 31 w 61"/>
                <a:gd name="T7" fmla="*/ 3 h 25"/>
                <a:gd name="T8" fmla="*/ 11 w 61"/>
                <a:gd name="T9" fmla="*/ 7 h 25"/>
                <a:gd name="T10" fmla="*/ 0 w 61"/>
                <a:gd name="T11" fmla="*/ 16 h 25"/>
                <a:gd name="T12" fmla="*/ 15 w 61"/>
                <a:gd name="T13" fmla="*/ 21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1" h="25">
                  <a:moveTo>
                    <a:pt x="15" y="21"/>
                  </a:moveTo>
                  <a:cubicBezTo>
                    <a:pt x="23" y="21"/>
                    <a:pt x="46" y="25"/>
                    <a:pt x="51" y="19"/>
                  </a:cubicBezTo>
                  <a:cubicBezTo>
                    <a:pt x="56" y="13"/>
                    <a:pt x="61" y="6"/>
                    <a:pt x="51" y="4"/>
                  </a:cubicBezTo>
                  <a:cubicBezTo>
                    <a:pt x="41" y="2"/>
                    <a:pt x="48" y="2"/>
                    <a:pt x="31" y="3"/>
                  </a:cubicBezTo>
                  <a:cubicBezTo>
                    <a:pt x="31" y="3"/>
                    <a:pt x="19" y="0"/>
                    <a:pt x="11" y="7"/>
                  </a:cubicBezTo>
                  <a:cubicBezTo>
                    <a:pt x="3" y="14"/>
                    <a:pt x="0" y="7"/>
                    <a:pt x="0" y="16"/>
                  </a:cubicBezTo>
                  <a:cubicBezTo>
                    <a:pt x="0" y="25"/>
                    <a:pt x="7" y="21"/>
                    <a:pt x="15" y="21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394" name="Freeform 25556"/>
            <p:cNvSpPr>
              <a:spLocks/>
            </p:cNvSpPr>
            <p:nvPr/>
          </p:nvSpPr>
          <p:spPr bwMode="auto">
            <a:xfrm>
              <a:off x="4755561" y="2357786"/>
              <a:ext cx="71183" cy="35039"/>
            </a:xfrm>
            <a:custGeom>
              <a:avLst/>
              <a:gdLst>
                <a:gd name="T0" fmla="*/ 15 w 191"/>
                <a:gd name="T1" fmla="*/ 72 h 94"/>
                <a:gd name="T2" fmla="*/ 38 w 191"/>
                <a:gd name="T3" fmla="*/ 87 h 94"/>
                <a:gd name="T4" fmla="*/ 73 w 191"/>
                <a:gd name="T5" fmla="*/ 86 h 94"/>
                <a:gd name="T6" fmla="*/ 100 w 191"/>
                <a:gd name="T7" fmla="*/ 92 h 94"/>
                <a:gd name="T8" fmla="*/ 139 w 191"/>
                <a:gd name="T9" fmla="*/ 85 h 94"/>
                <a:gd name="T10" fmla="*/ 185 w 191"/>
                <a:gd name="T11" fmla="*/ 81 h 94"/>
                <a:gd name="T12" fmla="*/ 185 w 191"/>
                <a:gd name="T13" fmla="*/ 81 h 94"/>
                <a:gd name="T14" fmla="*/ 187 w 191"/>
                <a:gd name="T15" fmla="*/ 54 h 94"/>
                <a:gd name="T16" fmla="*/ 181 w 191"/>
                <a:gd name="T17" fmla="*/ 31 h 94"/>
                <a:gd name="T18" fmla="*/ 152 w 191"/>
                <a:gd name="T19" fmla="*/ 23 h 94"/>
                <a:gd name="T20" fmla="*/ 130 w 191"/>
                <a:gd name="T21" fmla="*/ 23 h 94"/>
                <a:gd name="T22" fmla="*/ 108 w 191"/>
                <a:gd name="T23" fmla="*/ 10 h 94"/>
                <a:gd name="T24" fmla="*/ 93 w 191"/>
                <a:gd name="T25" fmla="*/ 7 h 94"/>
                <a:gd name="T26" fmla="*/ 80 w 191"/>
                <a:gd name="T27" fmla="*/ 2 h 94"/>
                <a:gd name="T28" fmla="*/ 66 w 191"/>
                <a:gd name="T29" fmla="*/ 1 h 94"/>
                <a:gd name="T30" fmla="*/ 86 w 191"/>
                <a:gd name="T31" fmla="*/ 28 h 94"/>
                <a:gd name="T32" fmla="*/ 27 w 191"/>
                <a:gd name="T33" fmla="*/ 24 h 94"/>
                <a:gd name="T34" fmla="*/ 0 w 191"/>
                <a:gd name="T35" fmla="*/ 58 h 94"/>
                <a:gd name="T36" fmla="*/ 15 w 191"/>
                <a:gd name="T37" fmla="*/ 72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91" h="94">
                  <a:moveTo>
                    <a:pt x="15" y="72"/>
                  </a:moveTo>
                  <a:cubicBezTo>
                    <a:pt x="20" y="85"/>
                    <a:pt x="27" y="86"/>
                    <a:pt x="38" y="87"/>
                  </a:cubicBezTo>
                  <a:cubicBezTo>
                    <a:pt x="48" y="88"/>
                    <a:pt x="60" y="79"/>
                    <a:pt x="73" y="86"/>
                  </a:cubicBezTo>
                  <a:cubicBezTo>
                    <a:pt x="85" y="93"/>
                    <a:pt x="93" y="94"/>
                    <a:pt x="100" y="92"/>
                  </a:cubicBezTo>
                  <a:cubicBezTo>
                    <a:pt x="108" y="90"/>
                    <a:pt x="123" y="86"/>
                    <a:pt x="139" y="85"/>
                  </a:cubicBezTo>
                  <a:cubicBezTo>
                    <a:pt x="150" y="85"/>
                    <a:pt x="171" y="86"/>
                    <a:pt x="185" y="81"/>
                  </a:cubicBezTo>
                  <a:cubicBezTo>
                    <a:pt x="185" y="81"/>
                    <a:pt x="185" y="81"/>
                    <a:pt x="185" y="81"/>
                  </a:cubicBezTo>
                  <a:cubicBezTo>
                    <a:pt x="176" y="77"/>
                    <a:pt x="184" y="65"/>
                    <a:pt x="187" y="54"/>
                  </a:cubicBezTo>
                  <a:cubicBezTo>
                    <a:pt x="191" y="43"/>
                    <a:pt x="186" y="38"/>
                    <a:pt x="181" y="31"/>
                  </a:cubicBezTo>
                  <a:cubicBezTo>
                    <a:pt x="175" y="25"/>
                    <a:pt x="159" y="23"/>
                    <a:pt x="152" y="23"/>
                  </a:cubicBezTo>
                  <a:cubicBezTo>
                    <a:pt x="145" y="23"/>
                    <a:pt x="138" y="21"/>
                    <a:pt x="130" y="23"/>
                  </a:cubicBezTo>
                  <a:cubicBezTo>
                    <a:pt x="121" y="24"/>
                    <a:pt x="111" y="15"/>
                    <a:pt x="108" y="10"/>
                  </a:cubicBezTo>
                  <a:cubicBezTo>
                    <a:pt x="105" y="4"/>
                    <a:pt x="96" y="5"/>
                    <a:pt x="93" y="7"/>
                  </a:cubicBezTo>
                  <a:cubicBezTo>
                    <a:pt x="90" y="10"/>
                    <a:pt x="86" y="6"/>
                    <a:pt x="80" y="2"/>
                  </a:cubicBezTo>
                  <a:cubicBezTo>
                    <a:pt x="78" y="0"/>
                    <a:pt x="72" y="0"/>
                    <a:pt x="66" y="1"/>
                  </a:cubicBezTo>
                  <a:cubicBezTo>
                    <a:pt x="62" y="18"/>
                    <a:pt x="99" y="5"/>
                    <a:pt x="86" y="28"/>
                  </a:cubicBezTo>
                  <a:cubicBezTo>
                    <a:pt x="78" y="42"/>
                    <a:pt x="56" y="27"/>
                    <a:pt x="27" y="24"/>
                  </a:cubicBezTo>
                  <a:cubicBezTo>
                    <a:pt x="3" y="22"/>
                    <a:pt x="5" y="43"/>
                    <a:pt x="0" y="58"/>
                  </a:cubicBezTo>
                  <a:cubicBezTo>
                    <a:pt x="5" y="60"/>
                    <a:pt x="12" y="64"/>
                    <a:pt x="15" y="72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395" name="Freeform 25557"/>
            <p:cNvSpPr>
              <a:spLocks/>
            </p:cNvSpPr>
            <p:nvPr/>
          </p:nvSpPr>
          <p:spPr bwMode="auto">
            <a:xfrm>
              <a:off x="6573967" y="1517163"/>
              <a:ext cx="12784" cy="11206"/>
            </a:xfrm>
            <a:custGeom>
              <a:avLst/>
              <a:gdLst>
                <a:gd name="T0" fmla="*/ 22 w 34"/>
                <a:gd name="T1" fmla="*/ 2 h 30"/>
                <a:gd name="T2" fmla="*/ 10 w 34"/>
                <a:gd name="T3" fmla="*/ 9 h 30"/>
                <a:gd name="T4" fmla="*/ 14 w 34"/>
                <a:gd name="T5" fmla="*/ 27 h 30"/>
                <a:gd name="T6" fmla="*/ 29 w 34"/>
                <a:gd name="T7" fmla="*/ 18 h 30"/>
                <a:gd name="T8" fmla="*/ 22 w 34"/>
                <a:gd name="T9" fmla="*/ 2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30">
                  <a:moveTo>
                    <a:pt x="22" y="2"/>
                  </a:moveTo>
                  <a:cubicBezTo>
                    <a:pt x="22" y="2"/>
                    <a:pt x="14" y="0"/>
                    <a:pt x="10" y="9"/>
                  </a:cubicBezTo>
                  <a:cubicBezTo>
                    <a:pt x="6" y="18"/>
                    <a:pt x="0" y="24"/>
                    <a:pt x="14" y="27"/>
                  </a:cubicBezTo>
                  <a:cubicBezTo>
                    <a:pt x="28" y="30"/>
                    <a:pt x="29" y="26"/>
                    <a:pt x="29" y="18"/>
                  </a:cubicBezTo>
                  <a:cubicBezTo>
                    <a:pt x="29" y="10"/>
                    <a:pt x="34" y="1"/>
                    <a:pt x="22" y="2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396" name="Freeform 25560"/>
            <p:cNvSpPr>
              <a:spLocks/>
            </p:cNvSpPr>
            <p:nvPr/>
          </p:nvSpPr>
          <p:spPr bwMode="auto">
            <a:xfrm>
              <a:off x="8217965" y="2356682"/>
              <a:ext cx="23991" cy="23833"/>
            </a:xfrm>
            <a:custGeom>
              <a:avLst/>
              <a:gdLst>
                <a:gd name="T0" fmla="*/ 38 w 64"/>
                <a:gd name="T1" fmla="*/ 20 h 64"/>
                <a:gd name="T2" fmla="*/ 25 w 64"/>
                <a:gd name="T3" fmla="*/ 0 h 64"/>
                <a:gd name="T4" fmla="*/ 9 w 64"/>
                <a:gd name="T5" fmla="*/ 10 h 64"/>
                <a:gd name="T6" fmla="*/ 29 w 64"/>
                <a:gd name="T7" fmla="*/ 37 h 64"/>
                <a:gd name="T8" fmla="*/ 53 w 64"/>
                <a:gd name="T9" fmla="*/ 55 h 64"/>
                <a:gd name="T10" fmla="*/ 59 w 64"/>
                <a:gd name="T11" fmla="*/ 46 h 64"/>
                <a:gd name="T12" fmla="*/ 38 w 64"/>
                <a:gd name="T13" fmla="*/ 2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64">
                  <a:moveTo>
                    <a:pt x="38" y="20"/>
                  </a:moveTo>
                  <a:cubicBezTo>
                    <a:pt x="38" y="20"/>
                    <a:pt x="40" y="0"/>
                    <a:pt x="25" y="0"/>
                  </a:cubicBezTo>
                  <a:cubicBezTo>
                    <a:pt x="10" y="0"/>
                    <a:pt x="0" y="4"/>
                    <a:pt x="9" y="10"/>
                  </a:cubicBezTo>
                  <a:cubicBezTo>
                    <a:pt x="17" y="17"/>
                    <a:pt x="17" y="35"/>
                    <a:pt x="29" y="37"/>
                  </a:cubicBezTo>
                  <a:cubicBezTo>
                    <a:pt x="41" y="39"/>
                    <a:pt x="46" y="47"/>
                    <a:pt x="53" y="55"/>
                  </a:cubicBezTo>
                  <a:cubicBezTo>
                    <a:pt x="59" y="64"/>
                    <a:pt x="64" y="53"/>
                    <a:pt x="59" y="46"/>
                  </a:cubicBezTo>
                  <a:cubicBezTo>
                    <a:pt x="54" y="38"/>
                    <a:pt x="39" y="26"/>
                    <a:pt x="38" y="2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397" name="Freeform 25561"/>
            <p:cNvSpPr>
              <a:spLocks/>
            </p:cNvSpPr>
            <p:nvPr/>
          </p:nvSpPr>
          <p:spPr bwMode="auto">
            <a:xfrm>
              <a:off x="8257266" y="2370729"/>
              <a:ext cx="19256" cy="15783"/>
            </a:xfrm>
            <a:custGeom>
              <a:avLst/>
              <a:gdLst>
                <a:gd name="T0" fmla="*/ 22 w 52"/>
                <a:gd name="T1" fmla="*/ 12 h 42"/>
                <a:gd name="T2" fmla="*/ 2 w 52"/>
                <a:gd name="T3" fmla="*/ 4 h 42"/>
                <a:gd name="T4" fmla="*/ 14 w 52"/>
                <a:gd name="T5" fmla="*/ 20 h 42"/>
                <a:gd name="T6" fmla="*/ 35 w 52"/>
                <a:gd name="T7" fmla="*/ 34 h 42"/>
                <a:gd name="T8" fmla="*/ 43 w 52"/>
                <a:gd name="T9" fmla="*/ 29 h 42"/>
                <a:gd name="T10" fmla="*/ 22 w 52"/>
                <a:gd name="T11" fmla="*/ 1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2" h="42">
                  <a:moveTo>
                    <a:pt x="22" y="12"/>
                  </a:moveTo>
                  <a:cubicBezTo>
                    <a:pt x="22" y="12"/>
                    <a:pt x="4" y="0"/>
                    <a:pt x="2" y="4"/>
                  </a:cubicBezTo>
                  <a:cubicBezTo>
                    <a:pt x="0" y="9"/>
                    <a:pt x="4" y="14"/>
                    <a:pt x="14" y="20"/>
                  </a:cubicBezTo>
                  <a:cubicBezTo>
                    <a:pt x="24" y="27"/>
                    <a:pt x="30" y="27"/>
                    <a:pt x="35" y="34"/>
                  </a:cubicBezTo>
                  <a:cubicBezTo>
                    <a:pt x="41" y="42"/>
                    <a:pt x="52" y="39"/>
                    <a:pt x="43" y="29"/>
                  </a:cubicBezTo>
                  <a:cubicBezTo>
                    <a:pt x="33" y="19"/>
                    <a:pt x="34" y="24"/>
                    <a:pt x="22" y="12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398" name="Freeform 25562"/>
            <p:cNvSpPr>
              <a:spLocks/>
            </p:cNvSpPr>
            <p:nvPr/>
          </p:nvSpPr>
          <p:spPr bwMode="auto">
            <a:xfrm>
              <a:off x="1514440" y="3016427"/>
              <a:ext cx="726352" cy="463085"/>
            </a:xfrm>
            <a:custGeom>
              <a:avLst/>
              <a:gdLst>
                <a:gd name="T0" fmla="*/ 1142 w 1948"/>
                <a:gd name="T1" fmla="*/ 433 h 1242"/>
                <a:gd name="T2" fmla="*/ 1090 w 1948"/>
                <a:gd name="T3" fmla="*/ 337 h 1242"/>
                <a:gd name="T4" fmla="*/ 952 w 1948"/>
                <a:gd name="T5" fmla="*/ 211 h 1242"/>
                <a:gd name="T6" fmla="*/ 791 w 1948"/>
                <a:gd name="T7" fmla="*/ 192 h 1242"/>
                <a:gd name="T8" fmla="*/ 694 w 1948"/>
                <a:gd name="T9" fmla="*/ 86 h 1242"/>
                <a:gd name="T10" fmla="*/ 386 w 1948"/>
                <a:gd name="T11" fmla="*/ 111 h 1242"/>
                <a:gd name="T12" fmla="*/ 45 w 1948"/>
                <a:gd name="T13" fmla="*/ 21 h 1242"/>
                <a:gd name="T14" fmla="*/ 43 w 1948"/>
                <a:gd name="T15" fmla="*/ 103 h 1242"/>
                <a:gd name="T16" fmla="*/ 128 w 1948"/>
                <a:gd name="T17" fmla="*/ 240 h 1242"/>
                <a:gd name="T18" fmla="*/ 186 w 1948"/>
                <a:gd name="T19" fmla="*/ 346 h 1242"/>
                <a:gd name="T20" fmla="*/ 222 w 1948"/>
                <a:gd name="T21" fmla="*/ 420 h 1242"/>
                <a:gd name="T22" fmla="*/ 325 w 1948"/>
                <a:gd name="T23" fmla="*/ 494 h 1242"/>
                <a:gd name="T24" fmla="*/ 379 w 1948"/>
                <a:gd name="T25" fmla="*/ 598 h 1242"/>
                <a:gd name="T26" fmla="*/ 483 w 1948"/>
                <a:gd name="T27" fmla="*/ 676 h 1242"/>
                <a:gd name="T28" fmla="*/ 443 w 1948"/>
                <a:gd name="T29" fmla="*/ 590 h 1242"/>
                <a:gd name="T30" fmla="*/ 403 w 1948"/>
                <a:gd name="T31" fmla="*/ 516 h 1242"/>
                <a:gd name="T32" fmla="*/ 352 w 1948"/>
                <a:gd name="T33" fmla="*/ 420 h 1242"/>
                <a:gd name="T34" fmla="*/ 244 w 1948"/>
                <a:gd name="T35" fmla="*/ 276 h 1242"/>
                <a:gd name="T36" fmla="*/ 215 w 1948"/>
                <a:gd name="T37" fmla="*/ 234 h 1242"/>
                <a:gd name="T38" fmla="*/ 165 w 1948"/>
                <a:gd name="T39" fmla="*/ 79 h 1242"/>
                <a:gd name="T40" fmla="*/ 259 w 1948"/>
                <a:gd name="T41" fmla="*/ 128 h 1242"/>
                <a:gd name="T42" fmla="*/ 303 w 1948"/>
                <a:gd name="T43" fmla="*/ 250 h 1242"/>
                <a:gd name="T44" fmla="*/ 366 w 1948"/>
                <a:gd name="T45" fmla="*/ 321 h 1242"/>
                <a:gd name="T46" fmla="*/ 462 w 1948"/>
                <a:gd name="T47" fmla="*/ 411 h 1242"/>
                <a:gd name="T48" fmla="*/ 500 w 1948"/>
                <a:gd name="T49" fmla="*/ 491 h 1242"/>
                <a:gd name="T50" fmla="*/ 671 w 1948"/>
                <a:gd name="T51" fmla="*/ 640 h 1242"/>
                <a:gd name="T52" fmla="*/ 747 w 1948"/>
                <a:gd name="T53" fmla="*/ 824 h 1242"/>
                <a:gd name="T54" fmla="*/ 790 w 1948"/>
                <a:gd name="T55" fmla="*/ 931 h 1242"/>
                <a:gd name="T56" fmla="*/ 994 w 1948"/>
                <a:gd name="T57" fmla="*/ 1024 h 1242"/>
                <a:gd name="T58" fmla="*/ 1191 w 1948"/>
                <a:gd name="T59" fmla="*/ 1117 h 1242"/>
                <a:gd name="T60" fmla="*/ 1399 w 1948"/>
                <a:gd name="T61" fmla="*/ 1137 h 1242"/>
                <a:gd name="T62" fmla="*/ 1570 w 1948"/>
                <a:gd name="T63" fmla="*/ 1218 h 1242"/>
                <a:gd name="T64" fmla="*/ 1648 w 1948"/>
                <a:gd name="T65" fmla="*/ 1138 h 1242"/>
                <a:gd name="T66" fmla="*/ 1657 w 1948"/>
                <a:gd name="T67" fmla="*/ 1058 h 1242"/>
                <a:gd name="T68" fmla="*/ 1802 w 1948"/>
                <a:gd name="T69" fmla="*/ 1013 h 1242"/>
                <a:gd name="T70" fmla="*/ 1873 w 1948"/>
                <a:gd name="T71" fmla="*/ 1005 h 1242"/>
                <a:gd name="T72" fmla="*/ 1895 w 1948"/>
                <a:gd name="T73" fmla="*/ 886 h 1242"/>
                <a:gd name="T74" fmla="*/ 1940 w 1948"/>
                <a:gd name="T75" fmla="*/ 841 h 1242"/>
                <a:gd name="T76" fmla="*/ 1905 w 1948"/>
                <a:gd name="T77" fmla="*/ 772 h 1242"/>
                <a:gd name="T78" fmla="*/ 1733 w 1948"/>
                <a:gd name="T79" fmla="*/ 794 h 1242"/>
                <a:gd name="T80" fmla="*/ 1665 w 1948"/>
                <a:gd name="T81" fmla="*/ 932 h 1242"/>
                <a:gd name="T82" fmla="*/ 1616 w 1948"/>
                <a:gd name="T83" fmla="*/ 968 h 1242"/>
                <a:gd name="T84" fmla="*/ 1485 w 1948"/>
                <a:gd name="T85" fmla="*/ 985 h 1242"/>
                <a:gd name="T86" fmla="*/ 1409 w 1948"/>
                <a:gd name="T87" fmla="*/ 958 h 1242"/>
                <a:gd name="T88" fmla="*/ 1323 w 1948"/>
                <a:gd name="T89" fmla="*/ 876 h 1242"/>
                <a:gd name="T90" fmla="*/ 1265 w 1948"/>
                <a:gd name="T91" fmla="*/ 780 h 1242"/>
                <a:gd name="T92" fmla="*/ 1245 w 1948"/>
                <a:gd name="T93" fmla="*/ 679 h 1242"/>
                <a:gd name="T94" fmla="*/ 1284 w 1948"/>
                <a:gd name="T95" fmla="*/ 487 h 12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948" h="1242">
                  <a:moveTo>
                    <a:pt x="1233" y="478"/>
                  </a:moveTo>
                  <a:cubicBezTo>
                    <a:pt x="1221" y="475"/>
                    <a:pt x="1203" y="472"/>
                    <a:pt x="1194" y="464"/>
                  </a:cubicBezTo>
                  <a:cubicBezTo>
                    <a:pt x="1185" y="456"/>
                    <a:pt x="1173" y="452"/>
                    <a:pt x="1159" y="451"/>
                  </a:cubicBezTo>
                  <a:cubicBezTo>
                    <a:pt x="1145" y="450"/>
                    <a:pt x="1142" y="443"/>
                    <a:pt x="1142" y="433"/>
                  </a:cubicBezTo>
                  <a:cubicBezTo>
                    <a:pt x="1142" y="423"/>
                    <a:pt x="1137" y="416"/>
                    <a:pt x="1132" y="412"/>
                  </a:cubicBezTo>
                  <a:cubicBezTo>
                    <a:pt x="1127" y="408"/>
                    <a:pt x="1127" y="397"/>
                    <a:pt x="1127" y="386"/>
                  </a:cubicBezTo>
                  <a:cubicBezTo>
                    <a:pt x="1127" y="375"/>
                    <a:pt x="1126" y="367"/>
                    <a:pt x="1120" y="365"/>
                  </a:cubicBezTo>
                  <a:cubicBezTo>
                    <a:pt x="1114" y="363"/>
                    <a:pt x="1102" y="349"/>
                    <a:pt x="1090" y="337"/>
                  </a:cubicBezTo>
                  <a:cubicBezTo>
                    <a:pt x="1078" y="325"/>
                    <a:pt x="1068" y="301"/>
                    <a:pt x="1061" y="288"/>
                  </a:cubicBezTo>
                  <a:cubicBezTo>
                    <a:pt x="1054" y="275"/>
                    <a:pt x="1050" y="250"/>
                    <a:pt x="1037" y="250"/>
                  </a:cubicBezTo>
                  <a:cubicBezTo>
                    <a:pt x="1024" y="250"/>
                    <a:pt x="1024" y="240"/>
                    <a:pt x="1013" y="226"/>
                  </a:cubicBezTo>
                  <a:cubicBezTo>
                    <a:pt x="1002" y="212"/>
                    <a:pt x="976" y="214"/>
                    <a:pt x="952" y="211"/>
                  </a:cubicBezTo>
                  <a:cubicBezTo>
                    <a:pt x="928" y="208"/>
                    <a:pt x="927" y="216"/>
                    <a:pt x="911" y="252"/>
                  </a:cubicBezTo>
                  <a:cubicBezTo>
                    <a:pt x="895" y="288"/>
                    <a:pt x="863" y="261"/>
                    <a:pt x="849" y="253"/>
                  </a:cubicBezTo>
                  <a:cubicBezTo>
                    <a:pt x="835" y="245"/>
                    <a:pt x="820" y="233"/>
                    <a:pt x="810" y="230"/>
                  </a:cubicBezTo>
                  <a:cubicBezTo>
                    <a:pt x="800" y="227"/>
                    <a:pt x="792" y="205"/>
                    <a:pt x="791" y="192"/>
                  </a:cubicBezTo>
                  <a:cubicBezTo>
                    <a:pt x="790" y="179"/>
                    <a:pt x="781" y="173"/>
                    <a:pt x="780" y="164"/>
                  </a:cubicBezTo>
                  <a:cubicBezTo>
                    <a:pt x="779" y="155"/>
                    <a:pt x="775" y="149"/>
                    <a:pt x="764" y="147"/>
                  </a:cubicBezTo>
                  <a:cubicBezTo>
                    <a:pt x="753" y="145"/>
                    <a:pt x="746" y="138"/>
                    <a:pt x="739" y="132"/>
                  </a:cubicBezTo>
                  <a:cubicBezTo>
                    <a:pt x="732" y="126"/>
                    <a:pt x="706" y="105"/>
                    <a:pt x="694" y="86"/>
                  </a:cubicBezTo>
                  <a:cubicBezTo>
                    <a:pt x="682" y="67"/>
                    <a:pt x="619" y="75"/>
                    <a:pt x="591" y="76"/>
                  </a:cubicBezTo>
                  <a:cubicBezTo>
                    <a:pt x="563" y="77"/>
                    <a:pt x="569" y="88"/>
                    <a:pt x="568" y="101"/>
                  </a:cubicBezTo>
                  <a:cubicBezTo>
                    <a:pt x="567" y="114"/>
                    <a:pt x="558" y="112"/>
                    <a:pt x="558" y="112"/>
                  </a:cubicBezTo>
                  <a:cubicBezTo>
                    <a:pt x="558" y="112"/>
                    <a:pt x="429" y="111"/>
                    <a:pt x="386" y="111"/>
                  </a:cubicBezTo>
                  <a:cubicBezTo>
                    <a:pt x="365" y="105"/>
                    <a:pt x="306" y="76"/>
                    <a:pt x="278" y="66"/>
                  </a:cubicBezTo>
                  <a:cubicBezTo>
                    <a:pt x="250" y="56"/>
                    <a:pt x="209" y="46"/>
                    <a:pt x="190" y="39"/>
                  </a:cubicBezTo>
                  <a:cubicBezTo>
                    <a:pt x="171" y="32"/>
                    <a:pt x="168" y="30"/>
                    <a:pt x="150" y="15"/>
                  </a:cubicBezTo>
                  <a:cubicBezTo>
                    <a:pt x="132" y="0"/>
                    <a:pt x="70" y="21"/>
                    <a:pt x="45" y="21"/>
                  </a:cubicBezTo>
                  <a:cubicBezTo>
                    <a:pt x="31" y="21"/>
                    <a:pt x="13" y="24"/>
                    <a:pt x="0" y="26"/>
                  </a:cubicBezTo>
                  <a:cubicBezTo>
                    <a:pt x="1" y="29"/>
                    <a:pt x="2" y="31"/>
                    <a:pt x="5" y="33"/>
                  </a:cubicBezTo>
                  <a:cubicBezTo>
                    <a:pt x="17" y="45"/>
                    <a:pt x="23" y="47"/>
                    <a:pt x="27" y="62"/>
                  </a:cubicBezTo>
                  <a:cubicBezTo>
                    <a:pt x="31" y="77"/>
                    <a:pt x="32" y="91"/>
                    <a:pt x="43" y="103"/>
                  </a:cubicBezTo>
                  <a:cubicBezTo>
                    <a:pt x="53" y="116"/>
                    <a:pt x="50" y="124"/>
                    <a:pt x="60" y="136"/>
                  </a:cubicBezTo>
                  <a:cubicBezTo>
                    <a:pt x="71" y="148"/>
                    <a:pt x="79" y="154"/>
                    <a:pt x="84" y="169"/>
                  </a:cubicBezTo>
                  <a:cubicBezTo>
                    <a:pt x="88" y="183"/>
                    <a:pt x="87" y="212"/>
                    <a:pt x="99" y="220"/>
                  </a:cubicBezTo>
                  <a:cubicBezTo>
                    <a:pt x="111" y="228"/>
                    <a:pt x="113" y="235"/>
                    <a:pt x="128" y="240"/>
                  </a:cubicBezTo>
                  <a:cubicBezTo>
                    <a:pt x="144" y="246"/>
                    <a:pt x="147" y="250"/>
                    <a:pt x="151" y="260"/>
                  </a:cubicBezTo>
                  <a:cubicBezTo>
                    <a:pt x="154" y="269"/>
                    <a:pt x="162" y="270"/>
                    <a:pt x="172" y="280"/>
                  </a:cubicBezTo>
                  <a:cubicBezTo>
                    <a:pt x="182" y="289"/>
                    <a:pt x="197" y="296"/>
                    <a:pt x="197" y="311"/>
                  </a:cubicBezTo>
                  <a:cubicBezTo>
                    <a:pt x="197" y="327"/>
                    <a:pt x="197" y="346"/>
                    <a:pt x="186" y="346"/>
                  </a:cubicBezTo>
                  <a:cubicBezTo>
                    <a:pt x="174" y="346"/>
                    <a:pt x="153" y="345"/>
                    <a:pt x="147" y="346"/>
                  </a:cubicBezTo>
                  <a:cubicBezTo>
                    <a:pt x="142" y="347"/>
                    <a:pt x="129" y="354"/>
                    <a:pt x="141" y="360"/>
                  </a:cubicBezTo>
                  <a:cubicBezTo>
                    <a:pt x="153" y="365"/>
                    <a:pt x="161" y="388"/>
                    <a:pt x="178" y="392"/>
                  </a:cubicBezTo>
                  <a:cubicBezTo>
                    <a:pt x="194" y="396"/>
                    <a:pt x="209" y="412"/>
                    <a:pt x="222" y="420"/>
                  </a:cubicBezTo>
                  <a:cubicBezTo>
                    <a:pt x="234" y="429"/>
                    <a:pt x="244" y="412"/>
                    <a:pt x="258" y="426"/>
                  </a:cubicBezTo>
                  <a:cubicBezTo>
                    <a:pt x="273" y="440"/>
                    <a:pt x="279" y="453"/>
                    <a:pt x="290" y="458"/>
                  </a:cubicBezTo>
                  <a:cubicBezTo>
                    <a:pt x="302" y="462"/>
                    <a:pt x="314" y="464"/>
                    <a:pt x="317" y="472"/>
                  </a:cubicBezTo>
                  <a:cubicBezTo>
                    <a:pt x="320" y="479"/>
                    <a:pt x="327" y="484"/>
                    <a:pt x="325" y="494"/>
                  </a:cubicBezTo>
                  <a:cubicBezTo>
                    <a:pt x="324" y="503"/>
                    <a:pt x="326" y="522"/>
                    <a:pt x="322" y="529"/>
                  </a:cubicBezTo>
                  <a:cubicBezTo>
                    <a:pt x="318" y="535"/>
                    <a:pt x="307" y="549"/>
                    <a:pt x="316" y="556"/>
                  </a:cubicBezTo>
                  <a:cubicBezTo>
                    <a:pt x="326" y="564"/>
                    <a:pt x="334" y="574"/>
                    <a:pt x="347" y="576"/>
                  </a:cubicBezTo>
                  <a:cubicBezTo>
                    <a:pt x="361" y="579"/>
                    <a:pt x="372" y="590"/>
                    <a:pt x="379" y="598"/>
                  </a:cubicBezTo>
                  <a:cubicBezTo>
                    <a:pt x="386" y="605"/>
                    <a:pt x="404" y="613"/>
                    <a:pt x="413" y="623"/>
                  </a:cubicBezTo>
                  <a:cubicBezTo>
                    <a:pt x="422" y="632"/>
                    <a:pt x="439" y="636"/>
                    <a:pt x="450" y="656"/>
                  </a:cubicBezTo>
                  <a:cubicBezTo>
                    <a:pt x="460" y="677"/>
                    <a:pt x="453" y="687"/>
                    <a:pt x="466" y="689"/>
                  </a:cubicBezTo>
                  <a:cubicBezTo>
                    <a:pt x="480" y="691"/>
                    <a:pt x="478" y="684"/>
                    <a:pt x="483" y="676"/>
                  </a:cubicBezTo>
                  <a:cubicBezTo>
                    <a:pt x="489" y="669"/>
                    <a:pt x="498" y="659"/>
                    <a:pt x="498" y="650"/>
                  </a:cubicBezTo>
                  <a:cubicBezTo>
                    <a:pt x="498" y="641"/>
                    <a:pt x="489" y="630"/>
                    <a:pt x="483" y="626"/>
                  </a:cubicBezTo>
                  <a:cubicBezTo>
                    <a:pt x="478" y="622"/>
                    <a:pt x="481" y="605"/>
                    <a:pt x="468" y="600"/>
                  </a:cubicBezTo>
                  <a:cubicBezTo>
                    <a:pt x="456" y="595"/>
                    <a:pt x="447" y="587"/>
                    <a:pt x="443" y="590"/>
                  </a:cubicBezTo>
                  <a:cubicBezTo>
                    <a:pt x="438" y="594"/>
                    <a:pt x="428" y="597"/>
                    <a:pt x="422" y="589"/>
                  </a:cubicBezTo>
                  <a:cubicBezTo>
                    <a:pt x="417" y="582"/>
                    <a:pt x="409" y="569"/>
                    <a:pt x="415" y="557"/>
                  </a:cubicBezTo>
                  <a:cubicBezTo>
                    <a:pt x="420" y="545"/>
                    <a:pt x="432" y="536"/>
                    <a:pt x="421" y="531"/>
                  </a:cubicBezTo>
                  <a:cubicBezTo>
                    <a:pt x="410" y="526"/>
                    <a:pt x="408" y="529"/>
                    <a:pt x="403" y="516"/>
                  </a:cubicBezTo>
                  <a:cubicBezTo>
                    <a:pt x="398" y="502"/>
                    <a:pt x="374" y="496"/>
                    <a:pt x="383" y="486"/>
                  </a:cubicBezTo>
                  <a:cubicBezTo>
                    <a:pt x="392" y="475"/>
                    <a:pt x="390" y="466"/>
                    <a:pt x="383" y="465"/>
                  </a:cubicBezTo>
                  <a:cubicBezTo>
                    <a:pt x="376" y="464"/>
                    <a:pt x="373" y="463"/>
                    <a:pt x="371" y="449"/>
                  </a:cubicBezTo>
                  <a:cubicBezTo>
                    <a:pt x="369" y="436"/>
                    <a:pt x="365" y="433"/>
                    <a:pt x="352" y="420"/>
                  </a:cubicBezTo>
                  <a:cubicBezTo>
                    <a:pt x="340" y="407"/>
                    <a:pt x="322" y="375"/>
                    <a:pt x="311" y="369"/>
                  </a:cubicBezTo>
                  <a:cubicBezTo>
                    <a:pt x="300" y="362"/>
                    <a:pt x="297" y="360"/>
                    <a:pt x="294" y="344"/>
                  </a:cubicBezTo>
                  <a:cubicBezTo>
                    <a:pt x="290" y="327"/>
                    <a:pt x="294" y="328"/>
                    <a:pt x="280" y="314"/>
                  </a:cubicBezTo>
                  <a:cubicBezTo>
                    <a:pt x="266" y="299"/>
                    <a:pt x="254" y="289"/>
                    <a:pt x="244" y="276"/>
                  </a:cubicBezTo>
                  <a:cubicBezTo>
                    <a:pt x="234" y="264"/>
                    <a:pt x="235" y="253"/>
                    <a:pt x="246" y="261"/>
                  </a:cubicBezTo>
                  <a:cubicBezTo>
                    <a:pt x="257" y="268"/>
                    <a:pt x="267" y="260"/>
                    <a:pt x="259" y="249"/>
                  </a:cubicBezTo>
                  <a:cubicBezTo>
                    <a:pt x="252" y="238"/>
                    <a:pt x="242" y="226"/>
                    <a:pt x="236" y="231"/>
                  </a:cubicBezTo>
                  <a:cubicBezTo>
                    <a:pt x="230" y="237"/>
                    <a:pt x="225" y="244"/>
                    <a:pt x="215" y="234"/>
                  </a:cubicBezTo>
                  <a:cubicBezTo>
                    <a:pt x="204" y="224"/>
                    <a:pt x="168" y="212"/>
                    <a:pt x="166" y="193"/>
                  </a:cubicBezTo>
                  <a:cubicBezTo>
                    <a:pt x="164" y="174"/>
                    <a:pt x="172" y="154"/>
                    <a:pt x="163" y="139"/>
                  </a:cubicBezTo>
                  <a:cubicBezTo>
                    <a:pt x="153" y="124"/>
                    <a:pt x="148" y="124"/>
                    <a:pt x="149" y="106"/>
                  </a:cubicBezTo>
                  <a:cubicBezTo>
                    <a:pt x="150" y="88"/>
                    <a:pt x="159" y="74"/>
                    <a:pt x="165" y="79"/>
                  </a:cubicBezTo>
                  <a:cubicBezTo>
                    <a:pt x="171" y="83"/>
                    <a:pt x="173" y="90"/>
                    <a:pt x="185" y="90"/>
                  </a:cubicBezTo>
                  <a:cubicBezTo>
                    <a:pt x="197" y="89"/>
                    <a:pt x="209" y="85"/>
                    <a:pt x="213" y="89"/>
                  </a:cubicBezTo>
                  <a:cubicBezTo>
                    <a:pt x="217" y="94"/>
                    <a:pt x="221" y="110"/>
                    <a:pt x="235" y="110"/>
                  </a:cubicBezTo>
                  <a:cubicBezTo>
                    <a:pt x="249" y="110"/>
                    <a:pt x="259" y="109"/>
                    <a:pt x="259" y="128"/>
                  </a:cubicBezTo>
                  <a:cubicBezTo>
                    <a:pt x="259" y="147"/>
                    <a:pt x="255" y="153"/>
                    <a:pt x="267" y="164"/>
                  </a:cubicBezTo>
                  <a:cubicBezTo>
                    <a:pt x="279" y="174"/>
                    <a:pt x="278" y="178"/>
                    <a:pt x="282" y="194"/>
                  </a:cubicBezTo>
                  <a:cubicBezTo>
                    <a:pt x="287" y="209"/>
                    <a:pt x="286" y="219"/>
                    <a:pt x="297" y="228"/>
                  </a:cubicBezTo>
                  <a:cubicBezTo>
                    <a:pt x="309" y="236"/>
                    <a:pt x="309" y="244"/>
                    <a:pt x="303" y="250"/>
                  </a:cubicBezTo>
                  <a:cubicBezTo>
                    <a:pt x="298" y="255"/>
                    <a:pt x="289" y="268"/>
                    <a:pt x="296" y="276"/>
                  </a:cubicBezTo>
                  <a:cubicBezTo>
                    <a:pt x="304" y="284"/>
                    <a:pt x="313" y="290"/>
                    <a:pt x="315" y="282"/>
                  </a:cubicBezTo>
                  <a:cubicBezTo>
                    <a:pt x="317" y="275"/>
                    <a:pt x="328" y="264"/>
                    <a:pt x="337" y="282"/>
                  </a:cubicBezTo>
                  <a:cubicBezTo>
                    <a:pt x="345" y="301"/>
                    <a:pt x="354" y="316"/>
                    <a:pt x="366" y="321"/>
                  </a:cubicBezTo>
                  <a:cubicBezTo>
                    <a:pt x="378" y="326"/>
                    <a:pt x="376" y="353"/>
                    <a:pt x="395" y="351"/>
                  </a:cubicBezTo>
                  <a:cubicBezTo>
                    <a:pt x="414" y="348"/>
                    <a:pt x="416" y="350"/>
                    <a:pt x="418" y="365"/>
                  </a:cubicBezTo>
                  <a:cubicBezTo>
                    <a:pt x="420" y="380"/>
                    <a:pt x="424" y="388"/>
                    <a:pt x="438" y="393"/>
                  </a:cubicBezTo>
                  <a:cubicBezTo>
                    <a:pt x="451" y="397"/>
                    <a:pt x="459" y="398"/>
                    <a:pt x="462" y="411"/>
                  </a:cubicBezTo>
                  <a:cubicBezTo>
                    <a:pt x="465" y="423"/>
                    <a:pt x="467" y="426"/>
                    <a:pt x="482" y="427"/>
                  </a:cubicBezTo>
                  <a:cubicBezTo>
                    <a:pt x="496" y="429"/>
                    <a:pt x="507" y="437"/>
                    <a:pt x="503" y="449"/>
                  </a:cubicBezTo>
                  <a:cubicBezTo>
                    <a:pt x="500" y="461"/>
                    <a:pt x="500" y="467"/>
                    <a:pt x="494" y="471"/>
                  </a:cubicBezTo>
                  <a:cubicBezTo>
                    <a:pt x="488" y="475"/>
                    <a:pt x="484" y="483"/>
                    <a:pt x="500" y="491"/>
                  </a:cubicBezTo>
                  <a:cubicBezTo>
                    <a:pt x="516" y="499"/>
                    <a:pt x="527" y="515"/>
                    <a:pt x="537" y="514"/>
                  </a:cubicBezTo>
                  <a:cubicBezTo>
                    <a:pt x="546" y="513"/>
                    <a:pt x="568" y="512"/>
                    <a:pt x="573" y="530"/>
                  </a:cubicBezTo>
                  <a:cubicBezTo>
                    <a:pt x="579" y="548"/>
                    <a:pt x="561" y="553"/>
                    <a:pt x="590" y="567"/>
                  </a:cubicBezTo>
                  <a:cubicBezTo>
                    <a:pt x="620" y="581"/>
                    <a:pt x="656" y="618"/>
                    <a:pt x="671" y="640"/>
                  </a:cubicBezTo>
                  <a:cubicBezTo>
                    <a:pt x="686" y="662"/>
                    <a:pt x="694" y="681"/>
                    <a:pt x="714" y="689"/>
                  </a:cubicBezTo>
                  <a:cubicBezTo>
                    <a:pt x="734" y="698"/>
                    <a:pt x="760" y="730"/>
                    <a:pt x="760" y="753"/>
                  </a:cubicBezTo>
                  <a:cubicBezTo>
                    <a:pt x="760" y="776"/>
                    <a:pt x="767" y="798"/>
                    <a:pt x="761" y="806"/>
                  </a:cubicBezTo>
                  <a:cubicBezTo>
                    <a:pt x="755" y="814"/>
                    <a:pt x="744" y="817"/>
                    <a:pt x="747" y="824"/>
                  </a:cubicBezTo>
                  <a:cubicBezTo>
                    <a:pt x="750" y="831"/>
                    <a:pt x="755" y="835"/>
                    <a:pt x="746" y="841"/>
                  </a:cubicBezTo>
                  <a:cubicBezTo>
                    <a:pt x="737" y="846"/>
                    <a:pt x="732" y="856"/>
                    <a:pt x="738" y="862"/>
                  </a:cubicBezTo>
                  <a:cubicBezTo>
                    <a:pt x="743" y="869"/>
                    <a:pt x="739" y="871"/>
                    <a:pt x="752" y="887"/>
                  </a:cubicBezTo>
                  <a:cubicBezTo>
                    <a:pt x="765" y="903"/>
                    <a:pt x="771" y="925"/>
                    <a:pt x="790" y="931"/>
                  </a:cubicBezTo>
                  <a:cubicBezTo>
                    <a:pt x="810" y="936"/>
                    <a:pt x="832" y="939"/>
                    <a:pt x="847" y="954"/>
                  </a:cubicBezTo>
                  <a:cubicBezTo>
                    <a:pt x="862" y="969"/>
                    <a:pt x="889" y="995"/>
                    <a:pt x="906" y="1002"/>
                  </a:cubicBezTo>
                  <a:cubicBezTo>
                    <a:pt x="923" y="1009"/>
                    <a:pt x="928" y="1012"/>
                    <a:pt x="951" y="1012"/>
                  </a:cubicBezTo>
                  <a:cubicBezTo>
                    <a:pt x="974" y="1012"/>
                    <a:pt x="981" y="1009"/>
                    <a:pt x="994" y="1024"/>
                  </a:cubicBezTo>
                  <a:cubicBezTo>
                    <a:pt x="1006" y="1038"/>
                    <a:pt x="1027" y="1058"/>
                    <a:pt x="1043" y="1063"/>
                  </a:cubicBezTo>
                  <a:cubicBezTo>
                    <a:pt x="1059" y="1067"/>
                    <a:pt x="1080" y="1076"/>
                    <a:pt x="1094" y="1081"/>
                  </a:cubicBezTo>
                  <a:cubicBezTo>
                    <a:pt x="1109" y="1086"/>
                    <a:pt x="1121" y="1096"/>
                    <a:pt x="1142" y="1099"/>
                  </a:cubicBezTo>
                  <a:cubicBezTo>
                    <a:pt x="1163" y="1103"/>
                    <a:pt x="1177" y="1107"/>
                    <a:pt x="1191" y="1117"/>
                  </a:cubicBezTo>
                  <a:cubicBezTo>
                    <a:pt x="1205" y="1126"/>
                    <a:pt x="1225" y="1144"/>
                    <a:pt x="1248" y="1146"/>
                  </a:cubicBezTo>
                  <a:cubicBezTo>
                    <a:pt x="1271" y="1147"/>
                    <a:pt x="1276" y="1146"/>
                    <a:pt x="1287" y="1155"/>
                  </a:cubicBezTo>
                  <a:cubicBezTo>
                    <a:pt x="1298" y="1164"/>
                    <a:pt x="1339" y="1165"/>
                    <a:pt x="1351" y="1160"/>
                  </a:cubicBezTo>
                  <a:cubicBezTo>
                    <a:pt x="1364" y="1154"/>
                    <a:pt x="1379" y="1144"/>
                    <a:pt x="1399" y="1137"/>
                  </a:cubicBezTo>
                  <a:cubicBezTo>
                    <a:pt x="1418" y="1131"/>
                    <a:pt x="1418" y="1121"/>
                    <a:pt x="1442" y="1125"/>
                  </a:cubicBezTo>
                  <a:cubicBezTo>
                    <a:pt x="1465" y="1128"/>
                    <a:pt x="1476" y="1129"/>
                    <a:pt x="1494" y="1147"/>
                  </a:cubicBezTo>
                  <a:cubicBezTo>
                    <a:pt x="1513" y="1164"/>
                    <a:pt x="1531" y="1179"/>
                    <a:pt x="1542" y="1188"/>
                  </a:cubicBezTo>
                  <a:cubicBezTo>
                    <a:pt x="1554" y="1197"/>
                    <a:pt x="1563" y="1201"/>
                    <a:pt x="1570" y="1218"/>
                  </a:cubicBezTo>
                  <a:cubicBezTo>
                    <a:pt x="1576" y="1231"/>
                    <a:pt x="1580" y="1238"/>
                    <a:pt x="1587" y="1242"/>
                  </a:cubicBezTo>
                  <a:cubicBezTo>
                    <a:pt x="1589" y="1233"/>
                    <a:pt x="1592" y="1220"/>
                    <a:pt x="1598" y="1209"/>
                  </a:cubicBezTo>
                  <a:cubicBezTo>
                    <a:pt x="1608" y="1191"/>
                    <a:pt x="1628" y="1173"/>
                    <a:pt x="1628" y="1163"/>
                  </a:cubicBezTo>
                  <a:cubicBezTo>
                    <a:pt x="1628" y="1152"/>
                    <a:pt x="1621" y="1138"/>
                    <a:pt x="1648" y="1138"/>
                  </a:cubicBezTo>
                  <a:cubicBezTo>
                    <a:pt x="1675" y="1138"/>
                    <a:pt x="1705" y="1146"/>
                    <a:pt x="1705" y="1133"/>
                  </a:cubicBezTo>
                  <a:cubicBezTo>
                    <a:pt x="1705" y="1120"/>
                    <a:pt x="1710" y="1121"/>
                    <a:pt x="1694" y="1108"/>
                  </a:cubicBezTo>
                  <a:cubicBezTo>
                    <a:pt x="1677" y="1095"/>
                    <a:pt x="1671" y="1083"/>
                    <a:pt x="1657" y="1074"/>
                  </a:cubicBezTo>
                  <a:cubicBezTo>
                    <a:pt x="1643" y="1064"/>
                    <a:pt x="1632" y="1058"/>
                    <a:pt x="1657" y="1058"/>
                  </a:cubicBezTo>
                  <a:cubicBezTo>
                    <a:pt x="1682" y="1058"/>
                    <a:pt x="1671" y="1050"/>
                    <a:pt x="1671" y="1041"/>
                  </a:cubicBezTo>
                  <a:cubicBezTo>
                    <a:pt x="1671" y="1031"/>
                    <a:pt x="1674" y="1021"/>
                    <a:pt x="1697" y="1023"/>
                  </a:cubicBezTo>
                  <a:cubicBezTo>
                    <a:pt x="1721" y="1025"/>
                    <a:pt x="1781" y="1034"/>
                    <a:pt x="1787" y="1024"/>
                  </a:cubicBezTo>
                  <a:cubicBezTo>
                    <a:pt x="1793" y="1015"/>
                    <a:pt x="1790" y="1010"/>
                    <a:pt x="1802" y="1013"/>
                  </a:cubicBezTo>
                  <a:cubicBezTo>
                    <a:pt x="1813" y="1017"/>
                    <a:pt x="1818" y="1022"/>
                    <a:pt x="1824" y="1000"/>
                  </a:cubicBezTo>
                  <a:cubicBezTo>
                    <a:pt x="1830" y="979"/>
                    <a:pt x="1842" y="979"/>
                    <a:pt x="1849" y="982"/>
                  </a:cubicBezTo>
                  <a:cubicBezTo>
                    <a:pt x="1856" y="984"/>
                    <a:pt x="1858" y="987"/>
                    <a:pt x="1860" y="993"/>
                  </a:cubicBezTo>
                  <a:cubicBezTo>
                    <a:pt x="1860" y="997"/>
                    <a:pt x="1866" y="1003"/>
                    <a:pt x="1873" y="1005"/>
                  </a:cubicBezTo>
                  <a:cubicBezTo>
                    <a:pt x="1880" y="1001"/>
                    <a:pt x="1885" y="996"/>
                    <a:pt x="1886" y="988"/>
                  </a:cubicBezTo>
                  <a:cubicBezTo>
                    <a:pt x="1886" y="971"/>
                    <a:pt x="1879" y="975"/>
                    <a:pt x="1887" y="963"/>
                  </a:cubicBezTo>
                  <a:cubicBezTo>
                    <a:pt x="1895" y="951"/>
                    <a:pt x="1899" y="942"/>
                    <a:pt x="1896" y="927"/>
                  </a:cubicBezTo>
                  <a:cubicBezTo>
                    <a:pt x="1893" y="913"/>
                    <a:pt x="1887" y="898"/>
                    <a:pt x="1895" y="886"/>
                  </a:cubicBezTo>
                  <a:cubicBezTo>
                    <a:pt x="1903" y="874"/>
                    <a:pt x="1902" y="858"/>
                    <a:pt x="1910" y="851"/>
                  </a:cubicBezTo>
                  <a:cubicBezTo>
                    <a:pt x="1917" y="843"/>
                    <a:pt x="1923" y="841"/>
                    <a:pt x="1924" y="850"/>
                  </a:cubicBezTo>
                  <a:cubicBezTo>
                    <a:pt x="1925" y="859"/>
                    <a:pt x="1930" y="866"/>
                    <a:pt x="1933" y="858"/>
                  </a:cubicBezTo>
                  <a:cubicBezTo>
                    <a:pt x="1936" y="850"/>
                    <a:pt x="1948" y="842"/>
                    <a:pt x="1940" y="841"/>
                  </a:cubicBezTo>
                  <a:cubicBezTo>
                    <a:pt x="1933" y="839"/>
                    <a:pt x="1928" y="835"/>
                    <a:pt x="1933" y="826"/>
                  </a:cubicBezTo>
                  <a:cubicBezTo>
                    <a:pt x="1937" y="818"/>
                    <a:pt x="1944" y="824"/>
                    <a:pt x="1941" y="804"/>
                  </a:cubicBezTo>
                  <a:cubicBezTo>
                    <a:pt x="1938" y="784"/>
                    <a:pt x="1948" y="782"/>
                    <a:pt x="1938" y="775"/>
                  </a:cubicBezTo>
                  <a:cubicBezTo>
                    <a:pt x="1928" y="768"/>
                    <a:pt x="1917" y="765"/>
                    <a:pt x="1905" y="772"/>
                  </a:cubicBezTo>
                  <a:cubicBezTo>
                    <a:pt x="1894" y="779"/>
                    <a:pt x="1878" y="777"/>
                    <a:pt x="1872" y="770"/>
                  </a:cubicBezTo>
                  <a:cubicBezTo>
                    <a:pt x="1865" y="764"/>
                    <a:pt x="1850" y="765"/>
                    <a:pt x="1838" y="768"/>
                  </a:cubicBezTo>
                  <a:cubicBezTo>
                    <a:pt x="1826" y="771"/>
                    <a:pt x="1827" y="773"/>
                    <a:pt x="1808" y="778"/>
                  </a:cubicBezTo>
                  <a:cubicBezTo>
                    <a:pt x="1788" y="783"/>
                    <a:pt x="1740" y="783"/>
                    <a:pt x="1733" y="794"/>
                  </a:cubicBezTo>
                  <a:cubicBezTo>
                    <a:pt x="1725" y="806"/>
                    <a:pt x="1710" y="798"/>
                    <a:pt x="1709" y="815"/>
                  </a:cubicBezTo>
                  <a:cubicBezTo>
                    <a:pt x="1708" y="832"/>
                    <a:pt x="1704" y="863"/>
                    <a:pt x="1702" y="875"/>
                  </a:cubicBezTo>
                  <a:cubicBezTo>
                    <a:pt x="1700" y="887"/>
                    <a:pt x="1690" y="885"/>
                    <a:pt x="1687" y="899"/>
                  </a:cubicBezTo>
                  <a:cubicBezTo>
                    <a:pt x="1685" y="914"/>
                    <a:pt x="1680" y="926"/>
                    <a:pt x="1665" y="932"/>
                  </a:cubicBezTo>
                  <a:cubicBezTo>
                    <a:pt x="1650" y="937"/>
                    <a:pt x="1626" y="956"/>
                    <a:pt x="1634" y="961"/>
                  </a:cubicBezTo>
                  <a:cubicBezTo>
                    <a:pt x="1642" y="966"/>
                    <a:pt x="1652" y="960"/>
                    <a:pt x="1649" y="969"/>
                  </a:cubicBezTo>
                  <a:cubicBezTo>
                    <a:pt x="1645" y="978"/>
                    <a:pt x="1641" y="982"/>
                    <a:pt x="1630" y="982"/>
                  </a:cubicBezTo>
                  <a:cubicBezTo>
                    <a:pt x="1619" y="982"/>
                    <a:pt x="1616" y="972"/>
                    <a:pt x="1616" y="968"/>
                  </a:cubicBezTo>
                  <a:cubicBezTo>
                    <a:pt x="1615" y="964"/>
                    <a:pt x="1607" y="957"/>
                    <a:pt x="1595" y="958"/>
                  </a:cubicBezTo>
                  <a:cubicBezTo>
                    <a:pt x="1583" y="960"/>
                    <a:pt x="1568" y="963"/>
                    <a:pt x="1560" y="970"/>
                  </a:cubicBezTo>
                  <a:cubicBezTo>
                    <a:pt x="1551" y="978"/>
                    <a:pt x="1529" y="978"/>
                    <a:pt x="1516" y="979"/>
                  </a:cubicBezTo>
                  <a:cubicBezTo>
                    <a:pt x="1503" y="980"/>
                    <a:pt x="1493" y="979"/>
                    <a:pt x="1485" y="985"/>
                  </a:cubicBezTo>
                  <a:cubicBezTo>
                    <a:pt x="1476" y="992"/>
                    <a:pt x="1467" y="999"/>
                    <a:pt x="1457" y="996"/>
                  </a:cubicBezTo>
                  <a:cubicBezTo>
                    <a:pt x="1447" y="993"/>
                    <a:pt x="1446" y="993"/>
                    <a:pt x="1445" y="987"/>
                  </a:cubicBezTo>
                  <a:cubicBezTo>
                    <a:pt x="1444" y="981"/>
                    <a:pt x="1432" y="975"/>
                    <a:pt x="1426" y="974"/>
                  </a:cubicBezTo>
                  <a:cubicBezTo>
                    <a:pt x="1419" y="973"/>
                    <a:pt x="1422" y="957"/>
                    <a:pt x="1409" y="958"/>
                  </a:cubicBezTo>
                  <a:cubicBezTo>
                    <a:pt x="1396" y="959"/>
                    <a:pt x="1360" y="958"/>
                    <a:pt x="1358" y="950"/>
                  </a:cubicBezTo>
                  <a:cubicBezTo>
                    <a:pt x="1357" y="941"/>
                    <a:pt x="1350" y="937"/>
                    <a:pt x="1343" y="926"/>
                  </a:cubicBezTo>
                  <a:cubicBezTo>
                    <a:pt x="1337" y="915"/>
                    <a:pt x="1333" y="910"/>
                    <a:pt x="1331" y="899"/>
                  </a:cubicBezTo>
                  <a:cubicBezTo>
                    <a:pt x="1330" y="887"/>
                    <a:pt x="1334" y="886"/>
                    <a:pt x="1323" y="876"/>
                  </a:cubicBezTo>
                  <a:cubicBezTo>
                    <a:pt x="1311" y="866"/>
                    <a:pt x="1314" y="857"/>
                    <a:pt x="1300" y="848"/>
                  </a:cubicBezTo>
                  <a:cubicBezTo>
                    <a:pt x="1285" y="838"/>
                    <a:pt x="1283" y="829"/>
                    <a:pt x="1281" y="823"/>
                  </a:cubicBezTo>
                  <a:cubicBezTo>
                    <a:pt x="1279" y="816"/>
                    <a:pt x="1276" y="811"/>
                    <a:pt x="1268" y="801"/>
                  </a:cubicBezTo>
                  <a:cubicBezTo>
                    <a:pt x="1260" y="792"/>
                    <a:pt x="1257" y="786"/>
                    <a:pt x="1265" y="780"/>
                  </a:cubicBezTo>
                  <a:cubicBezTo>
                    <a:pt x="1273" y="773"/>
                    <a:pt x="1269" y="772"/>
                    <a:pt x="1261" y="766"/>
                  </a:cubicBezTo>
                  <a:cubicBezTo>
                    <a:pt x="1253" y="760"/>
                    <a:pt x="1253" y="758"/>
                    <a:pt x="1247" y="743"/>
                  </a:cubicBezTo>
                  <a:cubicBezTo>
                    <a:pt x="1242" y="728"/>
                    <a:pt x="1240" y="727"/>
                    <a:pt x="1240" y="710"/>
                  </a:cubicBezTo>
                  <a:cubicBezTo>
                    <a:pt x="1240" y="694"/>
                    <a:pt x="1239" y="688"/>
                    <a:pt x="1245" y="679"/>
                  </a:cubicBezTo>
                  <a:cubicBezTo>
                    <a:pt x="1250" y="671"/>
                    <a:pt x="1252" y="663"/>
                    <a:pt x="1250" y="639"/>
                  </a:cubicBezTo>
                  <a:cubicBezTo>
                    <a:pt x="1247" y="614"/>
                    <a:pt x="1241" y="591"/>
                    <a:pt x="1249" y="574"/>
                  </a:cubicBezTo>
                  <a:cubicBezTo>
                    <a:pt x="1257" y="558"/>
                    <a:pt x="1255" y="540"/>
                    <a:pt x="1263" y="530"/>
                  </a:cubicBezTo>
                  <a:cubicBezTo>
                    <a:pt x="1271" y="520"/>
                    <a:pt x="1284" y="499"/>
                    <a:pt x="1284" y="487"/>
                  </a:cubicBezTo>
                  <a:cubicBezTo>
                    <a:pt x="1284" y="481"/>
                    <a:pt x="1284" y="477"/>
                    <a:pt x="1284" y="473"/>
                  </a:cubicBezTo>
                  <a:cubicBezTo>
                    <a:pt x="1276" y="475"/>
                    <a:pt x="1271" y="478"/>
                    <a:pt x="1263" y="481"/>
                  </a:cubicBezTo>
                  <a:cubicBezTo>
                    <a:pt x="1250" y="485"/>
                    <a:pt x="1245" y="481"/>
                    <a:pt x="1233" y="478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399" name="Freeform 25563"/>
            <p:cNvSpPr>
              <a:spLocks/>
            </p:cNvSpPr>
            <p:nvPr/>
          </p:nvSpPr>
          <p:spPr bwMode="auto">
            <a:xfrm>
              <a:off x="316322" y="2179434"/>
              <a:ext cx="50033" cy="27305"/>
            </a:xfrm>
            <a:custGeom>
              <a:avLst/>
              <a:gdLst>
                <a:gd name="T0" fmla="*/ 28 w 134"/>
                <a:gd name="T1" fmla="*/ 46 h 73"/>
                <a:gd name="T2" fmla="*/ 43 w 134"/>
                <a:gd name="T3" fmla="*/ 67 h 73"/>
                <a:gd name="T4" fmla="*/ 65 w 134"/>
                <a:gd name="T5" fmla="*/ 67 h 73"/>
                <a:gd name="T6" fmla="*/ 86 w 134"/>
                <a:gd name="T7" fmla="*/ 60 h 73"/>
                <a:gd name="T8" fmla="*/ 107 w 134"/>
                <a:gd name="T9" fmla="*/ 71 h 73"/>
                <a:gd name="T10" fmla="*/ 126 w 134"/>
                <a:gd name="T11" fmla="*/ 52 h 73"/>
                <a:gd name="T12" fmla="*/ 125 w 134"/>
                <a:gd name="T13" fmla="*/ 23 h 73"/>
                <a:gd name="T14" fmla="*/ 96 w 134"/>
                <a:gd name="T15" fmla="*/ 1 h 73"/>
                <a:gd name="T16" fmla="*/ 64 w 134"/>
                <a:gd name="T17" fmla="*/ 5 h 73"/>
                <a:gd name="T18" fmla="*/ 41 w 134"/>
                <a:gd name="T19" fmla="*/ 15 h 73"/>
                <a:gd name="T20" fmla="*/ 16 w 134"/>
                <a:gd name="T21" fmla="*/ 19 h 73"/>
                <a:gd name="T22" fmla="*/ 8 w 134"/>
                <a:gd name="T23" fmla="*/ 37 h 73"/>
                <a:gd name="T24" fmla="*/ 28 w 134"/>
                <a:gd name="T25" fmla="*/ 46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4" h="73">
                  <a:moveTo>
                    <a:pt x="28" y="46"/>
                  </a:moveTo>
                  <a:cubicBezTo>
                    <a:pt x="32" y="52"/>
                    <a:pt x="32" y="62"/>
                    <a:pt x="43" y="67"/>
                  </a:cubicBezTo>
                  <a:cubicBezTo>
                    <a:pt x="53" y="73"/>
                    <a:pt x="63" y="73"/>
                    <a:pt x="65" y="67"/>
                  </a:cubicBezTo>
                  <a:cubicBezTo>
                    <a:pt x="67" y="61"/>
                    <a:pt x="78" y="57"/>
                    <a:pt x="86" y="60"/>
                  </a:cubicBezTo>
                  <a:cubicBezTo>
                    <a:pt x="94" y="64"/>
                    <a:pt x="99" y="72"/>
                    <a:pt x="107" y="71"/>
                  </a:cubicBezTo>
                  <a:cubicBezTo>
                    <a:pt x="115" y="70"/>
                    <a:pt x="125" y="66"/>
                    <a:pt x="126" y="52"/>
                  </a:cubicBezTo>
                  <a:cubicBezTo>
                    <a:pt x="127" y="38"/>
                    <a:pt x="134" y="29"/>
                    <a:pt x="125" y="23"/>
                  </a:cubicBezTo>
                  <a:cubicBezTo>
                    <a:pt x="115" y="17"/>
                    <a:pt x="114" y="0"/>
                    <a:pt x="96" y="1"/>
                  </a:cubicBezTo>
                  <a:cubicBezTo>
                    <a:pt x="96" y="1"/>
                    <a:pt x="72" y="2"/>
                    <a:pt x="64" y="5"/>
                  </a:cubicBezTo>
                  <a:cubicBezTo>
                    <a:pt x="56" y="8"/>
                    <a:pt x="58" y="15"/>
                    <a:pt x="41" y="15"/>
                  </a:cubicBezTo>
                  <a:cubicBezTo>
                    <a:pt x="24" y="15"/>
                    <a:pt x="21" y="13"/>
                    <a:pt x="16" y="19"/>
                  </a:cubicBezTo>
                  <a:cubicBezTo>
                    <a:pt x="11" y="25"/>
                    <a:pt x="0" y="30"/>
                    <a:pt x="8" y="37"/>
                  </a:cubicBezTo>
                  <a:cubicBezTo>
                    <a:pt x="16" y="44"/>
                    <a:pt x="24" y="40"/>
                    <a:pt x="28" y="46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400" name="Freeform 25564"/>
            <p:cNvSpPr>
              <a:spLocks/>
            </p:cNvSpPr>
            <p:nvPr/>
          </p:nvSpPr>
          <p:spPr bwMode="auto">
            <a:xfrm>
              <a:off x="311903" y="2395035"/>
              <a:ext cx="39932" cy="32040"/>
            </a:xfrm>
            <a:custGeom>
              <a:avLst/>
              <a:gdLst>
                <a:gd name="T0" fmla="*/ 81 w 107"/>
                <a:gd name="T1" fmla="*/ 15 h 86"/>
                <a:gd name="T2" fmla="*/ 43 w 107"/>
                <a:gd name="T3" fmla="*/ 16 h 86"/>
                <a:gd name="T4" fmla="*/ 39 w 107"/>
                <a:gd name="T5" fmla="*/ 43 h 86"/>
                <a:gd name="T6" fmla="*/ 29 w 107"/>
                <a:gd name="T7" fmla="*/ 59 h 86"/>
                <a:gd name="T8" fmla="*/ 1 w 107"/>
                <a:gd name="T9" fmla="*/ 80 h 86"/>
                <a:gd name="T10" fmla="*/ 23 w 107"/>
                <a:gd name="T11" fmla="*/ 75 h 86"/>
                <a:gd name="T12" fmla="*/ 54 w 107"/>
                <a:gd name="T13" fmla="*/ 60 h 86"/>
                <a:gd name="T14" fmla="*/ 76 w 107"/>
                <a:gd name="T15" fmla="*/ 50 h 86"/>
                <a:gd name="T16" fmla="*/ 100 w 107"/>
                <a:gd name="T17" fmla="*/ 30 h 86"/>
                <a:gd name="T18" fmla="*/ 81 w 107"/>
                <a:gd name="T19" fmla="*/ 15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7" h="86">
                  <a:moveTo>
                    <a:pt x="81" y="15"/>
                  </a:moveTo>
                  <a:cubicBezTo>
                    <a:pt x="71" y="14"/>
                    <a:pt x="46" y="0"/>
                    <a:pt x="43" y="16"/>
                  </a:cubicBezTo>
                  <a:cubicBezTo>
                    <a:pt x="43" y="16"/>
                    <a:pt x="35" y="35"/>
                    <a:pt x="39" y="43"/>
                  </a:cubicBezTo>
                  <a:cubicBezTo>
                    <a:pt x="43" y="51"/>
                    <a:pt x="39" y="56"/>
                    <a:pt x="29" y="59"/>
                  </a:cubicBezTo>
                  <a:cubicBezTo>
                    <a:pt x="19" y="62"/>
                    <a:pt x="0" y="74"/>
                    <a:pt x="1" y="80"/>
                  </a:cubicBezTo>
                  <a:cubicBezTo>
                    <a:pt x="2" y="86"/>
                    <a:pt x="14" y="81"/>
                    <a:pt x="23" y="75"/>
                  </a:cubicBezTo>
                  <a:cubicBezTo>
                    <a:pt x="32" y="69"/>
                    <a:pt x="42" y="63"/>
                    <a:pt x="54" y="60"/>
                  </a:cubicBezTo>
                  <a:cubicBezTo>
                    <a:pt x="66" y="57"/>
                    <a:pt x="71" y="62"/>
                    <a:pt x="76" y="50"/>
                  </a:cubicBezTo>
                  <a:cubicBezTo>
                    <a:pt x="81" y="38"/>
                    <a:pt x="107" y="40"/>
                    <a:pt x="100" y="30"/>
                  </a:cubicBezTo>
                  <a:cubicBezTo>
                    <a:pt x="94" y="20"/>
                    <a:pt x="91" y="16"/>
                    <a:pt x="81" y="1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401" name="Freeform 25565"/>
            <p:cNvSpPr>
              <a:spLocks/>
            </p:cNvSpPr>
            <p:nvPr/>
          </p:nvSpPr>
          <p:spPr bwMode="auto">
            <a:xfrm>
              <a:off x="351045" y="2389037"/>
              <a:ext cx="15310" cy="11679"/>
            </a:xfrm>
            <a:custGeom>
              <a:avLst/>
              <a:gdLst>
                <a:gd name="T0" fmla="*/ 29 w 41"/>
                <a:gd name="T1" fmla="*/ 2 h 31"/>
                <a:gd name="T2" fmla="*/ 2 w 41"/>
                <a:gd name="T3" fmla="*/ 19 h 31"/>
                <a:gd name="T4" fmla="*/ 19 w 41"/>
                <a:gd name="T5" fmla="*/ 26 h 31"/>
                <a:gd name="T6" fmla="*/ 41 w 41"/>
                <a:gd name="T7" fmla="*/ 12 h 31"/>
                <a:gd name="T8" fmla="*/ 29 w 41"/>
                <a:gd name="T9" fmla="*/ 2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31">
                  <a:moveTo>
                    <a:pt x="29" y="2"/>
                  </a:moveTo>
                  <a:cubicBezTo>
                    <a:pt x="29" y="2"/>
                    <a:pt x="0" y="8"/>
                    <a:pt x="2" y="19"/>
                  </a:cubicBezTo>
                  <a:cubicBezTo>
                    <a:pt x="3" y="30"/>
                    <a:pt x="16" y="31"/>
                    <a:pt x="19" y="26"/>
                  </a:cubicBezTo>
                  <a:cubicBezTo>
                    <a:pt x="22" y="21"/>
                    <a:pt x="41" y="18"/>
                    <a:pt x="41" y="12"/>
                  </a:cubicBezTo>
                  <a:cubicBezTo>
                    <a:pt x="41" y="6"/>
                    <a:pt x="39" y="0"/>
                    <a:pt x="29" y="2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402" name="Freeform 25566"/>
            <p:cNvSpPr>
              <a:spLocks/>
            </p:cNvSpPr>
            <p:nvPr/>
          </p:nvSpPr>
          <p:spPr bwMode="auto">
            <a:xfrm>
              <a:off x="376773" y="2359207"/>
              <a:ext cx="54768" cy="29830"/>
            </a:xfrm>
            <a:custGeom>
              <a:avLst/>
              <a:gdLst>
                <a:gd name="T0" fmla="*/ 145 w 147"/>
                <a:gd name="T1" fmla="*/ 21 h 80"/>
                <a:gd name="T2" fmla="*/ 122 w 147"/>
                <a:gd name="T3" fmla="*/ 1 h 80"/>
                <a:gd name="T4" fmla="*/ 95 w 147"/>
                <a:gd name="T5" fmla="*/ 15 h 80"/>
                <a:gd name="T6" fmla="*/ 70 w 147"/>
                <a:gd name="T7" fmla="*/ 13 h 80"/>
                <a:gd name="T8" fmla="*/ 47 w 147"/>
                <a:gd name="T9" fmla="*/ 28 h 80"/>
                <a:gd name="T10" fmla="*/ 23 w 147"/>
                <a:gd name="T11" fmla="*/ 39 h 80"/>
                <a:gd name="T12" fmla="*/ 6 w 147"/>
                <a:gd name="T13" fmla="*/ 63 h 80"/>
                <a:gd name="T14" fmla="*/ 38 w 147"/>
                <a:gd name="T15" fmla="*/ 70 h 80"/>
                <a:gd name="T16" fmla="*/ 64 w 147"/>
                <a:gd name="T17" fmla="*/ 54 h 80"/>
                <a:gd name="T18" fmla="*/ 113 w 147"/>
                <a:gd name="T19" fmla="*/ 45 h 80"/>
                <a:gd name="T20" fmla="*/ 115 w 147"/>
                <a:gd name="T21" fmla="*/ 25 h 80"/>
                <a:gd name="T22" fmla="*/ 145 w 147"/>
                <a:gd name="T23" fmla="*/ 21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7" h="80">
                  <a:moveTo>
                    <a:pt x="145" y="21"/>
                  </a:moveTo>
                  <a:cubicBezTo>
                    <a:pt x="143" y="11"/>
                    <a:pt x="142" y="0"/>
                    <a:pt x="122" y="1"/>
                  </a:cubicBezTo>
                  <a:cubicBezTo>
                    <a:pt x="103" y="2"/>
                    <a:pt x="112" y="25"/>
                    <a:pt x="95" y="15"/>
                  </a:cubicBezTo>
                  <a:cubicBezTo>
                    <a:pt x="78" y="5"/>
                    <a:pt x="78" y="5"/>
                    <a:pt x="70" y="13"/>
                  </a:cubicBezTo>
                  <a:cubicBezTo>
                    <a:pt x="62" y="21"/>
                    <a:pt x="73" y="22"/>
                    <a:pt x="47" y="28"/>
                  </a:cubicBezTo>
                  <a:cubicBezTo>
                    <a:pt x="47" y="28"/>
                    <a:pt x="25" y="29"/>
                    <a:pt x="23" y="39"/>
                  </a:cubicBezTo>
                  <a:cubicBezTo>
                    <a:pt x="21" y="49"/>
                    <a:pt x="0" y="54"/>
                    <a:pt x="6" y="63"/>
                  </a:cubicBezTo>
                  <a:cubicBezTo>
                    <a:pt x="12" y="72"/>
                    <a:pt x="34" y="80"/>
                    <a:pt x="38" y="70"/>
                  </a:cubicBezTo>
                  <a:cubicBezTo>
                    <a:pt x="42" y="60"/>
                    <a:pt x="51" y="54"/>
                    <a:pt x="64" y="54"/>
                  </a:cubicBezTo>
                  <a:cubicBezTo>
                    <a:pt x="77" y="54"/>
                    <a:pt x="113" y="45"/>
                    <a:pt x="113" y="45"/>
                  </a:cubicBezTo>
                  <a:cubicBezTo>
                    <a:pt x="113" y="45"/>
                    <a:pt x="106" y="29"/>
                    <a:pt x="115" y="25"/>
                  </a:cubicBezTo>
                  <a:cubicBezTo>
                    <a:pt x="124" y="21"/>
                    <a:pt x="147" y="31"/>
                    <a:pt x="145" y="21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403" name="Freeform 25567"/>
            <p:cNvSpPr>
              <a:spLocks/>
            </p:cNvSpPr>
            <p:nvPr/>
          </p:nvSpPr>
          <p:spPr bwMode="auto">
            <a:xfrm>
              <a:off x="618100" y="2240989"/>
              <a:ext cx="72288" cy="69763"/>
            </a:xfrm>
            <a:custGeom>
              <a:avLst/>
              <a:gdLst>
                <a:gd name="T0" fmla="*/ 181 w 194"/>
                <a:gd name="T1" fmla="*/ 35 h 187"/>
                <a:gd name="T2" fmla="*/ 150 w 194"/>
                <a:gd name="T3" fmla="*/ 20 h 187"/>
                <a:gd name="T4" fmla="*/ 148 w 194"/>
                <a:gd name="T5" fmla="*/ 1 h 187"/>
                <a:gd name="T6" fmla="*/ 131 w 194"/>
                <a:gd name="T7" fmla="*/ 22 h 187"/>
                <a:gd name="T8" fmla="*/ 123 w 194"/>
                <a:gd name="T9" fmla="*/ 32 h 187"/>
                <a:gd name="T10" fmla="*/ 102 w 194"/>
                <a:gd name="T11" fmla="*/ 50 h 187"/>
                <a:gd name="T12" fmla="*/ 97 w 194"/>
                <a:gd name="T13" fmla="*/ 69 h 187"/>
                <a:gd name="T14" fmla="*/ 101 w 194"/>
                <a:gd name="T15" fmla="*/ 84 h 187"/>
                <a:gd name="T16" fmla="*/ 82 w 194"/>
                <a:gd name="T17" fmla="*/ 83 h 187"/>
                <a:gd name="T18" fmla="*/ 67 w 194"/>
                <a:gd name="T19" fmla="*/ 72 h 187"/>
                <a:gd name="T20" fmla="*/ 59 w 194"/>
                <a:gd name="T21" fmla="*/ 87 h 187"/>
                <a:gd name="T22" fmla="*/ 71 w 194"/>
                <a:gd name="T23" fmla="*/ 107 h 187"/>
                <a:gd name="T24" fmla="*/ 58 w 194"/>
                <a:gd name="T25" fmla="*/ 111 h 187"/>
                <a:gd name="T26" fmla="*/ 38 w 194"/>
                <a:gd name="T27" fmla="*/ 87 h 187"/>
                <a:gd name="T28" fmla="*/ 22 w 194"/>
                <a:gd name="T29" fmla="*/ 105 h 187"/>
                <a:gd name="T30" fmla="*/ 7 w 194"/>
                <a:gd name="T31" fmla="*/ 129 h 187"/>
                <a:gd name="T32" fmla="*/ 29 w 194"/>
                <a:gd name="T33" fmla="*/ 157 h 187"/>
                <a:gd name="T34" fmla="*/ 47 w 194"/>
                <a:gd name="T35" fmla="*/ 169 h 187"/>
                <a:gd name="T36" fmla="*/ 65 w 194"/>
                <a:gd name="T37" fmla="*/ 174 h 187"/>
                <a:gd name="T38" fmla="*/ 78 w 194"/>
                <a:gd name="T39" fmla="*/ 151 h 187"/>
                <a:gd name="T40" fmla="*/ 94 w 194"/>
                <a:gd name="T41" fmla="*/ 147 h 187"/>
                <a:gd name="T42" fmla="*/ 117 w 194"/>
                <a:gd name="T43" fmla="*/ 144 h 187"/>
                <a:gd name="T44" fmla="*/ 127 w 194"/>
                <a:gd name="T45" fmla="*/ 128 h 187"/>
                <a:gd name="T46" fmla="*/ 143 w 194"/>
                <a:gd name="T47" fmla="*/ 116 h 187"/>
                <a:gd name="T48" fmla="*/ 161 w 194"/>
                <a:gd name="T49" fmla="*/ 107 h 187"/>
                <a:gd name="T50" fmla="*/ 152 w 194"/>
                <a:gd name="T51" fmla="*/ 86 h 187"/>
                <a:gd name="T52" fmla="*/ 138 w 194"/>
                <a:gd name="T53" fmla="*/ 70 h 187"/>
                <a:gd name="T54" fmla="*/ 124 w 194"/>
                <a:gd name="T55" fmla="*/ 62 h 187"/>
                <a:gd name="T56" fmla="*/ 158 w 194"/>
                <a:gd name="T57" fmla="*/ 47 h 187"/>
                <a:gd name="T58" fmla="*/ 174 w 194"/>
                <a:gd name="T59" fmla="*/ 44 h 187"/>
                <a:gd name="T60" fmla="*/ 181 w 194"/>
                <a:gd name="T61" fmla="*/ 35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94" h="187">
                  <a:moveTo>
                    <a:pt x="181" y="35"/>
                  </a:moveTo>
                  <a:cubicBezTo>
                    <a:pt x="167" y="24"/>
                    <a:pt x="147" y="30"/>
                    <a:pt x="150" y="20"/>
                  </a:cubicBezTo>
                  <a:cubicBezTo>
                    <a:pt x="154" y="10"/>
                    <a:pt x="157" y="0"/>
                    <a:pt x="148" y="1"/>
                  </a:cubicBezTo>
                  <a:cubicBezTo>
                    <a:pt x="139" y="3"/>
                    <a:pt x="138" y="15"/>
                    <a:pt x="131" y="22"/>
                  </a:cubicBezTo>
                  <a:cubicBezTo>
                    <a:pt x="124" y="28"/>
                    <a:pt x="140" y="19"/>
                    <a:pt x="123" y="32"/>
                  </a:cubicBezTo>
                  <a:cubicBezTo>
                    <a:pt x="123" y="32"/>
                    <a:pt x="108" y="43"/>
                    <a:pt x="102" y="50"/>
                  </a:cubicBezTo>
                  <a:cubicBezTo>
                    <a:pt x="95" y="57"/>
                    <a:pt x="91" y="64"/>
                    <a:pt x="97" y="69"/>
                  </a:cubicBezTo>
                  <a:cubicBezTo>
                    <a:pt x="104" y="74"/>
                    <a:pt x="112" y="76"/>
                    <a:pt x="101" y="84"/>
                  </a:cubicBezTo>
                  <a:cubicBezTo>
                    <a:pt x="90" y="91"/>
                    <a:pt x="87" y="92"/>
                    <a:pt x="82" y="83"/>
                  </a:cubicBezTo>
                  <a:cubicBezTo>
                    <a:pt x="77" y="74"/>
                    <a:pt x="74" y="69"/>
                    <a:pt x="67" y="72"/>
                  </a:cubicBezTo>
                  <a:cubicBezTo>
                    <a:pt x="60" y="75"/>
                    <a:pt x="52" y="81"/>
                    <a:pt x="59" y="87"/>
                  </a:cubicBezTo>
                  <a:cubicBezTo>
                    <a:pt x="67" y="93"/>
                    <a:pt x="71" y="100"/>
                    <a:pt x="71" y="107"/>
                  </a:cubicBezTo>
                  <a:cubicBezTo>
                    <a:pt x="71" y="113"/>
                    <a:pt x="66" y="122"/>
                    <a:pt x="58" y="111"/>
                  </a:cubicBezTo>
                  <a:cubicBezTo>
                    <a:pt x="49" y="100"/>
                    <a:pt x="46" y="83"/>
                    <a:pt x="38" y="87"/>
                  </a:cubicBezTo>
                  <a:cubicBezTo>
                    <a:pt x="29" y="91"/>
                    <a:pt x="36" y="102"/>
                    <a:pt x="22" y="105"/>
                  </a:cubicBezTo>
                  <a:cubicBezTo>
                    <a:pt x="9" y="108"/>
                    <a:pt x="0" y="124"/>
                    <a:pt x="7" y="129"/>
                  </a:cubicBezTo>
                  <a:cubicBezTo>
                    <a:pt x="14" y="134"/>
                    <a:pt x="16" y="157"/>
                    <a:pt x="29" y="157"/>
                  </a:cubicBezTo>
                  <a:cubicBezTo>
                    <a:pt x="42" y="157"/>
                    <a:pt x="46" y="161"/>
                    <a:pt x="47" y="169"/>
                  </a:cubicBezTo>
                  <a:cubicBezTo>
                    <a:pt x="48" y="176"/>
                    <a:pt x="59" y="187"/>
                    <a:pt x="65" y="174"/>
                  </a:cubicBezTo>
                  <a:cubicBezTo>
                    <a:pt x="70" y="161"/>
                    <a:pt x="69" y="150"/>
                    <a:pt x="78" y="151"/>
                  </a:cubicBezTo>
                  <a:cubicBezTo>
                    <a:pt x="87" y="153"/>
                    <a:pt x="88" y="133"/>
                    <a:pt x="94" y="147"/>
                  </a:cubicBezTo>
                  <a:cubicBezTo>
                    <a:pt x="100" y="161"/>
                    <a:pt x="113" y="155"/>
                    <a:pt x="117" y="144"/>
                  </a:cubicBezTo>
                  <a:cubicBezTo>
                    <a:pt x="121" y="133"/>
                    <a:pt x="137" y="139"/>
                    <a:pt x="127" y="128"/>
                  </a:cubicBezTo>
                  <a:cubicBezTo>
                    <a:pt x="117" y="117"/>
                    <a:pt x="132" y="111"/>
                    <a:pt x="143" y="116"/>
                  </a:cubicBezTo>
                  <a:cubicBezTo>
                    <a:pt x="154" y="121"/>
                    <a:pt x="161" y="117"/>
                    <a:pt x="161" y="107"/>
                  </a:cubicBezTo>
                  <a:cubicBezTo>
                    <a:pt x="161" y="98"/>
                    <a:pt x="160" y="92"/>
                    <a:pt x="152" y="86"/>
                  </a:cubicBezTo>
                  <a:cubicBezTo>
                    <a:pt x="145" y="79"/>
                    <a:pt x="146" y="69"/>
                    <a:pt x="138" y="70"/>
                  </a:cubicBezTo>
                  <a:cubicBezTo>
                    <a:pt x="129" y="70"/>
                    <a:pt x="109" y="70"/>
                    <a:pt x="124" y="62"/>
                  </a:cubicBezTo>
                  <a:cubicBezTo>
                    <a:pt x="139" y="54"/>
                    <a:pt x="156" y="53"/>
                    <a:pt x="158" y="47"/>
                  </a:cubicBezTo>
                  <a:cubicBezTo>
                    <a:pt x="160" y="41"/>
                    <a:pt x="169" y="35"/>
                    <a:pt x="174" y="44"/>
                  </a:cubicBezTo>
                  <a:cubicBezTo>
                    <a:pt x="179" y="54"/>
                    <a:pt x="194" y="46"/>
                    <a:pt x="181" y="3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404" name="Freeform 25568"/>
            <p:cNvSpPr>
              <a:spLocks/>
            </p:cNvSpPr>
            <p:nvPr/>
          </p:nvSpPr>
          <p:spPr bwMode="auto">
            <a:xfrm>
              <a:off x="775776" y="2173120"/>
              <a:ext cx="13732" cy="23833"/>
            </a:xfrm>
            <a:custGeom>
              <a:avLst/>
              <a:gdLst>
                <a:gd name="T0" fmla="*/ 21 w 37"/>
                <a:gd name="T1" fmla="*/ 38 h 64"/>
                <a:gd name="T2" fmla="*/ 32 w 37"/>
                <a:gd name="T3" fmla="*/ 30 h 64"/>
                <a:gd name="T4" fmla="*/ 35 w 37"/>
                <a:gd name="T5" fmla="*/ 15 h 64"/>
                <a:gd name="T6" fmla="*/ 25 w 37"/>
                <a:gd name="T7" fmla="*/ 7 h 64"/>
                <a:gd name="T8" fmla="*/ 15 w 37"/>
                <a:gd name="T9" fmla="*/ 19 h 64"/>
                <a:gd name="T10" fmla="*/ 12 w 37"/>
                <a:gd name="T11" fmla="*/ 31 h 64"/>
                <a:gd name="T12" fmla="*/ 1 w 37"/>
                <a:gd name="T13" fmla="*/ 47 h 64"/>
                <a:gd name="T14" fmla="*/ 7 w 37"/>
                <a:gd name="T15" fmla="*/ 56 h 64"/>
                <a:gd name="T16" fmla="*/ 21 w 37"/>
                <a:gd name="T17" fmla="*/ 38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7" h="64">
                  <a:moveTo>
                    <a:pt x="21" y="38"/>
                  </a:moveTo>
                  <a:cubicBezTo>
                    <a:pt x="27" y="37"/>
                    <a:pt x="27" y="30"/>
                    <a:pt x="32" y="30"/>
                  </a:cubicBezTo>
                  <a:cubicBezTo>
                    <a:pt x="37" y="29"/>
                    <a:pt x="35" y="23"/>
                    <a:pt x="35" y="15"/>
                  </a:cubicBezTo>
                  <a:cubicBezTo>
                    <a:pt x="35" y="7"/>
                    <a:pt x="30" y="0"/>
                    <a:pt x="25" y="7"/>
                  </a:cubicBezTo>
                  <a:cubicBezTo>
                    <a:pt x="25" y="7"/>
                    <a:pt x="18" y="17"/>
                    <a:pt x="15" y="19"/>
                  </a:cubicBezTo>
                  <a:cubicBezTo>
                    <a:pt x="12" y="21"/>
                    <a:pt x="21" y="28"/>
                    <a:pt x="12" y="31"/>
                  </a:cubicBezTo>
                  <a:cubicBezTo>
                    <a:pt x="2" y="33"/>
                    <a:pt x="3" y="40"/>
                    <a:pt x="1" y="47"/>
                  </a:cubicBezTo>
                  <a:cubicBezTo>
                    <a:pt x="0" y="54"/>
                    <a:pt x="3" y="64"/>
                    <a:pt x="7" y="56"/>
                  </a:cubicBezTo>
                  <a:cubicBezTo>
                    <a:pt x="11" y="49"/>
                    <a:pt x="15" y="40"/>
                    <a:pt x="21" y="38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rnd">
              <a:solidFill>
                <a:schemeClr val="bg1">
                  <a:lumMod val="9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405" name="Freeform 25569"/>
            <p:cNvSpPr>
              <a:spLocks/>
            </p:cNvSpPr>
            <p:nvPr/>
          </p:nvSpPr>
          <p:spPr bwMode="auto">
            <a:xfrm>
              <a:off x="781301" y="2180223"/>
              <a:ext cx="22886" cy="24306"/>
            </a:xfrm>
            <a:custGeom>
              <a:avLst/>
              <a:gdLst>
                <a:gd name="T0" fmla="*/ 55 w 61"/>
                <a:gd name="T1" fmla="*/ 2 h 65"/>
                <a:gd name="T2" fmla="*/ 45 w 61"/>
                <a:gd name="T3" fmla="*/ 4 h 65"/>
                <a:gd name="T4" fmla="*/ 35 w 61"/>
                <a:gd name="T5" fmla="*/ 18 h 65"/>
                <a:gd name="T6" fmla="*/ 20 w 61"/>
                <a:gd name="T7" fmla="*/ 31 h 65"/>
                <a:gd name="T8" fmla="*/ 6 w 61"/>
                <a:gd name="T9" fmla="*/ 39 h 65"/>
                <a:gd name="T10" fmla="*/ 3 w 61"/>
                <a:gd name="T11" fmla="*/ 59 h 65"/>
                <a:gd name="T12" fmla="*/ 18 w 61"/>
                <a:gd name="T13" fmla="*/ 62 h 65"/>
                <a:gd name="T14" fmla="*/ 36 w 61"/>
                <a:gd name="T15" fmla="*/ 43 h 65"/>
                <a:gd name="T16" fmla="*/ 49 w 61"/>
                <a:gd name="T17" fmla="*/ 25 h 65"/>
                <a:gd name="T18" fmla="*/ 60 w 61"/>
                <a:gd name="T19" fmla="*/ 14 h 65"/>
                <a:gd name="T20" fmla="*/ 55 w 61"/>
                <a:gd name="T21" fmla="*/ 2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1" h="65">
                  <a:moveTo>
                    <a:pt x="55" y="2"/>
                  </a:moveTo>
                  <a:cubicBezTo>
                    <a:pt x="49" y="3"/>
                    <a:pt x="48" y="0"/>
                    <a:pt x="45" y="4"/>
                  </a:cubicBezTo>
                  <a:cubicBezTo>
                    <a:pt x="45" y="4"/>
                    <a:pt x="43" y="13"/>
                    <a:pt x="35" y="18"/>
                  </a:cubicBezTo>
                  <a:cubicBezTo>
                    <a:pt x="27" y="23"/>
                    <a:pt x="23" y="27"/>
                    <a:pt x="20" y="31"/>
                  </a:cubicBezTo>
                  <a:cubicBezTo>
                    <a:pt x="17" y="35"/>
                    <a:pt x="10" y="36"/>
                    <a:pt x="6" y="39"/>
                  </a:cubicBezTo>
                  <a:cubicBezTo>
                    <a:pt x="2" y="42"/>
                    <a:pt x="0" y="55"/>
                    <a:pt x="3" y="59"/>
                  </a:cubicBezTo>
                  <a:cubicBezTo>
                    <a:pt x="5" y="64"/>
                    <a:pt x="9" y="65"/>
                    <a:pt x="18" y="62"/>
                  </a:cubicBezTo>
                  <a:cubicBezTo>
                    <a:pt x="28" y="58"/>
                    <a:pt x="31" y="54"/>
                    <a:pt x="36" y="43"/>
                  </a:cubicBezTo>
                  <a:cubicBezTo>
                    <a:pt x="41" y="32"/>
                    <a:pt x="42" y="30"/>
                    <a:pt x="49" y="25"/>
                  </a:cubicBezTo>
                  <a:cubicBezTo>
                    <a:pt x="56" y="21"/>
                    <a:pt x="58" y="19"/>
                    <a:pt x="60" y="14"/>
                  </a:cubicBezTo>
                  <a:cubicBezTo>
                    <a:pt x="61" y="9"/>
                    <a:pt x="61" y="2"/>
                    <a:pt x="55" y="2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rnd">
              <a:solidFill>
                <a:schemeClr val="bg1">
                  <a:lumMod val="9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406" name="Freeform 25570"/>
            <p:cNvSpPr>
              <a:spLocks/>
            </p:cNvSpPr>
            <p:nvPr/>
          </p:nvSpPr>
          <p:spPr bwMode="auto">
            <a:xfrm>
              <a:off x="304800" y="1743180"/>
              <a:ext cx="902021" cy="628811"/>
            </a:xfrm>
            <a:custGeom>
              <a:avLst/>
              <a:gdLst>
                <a:gd name="T0" fmla="*/ 2137 w 2419"/>
                <a:gd name="T1" fmla="*/ 1303 h 1686"/>
                <a:gd name="T2" fmla="*/ 1962 w 2419"/>
                <a:gd name="T3" fmla="*/ 1303 h 1686"/>
                <a:gd name="T4" fmla="*/ 1784 w 2419"/>
                <a:gd name="T5" fmla="*/ 1189 h 1686"/>
                <a:gd name="T6" fmla="*/ 1654 w 2419"/>
                <a:gd name="T7" fmla="*/ 186 h 1686"/>
                <a:gd name="T8" fmla="*/ 1287 w 2419"/>
                <a:gd name="T9" fmla="*/ 137 h 1686"/>
                <a:gd name="T10" fmla="*/ 1084 w 2419"/>
                <a:gd name="T11" fmla="*/ 117 h 1686"/>
                <a:gd name="T12" fmla="*/ 903 w 2419"/>
                <a:gd name="T13" fmla="*/ 60 h 1686"/>
                <a:gd name="T14" fmla="*/ 791 w 2419"/>
                <a:gd name="T15" fmla="*/ 43 h 1686"/>
                <a:gd name="T16" fmla="*/ 644 w 2419"/>
                <a:gd name="T17" fmla="*/ 65 h 1686"/>
                <a:gd name="T18" fmla="*/ 555 w 2419"/>
                <a:gd name="T19" fmla="*/ 113 h 1686"/>
                <a:gd name="T20" fmla="*/ 425 w 2419"/>
                <a:gd name="T21" fmla="*/ 138 h 1686"/>
                <a:gd name="T22" fmla="*/ 257 w 2419"/>
                <a:gd name="T23" fmla="*/ 278 h 1686"/>
                <a:gd name="T24" fmla="*/ 81 w 2419"/>
                <a:gd name="T25" fmla="*/ 360 h 1686"/>
                <a:gd name="T26" fmla="*/ 312 w 2419"/>
                <a:gd name="T27" fmla="*/ 500 h 1686"/>
                <a:gd name="T28" fmla="*/ 380 w 2419"/>
                <a:gd name="T29" fmla="*/ 523 h 1686"/>
                <a:gd name="T30" fmla="*/ 380 w 2419"/>
                <a:gd name="T31" fmla="*/ 535 h 1686"/>
                <a:gd name="T32" fmla="*/ 474 w 2419"/>
                <a:gd name="T33" fmla="*/ 567 h 1686"/>
                <a:gd name="T34" fmla="*/ 329 w 2419"/>
                <a:gd name="T35" fmla="*/ 601 h 1686"/>
                <a:gd name="T36" fmla="*/ 194 w 2419"/>
                <a:gd name="T37" fmla="*/ 556 h 1686"/>
                <a:gd name="T38" fmla="*/ 23 w 2419"/>
                <a:gd name="T39" fmla="*/ 635 h 1686"/>
                <a:gd name="T40" fmla="*/ 69 w 2419"/>
                <a:gd name="T41" fmla="*/ 701 h 1686"/>
                <a:gd name="T42" fmla="*/ 284 w 2419"/>
                <a:gd name="T43" fmla="*/ 759 h 1686"/>
                <a:gd name="T44" fmla="*/ 401 w 2419"/>
                <a:gd name="T45" fmla="*/ 732 h 1686"/>
                <a:gd name="T46" fmla="*/ 447 w 2419"/>
                <a:gd name="T47" fmla="*/ 800 h 1686"/>
                <a:gd name="T48" fmla="*/ 350 w 2419"/>
                <a:gd name="T49" fmla="*/ 852 h 1686"/>
                <a:gd name="T50" fmla="*/ 227 w 2419"/>
                <a:gd name="T51" fmla="*/ 898 h 1686"/>
                <a:gd name="T52" fmla="*/ 144 w 2419"/>
                <a:gd name="T53" fmla="*/ 1019 h 1686"/>
                <a:gd name="T54" fmla="*/ 186 w 2419"/>
                <a:gd name="T55" fmla="*/ 1093 h 1686"/>
                <a:gd name="T56" fmla="*/ 268 w 2419"/>
                <a:gd name="T57" fmla="*/ 1150 h 1686"/>
                <a:gd name="T58" fmla="*/ 196 w 2419"/>
                <a:gd name="T59" fmla="*/ 1182 h 1686"/>
                <a:gd name="T60" fmla="*/ 348 w 2419"/>
                <a:gd name="T61" fmla="*/ 1174 h 1686"/>
                <a:gd name="T62" fmla="*/ 381 w 2419"/>
                <a:gd name="T63" fmla="*/ 1227 h 1686"/>
                <a:gd name="T64" fmla="*/ 399 w 2419"/>
                <a:gd name="T65" fmla="*/ 1346 h 1686"/>
                <a:gd name="T66" fmla="*/ 483 w 2419"/>
                <a:gd name="T67" fmla="*/ 1302 h 1686"/>
                <a:gd name="T68" fmla="*/ 589 w 2419"/>
                <a:gd name="T69" fmla="*/ 1326 h 1686"/>
                <a:gd name="T70" fmla="*/ 680 w 2419"/>
                <a:gd name="T71" fmla="*/ 1344 h 1686"/>
                <a:gd name="T72" fmla="*/ 583 w 2419"/>
                <a:gd name="T73" fmla="*/ 1505 h 1686"/>
                <a:gd name="T74" fmla="*/ 461 w 2419"/>
                <a:gd name="T75" fmla="*/ 1601 h 1686"/>
                <a:gd name="T76" fmla="*/ 334 w 2419"/>
                <a:gd name="T77" fmla="*/ 1647 h 1686"/>
                <a:gd name="T78" fmla="*/ 444 w 2419"/>
                <a:gd name="T79" fmla="*/ 1634 h 1686"/>
                <a:gd name="T80" fmla="*/ 505 w 2419"/>
                <a:gd name="T81" fmla="*/ 1609 h 1686"/>
                <a:gd name="T82" fmla="*/ 617 w 2419"/>
                <a:gd name="T83" fmla="*/ 1574 h 1686"/>
                <a:gd name="T84" fmla="*/ 757 w 2419"/>
                <a:gd name="T85" fmla="*/ 1450 h 1686"/>
                <a:gd name="T86" fmla="*/ 922 w 2419"/>
                <a:gd name="T87" fmla="*/ 1303 h 1686"/>
                <a:gd name="T88" fmla="*/ 995 w 2419"/>
                <a:gd name="T89" fmla="*/ 1174 h 1686"/>
                <a:gd name="T90" fmla="*/ 1111 w 2419"/>
                <a:gd name="T91" fmla="*/ 1108 h 1686"/>
                <a:gd name="T92" fmla="*/ 1051 w 2419"/>
                <a:gd name="T93" fmla="*/ 1252 h 1686"/>
                <a:gd name="T94" fmla="*/ 1159 w 2419"/>
                <a:gd name="T95" fmla="*/ 1236 h 1686"/>
                <a:gd name="T96" fmla="*/ 1239 w 2419"/>
                <a:gd name="T97" fmla="*/ 1142 h 1686"/>
                <a:gd name="T98" fmla="*/ 1374 w 2419"/>
                <a:gd name="T99" fmla="*/ 1139 h 1686"/>
                <a:gd name="T100" fmla="*/ 1417 w 2419"/>
                <a:gd name="T101" fmla="*/ 1167 h 1686"/>
                <a:gd name="T102" fmla="*/ 1580 w 2419"/>
                <a:gd name="T103" fmla="*/ 1208 h 1686"/>
                <a:gd name="T104" fmla="*/ 1737 w 2419"/>
                <a:gd name="T105" fmla="*/ 1239 h 1686"/>
                <a:gd name="T106" fmla="*/ 1846 w 2419"/>
                <a:gd name="T107" fmla="*/ 1283 h 1686"/>
                <a:gd name="T108" fmla="*/ 2025 w 2419"/>
                <a:gd name="T109" fmla="*/ 1343 h 1686"/>
                <a:gd name="T110" fmla="*/ 2092 w 2419"/>
                <a:gd name="T111" fmla="*/ 1338 h 1686"/>
                <a:gd name="T112" fmla="*/ 2120 w 2419"/>
                <a:gd name="T113" fmla="*/ 1425 h 1686"/>
                <a:gd name="T114" fmla="*/ 2168 w 2419"/>
                <a:gd name="T115" fmla="*/ 1393 h 1686"/>
                <a:gd name="T116" fmla="*/ 2277 w 2419"/>
                <a:gd name="T117" fmla="*/ 1537 h 1686"/>
                <a:gd name="T118" fmla="*/ 2321 w 2419"/>
                <a:gd name="T119" fmla="*/ 1626 h 1686"/>
                <a:gd name="T120" fmla="*/ 2347 w 2419"/>
                <a:gd name="T121" fmla="*/ 1643 h 1686"/>
                <a:gd name="T122" fmla="*/ 2417 w 2419"/>
                <a:gd name="T123" fmla="*/ 1596 h 16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419" h="1686">
                  <a:moveTo>
                    <a:pt x="2373" y="1553"/>
                  </a:moveTo>
                  <a:cubicBezTo>
                    <a:pt x="2355" y="1545"/>
                    <a:pt x="2327" y="1536"/>
                    <a:pt x="2314" y="1528"/>
                  </a:cubicBezTo>
                  <a:cubicBezTo>
                    <a:pt x="2301" y="1520"/>
                    <a:pt x="2280" y="1493"/>
                    <a:pt x="2278" y="1477"/>
                  </a:cubicBezTo>
                  <a:cubicBezTo>
                    <a:pt x="2276" y="1461"/>
                    <a:pt x="2269" y="1451"/>
                    <a:pt x="2257" y="1441"/>
                  </a:cubicBezTo>
                  <a:cubicBezTo>
                    <a:pt x="2245" y="1430"/>
                    <a:pt x="2222" y="1389"/>
                    <a:pt x="2213" y="1372"/>
                  </a:cubicBezTo>
                  <a:cubicBezTo>
                    <a:pt x="2203" y="1355"/>
                    <a:pt x="2186" y="1333"/>
                    <a:pt x="2171" y="1329"/>
                  </a:cubicBezTo>
                  <a:cubicBezTo>
                    <a:pt x="2155" y="1325"/>
                    <a:pt x="2138" y="1317"/>
                    <a:pt x="2137" y="1303"/>
                  </a:cubicBezTo>
                  <a:cubicBezTo>
                    <a:pt x="2135" y="1289"/>
                    <a:pt x="2117" y="1283"/>
                    <a:pt x="2108" y="1279"/>
                  </a:cubicBezTo>
                  <a:cubicBezTo>
                    <a:pt x="2099" y="1275"/>
                    <a:pt x="2099" y="1260"/>
                    <a:pt x="2093" y="1245"/>
                  </a:cubicBezTo>
                  <a:cubicBezTo>
                    <a:pt x="2087" y="1229"/>
                    <a:pt x="2061" y="1230"/>
                    <a:pt x="2055" y="1235"/>
                  </a:cubicBezTo>
                  <a:cubicBezTo>
                    <a:pt x="2049" y="1239"/>
                    <a:pt x="2042" y="1243"/>
                    <a:pt x="2026" y="1244"/>
                  </a:cubicBezTo>
                  <a:cubicBezTo>
                    <a:pt x="2010" y="1245"/>
                    <a:pt x="2010" y="1267"/>
                    <a:pt x="2010" y="1275"/>
                  </a:cubicBezTo>
                  <a:cubicBezTo>
                    <a:pt x="2010" y="1283"/>
                    <a:pt x="1992" y="1291"/>
                    <a:pt x="1981" y="1291"/>
                  </a:cubicBezTo>
                  <a:cubicBezTo>
                    <a:pt x="1971" y="1292"/>
                    <a:pt x="1965" y="1297"/>
                    <a:pt x="1962" y="1303"/>
                  </a:cubicBezTo>
                  <a:cubicBezTo>
                    <a:pt x="1959" y="1309"/>
                    <a:pt x="1956" y="1312"/>
                    <a:pt x="1950" y="1311"/>
                  </a:cubicBezTo>
                  <a:cubicBezTo>
                    <a:pt x="1944" y="1309"/>
                    <a:pt x="1939" y="1294"/>
                    <a:pt x="1931" y="1279"/>
                  </a:cubicBezTo>
                  <a:cubicBezTo>
                    <a:pt x="1923" y="1263"/>
                    <a:pt x="1897" y="1252"/>
                    <a:pt x="1886" y="1243"/>
                  </a:cubicBezTo>
                  <a:cubicBezTo>
                    <a:pt x="1874" y="1235"/>
                    <a:pt x="1863" y="1217"/>
                    <a:pt x="1851" y="1217"/>
                  </a:cubicBezTo>
                  <a:cubicBezTo>
                    <a:pt x="1840" y="1217"/>
                    <a:pt x="1834" y="1203"/>
                    <a:pt x="1834" y="1189"/>
                  </a:cubicBezTo>
                  <a:cubicBezTo>
                    <a:pt x="1835" y="1175"/>
                    <a:pt x="1826" y="1178"/>
                    <a:pt x="1809" y="1177"/>
                  </a:cubicBezTo>
                  <a:cubicBezTo>
                    <a:pt x="1792" y="1176"/>
                    <a:pt x="1792" y="1186"/>
                    <a:pt x="1784" y="1189"/>
                  </a:cubicBezTo>
                  <a:cubicBezTo>
                    <a:pt x="1776" y="1192"/>
                    <a:pt x="1769" y="1190"/>
                    <a:pt x="1761" y="1183"/>
                  </a:cubicBezTo>
                  <a:cubicBezTo>
                    <a:pt x="1753" y="1176"/>
                    <a:pt x="1744" y="1190"/>
                    <a:pt x="1739" y="1190"/>
                  </a:cubicBezTo>
                  <a:cubicBezTo>
                    <a:pt x="1733" y="1190"/>
                    <a:pt x="1727" y="1186"/>
                    <a:pt x="1724" y="1180"/>
                  </a:cubicBezTo>
                  <a:cubicBezTo>
                    <a:pt x="1721" y="1175"/>
                    <a:pt x="1714" y="1168"/>
                    <a:pt x="1714" y="1168"/>
                  </a:cubicBezTo>
                  <a:cubicBezTo>
                    <a:pt x="1712" y="204"/>
                    <a:pt x="1712" y="204"/>
                    <a:pt x="1712" y="204"/>
                  </a:cubicBezTo>
                  <a:cubicBezTo>
                    <a:pt x="1701" y="203"/>
                    <a:pt x="1694" y="206"/>
                    <a:pt x="1684" y="200"/>
                  </a:cubicBezTo>
                  <a:cubicBezTo>
                    <a:pt x="1674" y="193"/>
                    <a:pt x="1670" y="185"/>
                    <a:pt x="1654" y="186"/>
                  </a:cubicBezTo>
                  <a:cubicBezTo>
                    <a:pt x="1638" y="188"/>
                    <a:pt x="1618" y="157"/>
                    <a:pt x="1599" y="159"/>
                  </a:cubicBezTo>
                  <a:cubicBezTo>
                    <a:pt x="1580" y="160"/>
                    <a:pt x="1583" y="147"/>
                    <a:pt x="1563" y="150"/>
                  </a:cubicBezTo>
                  <a:cubicBezTo>
                    <a:pt x="1544" y="153"/>
                    <a:pt x="1534" y="161"/>
                    <a:pt x="1515" y="161"/>
                  </a:cubicBezTo>
                  <a:cubicBezTo>
                    <a:pt x="1496" y="161"/>
                    <a:pt x="1496" y="165"/>
                    <a:pt x="1485" y="169"/>
                  </a:cubicBezTo>
                  <a:cubicBezTo>
                    <a:pt x="1474" y="174"/>
                    <a:pt x="1460" y="175"/>
                    <a:pt x="1443" y="167"/>
                  </a:cubicBezTo>
                  <a:cubicBezTo>
                    <a:pt x="1426" y="160"/>
                    <a:pt x="1403" y="148"/>
                    <a:pt x="1385" y="146"/>
                  </a:cubicBezTo>
                  <a:cubicBezTo>
                    <a:pt x="1367" y="143"/>
                    <a:pt x="1294" y="142"/>
                    <a:pt x="1287" y="137"/>
                  </a:cubicBezTo>
                  <a:cubicBezTo>
                    <a:pt x="1281" y="132"/>
                    <a:pt x="1272" y="127"/>
                    <a:pt x="1257" y="127"/>
                  </a:cubicBezTo>
                  <a:cubicBezTo>
                    <a:pt x="1242" y="127"/>
                    <a:pt x="1225" y="123"/>
                    <a:pt x="1219" y="116"/>
                  </a:cubicBezTo>
                  <a:cubicBezTo>
                    <a:pt x="1214" y="108"/>
                    <a:pt x="1195" y="109"/>
                    <a:pt x="1176" y="110"/>
                  </a:cubicBezTo>
                  <a:cubicBezTo>
                    <a:pt x="1158" y="111"/>
                    <a:pt x="1152" y="104"/>
                    <a:pt x="1145" y="114"/>
                  </a:cubicBezTo>
                  <a:cubicBezTo>
                    <a:pt x="1139" y="125"/>
                    <a:pt x="1119" y="123"/>
                    <a:pt x="1117" y="119"/>
                  </a:cubicBezTo>
                  <a:cubicBezTo>
                    <a:pt x="1115" y="114"/>
                    <a:pt x="1112" y="110"/>
                    <a:pt x="1099" y="110"/>
                  </a:cubicBezTo>
                  <a:cubicBezTo>
                    <a:pt x="1086" y="110"/>
                    <a:pt x="1088" y="107"/>
                    <a:pt x="1084" y="117"/>
                  </a:cubicBezTo>
                  <a:cubicBezTo>
                    <a:pt x="1080" y="126"/>
                    <a:pt x="1069" y="122"/>
                    <a:pt x="1054" y="122"/>
                  </a:cubicBezTo>
                  <a:cubicBezTo>
                    <a:pt x="1039" y="122"/>
                    <a:pt x="1031" y="122"/>
                    <a:pt x="1028" y="114"/>
                  </a:cubicBezTo>
                  <a:cubicBezTo>
                    <a:pt x="1025" y="107"/>
                    <a:pt x="1025" y="103"/>
                    <a:pt x="1013" y="103"/>
                  </a:cubicBezTo>
                  <a:cubicBezTo>
                    <a:pt x="1001" y="103"/>
                    <a:pt x="987" y="100"/>
                    <a:pt x="988" y="91"/>
                  </a:cubicBezTo>
                  <a:cubicBezTo>
                    <a:pt x="989" y="81"/>
                    <a:pt x="1002" y="66"/>
                    <a:pt x="989" y="66"/>
                  </a:cubicBezTo>
                  <a:cubicBezTo>
                    <a:pt x="976" y="66"/>
                    <a:pt x="967" y="74"/>
                    <a:pt x="958" y="66"/>
                  </a:cubicBezTo>
                  <a:cubicBezTo>
                    <a:pt x="950" y="59"/>
                    <a:pt x="921" y="59"/>
                    <a:pt x="903" y="60"/>
                  </a:cubicBezTo>
                  <a:cubicBezTo>
                    <a:pt x="886" y="61"/>
                    <a:pt x="898" y="75"/>
                    <a:pt x="881" y="75"/>
                  </a:cubicBezTo>
                  <a:cubicBezTo>
                    <a:pt x="864" y="75"/>
                    <a:pt x="852" y="68"/>
                    <a:pt x="850" y="56"/>
                  </a:cubicBezTo>
                  <a:cubicBezTo>
                    <a:pt x="847" y="45"/>
                    <a:pt x="837" y="42"/>
                    <a:pt x="827" y="42"/>
                  </a:cubicBezTo>
                  <a:cubicBezTo>
                    <a:pt x="817" y="42"/>
                    <a:pt x="811" y="33"/>
                    <a:pt x="804" y="47"/>
                  </a:cubicBezTo>
                  <a:cubicBezTo>
                    <a:pt x="798" y="61"/>
                    <a:pt x="792" y="77"/>
                    <a:pt x="781" y="77"/>
                  </a:cubicBezTo>
                  <a:cubicBezTo>
                    <a:pt x="770" y="77"/>
                    <a:pt x="749" y="60"/>
                    <a:pt x="763" y="57"/>
                  </a:cubicBezTo>
                  <a:cubicBezTo>
                    <a:pt x="777" y="55"/>
                    <a:pt x="792" y="50"/>
                    <a:pt x="791" y="43"/>
                  </a:cubicBezTo>
                  <a:cubicBezTo>
                    <a:pt x="789" y="37"/>
                    <a:pt x="789" y="31"/>
                    <a:pt x="773" y="31"/>
                  </a:cubicBezTo>
                  <a:cubicBezTo>
                    <a:pt x="757" y="31"/>
                    <a:pt x="760" y="25"/>
                    <a:pt x="753" y="22"/>
                  </a:cubicBezTo>
                  <a:cubicBezTo>
                    <a:pt x="745" y="19"/>
                    <a:pt x="734" y="23"/>
                    <a:pt x="734" y="13"/>
                  </a:cubicBezTo>
                  <a:cubicBezTo>
                    <a:pt x="734" y="4"/>
                    <a:pt x="724" y="0"/>
                    <a:pt x="717" y="8"/>
                  </a:cubicBezTo>
                  <a:cubicBezTo>
                    <a:pt x="711" y="16"/>
                    <a:pt x="703" y="26"/>
                    <a:pt x="696" y="33"/>
                  </a:cubicBezTo>
                  <a:cubicBezTo>
                    <a:pt x="688" y="39"/>
                    <a:pt x="672" y="41"/>
                    <a:pt x="666" y="54"/>
                  </a:cubicBezTo>
                  <a:cubicBezTo>
                    <a:pt x="659" y="67"/>
                    <a:pt x="655" y="57"/>
                    <a:pt x="644" y="65"/>
                  </a:cubicBezTo>
                  <a:cubicBezTo>
                    <a:pt x="634" y="73"/>
                    <a:pt x="623" y="79"/>
                    <a:pt x="607" y="79"/>
                  </a:cubicBezTo>
                  <a:cubicBezTo>
                    <a:pt x="591" y="79"/>
                    <a:pt x="562" y="80"/>
                    <a:pt x="558" y="75"/>
                  </a:cubicBezTo>
                  <a:cubicBezTo>
                    <a:pt x="555" y="69"/>
                    <a:pt x="549" y="65"/>
                    <a:pt x="536" y="68"/>
                  </a:cubicBezTo>
                  <a:cubicBezTo>
                    <a:pt x="523" y="71"/>
                    <a:pt x="524" y="80"/>
                    <a:pt x="514" y="88"/>
                  </a:cubicBezTo>
                  <a:cubicBezTo>
                    <a:pt x="505" y="95"/>
                    <a:pt x="508" y="104"/>
                    <a:pt x="520" y="106"/>
                  </a:cubicBezTo>
                  <a:cubicBezTo>
                    <a:pt x="531" y="108"/>
                    <a:pt x="537" y="107"/>
                    <a:pt x="546" y="107"/>
                  </a:cubicBezTo>
                  <a:cubicBezTo>
                    <a:pt x="556" y="107"/>
                    <a:pt x="568" y="111"/>
                    <a:pt x="555" y="113"/>
                  </a:cubicBezTo>
                  <a:cubicBezTo>
                    <a:pt x="542" y="116"/>
                    <a:pt x="520" y="113"/>
                    <a:pt x="520" y="119"/>
                  </a:cubicBezTo>
                  <a:cubicBezTo>
                    <a:pt x="520" y="124"/>
                    <a:pt x="517" y="157"/>
                    <a:pt x="515" y="146"/>
                  </a:cubicBezTo>
                  <a:cubicBezTo>
                    <a:pt x="513" y="134"/>
                    <a:pt x="513" y="136"/>
                    <a:pt x="505" y="136"/>
                  </a:cubicBezTo>
                  <a:cubicBezTo>
                    <a:pt x="496" y="136"/>
                    <a:pt x="497" y="131"/>
                    <a:pt x="497" y="121"/>
                  </a:cubicBezTo>
                  <a:cubicBezTo>
                    <a:pt x="497" y="111"/>
                    <a:pt x="493" y="98"/>
                    <a:pt x="484" y="107"/>
                  </a:cubicBezTo>
                  <a:cubicBezTo>
                    <a:pt x="476" y="116"/>
                    <a:pt x="459" y="119"/>
                    <a:pt x="455" y="128"/>
                  </a:cubicBezTo>
                  <a:cubicBezTo>
                    <a:pt x="451" y="138"/>
                    <a:pt x="438" y="137"/>
                    <a:pt x="425" y="138"/>
                  </a:cubicBezTo>
                  <a:cubicBezTo>
                    <a:pt x="412" y="139"/>
                    <a:pt x="399" y="129"/>
                    <a:pt x="390" y="137"/>
                  </a:cubicBezTo>
                  <a:cubicBezTo>
                    <a:pt x="380" y="145"/>
                    <a:pt x="381" y="147"/>
                    <a:pt x="368" y="145"/>
                  </a:cubicBezTo>
                  <a:cubicBezTo>
                    <a:pt x="355" y="142"/>
                    <a:pt x="351" y="149"/>
                    <a:pt x="344" y="161"/>
                  </a:cubicBezTo>
                  <a:cubicBezTo>
                    <a:pt x="338" y="172"/>
                    <a:pt x="327" y="176"/>
                    <a:pt x="321" y="183"/>
                  </a:cubicBezTo>
                  <a:cubicBezTo>
                    <a:pt x="314" y="191"/>
                    <a:pt x="307" y="203"/>
                    <a:pt x="306" y="222"/>
                  </a:cubicBezTo>
                  <a:cubicBezTo>
                    <a:pt x="305" y="241"/>
                    <a:pt x="298" y="249"/>
                    <a:pt x="290" y="255"/>
                  </a:cubicBezTo>
                  <a:cubicBezTo>
                    <a:pt x="281" y="262"/>
                    <a:pt x="267" y="276"/>
                    <a:pt x="257" y="278"/>
                  </a:cubicBezTo>
                  <a:cubicBezTo>
                    <a:pt x="248" y="280"/>
                    <a:pt x="235" y="292"/>
                    <a:pt x="209" y="292"/>
                  </a:cubicBezTo>
                  <a:cubicBezTo>
                    <a:pt x="183" y="292"/>
                    <a:pt x="184" y="290"/>
                    <a:pt x="164" y="293"/>
                  </a:cubicBezTo>
                  <a:cubicBezTo>
                    <a:pt x="143" y="296"/>
                    <a:pt x="111" y="291"/>
                    <a:pt x="110" y="299"/>
                  </a:cubicBezTo>
                  <a:cubicBezTo>
                    <a:pt x="109" y="308"/>
                    <a:pt x="115" y="332"/>
                    <a:pt x="108" y="336"/>
                  </a:cubicBezTo>
                  <a:cubicBezTo>
                    <a:pt x="100" y="340"/>
                    <a:pt x="100" y="344"/>
                    <a:pt x="99" y="350"/>
                  </a:cubicBezTo>
                  <a:cubicBezTo>
                    <a:pt x="98" y="355"/>
                    <a:pt x="89" y="349"/>
                    <a:pt x="78" y="350"/>
                  </a:cubicBezTo>
                  <a:cubicBezTo>
                    <a:pt x="67" y="351"/>
                    <a:pt x="64" y="357"/>
                    <a:pt x="81" y="360"/>
                  </a:cubicBezTo>
                  <a:cubicBezTo>
                    <a:pt x="98" y="362"/>
                    <a:pt x="109" y="369"/>
                    <a:pt x="114" y="376"/>
                  </a:cubicBezTo>
                  <a:cubicBezTo>
                    <a:pt x="120" y="382"/>
                    <a:pt x="138" y="389"/>
                    <a:pt x="149" y="389"/>
                  </a:cubicBezTo>
                  <a:cubicBezTo>
                    <a:pt x="159" y="389"/>
                    <a:pt x="180" y="393"/>
                    <a:pt x="187" y="406"/>
                  </a:cubicBezTo>
                  <a:cubicBezTo>
                    <a:pt x="195" y="419"/>
                    <a:pt x="198" y="415"/>
                    <a:pt x="215" y="423"/>
                  </a:cubicBezTo>
                  <a:cubicBezTo>
                    <a:pt x="233" y="430"/>
                    <a:pt x="255" y="439"/>
                    <a:pt x="258" y="454"/>
                  </a:cubicBezTo>
                  <a:cubicBezTo>
                    <a:pt x="262" y="469"/>
                    <a:pt x="266" y="494"/>
                    <a:pt x="280" y="495"/>
                  </a:cubicBezTo>
                  <a:cubicBezTo>
                    <a:pt x="294" y="496"/>
                    <a:pt x="308" y="496"/>
                    <a:pt x="312" y="500"/>
                  </a:cubicBezTo>
                  <a:cubicBezTo>
                    <a:pt x="316" y="505"/>
                    <a:pt x="328" y="504"/>
                    <a:pt x="331" y="504"/>
                  </a:cubicBezTo>
                  <a:cubicBezTo>
                    <a:pt x="335" y="504"/>
                    <a:pt x="343" y="506"/>
                    <a:pt x="344" y="498"/>
                  </a:cubicBezTo>
                  <a:cubicBezTo>
                    <a:pt x="345" y="491"/>
                    <a:pt x="355" y="487"/>
                    <a:pt x="359" y="495"/>
                  </a:cubicBezTo>
                  <a:cubicBezTo>
                    <a:pt x="364" y="503"/>
                    <a:pt x="368" y="501"/>
                    <a:pt x="378" y="503"/>
                  </a:cubicBezTo>
                  <a:cubicBezTo>
                    <a:pt x="387" y="504"/>
                    <a:pt x="410" y="498"/>
                    <a:pt x="410" y="503"/>
                  </a:cubicBezTo>
                  <a:cubicBezTo>
                    <a:pt x="410" y="507"/>
                    <a:pt x="401" y="508"/>
                    <a:pt x="398" y="513"/>
                  </a:cubicBezTo>
                  <a:cubicBezTo>
                    <a:pt x="395" y="519"/>
                    <a:pt x="385" y="526"/>
                    <a:pt x="380" y="523"/>
                  </a:cubicBezTo>
                  <a:cubicBezTo>
                    <a:pt x="374" y="521"/>
                    <a:pt x="373" y="520"/>
                    <a:pt x="365" y="515"/>
                  </a:cubicBezTo>
                  <a:cubicBezTo>
                    <a:pt x="358" y="511"/>
                    <a:pt x="352" y="506"/>
                    <a:pt x="348" y="512"/>
                  </a:cubicBezTo>
                  <a:cubicBezTo>
                    <a:pt x="343" y="517"/>
                    <a:pt x="338" y="529"/>
                    <a:pt x="354" y="533"/>
                  </a:cubicBezTo>
                  <a:cubicBezTo>
                    <a:pt x="370" y="537"/>
                    <a:pt x="379" y="541"/>
                    <a:pt x="381" y="550"/>
                  </a:cubicBezTo>
                  <a:cubicBezTo>
                    <a:pt x="384" y="559"/>
                    <a:pt x="385" y="572"/>
                    <a:pt x="394" y="570"/>
                  </a:cubicBezTo>
                  <a:cubicBezTo>
                    <a:pt x="404" y="568"/>
                    <a:pt x="405" y="562"/>
                    <a:pt x="397" y="556"/>
                  </a:cubicBezTo>
                  <a:cubicBezTo>
                    <a:pt x="388" y="549"/>
                    <a:pt x="378" y="537"/>
                    <a:pt x="380" y="535"/>
                  </a:cubicBezTo>
                  <a:cubicBezTo>
                    <a:pt x="383" y="533"/>
                    <a:pt x="397" y="531"/>
                    <a:pt x="400" y="539"/>
                  </a:cubicBezTo>
                  <a:cubicBezTo>
                    <a:pt x="404" y="547"/>
                    <a:pt x="409" y="552"/>
                    <a:pt x="420" y="551"/>
                  </a:cubicBezTo>
                  <a:cubicBezTo>
                    <a:pt x="430" y="550"/>
                    <a:pt x="431" y="543"/>
                    <a:pt x="439" y="543"/>
                  </a:cubicBezTo>
                  <a:cubicBezTo>
                    <a:pt x="447" y="544"/>
                    <a:pt x="448" y="536"/>
                    <a:pt x="457" y="540"/>
                  </a:cubicBezTo>
                  <a:cubicBezTo>
                    <a:pt x="466" y="544"/>
                    <a:pt x="473" y="542"/>
                    <a:pt x="482" y="543"/>
                  </a:cubicBezTo>
                  <a:cubicBezTo>
                    <a:pt x="491" y="544"/>
                    <a:pt x="495" y="547"/>
                    <a:pt x="494" y="556"/>
                  </a:cubicBezTo>
                  <a:cubicBezTo>
                    <a:pt x="492" y="564"/>
                    <a:pt x="486" y="569"/>
                    <a:pt x="474" y="567"/>
                  </a:cubicBezTo>
                  <a:cubicBezTo>
                    <a:pt x="462" y="565"/>
                    <a:pt x="457" y="566"/>
                    <a:pt x="448" y="561"/>
                  </a:cubicBezTo>
                  <a:cubicBezTo>
                    <a:pt x="438" y="556"/>
                    <a:pt x="433" y="558"/>
                    <a:pt x="429" y="561"/>
                  </a:cubicBezTo>
                  <a:cubicBezTo>
                    <a:pt x="425" y="564"/>
                    <a:pt x="426" y="569"/>
                    <a:pt x="430" y="571"/>
                  </a:cubicBezTo>
                  <a:cubicBezTo>
                    <a:pt x="434" y="574"/>
                    <a:pt x="436" y="586"/>
                    <a:pt x="425" y="586"/>
                  </a:cubicBezTo>
                  <a:cubicBezTo>
                    <a:pt x="414" y="586"/>
                    <a:pt x="403" y="579"/>
                    <a:pt x="401" y="587"/>
                  </a:cubicBezTo>
                  <a:cubicBezTo>
                    <a:pt x="399" y="595"/>
                    <a:pt x="377" y="602"/>
                    <a:pt x="366" y="602"/>
                  </a:cubicBezTo>
                  <a:cubicBezTo>
                    <a:pt x="356" y="602"/>
                    <a:pt x="341" y="600"/>
                    <a:pt x="329" y="601"/>
                  </a:cubicBezTo>
                  <a:cubicBezTo>
                    <a:pt x="318" y="603"/>
                    <a:pt x="274" y="604"/>
                    <a:pt x="270" y="597"/>
                  </a:cubicBezTo>
                  <a:cubicBezTo>
                    <a:pt x="266" y="590"/>
                    <a:pt x="259" y="588"/>
                    <a:pt x="252" y="588"/>
                  </a:cubicBezTo>
                  <a:cubicBezTo>
                    <a:pt x="246" y="588"/>
                    <a:pt x="249" y="583"/>
                    <a:pt x="256" y="577"/>
                  </a:cubicBezTo>
                  <a:cubicBezTo>
                    <a:pt x="263" y="570"/>
                    <a:pt x="270" y="563"/>
                    <a:pt x="270" y="554"/>
                  </a:cubicBezTo>
                  <a:cubicBezTo>
                    <a:pt x="270" y="545"/>
                    <a:pt x="264" y="542"/>
                    <a:pt x="254" y="542"/>
                  </a:cubicBezTo>
                  <a:cubicBezTo>
                    <a:pt x="244" y="542"/>
                    <a:pt x="222" y="541"/>
                    <a:pt x="216" y="547"/>
                  </a:cubicBezTo>
                  <a:cubicBezTo>
                    <a:pt x="211" y="552"/>
                    <a:pt x="208" y="556"/>
                    <a:pt x="194" y="556"/>
                  </a:cubicBezTo>
                  <a:cubicBezTo>
                    <a:pt x="181" y="557"/>
                    <a:pt x="174" y="559"/>
                    <a:pt x="166" y="564"/>
                  </a:cubicBezTo>
                  <a:cubicBezTo>
                    <a:pt x="158" y="568"/>
                    <a:pt x="147" y="564"/>
                    <a:pt x="146" y="571"/>
                  </a:cubicBezTo>
                  <a:cubicBezTo>
                    <a:pt x="146" y="577"/>
                    <a:pt x="153" y="601"/>
                    <a:pt x="139" y="601"/>
                  </a:cubicBezTo>
                  <a:cubicBezTo>
                    <a:pt x="125" y="601"/>
                    <a:pt x="121" y="586"/>
                    <a:pt x="108" y="589"/>
                  </a:cubicBezTo>
                  <a:cubicBezTo>
                    <a:pt x="96" y="591"/>
                    <a:pt x="90" y="599"/>
                    <a:pt x="81" y="604"/>
                  </a:cubicBezTo>
                  <a:cubicBezTo>
                    <a:pt x="72" y="609"/>
                    <a:pt x="72" y="622"/>
                    <a:pt x="55" y="623"/>
                  </a:cubicBezTo>
                  <a:cubicBezTo>
                    <a:pt x="37" y="623"/>
                    <a:pt x="33" y="634"/>
                    <a:pt x="23" y="635"/>
                  </a:cubicBezTo>
                  <a:cubicBezTo>
                    <a:pt x="13" y="635"/>
                    <a:pt x="0" y="638"/>
                    <a:pt x="0" y="647"/>
                  </a:cubicBezTo>
                  <a:cubicBezTo>
                    <a:pt x="0" y="655"/>
                    <a:pt x="0" y="658"/>
                    <a:pt x="16" y="662"/>
                  </a:cubicBezTo>
                  <a:cubicBezTo>
                    <a:pt x="32" y="665"/>
                    <a:pt x="35" y="673"/>
                    <a:pt x="46" y="673"/>
                  </a:cubicBezTo>
                  <a:cubicBezTo>
                    <a:pt x="56" y="673"/>
                    <a:pt x="72" y="678"/>
                    <a:pt x="82" y="677"/>
                  </a:cubicBezTo>
                  <a:cubicBezTo>
                    <a:pt x="92" y="676"/>
                    <a:pt x="98" y="677"/>
                    <a:pt x="105" y="681"/>
                  </a:cubicBezTo>
                  <a:cubicBezTo>
                    <a:pt x="112" y="686"/>
                    <a:pt x="111" y="699"/>
                    <a:pt x="95" y="696"/>
                  </a:cubicBezTo>
                  <a:cubicBezTo>
                    <a:pt x="79" y="693"/>
                    <a:pt x="58" y="692"/>
                    <a:pt x="69" y="701"/>
                  </a:cubicBezTo>
                  <a:cubicBezTo>
                    <a:pt x="80" y="711"/>
                    <a:pt x="93" y="719"/>
                    <a:pt x="94" y="733"/>
                  </a:cubicBezTo>
                  <a:cubicBezTo>
                    <a:pt x="96" y="748"/>
                    <a:pt x="103" y="758"/>
                    <a:pt x="118" y="759"/>
                  </a:cubicBezTo>
                  <a:cubicBezTo>
                    <a:pt x="133" y="760"/>
                    <a:pt x="137" y="761"/>
                    <a:pt x="144" y="766"/>
                  </a:cubicBezTo>
                  <a:cubicBezTo>
                    <a:pt x="152" y="772"/>
                    <a:pt x="160" y="773"/>
                    <a:pt x="179" y="772"/>
                  </a:cubicBezTo>
                  <a:cubicBezTo>
                    <a:pt x="199" y="771"/>
                    <a:pt x="215" y="774"/>
                    <a:pt x="218" y="768"/>
                  </a:cubicBezTo>
                  <a:cubicBezTo>
                    <a:pt x="221" y="762"/>
                    <a:pt x="220" y="758"/>
                    <a:pt x="240" y="758"/>
                  </a:cubicBezTo>
                  <a:cubicBezTo>
                    <a:pt x="261" y="758"/>
                    <a:pt x="278" y="752"/>
                    <a:pt x="284" y="759"/>
                  </a:cubicBezTo>
                  <a:cubicBezTo>
                    <a:pt x="291" y="767"/>
                    <a:pt x="295" y="769"/>
                    <a:pt x="304" y="772"/>
                  </a:cubicBezTo>
                  <a:cubicBezTo>
                    <a:pt x="313" y="776"/>
                    <a:pt x="320" y="774"/>
                    <a:pt x="314" y="766"/>
                  </a:cubicBezTo>
                  <a:cubicBezTo>
                    <a:pt x="307" y="758"/>
                    <a:pt x="315" y="755"/>
                    <a:pt x="325" y="765"/>
                  </a:cubicBezTo>
                  <a:cubicBezTo>
                    <a:pt x="334" y="774"/>
                    <a:pt x="340" y="779"/>
                    <a:pt x="343" y="770"/>
                  </a:cubicBezTo>
                  <a:cubicBezTo>
                    <a:pt x="346" y="760"/>
                    <a:pt x="349" y="761"/>
                    <a:pt x="357" y="759"/>
                  </a:cubicBezTo>
                  <a:cubicBezTo>
                    <a:pt x="365" y="757"/>
                    <a:pt x="365" y="750"/>
                    <a:pt x="377" y="748"/>
                  </a:cubicBezTo>
                  <a:cubicBezTo>
                    <a:pt x="390" y="747"/>
                    <a:pt x="389" y="732"/>
                    <a:pt x="401" y="732"/>
                  </a:cubicBezTo>
                  <a:cubicBezTo>
                    <a:pt x="414" y="732"/>
                    <a:pt x="427" y="736"/>
                    <a:pt x="428" y="731"/>
                  </a:cubicBezTo>
                  <a:cubicBezTo>
                    <a:pt x="430" y="726"/>
                    <a:pt x="437" y="719"/>
                    <a:pt x="442" y="724"/>
                  </a:cubicBezTo>
                  <a:cubicBezTo>
                    <a:pt x="448" y="729"/>
                    <a:pt x="445" y="734"/>
                    <a:pt x="453" y="738"/>
                  </a:cubicBezTo>
                  <a:cubicBezTo>
                    <a:pt x="461" y="743"/>
                    <a:pt x="460" y="754"/>
                    <a:pt x="451" y="755"/>
                  </a:cubicBezTo>
                  <a:cubicBezTo>
                    <a:pt x="441" y="756"/>
                    <a:pt x="443" y="763"/>
                    <a:pt x="434" y="762"/>
                  </a:cubicBezTo>
                  <a:cubicBezTo>
                    <a:pt x="424" y="761"/>
                    <a:pt x="419" y="764"/>
                    <a:pt x="431" y="776"/>
                  </a:cubicBezTo>
                  <a:cubicBezTo>
                    <a:pt x="443" y="787"/>
                    <a:pt x="441" y="791"/>
                    <a:pt x="447" y="800"/>
                  </a:cubicBezTo>
                  <a:cubicBezTo>
                    <a:pt x="453" y="810"/>
                    <a:pt x="458" y="823"/>
                    <a:pt x="456" y="834"/>
                  </a:cubicBezTo>
                  <a:cubicBezTo>
                    <a:pt x="455" y="845"/>
                    <a:pt x="459" y="843"/>
                    <a:pt x="449" y="852"/>
                  </a:cubicBezTo>
                  <a:cubicBezTo>
                    <a:pt x="438" y="860"/>
                    <a:pt x="436" y="865"/>
                    <a:pt x="426" y="866"/>
                  </a:cubicBezTo>
                  <a:cubicBezTo>
                    <a:pt x="416" y="867"/>
                    <a:pt x="420" y="873"/>
                    <a:pt x="409" y="873"/>
                  </a:cubicBezTo>
                  <a:cubicBezTo>
                    <a:pt x="399" y="873"/>
                    <a:pt x="385" y="873"/>
                    <a:pt x="381" y="868"/>
                  </a:cubicBezTo>
                  <a:cubicBezTo>
                    <a:pt x="378" y="863"/>
                    <a:pt x="376" y="864"/>
                    <a:pt x="370" y="861"/>
                  </a:cubicBezTo>
                  <a:cubicBezTo>
                    <a:pt x="365" y="858"/>
                    <a:pt x="355" y="850"/>
                    <a:pt x="350" y="852"/>
                  </a:cubicBezTo>
                  <a:cubicBezTo>
                    <a:pt x="346" y="855"/>
                    <a:pt x="345" y="856"/>
                    <a:pt x="352" y="861"/>
                  </a:cubicBezTo>
                  <a:cubicBezTo>
                    <a:pt x="360" y="866"/>
                    <a:pt x="361" y="869"/>
                    <a:pt x="357" y="876"/>
                  </a:cubicBezTo>
                  <a:cubicBezTo>
                    <a:pt x="354" y="882"/>
                    <a:pt x="348" y="890"/>
                    <a:pt x="335" y="895"/>
                  </a:cubicBezTo>
                  <a:cubicBezTo>
                    <a:pt x="323" y="900"/>
                    <a:pt x="306" y="917"/>
                    <a:pt x="299" y="913"/>
                  </a:cubicBezTo>
                  <a:cubicBezTo>
                    <a:pt x="292" y="908"/>
                    <a:pt x="281" y="910"/>
                    <a:pt x="276" y="905"/>
                  </a:cubicBezTo>
                  <a:cubicBezTo>
                    <a:pt x="270" y="899"/>
                    <a:pt x="267" y="891"/>
                    <a:pt x="257" y="889"/>
                  </a:cubicBezTo>
                  <a:cubicBezTo>
                    <a:pt x="247" y="887"/>
                    <a:pt x="236" y="893"/>
                    <a:pt x="227" y="898"/>
                  </a:cubicBezTo>
                  <a:cubicBezTo>
                    <a:pt x="219" y="902"/>
                    <a:pt x="225" y="917"/>
                    <a:pt x="211" y="921"/>
                  </a:cubicBezTo>
                  <a:cubicBezTo>
                    <a:pt x="196" y="925"/>
                    <a:pt x="196" y="937"/>
                    <a:pt x="200" y="943"/>
                  </a:cubicBezTo>
                  <a:cubicBezTo>
                    <a:pt x="205" y="949"/>
                    <a:pt x="214" y="949"/>
                    <a:pt x="212" y="956"/>
                  </a:cubicBezTo>
                  <a:cubicBezTo>
                    <a:pt x="209" y="964"/>
                    <a:pt x="205" y="963"/>
                    <a:pt x="197" y="963"/>
                  </a:cubicBezTo>
                  <a:cubicBezTo>
                    <a:pt x="188" y="963"/>
                    <a:pt x="187" y="965"/>
                    <a:pt x="180" y="970"/>
                  </a:cubicBezTo>
                  <a:cubicBezTo>
                    <a:pt x="174" y="976"/>
                    <a:pt x="162" y="992"/>
                    <a:pt x="152" y="998"/>
                  </a:cubicBezTo>
                  <a:cubicBezTo>
                    <a:pt x="142" y="1004"/>
                    <a:pt x="141" y="1012"/>
                    <a:pt x="144" y="1019"/>
                  </a:cubicBezTo>
                  <a:cubicBezTo>
                    <a:pt x="148" y="1025"/>
                    <a:pt x="152" y="1032"/>
                    <a:pt x="142" y="1036"/>
                  </a:cubicBezTo>
                  <a:cubicBezTo>
                    <a:pt x="133" y="1040"/>
                    <a:pt x="113" y="1044"/>
                    <a:pt x="120" y="1051"/>
                  </a:cubicBezTo>
                  <a:cubicBezTo>
                    <a:pt x="126" y="1058"/>
                    <a:pt x="137" y="1074"/>
                    <a:pt x="141" y="1084"/>
                  </a:cubicBezTo>
                  <a:cubicBezTo>
                    <a:pt x="145" y="1093"/>
                    <a:pt x="147" y="1096"/>
                    <a:pt x="153" y="1103"/>
                  </a:cubicBezTo>
                  <a:cubicBezTo>
                    <a:pt x="159" y="1109"/>
                    <a:pt x="165" y="1107"/>
                    <a:pt x="168" y="1100"/>
                  </a:cubicBezTo>
                  <a:cubicBezTo>
                    <a:pt x="171" y="1093"/>
                    <a:pt x="178" y="1091"/>
                    <a:pt x="181" y="1085"/>
                  </a:cubicBezTo>
                  <a:cubicBezTo>
                    <a:pt x="184" y="1078"/>
                    <a:pt x="186" y="1083"/>
                    <a:pt x="186" y="1093"/>
                  </a:cubicBezTo>
                  <a:cubicBezTo>
                    <a:pt x="185" y="1103"/>
                    <a:pt x="186" y="1106"/>
                    <a:pt x="192" y="1110"/>
                  </a:cubicBezTo>
                  <a:cubicBezTo>
                    <a:pt x="198" y="1115"/>
                    <a:pt x="192" y="1125"/>
                    <a:pt x="205" y="1125"/>
                  </a:cubicBezTo>
                  <a:cubicBezTo>
                    <a:pt x="217" y="1125"/>
                    <a:pt x="221" y="1125"/>
                    <a:pt x="230" y="1128"/>
                  </a:cubicBezTo>
                  <a:cubicBezTo>
                    <a:pt x="240" y="1130"/>
                    <a:pt x="245" y="1133"/>
                    <a:pt x="251" y="1127"/>
                  </a:cubicBezTo>
                  <a:cubicBezTo>
                    <a:pt x="257" y="1120"/>
                    <a:pt x="269" y="1112"/>
                    <a:pt x="273" y="1120"/>
                  </a:cubicBezTo>
                  <a:cubicBezTo>
                    <a:pt x="278" y="1128"/>
                    <a:pt x="285" y="1137"/>
                    <a:pt x="283" y="1145"/>
                  </a:cubicBezTo>
                  <a:cubicBezTo>
                    <a:pt x="281" y="1153"/>
                    <a:pt x="273" y="1158"/>
                    <a:pt x="268" y="1150"/>
                  </a:cubicBezTo>
                  <a:cubicBezTo>
                    <a:pt x="262" y="1141"/>
                    <a:pt x="252" y="1134"/>
                    <a:pt x="249" y="1139"/>
                  </a:cubicBezTo>
                  <a:cubicBezTo>
                    <a:pt x="246" y="1145"/>
                    <a:pt x="237" y="1159"/>
                    <a:pt x="234" y="1152"/>
                  </a:cubicBezTo>
                  <a:cubicBezTo>
                    <a:pt x="230" y="1145"/>
                    <a:pt x="233" y="1142"/>
                    <a:pt x="222" y="1137"/>
                  </a:cubicBezTo>
                  <a:cubicBezTo>
                    <a:pt x="212" y="1132"/>
                    <a:pt x="200" y="1131"/>
                    <a:pt x="194" y="1135"/>
                  </a:cubicBezTo>
                  <a:cubicBezTo>
                    <a:pt x="187" y="1138"/>
                    <a:pt x="186" y="1141"/>
                    <a:pt x="179" y="1146"/>
                  </a:cubicBezTo>
                  <a:cubicBezTo>
                    <a:pt x="172" y="1151"/>
                    <a:pt x="166" y="1164"/>
                    <a:pt x="179" y="1165"/>
                  </a:cubicBezTo>
                  <a:cubicBezTo>
                    <a:pt x="191" y="1165"/>
                    <a:pt x="184" y="1181"/>
                    <a:pt x="196" y="1182"/>
                  </a:cubicBezTo>
                  <a:cubicBezTo>
                    <a:pt x="207" y="1184"/>
                    <a:pt x="222" y="1188"/>
                    <a:pt x="232" y="1199"/>
                  </a:cubicBezTo>
                  <a:cubicBezTo>
                    <a:pt x="241" y="1209"/>
                    <a:pt x="242" y="1211"/>
                    <a:pt x="244" y="1219"/>
                  </a:cubicBezTo>
                  <a:cubicBezTo>
                    <a:pt x="246" y="1227"/>
                    <a:pt x="244" y="1232"/>
                    <a:pt x="259" y="1232"/>
                  </a:cubicBezTo>
                  <a:cubicBezTo>
                    <a:pt x="275" y="1232"/>
                    <a:pt x="305" y="1240"/>
                    <a:pt x="309" y="1230"/>
                  </a:cubicBezTo>
                  <a:cubicBezTo>
                    <a:pt x="314" y="1220"/>
                    <a:pt x="326" y="1230"/>
                    <a:pt x="330" y="1220"/>
                  </a:cubicBezTo>
                  <a:cubicBezTo>
                    <a:pt x="335" y="1209"/>
                    <a:pt x="354" y="1218"/>
                    <a:pt x="351" y="1204"/>
                  </a:cubicBezTo>
                  <a:cubicBezTo>
                    <a:pt x="348" y="1190"/>
                    <a:pt x="342" y="1182"/>
                    <a:pt x="348" y="1174"/>
                  </a:cubicBezTo>
                  <a:cubicBezTo>
                    <a:pt x="355" y="1165"/>
                    <a:pt x="368" y="1161"/>
                    <a:pt x="366" y="1152"/>
                  </a:cubicBezTo>
                  <a:cubicBezTo>
                    <a:pt x="365" y="1143"/>
                    <a:pt x="364" y="1137"/>
                    <a:pt x="374" y="1139"/>
                  </a:cubicBezTo>
                  <a:cubicBezTo>
                    <a:pt x="385" y="1142"/>
                    <a:pt x="396" y="1141"/>
                    <a:pt x="385" y="1146"/>
                  </a:cubicBezTo>
                  <a:cubicBezTo>
                    <a:pt x="374" y="1152"/>
                    <a:pt x="373" y="1156"/>
                    <a:pt x="372" y="1162"/>
                  </a:cubicBezTo>
                  <a:cubicBezTo>
                    <a:pt x="372" y="1168"/>
                    <a:pt x="356" y="1171"/>
                    <a:pt x="360" y="1180"/>
                  </a:cubicBezTo>
                  <a:cubicBezTo>
                    <a:pt x="364" y="1189"/>
                    <a:pt x="358" y="1204"/>
                    <a:pt x="366" y="1209"/>
                  </a:cubicBezTo>
                  <a:cubicBezTo>
                    <a:pt x="374" y="1215"/>
                    <a:pt x="377" y="1218"/>
                    <a:pt x="381" y="1227"/>
                  </a:cubicBezTo>
                  <a:cubicBezTo>
                    <a:pt x="385" y="1236"/>
                    <a:pt x="380" y="1243"/>
                    <a:pt x="388" y="1247"/>
                  </a:cubicBezTo>
                  <a:cubicBezTo>
                    <a:pt x="397" y="1251"/>
                    <a:pt x="400" y="1256"/>
                    <a:pt x="394" y="1263"/>
                  </a:cubicBezTo>
                  <a:cubicBezTo>
                    <a:pt x="387" y="1269"/>
                    <a:pt x="379" y="1271"/>
                    <a:pt x="381" y="1281"/>
                  </a:cubicBezTo>
                  <a:cubicBezTo>
                    <a:pt x="383" y="1292"/>
                    <a:pt x="394" y="1290"/>
                    <a:pt x="392" y="1300"/>
                  </a:cubicBezTo>
                  <a:cubicBezTo>
                    <a:pt x="389" y="1309"/>
                    <a:pt x="399" y="1329"/>
                    <a:pt x="391" y="1330"/>
                  </a:cubicBezTo>
                  <a:cubicBezTo>
                    <a:pt x="382" y="1331"/>
                    <a:pt x="365" y="1333"/>
                    <a:pt x="372" y="1338"/>
                  </a:cubicBezTo>
                  <a:cubicBezTo>
                    <a:pt x="379" y="1343"/>
                    <a:pt x="391" y="1343"/>
                    <a:pt x="399" y="1346"/>
                  </a:cubicBezTo>
                  <a:cubicBezTo>
                    <a:pt x="408" y="1349"/>
                    <a:pt x="416" y="1347"/>
                    <a:pt x="421" y="1339"/>
                  </a:cubicBezTo>
                  <a:cubicBezTo>
                    <a:pt x="426" y="1331"/>
                    <a:pt x="429" y="1323"/>
                    <a:pt x="440" y="1322"/>
                  </a:cubicBezTo>
                  <a:cubicBezTo>
                    <a:pt x="450" y="1320"/>
                    <a:pt x="448" y="1322"/>
                    <a:pt x="444" y="1330"/>
                  </a:cubicBezTo>
                  <a:cubicBezTo>
                    <a:pt x="441" y="1338"/>
                    <a:pt x="434" y="1346"/>
                    <a:pt x="443" y="1346"/>
                  </a:cubicBezTo>
                  <a:cubicBezTo>
                    <a:pt x="452" y="1346"/>
                    <a:pt x="457" y="1349"/>
                    <a:pt x="459" y="1338"/>
                  </a:cubicBezTo>
                  <a:cubicBezTo>
                    <a:pt x="462" y="1328"/>
                    <a:pt x="464" y="1323"/>
                    <a:pt x="467" y="1317"/>
                  </a:cubicBezTo>
                  <a:cubicBezTo>
                    <a:pt x="471" y="1310"/>
                    <a:pt x="474" y="1302"/>
                    <a:pt x="483" y="1302"/>
                  </a:cubicBezTo>
                  <a:cubicBezTo>
                    <a:pt x="491" y="1302"/>
                    <a:pt x="494" y="1301"/>
                    <a:pt x="497" y="1310"/>
                  </a:cubicBezTo>
                  <a:cubicBezTo>
                    <a:pt x="500" y="1320"/>
                    <a:pt x="505" y="1328"/>
                    <a:pt x="515" y="1324"/>
                  </a:cubicBezTo>
                  <a:cubicBezTo>
                    <a:pt x="525" y="1321"/>
                    <a:pt x="529" y="1313"/>
                    <a:pt x="537" y="1325"/>
                  </a:cubicBezTo>
                  <a:cubicBezTo>
                    <a:pt x="545" y="1337"/>
                    <a:pt x="556" y="1335"/>
                    <a:pt x="559" y="1346"/>
                  </a:cubicBezTo>
                  <a:cubicBezTo>
                    <a:pt x="563" y="1358"/>
                    <a:pt x="568" y="1359"/>
                    <a:pt x="573" y="1359"/>
                  </a:cubicBezTo>
                  <a:cubicBezTo>
                    <a:pt x="578" y="1359"/>
                    <a:pt x="582" y="1358"/>
                    <a:pt x="582" y="1347"/>
                  </a:cubicBezTo>
                  <a:cubicBezTo>
                    <a:pt x="582" y="1337"/>
                    <a:pt x="584" y="1329"/>
                    <a:pt x="589" y="1326"/>
                  </a:cubicBezTo>
                  <a:cubicBezTo>
                    <a:pt x="594" y="1323"/>
                    <a:pt x="590" y="1315"/>
                    <a:pt x="600" y="1315"/>
                  </a:cubicBezTo>
                  <a:cubicBezTo>
                    <a:pt x="610" y="1314"/>
                    <a:pt x="601" y="1326"/>
                    <a:pt x="611" y="1331"/>
                  </a:cubicBezTo>
                  <a:cubicBezTo>
                    <a:pt x="621" y="1336"/>
                    <a:pt x="630" y="1349"/>
                    <a:pt x="636" y="1342"/>
                  </a:cubicBezTo>
                  <a:cubicBezTo>
                    <a:pt x="642" y="1334"/>
                    <a:pt x="648" y="1328"/>
                    <a:pt x="658" y="1328"/>
                  </a:cubicBezTo>
                  <a:cubicBezTo>
                    <a:pt x="667" y="1328"/>
                    <a:pt x="682" y="1330"/>
                    <a:pt x="686" y="1323"/>
                  </a:cubicBezTo>
                  <a:cubicBezTo>
                    <a:pt x="690" y="1315"/>
                    <a:pt x="700" y="1320"/>
                    <a:pt x="695" y="1328"/>
                  </a:cubicBezTo>
                  <a:cubicBezTo>
                    <a:pt x="689" y="1336"/>
                    <a:pt x="686" y="1340"/>
                    <a:pt x="680" y="1344"/>
                  </a:cubicBezTo>
                  <a:cubicBezTo>
                    <a:pt x="673" y="1347"/>
                    <a:pt x="663" y="1351"/>
                    <a:pt x="666" y="1362"/>
                  </a:cubicBezTo>
                  <a:cubicBezTo>
                    <a:pt x="669" y="1373"/>
                    <a:pt x="674" y="1392"/>
                    <a:pt x="666" y="1397"/>
                  </a:cubicBezTo>
                  <a:cubicBezTo>
                    <a:pt x="658" y="1403"/>
                    <a:pt x="653" y="1408"/>
                    <a:pt x="656" y="1417"/>
                  </a:cubicBezTo>
                  <a:cubicBezTo>
                    <a:pt x="659" y="1427"/>
                    <a:pt x="666" y="1437"/>
                    <a:pt x="653" y="1440"/>
                  </a:cubicBezTo>
                  <a:cubicBezTo>
                    <a:pt x="641" y="1443"/>
                    <a:pt x="632" y="1452"/>
                    <a:pt x="622" y="1457"/>
                  </a:cubicBezTo>
                  <a:cubicBezTo>
                    <a:pt x="612" y="1462"/>
                    <a:pt x="600" y="1468"/>
                    <a:pt x="596" y="1480"/>
                  </a:cubicBezTo>
                  <a:cubicBezTo>
                    <a:pt x="592" y="1491"/>
                    <a:pt x="595" y="1503"/>
                    <a:pt x="583" y="1505"/>
                  </a:cubicBezTo>
                  <a:cubicBezTo>
                    <a:pt x="570" y="1507"/>
                    <a:pt x="562" y="1512"/>
                    <a:pt x="551" y="1519"/>
                  </a:cubicBezTo>
                  <a:cubicBezTo>
                    <a:pt x="540" y="1527"/>
                    <a:pt x="530" y="1524"/>
                    <a:pt x="521" y="1530"/>
                  </a:cubicBezTo>
                  <a:cubicBezTo>
                    <a:pt x="512" y="1536"/>
                    <a:pt x="510" y="1539"/>
                    <a:pt x="500" y="1548"/>
                  </a:cubicBezTo>
                  <a:cubicBezTo>
                    <a:pt x="490" y="1557"/>
                    <a:pt x="484" y="1561"/>
                    <a:pt x="480" y="1567"/>
                  </a:cubicBezTo>
                  <a:cubicBezTo>
                    <a:pt x="476" y="1573"/>
                    <a:pt x="472" y="1578"/>
                    <a:pt x="473" y="1585"/>
                  </a:cubicBezTo>
                  <a:cubicBezTo>
                    <a:pt x="474" y="1593"/>
                    <a:pt x="480" y="1588"/>
                    <a:pt x="483" y="1597"/>
                  </a:cubicBezTo>
                  <a:cubicBezTo>
                    <a:pt x="486" y="1607"/>
                    <a:pt x="468" y="1604"/>
                    <a:pt x="461" y="1601"/>
                  </a:cubicBezTo>
                  <a:cubicBezTo>
                    <a:pt x="454" y="1598"/>
                    <a:pt x="451" y="1598"/>
                    <a:pt x="451" y="1590"/>
                  </a:cubicBezTo>
                  <a:cubicBezTo>
                    <a:pt x="451" y="1582"/>
                    <a:pt x="449" y="1580"/>
                    <a:pt x="437" y="1581"/>
                  </a:cubicBezTo>
                  <a:cubicBezTo>
                    <a:pt x="426" y="1582"/>
                    <a:pt x="421" y="1582"/>
                    <a:pt x="409" y="1588"/>
                  </a:cubicBezTo>
                  <a:cubicBezTo>
                    <a:pt x="398" y="1594"/>
                    <a:pt x="397" y="1587"/>
                    <a:pt x="390" y="1594"/>
                  </a:cubicBezTo>
                  <a:cubicBezTo>
                    <a:pt x="384" y="1602"/>
                    <a:pt x="378" y="1595"/>
                    <a:pt x="368" y="1605"/>
                  </a:cubicBezTo>
                  <a:cubicBezTo>
                    <a:pt x="357" y="1615"/>
                    <a:pt x="363" y="1624"/>
                    <a:pt x="348" y="1632"/>
                  </a:cubicBezTo>
                  <a:cubicBezTo>
                    <a:pt x="334" y="1641"/>
                    <a:pt x="324" y="1641"/>
                    <a:pt x="334" y="1647"/>
                  </a:cubicBezTo>
                  <a:cubicBezTo>
                    <a:pt x="344" y="1652"/>
                    <a:pt x="345" y="1660"/>
                    <a:pt x="349" y="1666"/>
                  </a:cubicBezTo>
                  <a:cubicBezTo>
                    <a:pt x="354" y="1673"/>
                    <a:pt x="361" y="1672"/>
                    <a:pt x="363" y="1664"/>
                  </a:cubicBezTo>
                  <a:cubicBezTo>
                    <a:pt x="365" y="1657"/>
                    <a:pt x="383" y="1664"/>
                    <a:pt x="387" y="1653"/>
                  </a:cubicBezTo>
                  <a:cubicBezTo>
                    <a:pt x="392" y="1643"/>
                    <a:pt x="399" y="1640"/>
                    <a:pt x="402" y="1631"/>
                  </a:cubicBezTo>
                  <a:cubicBezTo>
                    <a:pt x="405" y="1622"/>
                    <a:pt x="411" y="1616"/>
                    <a:pt x="414" y="1625"/>
                  </a:cubicBezTo>
                  <a:cubicBezTo>
                    <a:pt x="417" y="1635"/>
                    <a:pt x="415" y="1642"/>
                    <a:pt x="423" y="1640"/>
                  </a:cubicBezTo>
                  <a:cubicBezTo>
                    <a:pt x="432" y="1639"/>
                    <a:pt x="441" y="1630"/>
                    <a:pt x="444" y="1634"/>
                  </a:cubicBezTo>
                  <a:cubicBezTo>
                    <a:pt x="447" y="1638"/>
                    <a:pt x="454" y="1632"/>
                    <a:pt x="455" y="1639"/>
                  </a:cubicBezTo>
                  <a:cubicBezTo>
                    <a:pt x="456" y="1646"/>
                    <a:pt x="459" y="1653"/>
                    <a:pt x="467" y="1652"/>
                  </a:cubicBezTo>
                  <a:cubicBezTo>
                    <a:pt x="476" y="1651"/>
                    <a:pt x="478" y="1650"/>
                    <a:pt x="480" y="1645"/>
                  </a:cubicBezTo>
                  <a:cubicBezTo>
                    <a:pt x="481" y="1639"/>
                    <a:pt x="495" y="1641"/>
                    <a:pt x="485" y="1638"/>
                  </a:cubicBezTo>
                  <a:cubicBezTo>
                    <a:pt x="474" y="1634"/>
                    <a:pt x="465" y="1636"/>
                    <a:pt x="469" y="1630"/>
                  </a:cubicBezTo>
                  <a:cubicBezTo>
                    <a:pt x="473" y="1624"/>
                    <a:pt x="481" y="1631"/>
                    <a:pt x="483" y="1622"/>
                  </a:cubicBezTo>
                  <a:cubicBezTo>
                    <a:pt x="485" y="1612"/>
                    <a:pt x="505" y="1616"/>
                    <a:pt x="505" y="1609"/>
                  </a:cubicBezTo>
                  <a:cubicBezTo>
                    <a:pt x="506" y="1602"/>
                    <a:pt x="521" y="1597"/>
                    <a:pt x="521" y="1608"/>
                  </a:cubicBezTo>
                  <a:cubicBezTo>
                    <a:pt x="521" y="1619"/>
                    <a:pt x="528" y="1621"/>
                    <a:pt x="532" y="1618"/>
                  </a:cubicBezTo>
                  <a:cubicBezTo>
                    <a:pt x="536" y="1615"/>
                    <a:pt x="542" y="1612"/>
                    <a:pt x="544" y="1605"/>
                  </a:cubicBezTo>
                  <a:cubicBezTo>
                    <a:pt x="546" y="1599"/>
                    <a:pt x="552" y="1594"/>
                    <a:pt x="564" y="1594"/>
                  </a:cubicBezTo>
                  <a:cubicBezTo>
                    <a:pt x="575" y="1594"/>
                    <a:pt x="576" y="1593"/>
                    <a:pt x="579" y="1589"/>
                  </a:cubicBezTo>
                  <a:cubicBezTo>
                    <a:pt x="581" y="1586"/>
                    <a:pt x="592" y="1586"/>
                    <a:pt x="601" y="1583"/>
                  </a:cubicBezTo>
                  <a:cubicBezTo>
                    <a:pt x="611" y="1581"/>
                    <a:pt x="614" y="1582"/>
                    <a:pt x="617" y="1574"/>
                  </a:cubicBezTo>
                  <a:cubicBezTo>
                    <a:pt x="620" y="1566"/>
                    <a:pt x="629" y="1562"/>
                    <a:pt x="621" y="1558"/>
                  </a:cubicBezTo>
                  <a:cubicBezTo>
                    <a:pt x="614" y="1554"/>
                    <a:pt x="612" y="1555"/>
                    <a:pt x="612" y="1548"/>
                  </a:cubicBezTo>
                  <a:cubicBezTo>
                    <a:pt x="613" y="1541"/>
                    <a:pt x="615" y="1539"/>
                    <a:pt x="628" y="1535"/>
                  </a:cubicBezTo>
                  <a:cubicBezTo>
                    <a:pt x="641" y="1531"/>
                    <a:pt x="658" y="1524"/>
                    <a:pt x="667" y="1515"/>
                  </a:cubicBezTo>
                  <a:cubicBezTo>
                    <a:pt x="675" y="1506"/>
                    <a:pt x="697" y="1514"/>
                    <a:pt x="705" y="1501"/>
                  </a:cubicBezTo>
                  <a:cubicBezTo>
                    <a:pt x="712" y="1489"/>
                    <a:pt x="734" y="1501"/>
                    <a:pt x="736" y="1480"/>
                  </a:cubicBezTo>
                  <a:cubicBezTo>
                    <a:pt x="738" y="1459"/>
                    <a:pt x="738" y="1455"/>
                    <a:pt x="757" y="1450"/>
                  </a:cubicBezTo>
                  <a:cubicBezTo>
                    <a:pt x="775" y="1444"/>
                    <a:pt x="784" y="1438"/>
                    <a:pt x="793" y="1427"/>
                  </a:cubicBezTo>
                  <a:cubicBezTo>
                    <a:pt x="803" y="1416"/>
                    <a:pt x="819" y="1421"/>
                    <a:pt x="825" y="1410"/>
                  </a:cubicBezTo>
                  <a:cubicBezTo>
                    <a:pt x="832" y="1399"/>
                    <a:pt x="831" y="1399"/>
                    <a:pt x="850" y="1396"/>
                  </a:cubicBezTo>
                  <a:cubicBezTo>
                    <a:pt x="868" y="1394"/>
                    <a:pt x="879" y="1400"/>
                    <a:pt x="882" y="1379"/>
                  </a:cubicBezTo>
                  <a:cubicBezTo>
                    <a:pt x="885" y="1358"/>
                    <a:pt x="885" y="1347"/>
                    <a:pt x="894" y="1342"/>
                  </a:cubicBezTo>
                  <a:cubicBezTo>
                    <a:pt x="903" y="1337"/>
                    <a:pt x="928" y="1339"/>
                    <a:pt x="930" y="1325"/>
                  </a:cubicBezTo>
                  <a:cubicBezTo>
                    <a:pt x="931" y="1311"/>
                    <a:pt x="933" y="1306"/>
                    <a:pt x="922" y="1303"/>
                  </a:cubicBezTo>
                  <a:cubicBezTo>
                    <a:pt x="911" y="1300"/>
                    <a:pt x="906" y="1291"/>
                    <a:pt x="899" y="1294"/>
                  </a:cubicBezTo>
                  <a:cubicBezTo>
                    <a:pt x="891" y="1296"/>
                    <a:pt x="875" y="1296"/>
                    <a:pt x="879" y="1285"/>
                  </a:cubicBezTo>
                  <a:cubicBezTo>
                    <a:pt x="882" y="1274"/>
                    <a:pt x="898" y="1275"/>
                    <a:pt x="899" y="1264"/>
                  </a:cubicBezTo>
                  <a:cubicBezTo>
                    <a:pt x="899" y="1252"/>
                    <a:pt x="910" y="1245"/>
                    <a:pt x="925" y="1242"/>
                  </a:cubicBezTo>
                  <a:cubicBezTo>
                    <a:pt x="941" y="1239"/>
                    <a:pt x="959" y="1243"/>
                    <a:pt x="962" y="1228"/>
                  </a:cubicBezTo>
                  <a:cubicBezTo>
                    <a:pt x="965" y="1214"/>
                    <a:pt x="973" y="1218"/>
                    <a:pt x="978" y="1203"/>
                  </a:cubicBezTo>
                  <a:cubicBezTo>
                    <a:pt x="983" y="1188"/>
                    <a:pt x="989" y="1188"/>
                    <a:pt x="995" y="1174"/>
                  </a:cubicBezTo>
                  <a:cubicBezTo>
                    <a:pt x="1001" y="1160"/>
                    <a:pt x="1011" y="1152"/>
                    <a:pt x="1021" y="1144"/>
                  </a:cubicBezTo>
                  <a:cubicBezTo>
                    <a:pt x="1031" y="1136"/>
                    <a:pt x="1035" y="1136"/>
                    <a:pt x="1042" y="1124"/>
                  </a:cubicBezTo>
                  <a:cubicBezTo>
                    <a:pt x="1049" y="1112"/>
                    <a:pt x="1071" y="1117"/>
                    <a:pt x="1076" y="1106"/>
                  </a:cubicBezTo>
                  <a:cubicBezTo>
                    <a:pt x="1082" y="1094"/>
                    <a:pt x="1090" y="1103"/>
                    <a:pt x="1096" y="1094"/>
                  </a:cubicBezTo>
                  <a:cubicBezTo>
                    <a:pt x="1102" y="1084"/>
                    <a:pt x="1108" y="1081"/>
                    <a:pt x="1121" y="1085"/>
                  </a:cubicBezTo>
                  <a:cubicBezTo>
                    <a:pt x="1133" y="1088"/>
                    <a:pt x="1138" y="1091"/>
                    <a:pt x="1136" y="1099"/>
                  </a:cubicBezTo>
                  <a:cubicBezTo>
                    <a:pt x="1133" y="1106"/>
                    <a:pt x="1122" y="1109"/>
                    <a:pt x="1111" y="1108"/>
                  </a:cubicBezTo>
                  <a:cubicBezTo>
                    <a:pt x="1100" y="1106"/>
                    <a:pt x="1109" y="1114"/>
                    <a:pt x="1095" y="1121"/>
                  </a:cubicBezTo>
                  <a:cubicBezTo>
                    <a:pt x="1081" y="1128"/>
                    <a:pt x="1086" y="1132"/>
                    <a:pt x="1071" y="1134"/>
                  </a:cubicBezTo>
                  <a:cubicBezTo>
                    <a:pt x="1056" y="1136"/>
                    <a:pt x="1059" y="1141"/>
                    <a:pt x="1057" y="1155"/>
                  </a:cubicBezTo>
                  <a:cubicBezTo>
                    <a:pt x="1055" y="1169"/>
                    <a:pt x="1062" y="1181"/>
                    <a:pt x="1052" y="1189"/>
                  </a:cubicBezTo>
                  <a:cubicBezTo>
                    <a:pt x="1041" y="1196"/>
                    <a:pt x="1045" y="1212"/>
                    <a:pt x="1033" y="1218"/>
                  </a:cubicBezTo>
                  <a:cubicBezTo>
                    <a:pt x="1021" y="1224"/>
                    <a:pt x="1021" y="1231"/>
                    <a:pt x="1033" y="1237"/>
                  </a:cubicBezTo>
                  <a:cubicBezTo>
                    <a:pt x="1045" y="1242"/>
                    <a:pt x="1054" y="1247"/>
                    <a:pt x="1051" y="1252"/>
                  </a:cubicBezTo>
                  <a:cubicBezTo>
                    <a:pt x="1048" y="1257"/>
                    <a:pt x="1025" y="1258"/>
                    <a:pt x="1022" y="1265"/>
                  </a:cubicBezTo>
                  <a:cubicBezTo>
                    <a:pt x="1019" y="1272"/>
                    <a:pt x="1015" y="1284"/>
                    <a:pt x="1025" y="1287"/>
                  </a:cubicBezTo>
                  <a:cubicBezTo>
                    <a:pt x="1035" y="1290"/>
                    <a:pt x="1047" y="1290"/>
                    <a:pt x="1051" y="1284"/>
                  </a:cubicBezTo>
                  <a:cubicBezTo>
                    <a:pt x="1056" y="1278"/>
                    <a:pt x="1067" y="1274"/>
                    <a:pt x="1076" y="1277"/>
                  </a:cubicBezTo>
                  <a:cubicBezTo>
                    <a:pt x="1085" y="1280"/>
                    <a:pt x="1094" y="1281"/>
                    <a:pt x="1103" y="1267"/>
                  </a:cubicBezTo>
                  <a:cubicBezTo>
                    <a:pt x="1113" y="1252"/>
                    <a:pt x="1116" y="1242"/>
                    <a:pt x="1130" y="1242"/>
                  </a:cubicBezTo>
                  <a:cubicBezTo>
                    <a:pt x="1144" y="1242"/>
                    <a:pt x="1155" y="1244"/>
                    <a:pt x="1159" y="1236"/>
                  </a:cubicBezTo>
                  <a:cubicBezTo>
                    <a:pt x="1163" y="1228"/>
                    <a:pt x="1174" y="1211"/>
                    <a:pt x="1186" y="1210"/>
                  </a:cubicBezTo>
                  <a:cubicBezTo>
                    <a:pt x="1197" y="1209"/>
                    <a:pt x="1231" y="1216"/>
                    <a:pt x="1237" y="1208"/>
                  </a:cubicBezTo>
                  <a:cubicBezTo>
                    <a:pt x="1243" y="1200"/>
                    <a:pt x="1253" y="1209"/>
                    <a:pt x="1258" y="1197"/>
                  </a:cubicBezTo>
                  <a:cubicBezTo>
                    <a:pt x="1263" y="1185"/>
                    <a:pt x="1259" y="1180"/>
                    <a:pt x="1267" y="1174"/>
                  </a:cubicBezTo>
                  <a:cubicBezTo>
                    <a:pt x="1276" y="1168"/>
                    <a:pt x="1274" y="1159"/>
                    <a:pt x="1266" y="1155"/>
                  </a:cubicBezTo>
                  <a:cubicBezTo>
                    <a:pt x="1257" y="1151"/>
                    <a:pt x="1260" y="1138"/>
                    <a:pt x="1252" y="1145"/>
                  </a:cubicBezTo>
                  <a:cubicBezTo>
                    <a:pt x="1243" y="1152"/>
                    <a:pt x="1236" y="1151"/>
                    <a:pt x="1239" y="1142"/>
                  </a:cubicBezTo>
                  <a:cubicBezTo>
                    <a:pt x="1243" y="1133"/>
                    <a:pt x="1256" y="1134"/>
                    <a:pt x="1257" y="1125"/>
                  </a:cubicBezTo>
                  <a:cubicBezTo>
                    <a:pt x="1257" y="1117"/>
                    <a:pt x="1263" y="1108"/>
                    <a:pt x="1270" y="1115"/>
                  </a:cubicBezTo>
                  <a:cubicBezTo>
                    <a:pt x="1277" y="1121"/>
                    <a:pt x="1295" y="1122"/>
                    <a:pt x="1300" y="1116"/>
                  </a:cubicBezTo>
                  <a:cubicBezTo>
                    <a:pt x="1304" y="1110"/>
                    <a:pt x="1311" y="1113"/>
                    <a:pt x="1324" y="1112"/>
                  </a:cubicBezTo>
                  <a:cubicBezTo>
                    <a:pt x="1338" y="1111"/>
                    <a:pt x="1354" y="1111"/>
                    <a:pt x="1354" y="1118"/>
                  </a:cubicBezTo>
                  <a:cubicBezTo>
                    <a:pt x="1354" y="1126"/>
                    <a:pt x="1366" y="1123"/>
                    <a:pt x="1365" y="1132"/>
                  </a:cubicBezTo>
                  <a:cubicBezTo>
                    <a:pt x="1363" y="1141"/>
                    <a:pt x="1367" y="1142"/>
                    <a:pt x="1374" y="1139"/>
                  </a:cubicBezTo>
                  <a:cubicBezTo>
                    <a:pt x="1382" y="1137"/>
                    <a:pt x="1393" y="1134"/>
                    <a:pt x="1394" y="1139"/>
                  </a:cubicBezTo>
                  <a:cubicBezTo>
                    <a:pt x="1395" y="1144"/>
                    <a:pt x="1408" y="1158"/>
                    <a:pt x="1393" y="1159"/>
                  </a:cubicBezTo>
                  <a:cubicBezTo>
                    <a:pt x="1378" y="1160"/>
                    <a:pt x="1368" y="1160"/>
                    <a:pt x="1364" y="1162"/>
                  </a:cubicBezTo>
                  <a:cubicBezTo>
                    <a:pt x="1360" y="1164"/>
                    <a:pt x="1352" y="1170"/>
                    <a:pt x="1360" y="1175"/>
                  </a:cubicBezTo>
                  <a:cubicBezTo>
                    <a:pt x="1368" y="1180"/>
                    <a:pt x="1374" y="1188"/>
                    <a:pt x="1380" y="1178"/>
                  </a:cubicBezTo>
                  <a:cubicBezTo>
                    <a:pt x="1385" y="1168"/>
                    <a:pt x="1383" y="1167"/>
                    <a:pt x="1393" y="1167"/>
                  </a:cubicBezTo>
                  <a:cubicBezTo>
                    <a:pt x="1403" y="1167"/>
                    <a:pt x="1413" y="1158"/>
                    <a:pt x="1417" y="1167"/>
                  </a:cubicBezTo>
                  <a:cubicBezTo>
                    <a:pt x="1420" y="1176"/>
                    <a:pt x="1432" y="1178"/>
                    <a:pt x="1443" y="1173"/>
                  </a:cubicBezTo>
                  <a:cubicBezTo>
                    <a:pt x="1454" y="1169"/>
                    <a:pt x="1456" y="1169"/>
                    <a:pt x="1464" y="1163"/>
                  </a:cubicBezTo>
                  <a:cubicBezTo>
                    <a:pt x="1472" y="1157"/>
                    <a:pt x="1473" y="1164"/>
                    <a:pt x="1473" y="1174"/>
                  </a:cubicBezTo>
                  <a:cubicBezTo>
                    <a:pt x="1473" y="1185"/>
                    <a:pt x="1469" y="1186"/>
                    <a:pt x="1482" y="1186"/>
                  </a:cubicBezTo>
                  <a:cubicBezTo>
                    <a:pt x="1495" y="1185"/>
                    <a:pt x="1486" y="1198"/>
                    <a:pt x="1501" y="1198"/>
                  </a:cubicBezTo>
                  <a:cubicBezTo>
                    <a:pt x="1516" y="1198"/>
                    <a:pt x="1511" y="1214"/>
                    <a:pt x="1530" y="1210"/>
                  </a:cubicBezTo>
                  <a:cubicBezTo>
                    <a:pt x="1548" y="1206"/>
                    <a:pt x="1557" y="1207"/>
                    <a:pt x="1580" y="1208"/>
                  </a:cubicBezTo>
                  <a:cubicBezTo>
                    <a:pt x="1602" y="1208"/>
                    <a:pt x="1611" y="1201"/>
                    <a:pt x="1617" y="1208"/>
                  </a:cubicBezTo>
                  <a:cubicBezTo>
                    <a:pt x="1622" y="1215"/>
                    <a:pt x="1624" y="1210"/>
                    <a:pt x="1633" y="1206"/>
                  </a:cubicBezTo>
                  <a:cubicBezTo>
                    <a:pt x="1642" y="1202"/>
                    <a:pt x="1649" y="1201"/>
                    <a:pt x="1660" y="1209"/>
                  </a:cubicBezTo>
                  <a:cubicBezTo>
                    <a:pt x="1671" y="1216"/>
                    <a:pt x="1683" y="1218"/>
                    <a:pt x="1687" y="1215"/>
                  </a:cubicBezTo>
                  <a:cubicBezTo>
                    <a:pt x="1690" y="1212"/>
                    <a:pt x="1701" y="1213"/>
                    <a:pt x="1701" y="1221"/>
                  </a:cubicBezTo>
                  <a:cubicBezTo>
                    <a:pt x="1701" y="1229"/>
                    <a:pt x="1708" y="1233"/>
                    <a:pt x="1716" y="1231"/>
                  </a:cubicBezTo>
                  <a:cubicBezTo>
                    <a:pt x="1724" y="1230"/>
                    <a:pt x="1723" y="1238"/>
                    <a:pt x="1737" y="1239"/>
                  </a:cubicBezTo>
                  <a:cubicBezTo>
                    <a:pt x="1752" y="1240"/>
                    <a:pt x="1771" y="1242"/>
                    <a:pt x="1777" y="1237"/>
                  </a:cubicBezTo>
                  <a:cubicBezTo>
                    <a:pt x="1784" y="1232"/>
                    <a:pt x="1789" y="1238"/>
                    <a:pt x="1793" y="1229"/>
                  </a:cubicBezTo>
                  <a:cubicBezTo>
                    <a:pt x="1797" y="1221"/>
                    <a:pt x="1799" y="1219"/>
                    <a:pt x="1806" y="1222"/>
                  </a:cubicBezTo>
                  <a:cubicBezTo>
                    <a:pt x="1812" y="1224"/>
                    <a:pt x="1817" y="1232"/>
                    <a:pt x="1809" y="1239"/>
                  </a:cubicBezTo>
                  <a:cubicBezTo>
                    <a:pt x="1802" y="1245"/>
                    <a:pt x="1784" y="1253"/>
                    <a:pt x="1795" y="1257"/>
                  </a:cubicBezTo>
                  <a:cubicBezTo>
                    <a:pt x="1805" y="1260"/>
                    <a:pt x="1807" y="1265"/>
                    <a:pt x="1817" y="1267"/>
                  </a:cubicBezTo>
                  <a:cubicBezTo>
                    <a:pt x="1827" y="1269"/>
                    <a:pt x="1834" y="1273"/>
                    <a:pt x="1846" y="1283"/>
                  </a:cubicBezTo>
                  <a:cubicBezTo>
                    <a:pt x="1859" y="1293"/>
                    <a:pt x="1863" y="1296"/>
                    <a:pt x="1876" y="1296"/>
                  </a:cubicBezTo>
                  <a:cubicBezTo>
                    <a:pt x="1889" y="1296"/>
                    <a:pt x="1897" y="1298"/>
                    <a:pt x="1907" y="1311"/>
                  </a:cubicBezTo>
                  <a:cubicBezTo>
                    <a:pt x="1918" y="1325"/>
                    <a:pt x="1922" y="1334"/>
                    <a:pt x="1936" y="1342"/>
                  </a:cubicBezTo>
                  <a:cubicBezTo>
                    <a:pt x="1950" y="1350"/>
                    <a:pt x="1963" y="1351"/>
                    <a:pt x="1972" y="1359"/>
                  </a:cubicBezTo>
                  <a:cubicBezTo>
                    <a:pt x="1981" y="1367"/>
                    <a:pt x="1994" y="1378"/>
                    <a:pt x="2001" y="1371"/>
                  </a:cubicBezTo>
                  <a:cubicBezTo>
                    <a:pt x="2008" y="1364"/>
                    <a:pt x="2010" y="1370"/>
                    <a:pt x="2014" y="1360"/>
                  </a:cubicBezTo>
                  <a:cubicBezTo>
                    <a:pt x="2018" y="1350"/>
                    <a:pt x="2031" y="1353"/>
                    <a:pt x="2025" y="1343"/>
                  </a:cubicBezTo>
                  <a:cubicBezTo>
                    <a:pt x="2020" y="1333"/>
                    <a:pt x="2015" y="1323"/>
                    <a:pt x="2024" y="1321"/>
                  </a:cubicBezTo>
                  <a:cubicBezTo>
                    <a:pt x="2033" y="1319"/>
                    <a:pt x="2038" y="1320"/>
                    <a:pt x="2038" y="1329"/>
                  </a:cubicBezTo>
                  <a:cubicBezTo>
                    <a:pt x="2039" y="1338"/>
                    <a:pt x="2041" y="1347"/>
                    <a:pt x="2048" y="1350"/>
                  </a:cubicBezTo>
                  <a:cubicBezTo>
                    <a:pt x="2056" y="1353"/>
                    <a:pt x="2055" y="1361"/>
                    <a:pt x="2066" y="1360"/>
                  </a:cubicBezTo>
                  <a:cubicBezTo>
                    <a:pt x="2077" y="1359"/>
                    <a:pt x="2078" y="1374"/>
                    <a:pt x="2089" y="1372"/>
                  </a:cubicBezTo>
                  <a:cubicBezTo>
                    <a:pt x="2100" y="1371"/>
                    <a:pt x="2103" y="1372"/>
                    <a:pt x="2100" y="1362"/>
                  </a:cubicBezTo>
                  <a:cubicBezTo>
                    <a:pt x="2098" y="1352"/>
                    <a:pt x="2101" y="1345"/>
                    <a:pt x="2092" y="1338"/>
                  </a:cubicBezTo>
                  <a:cubicBezTo>
                    <a:pt x="2084" y="1331"/>
                    <a:pt x="2090" y="1328"/>
                    <a:pt x="2083" y="1317"/>
                  </a:cubicBezTo>
                  <a:cubicBezTo>
                    <a:pt x="2077" y="1306"/>
                    <a:pt x="2082" y="1306"/>
                    <a:pt x="2076" y="1296"/>
                  </a:cubicBezTo>
                  <a:cubicBezTo>
                    <a:pt x="2071" y="1287"/>
                    <a:pt x="2087" y="1290"/>
                    <a:pt x="2092" y="1305"/>
                  </a:cubicBezTo>
                  <a:cubicBezTo>
                    <a:pt x="2098" y="1320"/>
                    <a:pt x="2097" y="1337"/>
                    <a:pt x="2107" y="1342"/>
                  </a:cubicBezTo>
                  <a:cubicBezTo>
                    <a:pt x="2117" y="1346"/>
                    <a:pt x="2117" y="1358"/>
                    <a:pt x="2115" y="1368"/>
                  </a:cubicBezTo>
                  <a:cubicBezTo>
                    <a:pt x="2113" y="1379"/>
                    <a:pt x="2115" y="1378"/>
                    <a:pt x="2115" y="1392"/>
                  </a:cubicBezTo>
                  <a:cubicBezTo>
                    <a:pt x="2115" y="1407"/>
                    <a:pt x="2113" y="1421"/>
                    <a:pt x="2120" y="1425"/>
                  </a:cubicBezTo>
                  <a:cubicBezTo>
                    <a:pt x="2126" y="1430"/>
                    <a:pt x="2125" y="1429"/>
                    <a:pt x="2127" y="1440"/>
                  </a:cubicBezTo>
                  <a:cubicBezTo>
                    <a:pt x="2129" y="1451"/>
                    <a:pt x="2122" y="1473"/>
                    <a:pt x="2134" y="1474"/>
                  </a:cubicBezTo>
                  <a:cubicBezTo>
                    <a:pt x="2146" y="1475"/>
                    <a:pt x="2149" y="1478"/>
                    <a:pt x="2152" y="1468"/>
                  </a:cubicBezTo>
                  <a:cubicBezTo>
                    <a:pt x="2155" y="1458"/>
                    <a:pt x="2168" y="1460"/>
                    <a:pt x="2169" y="1451"/>
                  </a:cubicBezTo>
                  <a:cubicBezTo>
                    <a:pt x="2169" y="1441"/>
                    <a:pt x="2179" y="1437"/>
                    <a:pt x="2172" y="1428"/>
                  </a:cubicBezTo>
                  <a:cubicBezTo>
                    <a:pt x="2165" y="1419"/>
                    <a:pt x="2153" y="1411"/>
                    <a:pt x="2153" y="1400"/>
                  </a:cubicBezTo>
                  <a:cubicBezTo>
                    <a:pt x="2153" y="1388"/>
                    <a:pt x="2161" y="1383"/>
                    <a:pt x="2168" y="1393"/>
                  </a:cubicBezTo>
                  <a:cubicBezTo>
                    <a:pt x="2174" y="1402"/>
                    <a:pt x="2176" y="1411"/>
                    <a:pt x="2184" y="1411"/>
                  </a:cubicBezTo>
                  <a:cubicBezTo>
                    <a:pt x="2192" y="1411"/>
                    <a:pt x="2186" y="1429"/>
                    <a:pt x="2193" y="1432"/>
                  </a:cubicBezTo>
                  <a:cubicBezTo>
                    <a:pt x="2201" y="1435"/>
                    <a:pt x="2205" y="1442"/>
                    <a:pt x="2205" y="1453"/>
                  </a:cubicBezTo>
                  <a:cubicBezTo>
                    <a:pt x="2205" y="1464"/>
                    <a:pt x="2201" y="1476"/>
                    <a:pt x="2211" y="1480"/>
                  </a:cubicBezTo>
                  <a:cubicBezTo>
                    <a:pt x="2221" y="1484"/>
                    <a:pt x="2241" y="1483"/>
                    <a:pt x="2245" y="1495"/>
                  </a:cubicBezTo>
                  <a:cubicBezTo>
                    <a:pt x="2249" y="1507"/>
                    <a:pt x="2254" y="1516"/>
                    <a:pt x="2264" y="1518"/>
                  </a:cubicBezTo>
                  <a:cubicBezTo>
                    <a:pt x="2273" y="1521"/>
                    <a:pt x="2274" y="1526"/>
                    <a:pt x="2277" y="1537"/>
                  </a:cubicBezTo>
                  <a:cubicBezTo>
                    <a:pt x="2279" y="1547"/>
                    <a:pt x="2285" y="1547"/>
                    <a:pt x="2290" y="1551"/>
                  </a:cubicBezTo>
                  <a:cubicBezTo>
                    <a:pt x="2296" y="1554"/>
                    <a:pt x="2298" y="1562"/>
                    <a:pt x="2303" y="1562"/>
                  </a:cubicBezTo>
                  <a:cubicBezTo>
                    <a:pt x="2308" y="1562"/>
                    <a:pt x="2305" y="1571"/>
                    <a:pt x="2295" y="1580"/>
                  </a:cubicBezTo>
                  <a:cubicBezTo>
                    <a:pt x="2285" y="1588"/>
                    <a:pt x="2275" y="1604"/>
                    <a:pt x="2286" y="1610"/>
                  </a:cubicBezTo>
                  <a:cubicBezTo>
                    <a:pt x="2298" y="1615"/>
                    <a:pt x="2298" y="1619"/>
                    <a:pt x="2303" y="1610"/>
                  </a:cubicBezTo>
                  <a:cubicBezTo>
                    <a:pt x="2308" y="1601"/>
                    <a:pt x="2310" y="1596"/>
                    <a:pt x="2319" y="1591"/>
                  </a:cubicBezTo>
                  <a:cubicBezTo>
                    <a:pt x="2327" y="1586"/>
                    <a:pt x="2307" y="1625"/>
                    <a:pt x="2321" y="1626"/>
                  </a:cubicBezTo>
                  <a:cubicBezTo>
                    <a:pt x="2334" y="1627"/>
                    <a:pt x="2316" y="1636"/>
                    <a:pt x="2308" y="1638"/>
                  </a:cubicBezTo>
                  <a:cubicBezTo>
                    <a:pt x="2300" y="1640"/>
                    <a:pt x="2298" y="1644"/>
                    <a:pt x="2306" y="1648"/>
                  </a:cubicBezTo>
                  <a:cubicBezTo>
                    <a:pt x="2314" y="1652"/>
                    <a:pt x="2319" y="1655"/>
                    <a:pt x="2319" y="1661"/>
                  </a:cubicBezTo>
                  <a:cubicBezTo>
                    <a:pt x="2319" y="1667"/>
                    <a:pt x="2320" y="1670"/>
                    <a:pt x="2329" y="1670"/>
                  </a:cubicBezTo>
                  <a:cubicBezTo>
                    <a:pt x="2337" y="1671"/>
                    <a:pt x="2349" y="1682"/>
                    <a:pt x="2343" y="1670"/>
                  </a:cubicBezTo>
                  <a:cubicBezTo>
                    <a:pt x="2337" y="1659"/>
                    <a:pt x="2335" y="1658"/>
                    <a:pt x="2336" y="1649"/>
                  </a:cubicBezTo>
                  <a:cubicBezTo>
                    <a:pt x="2337" y="1640"/>
                    <a:pt x="2339" y="1639"/>
                    <a:pt x="2347" y="1643"/>
                  </a:cubicBezTo>
                  <a:cubicBezTo>
                    <a:pt x="2354" y="1647"/>
                    <a:pt x="2360" y="1645"/>
                    <a:pt x="2359" y="1655"/>
                  </a:cubicBezTo>
                  <a:cubicBezTo>
                    <a:pt x="2359" y="1666"/>
                    <a:pt x="2358" y="1684"/>
                    <a:pt x="2371" y="1685"/>
                  </a:cubicBezTo>
                  <a:cubicBezTo>
                    <a:pt x="2383" y="1686"/>
                    <a:pt x="2389" y="1683"/>
                    <a:pt x="2398" y="1672"/>
                  </a:cubicBezTo>
                  <a:cubicBezTo>
                    <a:pt x="2408" y="1661"/>
                    <a:pt x="2415" y="1660"/>
                    <a:pt x="2414" y="1648"/>
                  </a:cubicBezTo>
                  <a:cubicBezTo>
                    <a:pt x="2412" y="1636"/>
                    <a:pt x="2407" y="1619"/>
                    <a:pt x="2412" y="1619"/>
                  </a:cubicBezTo>
                  <a:cubicBezTo>
                    <a:pt x="2413" y="1619"/>
                    <a:pt x="2414" y="1620"/>
                    <a:pt x="2415" y="1620"/>
                  </a:cubicBezTo>
                  <a:cubicBezTo>
                    <a:pt x="2416" y="1616"/>
                    <a:pt x="2417" y="1610"/>
                    <a:pt x="2417" y="1596"/>
                  </a:cubicBezTo>
                  <a:cubicBezTo>
                    <a:pt x="2419" y="1567"/>
                    <a:pt x="2391" y="1561"/>
                    <a:pt x="2373" y="1553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407" name="Freeform 25571"/>
            <p:cNvSpPr>
              <a:spLocks/>
            </p:cNvSpPr>
            <p:nvPr/>
          </p:nvSpPr>
          <p:spPr bwMode="auto">
            <a:xfrm>
              <a:off x="1051039" y="2254089"/>
              <a:ext cx="48455" cy="68184"/>
            </a:xfrm>
            <a:custGeom>
              <a:avLst/>
              <a:gdLst>
                <a:gd name="T0" fmla="*/ 117 w 130"/>
                <a:gd name="T1" fmla="*/ 104 h 183"/>
                <a:gd name="T2" fmla="*/ 108 w 130"/>
                <a:gd name="T3" fmla="*/ 86 h 183"/>
                <a:gd name="T4" fmla="*/ 106 w 130"/>
                <a:gd name="T5" fmla="*/ 70 h 183"/>
                <a:gd name="T6" fmla="*/ 115 w 130"/>
                <a:gd name="T7" fmla="*/ 63 h 183"/>
                <a:gd name="T8" fmla="*/ 109 w 130"/>
                <a:gd name="T9" fmla="*/ 51 h 183"/>
                <a:gd name="T10" fmla="*/ 101 w 130"/>
                <a:gd name="T11" fmla="*/ 41 h 183"/>
                <a:gd name="T12" fmla="*/ 99 w 130"/>
                <a:gd name="T13" fmla="*/ 17 h 183"/>
                <a:gd name="T14" fmla="*/ 79 w 130"/>
                <a:gd name="T15" fmla="*/ 16 h 183"/>
                <a:gd name="T16" fmla="*/ 57 w 130"/>
                <a:gd name="T17" fmla="*/ 2 h 183"/>
                <a:gd name="T18" fmla="*/ 38 w 130"/>
                <a:gd name="T19" fmla="*/ 2 h 183"/>
                <a:gd name="T20" fmla="*/ 27 w 130"/>
                <a:gd name="T21" fmla="*/ 6 h 183"/>
                <a:gd name="T22" fmla="*/ 15 w 130"/>
                <a:gd name="T23" fmla="*/ 11 h 183"/>
                <a:gd name="T24" fmla="*/ 2 w 130"/>
                <a:gd name="T25" fmla="*/ 15 h 183"/>
                <a:gd name="T26" fmla="*/ 10 w 130"/>
                <a:gd name="T27" fmla="*/ 31 h 183"/>
                <a:gd name="T28" fmla="*/ 18 w 130"/>
                <a:gd name="T29" fmla="*/ 53 h 183"/>
                <a:gd name="T30" fmla="*/ 33 w 130"/>
                <a:gd name="T31" fmla="*/ 71 h 183"/>
                <a:gd name="T32" fmla="*/ 45 w 130"/>
                <a:gd name="T33" fmla="*/ 83 h 183"/>
                <a:gd name="T34" fmla="*/ 49 w 130"/>
                <a:gd name="T35" fmla="*/ 118 h 183"/>
                <a:gd name="T36" fmla="*/ 62 w 130"/>
                <a:gd name="T37" fmla="*/ 114 h 183"/>
                <a:gd name="T38" fmla="*/ 70 w 130"/>
                <a:gd name="T39" fmla="*/ 85 h 183"/>
                <a:gd name="T40" fmla="*/ 75 w 130"/>
                <a:gd name="T41" fmla="*/ 102 h 183"/>
                <a:gd name="T42" fmla="*/ 80 w 130"/>
                <a:gd name="T43" fmla="*/ 113 h 183"/>
                <a:gd name="T44" fmla="*/ 72 w 130"/>
                <a:gd name="T45" fmla="*/ 128 h 183"/>
                <a:gd name="T46" fmla="*/ 87 w 130"/>
                <a:gd name="T47" fmla="*/ 147 h 183"/>
                <a:gd name="T48" fmla="*/ 99 w 130"/>
                <a:gd name="T49" fmla="*/ 163 h 183"/>
                <a:gd name="T50" fmla="*/ 111 w 130"/>
                <a:gd name="T51" fmla="*/ 181 h 183"/>
                <a:gd name="T52" fmla="*/ 125 w 130"/>
                <a:gd name="T53" fmla="*/ 177 h 183"/>
                <a:gd name="T54" fmla="*/ 129 w 130"/>
                <a:gd name="T55" fmla="*/ 154 h 183"/>
                <a:gd name="T56" fmla="*/ 125 w 130"/>
                <a:gd name="T57" fmla="*/ 126 h 183"/>
                <a:gd name="T58" fmla="*/ 117 w 130"/>
                <a:gd name="T59" fmla="*/ 104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30" h="183">
                  <a:moveTo>
                    <a:pt x="117" y="104"/>
                  </a:moveTo>
                  <a:cubicBezTo>
                    <a:pt x="113" y="100"/>
                    <a:pt x="113" y="88"/>
                    <a:pt x="108" y="86"/>
                  </a:cubicBezTo>
                  <a:cubicBezTo>
                    <a:pt x="102" y="84"/>
                    <a:pt x="99" y="69"/>
                    <a:pt x="106" y="70"/>
                  </a:cubicBezTo>
                  <a:cubicBezTo>
                    <a:pt x="112" y="71"/>
                    <a:pt x="115" y="68"/>
                    <a:pt x="115" y="63"/>
                  </a:cubicBezTo>
                  <a:cubicBezTo>
                    <a:pt x="115" y="57"/>
                    <a:pt x="117" y="53"/>
                    <a:pt x="109" y="51"/>
                  </a:cubicBezTo>
                  <a:cubicBezTo>
                    <a:pt x="102" y="49"/>
                    <a:pt x="102" y="52"/>
                    <a:pt x="101" y="41"/>
                  </a:cubicBezTo>
                  <a:cubicBezTo>
                    <a:pt x="101" y="30"/>
                    <a:pt x="108" y="20"/>
                    <a:pt x="99" y="17"/>
                  </a:cubicBezTo>
                  <a:cubicBezTo>
                    <a:pt x="90" y="15"/>
                    <a:pt x="85" y="15"/>
                    <a:pt x="79" y="16"/>
                  </a:cubicBezTo>
                  <a:cubicBezTo>
                    <a:pt x="72" y="16"/>
                    <a:pt x="68" y="2"/>
                    <a:pt x="57" y="2"/>
                  </a:cubicBezTo>
                  <a:cubicBezTo>
                    <a:pt x="57" y="2"/>
                    <a:pt x="40" y="0"/>
                    <a:pt x="38" y="2"/>
                  </a:cubicBezTo>
                  <a:cubicBezTo>
                    <a:pt x="36" y="4"/>
                    <a:pt x="32" y="5"/>
                    <a:pt x="27" y="6"/>
                  </a:cubicBezTo>
                  <a:cubicBezTo>
                    <a:pt x="22" y="6"/>
                    <a:pt x="16" y="6"/>
                    <a:pt x="15" y="11"/>
                  </a:cubicBezTo>
                  <a:cubicBezTo>
                    <a:pt x="14" y="15"/>
                    <a:pt x="0" y="10"/>
                    <a:pt x="2" y="15"/>
                  </a:cubicBezTo>
                  <a:cubicBezTo>
                    <a:pt x="5" y="20"/>
                    <a:pt x="10" y="23"/>
                    <a:pt x="10" y="31"/>
                  </a:cubicBezTo>
                  <a:cubicBezTo>
                    <a:pt x="10" y="39"/>
                    <a:pt x="12" y="50"/>
                    <a:pt x="18" y="53"/>
                  </a:cubicBezTo>
                  <a:cubicBezTo>
                    <a:pt x="24" y="55"/>
                    <a:pt x="29" y="65"/>
                    <a:pt x="33" y="71"/>
                  </a:cubicBezTo>
                  <a:cubicBezTo>
                    <a:pt x="38" y="76"/>
                    <a:pt x="43" y="76"/>
                    <a:pt x="45" y="83"/>
                  </a:cubicBezTo>
                  <a:cubicBezTo>
                    <a:pt x="48" y="91"/>
                    <a:pt x="44" y="117"/>
                    <a:pt x="49" y="118"/>
                  </a:cubicBezTo>
                  <a:cubicBezTo>
                    <a:pt x="54" y="119"/>
                    <a:pt x="63" y="121"/>
                    <a:pt x="62" y="114"/>
                  </a:cubicBezTo>
                  <a:cubicBezTo>
                    <a:pt x="61" y="107"/>
                    <a:pt x="62" y="86"/>
                    <a:pt x="70" y="85"/>
                  </a:cubicBezTo>
                  <a:cubicBezTo>
                    <a:pt x="77" y="84"/>
                    <a:pt x="68" y="102"/>
                    <a:pt x="75" y="102"/>
                  </a:cubicBezTo>
                  <a:cubicBezTo>
                    <a:pt x="82" y="102"/>
                    <a:pt x="81" y="110"/>
                    <a:pt x="80" y="113"/>
                  </a:cubicBezTo>
                  <a:cubicBezTo>
                    <a:pt x="79" y="117"/>
                    <a:pt x="69" y="124"/>
                    <a:pt x="72" y="128"/>
                  </a:cubicBezTo>
                  <a:cubicBezTo>
                    <a:pt x="74" y="133"/>
                    <a:pt x="82" y="139"/>
                    <a:pt x="87" y="147"/>
                  </a:cubicBezTo>
                  <a:cubicBezTo>
                    <a:pt x="92" y="156"/>
                    <a:pt x="97" y="151"/>
                    <a:pt x="99" y="163"/>
                  </a:cubicBezTo>
                  <a:cubicBezTo>
                    <a:pt x="101" y="174"/>
                    <a:pt x="103" y="179"/>
                    <a:pt x="111" y="181"/>
                  </a:cubicBezTo>
                  <a:cubicBezTo>
                    <a:pt x="120" y="183"/>
                    <a:pt x="120" y="178"/>
                    <a:pt x="125" y="177"/>
                  </a:cubicBezTo>
                  <a:cubicBezTo>
                    <a:pt x="130" y="175"/>
                    <a:pt x="128" y="164"/>
                    <a:pt x="129" y="154"/>
                  </a:cubicBezTo>
                  <a:cubicBezTo>
                    <a:pt x="130" y="145"/>
                    <a:pt x="130" y="131"/>
                    <a:pt x="125" y="126"/>
                  </a:cubicBezTo>
                  <a:cubicBezTo>
                    <a:pt x="119" y="120"/>
                    <a:pt x="120" y="108"/>
                    <a:pt x="117" y="104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408" name="Freeform 25572"/>
            <p:cNvSpPr>
              <a:spLocks/>
            </p:cNvSpPr>
            <p:nvPr/>
          </p:nvSpPr>
          <p:spPr bwMode="auto">
            <a:xfrm>
              <a:off x="1114331" y="2294021"/>
              <a:ext cx="26043" cy="41352"/>
            </a:xfrm>
            <a:custGeom>
              <a:avLst/>
              <a:gdLst>
                <a:gd name="T0" fmla="*/ 36 w 70"/>
                <a:gd name="T1" fmla="*/ 93 h 111"/>
                <a:gd name="T2" fmla="*/ 37 w 70"/>
                <a:gd name="T3" fmla="*/ 69 h 111"/>
                <a:gd name="T4" fmla="*/ 46 w 70"/>
                <a:gd name="T5" fmla="*/ 63 h 111"/>
                <a:gd name="T6" fmla="*/ 50 w 70"/>
                <a:gd name="T7" fmla="*/ 48 h 111"/>
                <a:gd name="T8" fmla="*/ 66 w 70"/>
                <a:gd name="T9" fmla="*/ 40 h 111"/>
                <a:gd name="T10" fmla="*/ 62 w 70"/>
                <a:gd name="T11" fmla="*/ 20 h 111"/>
                <a:gd name="T12" fmla="*/ 48 w 70"/>
                <a:gd name="T13" fmla="*/ 11 h 111"/>
                <a:gd name="T14" fmla="*/ 30 w 70"/>
                <a:gd name="T15" fmla="*/ 5 h 111"/>
                <a:gd name="T16" fmla="*/ 14 w 70"/>
                <a:gd name="T17" fmla="*/ 2 h 111"/>
                <a:gd name="T18" fmla="*/ 3 w 70"/>
                <a:gd name="T19" fmla="*/ 12 h 111"/>
                <a:gd name="T20" fmla="*/ 9 w 70"/>
                <a:gd name="T21" fmla="*/ 24 h 111"/>
                <a:gd name="T22" fmla="*/ 23 w 70"/>
                <a:gd name="T23" fmla="*/ 39 h 111"/>
                <a:gd name="T24" fmla="*/ 24 w 70"/>
                <a:gd name="T25" fmla="*/ 59 h 111"/>
                <a:gd name="T26" fmla="*/ 18 w 70"/>
                <a:gd name="T27" fmla="*/ 77 h 111"/>
                <a:gd name="T28" fmla="*/ 19 w 70"/>
                <a:gd name="T29" fmla="*/ 93 h 111"/>
                <a:gd name="T30" fmla="*/ 13 w 70"/>
                <a:gd name="T31" fmla="*/ 111 h 111"/>
                <a:gd name="T32" fmla="*/ 27 w 70"/>
                <a:gd name="T33" fmla="*/ 105 h 111"/>
                <a:gd name="T34" fmla="*/ 36 w 70"/>
                <a:gd name="T35" fmla="*/ 93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0" h="111">
                  <a:moveTo>
                    <a:pt x="36" y="93"/>
                  </a:moveTo>
                  <a:cubicBezTo>
                    <a:pt x="36" y="83"/>
                    <a:pt x="32" y="70"/>
                    <a:pt x="37" y="69"/>
                  </a:cubicBezTo>
                  <a:cubicBezTo>
                    <a:pt x="42" y="68"/>
                    <a:pt x="46" y="72"/>
                    <a:pt x="46" y="63"/>
                  </a:cubicBezTo>
                  <a:cubicBezTo>
                    <a:pt x="46" y="54"/>
                    <a:pt x="42" y="50"/>
                    <a:pt x="50" y="48"/>
                  </a:cubicBezTo>
                  <a:cubicBezTo>
                    <a:pt x="58" y="45"/>
                    <a:pt x="66" y="51"/>
                    <a:pt x="66" y="40"/>
                  </a:cubicBezTo>
                  <a:cubicBezTo>
                    <a:pt x="67" y="30"/>
                    <a:pt x="70" y="24"/>
                    <a:pt x="62" y="20"/>
                  </a:cubicBezTo>
                  <a:cubicBezTo>
                    <a:pt x="55" y="17"/>
                    <a:pt x="54" y="13"/>
                    <a:pt x="48" y="11"/>
                  </a:cubicBezTo>
                  <a:cubicBezTo>
                    <a:pt x="42" y="9"/>
                    <a:pt x="40" y="7"/>
                    <a:pt x="30" y="5"/>
                  </a:cubicBezTo>
                  <a:cubicBezTo>
                    <a:pt x="30" y="5"/>
                    <a:pt x="26" y="5"/>
                    <a:pt x="14" y="2"/>
                  </a:cubicBezTo>
                  <a:cubicBezTo>
                    <a:pt x="2" y="0"/>
                    <a:pt x="0" y="2"/>
                    <a:pt x="3" y="12"/>
                  </a:cubicBezTo>
                  <a:cubicBezTo>
                    <a:pt x="6" y="22"/>
                    <a:pt x="0" y="22"/>
                    <a:pt x="9" y="24"/>
                  </a:cubicBezTo>
                  <a:cubicBezTo>
                    <a:pt x="18" y="27"/>
                    <a:pt x="22" y="32"/>
                    <a:pt x="23" y="39"/>
                  </a:cubicBezTo>
                  <a:cubicBezTo>
                    <a:pt x="24" y="46"/>
                    <a:pt x="28" y="53"/>
                    <a:pt x="24" y="59"/>
                  </a:cubicBezTo>
                  <a:cubicBezTo>
                    <a:pt x="20" y="65"/>
                    <a:pt x="17" y="70"/>
                    <a:pt x="18" y="77"/>
                  </a:cubicBezTo>
                  <a:cubicBezTo>
                    <a:pt x="20" y="84"/>
                    <a:pt x="23" y="88"/>
                    <a:pt x="19" y="93"/>
                  </a:cubicBezTo>
                  <a:cubicBezTo>
                    <a:pt x="15" y="97"/>
                    <a:pt x="6" y="111"/>
                    <a:pt x="13" y="111"/>
                  </a:cubicBezTo>
                  <a:cubicBezTo>
                    <a:pt x="20" y="111"/>
                    <a:pt x="22" y="108"/>
                    <a:pt x="27" y="105"/>
                  </a:cubicBezTo>
                  <a:cubicBezTo>
                    <a:pt x="33" y="103"/>
                    <a:pt x="35" y="103"/>
                    <a:pt x="36" y="93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409" name="Freeform 25573"/>
            <p:cNvSpPr>
              <a:spLocks/>
            </p:cNvSpPr>
            <p:nvPr/>
          </p:nvSpPr>
          <p:spPr bwMode="auto">
            <a:xfrm>
              <a:off x="1125221" y="2321958"/>
              <a:ext cx="39458" cy="56978"/>
            </a:xfrm>
            <a:custGeom>
              <a:avLst/>
              <a:gdLst>
                <a:gd name="T0" fmla="*/ 35 w 106"/>
                <a:gd name="T1" fmla="*/ 138 h 153"/>
                <a:gd name="T2" fmla="*/ 48 w 106"/>
                <a:gd name="T3" fmla="*/ 148 h 153"/>
                <a:gd name="T4" fmla="*/ 55 w 106"/>
                <a:gd name="T5" fmla="*/ 135 h 153"/>
                <a:gd name="T6" fmla="*/ 45 w 106"/>
                <a:gd name="T7" fmla="*/ 118 h 153"/>
                <a:gd name="T8" fmla="*/ 38 w 106"/>
                <a:gd name="T9" fmla="*/ 102 h 153"/>
                <a:gd name="T10" fmla="*/ 55 w 106"/>
                <a:gd name="T11" fmla="*/ 110 h 153"/>
                <a:gd name="T12" fmla="*/ 63 w 106"/>
                <a:gd name="T13" fmla="*/ 120 h 153"/>
                <a:gd name="T14" fmla="*/ 71 w 106"/>
                <a:gd name="T15" fmla="*/ 134 h 153"/>
                <a:gd name="T16" fmla="*/ 79 w 106"/>
                <a:gd name="T17" fmla="*/ 142 h 153"/>
                <a:gd name="T18" fmla="*/ 95 w 106"/>
                <a:gd name="T19" fmla="*/ 139 h 153"/>
                <a:gd name="T20" fmla="*/ 100 w 106"/>
                <a:gd name="T21" fmla="*/ 125 h 153"/>
                <a:gd name="T22" fmla="*/ 101 w 106"/>
                <a:gd name="T23" fmla="*/ 117 h 153"/>
                <a:gd name="T24" fmla="*/ 94 w 106"/>
                <a:gd name="T25" fmla="*/ 104 h 153"/>
                <a:gd name="T26" fmla="*/ 93 w 106"/>
                <a:gd name="T27" fmla="*/ 89 h 153"/>
                <a:gd name="T28" fmla="*/ 75 w 106"/>
                <a:gd name="T29" fmla="*/ 77 h 153"/>
                <a:gd name="T30" fmla="*/ 65 w 106"/>
                <a:gd name="T31" fmla="*/ 70 h 153"/>
                <a:gd name="T32" fmla="*/ 69 w 106"/>
                <a:gd name="T33" fmla="*/ 50 h 153"/>
                <a:gd name="T34" fmla="*/ 61 w 106"/>
                <a:gd name="T35" fmla="*/ 36 h 153"/>
                <a:gd name="T36" fmla="*/ 46 w 106"/>
                <a:gd name="T37" fmla="*/ 25 h 153"/>
                <a:gd name="T38" fmla="*/ 31 w 106"/>
                <a:gd name="T39" fmla="*/ 14 h 153"/>
                <a:gd name="T40" fmla="*/ 22 w 106"/>
                <a:gd name="T41" fmla="*/ 1 h 153"/>
                <a:gd name="T42" fmla="*/ 15 w 106"/>
                <a:gd name="T43" fmla="*/ 10 h 153"/>
                <a:gd name="T44" fmla="*/ 12 w 106"/>
                <a:gd name="T45" fmla="*/ 36 h 153"/>
                <a:gd name="T46" fmla="*/ 7 w 106"/>
                <a:gd name="T47" fmla="*/ 59 h 153"/>
                <a:gd name="T48" fmla="*/ 21 w 106"/>
                <a:gd name="T49" fmla="*/ 73 h 153"/>
                <a:gd name="T50" fmla="*/ 19 w 106"/>
                <a:gd name="T51" fmla="*/ 87 h 153"/>
                <a:gd name="T52" fmla="*/ 17 w 106"/>
                <a:gd name="T53" fmla="*/ 95 h 153"/>
                <a:gd name="T54" fmla="*/ 16 w 106"/>
                <a:gd name="T55" fmla="*/ 118 h 153"/>
                <a:gd name="T56" fmla="*/ 35 w 106"/>
                <a:gd name="T57" fmla="*/ 138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6" h="153">
                  <a:moveTo>
                    <a:pt x="35" y="138"/>
                  </a:moveTo>
                  <a:cubicBezTo>
                    <a:pt x="38" y="143"/>
                    <a:pt x="41" y="153"/>
                    <a:pt x="48" y="148"/>
                  </a:cubicBezTo>
                  <a:cubicBezTo>
                    <a:pt x="55" y="143"/>
                    <a:pt x="56" y="145"/>
                    <a:pt x="55" y="135"/>
                  </a:cubicBezTo>
                  <a:cubicBezTo>
                    <a:pt x="54" y="125"/>
                    <a:pt x="46" y="126"/>
                    <a:pt x="45" y="118"/>
                  </a:cubicBezTo>
                  <a:cubicBezTo>
                    <a:pt x="44" y="110"/>
                    <a:pt x="31" y="103"/>
                    <a:pt x="38" y="102"/>
                  </a:cubicBezTo>
                  <a:cubicBezTo>
                    <a:pt x="44" y="101"/>
                    <a:pt x="49" y="106"/>
                    <a:pt x="55" y="110"/>
                  </a:cubicBezTo>
                  <a:cubicBezTo>
                    <a:pt x="61" y="114"/>
                    <a:pt x="63" y="114"/>
                    <a:pt x="63" y="120"/>
                  </a:cubicBezTo>
                  <a:cubicBezTo>
                    <a:pt x="63" y="126"/>
                    <a:pt x="70" y="127"/>
                    <a:pt x="71" y="134"/>
                  </a:cubicBezTo>
                  <a:cubicBezTo>
                    <a:pt x="71" y="140"/>
                    <a:pt x="74" y="141"/>
                    <a:pt x="79" y="142"/>
                  </a:cubicBezTo>
                  <a:cubicBezTo>
                    <a:pt x="85" y="143"/>
                    <a:pt x="94" y="145"/>
                    <a:pt x="95" y="139"/>
                  </a:cubicBezTo>
                  <a:cubicBezTo>
                    <a:pt x="97" y="134"/>
                    <a:pt x="97" y="128"/>
                    <a:pt x="100" y="125"/>
                  </a:cubicBezTo>
                  <a:cubicBezTo>
                    <a:pt x="104" y="123"/>
                    <a:pt x="106" y="118"/>
                    <a:pt x="101" y="117"/>
                  </a:cubicBezTo>
                  <a:cubicBezTo>
                    <a:pt x="95" y="117"/>
                    <a:pt x="94" y="110"/>
                    <a:pt x="94" y="104"/>
                  </a:cubicBezTo>
                  <a:cubicBezTo>
                    <a:pt x="94" y="97"/>
                    <a:pt x="100" y="93"/>
                    <a:pt x="93" y="89"/>
                  </a:cubicBezTo>
                  <a:cubicBezTo>
                    <a:pt x="86" y="84"/>
                    <a:pt x="82" y="77"/>
                    <a:pt x="75" y="77"/>
                  </a:cubicBezTo>
                  <a:cubicBezTo>
                    <a:pt x="68" y="77"/>
                    <a:pt x="63" y="76"/>
                    <a:pt x="65" y="70"/>
                  </a:cubicBezTo>
                  <a:cubicBezTo>
                    <a:pt x="66" y="64"/>
                    <a:pt x="71" y="60"/>
                    <a:pt x="69" y="50"/>
                  </a:cubicBezTo>
                  <a:cubicBezTo>
                    <a:pt x="68" y="41"/>
                    <a:pt x="68" y="40"/>
                    <a:pt x="61" y="36"/>
                  </a:cubicBezTo>
                  <a:cubicBezTo>
                    <a:pt x="53" y="32"/>
                    <a:pt x="47" y="29"/>
                    <a:pt x="46" y="25"/>
                  </a:cubicBezTo>
                  <a:cubicBezTo>
                    <a:pt x="45" y="22"/>
                    <a:pt x="32" y="20"/>
                    <a:pt x="31" y="14"/>
                  </a:cubicBezTo>
                  <a:cubicBezTo>
                    <a:pt x="30" y="7"/>
                    <a:pt x="28" y="0"/>
                    <a:pt x="22" y="1"/>
                  </a:cubicBezTo>
                  <a:cubicBezTo>
                    <a:pt x="22" y="1"/>
                    <a:pt x="15" y="3"/>
                    <a:pt x="15" y="10"/>
                  </a:cubicBezTo>
                  <a:cubicBezTo>
                    <a:pt x="14" y="18"/>
                    <a:pt x="15" y="27"/>
                    <a:pt x="12" y="36"/>
                  </a:cubicBezTo>
                  <a:cubicBezTo>
                    <a:pt x="9" y="44"/>
                    <a:pt x="0" y="54"/>
                    <a:pt x="7" y="59"/>
                  </a:cubicBezTo>
                  <a:cubicBezTo>
                    <a:pt x="14" y="63"/>
                    <a:pt x="22" y="65"/>
                    <a:pt x="21" y="73"/>
                  </a:cubicBezTo>
                  <a:cubicBezTo>
                    <a:pt x="20" y="82"/>
                    <a:pt x="14" y="84"/>
                    <a:pt x="19" y="87"/>
                  </a:cubicBezTo>
                  <a:cubicBezTo>
                    <a:pt x="23" y="89"/>
                    <a:pt x="23" y="93"/>
                    <a:pt x="17" y="95"/>
                  </a:cubicBezTo>
                  <a:cubicBezTo>
                    <a:pt x="11" y="97"/>
                    <a:pt x="9" y="111"/>
                    <a:pt x="16" y="118"/>
                  </a:cubicBezTo>
                  <a:cubicBezTo>
                    <a:pt x="22" y="125"/>
                    <a:pt x="32" y="132"/>
                    <a:pt x="35" y="138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410" name="Freeform 25574"/>
            <p:cNvSpPr>
              <a:spLocks/>
            </p:cNvSpPr>
            <p:nvPr/>
          </p:nvSpPr>
          <p:spPr bwMode="auto">
            <a:xfrm>
              <a:off x="1135639" y="2307437"/>
              <a:ext cx="22728" cy="26043"/>
            </a:xfrm>
            <a:custGeom>
              <a:avLst/>
              <a:gdLst>
                <a:gd name="T0" fmla="*/ 23 w 61"/>
                <a:gd name="T1" fmla="*/ 18 h 70"/>
                <a:gd name="T2" fmla="*/ 26 w 61"/>
                <a:gd name="T3" fmla="*/ 12 h 70"/>
                <a:gd name="T4" fmla="*/ 12 w 61"/>
                <a:gd name="T5" fmla="*/ 13 h 70"/>
                <a:gd name="T6" fmla="*/ 4 w 61"/>
                <a:gd name="T7" fmla="*/ 26 h 70"/>
                <a:gd name="T8" fmla="*/ 7 w 61"/>
                <a:gd name="T9" fmla="*/ 40 h 70"/>
                <a:gd name="T10" fmla="*/ 19 w 61"/>
                <a:gd name="T11" fmla="*/ 46 h 70"/>
                <a:gd name="T12" fmla="*/ 28 w 61"/>
                <a:gd name="T13" fmla="*/ 56 h 70"/>
                <a:gd name="T14" fmla="*/ 35 w 61"/>
                <a:gd name="T15" fmla="*/ 68 h 70"/>
                <a:gd name="T16" fmla="*/ 52 w 61"/>
                <a:gd name="T17" fmla="*/ 66 h 70"/>
                <a:gd name="T18" fmla="*/ 59 w 61"/>
                <a:gd name="T19" fmla="*/ 61 h 70"/>
                <a:gd name="T20" fmla="*/ 55 w 61"/>
                <a:gd name="T21" fmla="*/ 48 h 70"/>
                <a:gd name="T22" fmla="*/ 42 w 61"/>
                <a:gd name="T23" fmla="*/ 33 h 70"/>
                <a:gd name="T24" fmla="*/ 26 w 61"/>
                <a:gd name="T25" fmla="*/ 26 h 70"/>
                <a:gd name="T26" fmla="*/ 23 w 61"/>
                <a:gd name="T27" fmla="*/ 18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1" h="70">
                  <a:moveTo>
                    <a:pt x="23" y="18"/>
                  </a:moveTo>
                  <a:cubicBezTo>
                    <a:pt x="27" y="15"/>
                    <a:pt x="29" y="16"/>
                    <a:pt x="26" y="12"/>
                  </a:cubicBezTo>
                  <a:cubicBezTo>
                    <a:pt x="24" y="7"/>
                    <a:pt x="19" y="0"/>
                    <a:pt x="12" y="13"/>
                  </a:cubicBezTo>
                  <a:cubicBezTo>
                    <a:pt x="12" y="13"/>
                    <a:pt x="3" y="21"/>
                    <a:pt x="4" y="26"/>
                  </a:cubicBezTo>
                  <a:cubicBezTo>
                    <a:pt x="4" y="31"/>
                    <a:pt x="0" y="40"/>
                    <a:pt x="7" y="40"/>
                  </a:cubicBezTo>
                  <a:cubicBezTo>
                    <a:pt x="13" y="41"/>
                    <a:pt x="17" y="42"/>
                    <a:pt x="19" y="46"/>
                  </a:cubicBezTo>
                  <a:cubicBezTo>
                    <a:pt x="21" y="50"/>
                    <a:pt x="27" y="51"/>
                    <a:pt x="28" y="56"/>
                  </a:cubicBezTo>
                  <a:cubicBezTo>
                    <a:pt x="29" y="61"/>
                    <a:pt x="31" y="67"/>
                    <a:pt x="35" y="68"/>
                  </a:cubicBezTo>
                  <a:cubicBezTo>
                    <a:pt x="39" y="70"/>
                    <a:pt x="48" y="66"/>
                    <a:pt x="52" y="66"/>
                  </a:cubicBezTo>
                  <a:cubicBezTo>
                    <a:pt x="55" y="66"/>
                    <a:pt x="59" y="68"/>
                    <a:pt x="59" y="61"/>
                  </a:cubicBezTo>
                  <a:cubicBezTo>
                    <a:pt x="59" y="54"/>
                    <a:pt x="61" y="52"/>
                    <a:pt x="55" y="48"/>
                  </a:cubicBezTo>
                  <a:cubicBezTo>
                    <a:pt x="48" y="44"/>
                    <a:pt x="50" y="35"/>
                    <a:pt x="42" y="33"/>
                  </a:cubicBezTo>
                  <a:cubicBezTo>
                    <a:pt x="34" y="31"/>
                    <a:pt x="28" y="28"/>
                    <a:pt x="26" y="26"/>
                  </a:cubicBezTo>
                  <a:cubicBezTo>
                    <a:pt x="25" y="24"/>
                    <a:pt x="18" y="21"/>
                    <a:pt x="23" y="18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411" name="Freeform 25575"/>
            <p:cNvSpPr>
              <a:spLocks/>
            </p:cNvSpPr>
            <p:nvPr/>
          </p:nvSpPr>
          <p:spPr bwMode="auto">
            <a:xfrm>
              <a:off x="1120328" y="2348474"/>
              <a:ext cx="7103" cy="10733"/>
            </a:xfrm>
            <a:custGeom>
              <a:avLst/>
              <a:gdLst>
                <a:gd name="T0" fmla="*/ 2 w 19"/>
                <a:gd name="T1" fmla="*/ 6 h 29"/>
                <a:gd name="T2" fmla="*/ 3 w 19"/>
                <a:gd name="T3" fmla="*/ 25 h 29"/>
                <a:gd name="T4" fmla="*/ 10 w 19"/>
                <a:gd name="T5" fmla="*/ 20 h 29"/>
                <a:gd name="T6" fmla="*/ 17 w 19"/>
                <a:gd name="T7" fmla="*/ 10 h 29"/>
                <a:gd name="T8" fmla="*/ 2 w 19"/>
                <a:gd name="T9" fmla="*/ 6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29">
                  <a:moveTo>
                    <a:pt x="2" y="6"/>
                  </a:moveTo>
                  <a:cubicBezTo>
                    <a:pt x="2" y="6"/>
                    <a:pt x="0" y="21"/>
                    <a:pt x="3" y="25"/>
                  </a:cubicBezTo>
                  <a:cubicBezTo>
                    <a:pt x="5" y="29"/>
                    <a:pt x="8" y="27"/>
                    <a:pt x="10" y="20"/>
                  </a:cubicBezTo>
                  <a:cubicBezTo>
                    <a:pt x="12" y="13"/>
                    <a:pt x="19" y="14"/>
                    <a:pt x="17" y="10"/>
                  </a:cubicBezTo>
                  <a:cubicBezTo>
                    <a:pt x="16" y="7"/>
                    <a:pt x="3" y="0"/>
                    <a:pt x="2" y="6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412" name="Freeform 25576"/>
            <p:cNvSpPr>
              <a:spLocks/>
            </p:cNvSpPr>
            <p:nvPr/>
          </p:nvSpPr>
          <p:spPr bwMode="auto">
            <a:xfrm>
              <a:off x="1332142" y="2544662"/>
              <a:ext cx="1374734" cy="670795"/>
            </a:xfrm>
            <a:custGeom>
              <a:avLst/>
              <a:gdLst>
                <a:gd name="T0" fmla="*/ 3575 w 3687"/>
                <a:gd name="T1" fmla="*/ 174 h 1799"/>
                <a:gd name="T2" fmla="*/ 3387 w 3687"/>
                <a:gd name="T3" fmla="*/ 351 h 1799"/>
                <a:gd name="T4" fmla="*/ 3082 w 3687"/>
                <a:gd name="T5" fmla="*/ 464 h 1799"/>
                <a:gd name="T6" fmla="*/ 2919 w 3687"/>
                <a:gd name="T7" fmla="*/ 509 h 1799"/>
                <a:gd name="T8" fmla="*/ 2748 w 3687"/>
                <a:gd name="T9" fmla="*/ 618 h 1799"/>
                <a:gd name="T10" fmla="*/ 2705 w 3687"/>
                <a:gd name="T11" fmla="*/ 495 h 1799"/>
                <a:gd name="T12" fmla="*/ 2634 w 3687"/>
                <a:gd name="T13" fmla="*/ 448 h 1799"/>
                <a:gd name="T14" fmla="*/ 2628 w 3687"/>
                <a:gd name="T15" fmla="*/ 320 h 1799"/>
                <a:gd name="T16" fmla="*/ 2498 w 3687"/>
                <a:gd name="T17" fmla="*/ 342 h 1799"/>
                <a:gd name="T18" fmla="*/ 2450 w 3687"/>
                <a:gd name="T19" fmla="*/ 481 h 1799"/>
                <a:gd name="T20" fmla="*/ 2368 w 3687"/>
                <a:gd name="T21" fmla="*/ 576 h 1799"/>
                <a:gd name="T22" fmla="*/ 2384 w 3687"/>
                <a:gd name="T23" fmla="*/ 386 h 1799"/>
                <a:gd name="T24" fmla="*/ 2393 w 3687"/>
                <a:gd name="T25" fmla="*/ 315 h 1799"/>
                <a:gd name="T26" fmla="*/ 2558 w 3687"/>
                <a:gd name="T27" fmla="*/ 282 h 1799"/>
                <a:gd name="T28" fmla="*/ 2560 w 3687"/>
                <a:gd name="T29" fmla="*/ 233 h 1799"/>
                <a:gd name="T30" fmla="*/ 2395 w 3687"/>
                <a:gd name="T31" fmla="*/ 224 h 1799"/>
                <a:gd name="T32" fmla="*/ 2357 w 3687"/>
                <a:gd name="T33" fmla="*/ 149 h 1799"/>
                <a:gd name="T34" fmla="*/ 2180 w 3687"/>
                <a:gd name="T35" fmla="*/ 206 h 1799"/>
                <a:gd name="T36" fmla="*/ 2113 w 3687"/>
                <a:gd name="T37" fmla="*/ 196 h 1799"/>
                <a:gd name="T38" fmla="*/ 2206 w 3687"/>
                <a:gd name="T39" fmla="*/ 105 h 1799"/>
                <a:gd name="T40" fmla="*/ 2049 w 3687"/>
                <a:gd name="T41" fmla="*/ 80 h 1799"/>
                <a:gd name="T42" fmla="*/ 1892 w 3687"/>
                <a:gd name="T43" fmla="*/ 1 h 1799"/>
                <a:gd name="T44" fmla="*/ 132 w 3687"/>
                <a:gd name="T45" fmla="*/ 47 h 1799"/>
                <a:gd name="T46" fmla="*/ 113 w 3687"/>
                <a:gd name="T47" fmla="*/ 97 h 1799"/>
                <a:gd name="T48" fmla="*/ 57 w 3687"/>
                <a:gd name="T49" fmla="*/ 96 h 1799"/>
                <a:gd name="T50" fmla="*/ 46 w 3687"/>
                <a:gd name="T51" fmla="*/ 199 h 1799"/>
                <a:gd name="T52" fmla="*/ 33 w 3687"/>
                <a:gd name="T53" fmla="*/ 483 h 1799"/>
                <a:gd name="T54" fmla="*/ 30 w 3687"/>
                <a:gd name="T55" fmla="*/ 691 h 1799"/>
                <a:gd name="T56" fmla="*/ 156 w 3687"/>
                <a:gd name="T57" fmla="*/ 909 h 1799"/>
                <a:gd name="T58" fmla="*/ 265 w 3687"/>
                <a:gd name="T59" fmla="*/ 1110 h 1799"/>
                <a:gd name="T60" fmla="*/ 489 w 3687"/>
                <a:gd name="T61" fmla="*/ 1291 h 1799"/>
                <a:gd name="T62" fmla="*/ 1057 w 3687"/>
                <a:gd name="T63" fmla="*/ 1366 h 1799"/>
                <a:gd name="T64" fmla="*/ 1299 w 3687"/>
                <a:gd name="T65" fmla="*/ 1495 h 1799"/>
                <a:gd name="T66" fmla="*/ 1579 w 3687"/>
                <a:gd name="T67" fmla="*/ 1602 h 1799"/>
                <a:gd name="T68" fmla="*/ 1722 w 3687"/>
                <a:gd name="T69" fmla="*/ 1743 h 1799"/>
                <a:gd name="T70" fmla="*/ 1809 w 3687"/>
                <a:gd name="T71" fmla="*/ 1570 h 1799"/>
                <a:gd name="T72" fmla="*/ 1926 w 3687"/>
                <a:gd name="T73" fmla="*/ 1495 h 1799"/>
                <a:gd name="T74" fmla="*/ 2146 w 3687"/>
                <a:gd name="T75" fmla="*/ 1505 h 1799"/>
                <a:gd name="T76" fmla="*/ 2285 w 3687"/>
                <a:gd name="T77" fmla="*/ 1519 h 1799"/>
                <a:gd name="T78" fmla="*/ 2296 w 3687"/>
                <a:gd name="T79" fmla="*/ 1434 h 1799"/>
                <a:gd name="T80" fmla="*/ 2454 w 3687"/>
                <a:gd name="T81" fmla="*/ 1436 h 1799"/>
                <a:gd name="T82" fmla="*/ 2630 w 3687"/>
                <a:gd name="T83" fmla="*/ 1473 h 1799"/>
                <a:gd name="T84" fmla="*/ 2698 w 3687"/>
                <a:gd name="T85" fmla="*/ 1644 h 1799"/>
                <a:gd name="T86" fmla="*/ 2822 w 3687"/>
                <a:gd name="T87" fmla="*/ 1790 h 1799"/>
                <a:gd name="T88" fmla="*/ 2821 w 3687"/>
                <a:gd name="T89" fmla="*/ 1548 h 1799"/>
                <a:gd name="T90" fmla="*/ 2798 w 3687"/>
                <a:gd name="T91" fmla="*/ 1330 h 1799"/>
                <a:gd name="T92" fmla="*/ 2999 w 3687"/>
                <a:gd name="T93" fmla="*/ 1173 h 1799"/>
                <a:gd name="T94" fmla="*/ 3091 w 3687"/>
                <a:gd name="T95" fmla="*/ 1080 h 1799"/>
                <a:gd name="T96" fmla="*/ 3140 w 3687"/>
                <a:gd name="T97" fmla="*/ 1025 h 1799"/>
                <a:gd name="T98" fmla="*/ 3089 w 3687"/>
                <a:gd name="T99" fmla="*/ 912 h 1799"/>
                <a:gd name="T100" fmla="*/ 3089 w 3687"/>
                <a:gd name="T101" fmla="*/ 811 h 1799"/>
                <a:gd name="T102" fmla="*/ 3142 w 3687"/>
                <a:gd name="T103" fmla="*/ 911 h 1799"/>
                <a:gd name="T104" fmla="*/ 3158 w 3687"/>
                <a:gd name="T105" fmla="*/ 790 h 1799"/>
                <a:gd name="T106" fmla="*/ 3256 w 3687"/>
                <a:gd name="T107" fmla="*/ 689 h 1799"/>
                <a:gd name="T108" fmla="*/ 3288 w 3687"/>
                <a:gd name="T109" fmla="*/ 649 h 1799"/>
                <a:gd name="T110" fmla="*/ 3449 w 3687"/>
                <a:gd name="T111" fmla="*/ 628 h 1799"/>
                <a:gd name="T112" fmla="*/ 3466 w 3687"/>
                <a:gd name="T113" fmla="*/ 598 h 1799"/>
                <a:gd name="T114" fmla="*/ 3535 w 3687"/>
                <a:gd name="T115" fmla="*/ 435 h 1799"/>
                <a:gd name="T116" fmla="*/ 3667 w 3687"/>
                <a:gd name="T117" fmla="*/ 384 h 17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687" h="1799">
                  <a:moveTo>
                    <a:pt x="3664" y="335"/>
                  </a:moveTo>
                  <a:cubicBezTo>
                    <a:pt x="3658" y="332"/>
                    <a:pt x="3654" y="329"/>
                    <a:pt x="3654" y="322"/>
                  </a:cubicBezTo>
                  <a:cubicBezTo>
                    <a:pt x="3654" y="315"/>
                    <a:pt x="3648" y="304"/>
                    <a:pt x="3639" y="304"/>
                  </a:cubicBezTo>
                  <a:cubicBezTo>
                    <a:pt x="3630" y="303"/>
                    <a:pt x="3631" y="238"/>
                    <a:pt x="3631" y="223"/>
                  </a:cubicBezTo>
                  <a:cubicBezTo>
                    <a:pt x="3631" y="207"/>
                    <a:pt x="3633" y="197"/>
                    <a:pt x="3628" y="190"/>
                  </a:cubicBezTo>
                  <a:cubicBezTo>
                    <a:pt x="3623" y="184"/>
                    <a:pt x="3626" y="177"/>
                    <a:pt x="3611" y="166"/>
                  </a:cubicBezTo>
                  <a:cubicBezTo>
                    <a:pt x="3596" y="155"/>
                    <a:pt x="3583" y="163"/>
                    <a:pt x="3575" y="174"/>
                  </a:cubicBezTo>
                  <a:cubicBezTo>
                    <a:pt x="3568" y="185"/>
                    <a:pt x="3562" y="184"/>
                    <a:pt x="3554" y="169"/>
                  </a:cubicBezTo>
                  <a:cubicBezTo>
                    <a:pt x="3545" y="154"/>
                    <a:pt x="3537" y="163"/>
                    <a:pt x="3526" y="174"/>
                  </a:cubicBezTo>
                  <a:cubicBezTo>
                    <a:pt x="3514" y="184"/>
                    <a:pt x="3503" y="202"/>
                    <a:pt x="3493" y="215"/>
                  </a:cubicBezTo>
                  <a:cubicBezTo>
                    <a:pt x="3483" y="228"/>
                    <a:pt x="3474" y="241"/>
                    <a:pt x="3473" y="255"/>
                  </a:cubicBezTo>
                  <a:cubicBezTo>
                    <a:pt x="3472" y="269"/>
                    <a:pt x="3468" y="281"/>
                    <a:pt x="3454" y="302"/>
                  </a:cubicBezTo>
                  <a:cubicBezTo>
                    <a:pt x="3439" y="322"/>
                    <a:pt x="3433" y="332"/>
                    <a:pt x="3416" y="332"/>
                  </a:cubicBezTo>
                  <a:cubicBezTo>
                    <a:pt x="3399" y="333"/>
                    <a:pt x="3389" y="351"/>
                    <a:pt x="3387" y="351"/>
                  </a:cubicBezTo>
                  <a:cubicBezTo>
                    <a:pt x="3384" y="351"/>
                    <a:pt x="3252" y="352"/>
                    <a:pt x="3196" y="352"/>
                  </a:cubicBezTo>
                  <a:cubicBezTo>
                    <a:pt x="3139" y="352"/>
                    <a:pt x="3154" y="384"/>
                    <a:pt x="3123" y="393"/>
                  </a:cubicBezTo>
                  <a:cubicBezTo>
                    <a:pt x="3111" y="396"/>
                    <a:pt x="3102" y="403"/>
                    <a:pt x="3095" y="411"/>
                  </a:cubicBezTo>
                  <a:cubicBezTo>
                    <a:pt x="3098" y="412"/>
                    <a:pt x="3100" y="413"/>
                    <a:pt x="3102" y="415"/>
                  </a:cubicBezTo>
                  <a:cubicBezTo>
                    <a:pt x="3108" y="422"/>
                    <a:pt x="3108" y="423"/>
                    <a:pt x="3104" y="427"/>
                  </a:cubicBezTo>
                  <a:cubicBezTo>
                    <a:pt x="3099" y="431"/>
                    <a:pt x="3100" y="437"/>
                    <a:pt x="3097" y="449"/>
                  </a:cubicBezTo>
                  <a:cubicBezTo>
                    <a:pt x="3094" y="461"/>
                    <a:pt x="3090" y="463"/>
                    <a:pt x="3082" y="464"/>
                  </a:cubicBezTo>
                  <a:cubicBezTo>
                    <a:pt x="3075" y="466"/>
                    <a:pt x="3071" y="470"/>
                    <a:pt x="3066" y="478"/>
                  </a:cubicBezTo>
                  <a:cubicBezTo>
                    <a:pt x="3062" y="487"/>
                    <a:pt x="3044" y="484"/>
                    <a:pt x="3028" y="486"/>
                  </a:cubicBezTo>
                  <a:cubicBezTo>
                    <a:pt x="3011" y="488"/>
                    <a:pt x="3000" y="485"/>
                    <a:pt x="2985" y="478"/>
                  </a:cubicBezTo>
                  <a:cubicBezTo>
                    <a:pt x="2970" y="472"/>
                    <a:pt x="2954" y="478"/>
                    <a:pt x="2937" y="478"/>
                  </a:cubicBezTo>
                  <a:cubicBezTo>
                    <a:pt x="2920" y="477"/>
                    <a:pt x="2922" y="480"/>
                    <a:pt x="2916" y="488"/>
                  </a:cubicBezTo>
                  <a:cubicBezTo>
                    <a:pt x="2915" y="490"/>
                    <a:pt x="2913" y="491"/>
                    <a:pt x="2911" y="492"/>
                  </a:cubicBezTo>
                  <a:cubicBezTo>
                    <a:pt x="2913" y="497"/>
                    <a:pt x="2916" y="503"/>
                    <a:pt x="2919" y="509"/>
                  </a:cubicBezTo>
                  <a:cubicBezTo>
                    <a:pt x="2921" y="515"/>
                    <a:pt x="2919" y="520"/>
                    <a:pt x="2916" y="524"/>
                  </a:cubicBezTo>
                  <a:cubicBezTo>
                    <a:pt x="2919" y="528"/>
                    <a:pt x="2919" y="532"/>
                    <a:pt x="2917" y="537"/>
                  </a:cubicBezTo>
                  <a:cubicBezTo>
                    <a:pt x="2912" y="546"/>
                    <a:pt x="2894" y="551"/>
                    <a:pt x="2882" y="557"/>
                  </a:cubicBezTo>
                  <a:cubicBezTo>
                    <a:pt x="2870" y="563"/>
                    <a:pt x="2862" y="570"/>
                    <a:pt x="2846" y="575"/>
                  </a:cubicBezTo>
                  <a:cubicBezTo>
                    <a:pt x="2831" y="580"/>
                    <a:pt x="2825" y="582"/>
                    <a:pt x="2816" y="584"/>
                  </a:cubicBezTo>
                  <a:cubicBezTo>
                    <a:pt x="2806" y="586"/>
                    <a:pt x="2797" y="591"/>
                    <a:pt x="2785" y="596"/>
                  </a:cubicBezTo>
                  <a:cubicBezTo>
                    <a:pt x="2773" y="600"/>
                    <a:pt x="2756" y="611"/>
                    <a:pt x="2748" y="618"/>
                  </a:cubicBezTo>
                  <a:cubicBezTo>
                    <a:pt x="2740" y="626"/>
                    <a:pt x="2722" y="622"/>
                    <a:pt x="2713" y="620"/>
                  </a:cubicBezTo>
                  <a:cubicBezTo>
                    <a:pt x="2704" y="618"/>
                    <a:pt x="2698" y="622"/>
                    <a:pt x="2688" y="625"/>
                  </a:cubicBezTo>
                  <a:cubicBezTo>
                    <a:pt x="2678" y="628"/>
                    <a:pt x="2668" y="618"/>
                    <a:pt x="2660" y="610"/>
                  </a:cubicBezTo>
                  <a:cubicBezTo>
                    <a:pt x="2653" y="604"/>
                    <a:pt x="2651" y="597"/>
                    <a:pt x="2656" y="592"/>
                  </a:cubicBezTo>
                  <a:cubicBezTo>
                    <a:pt x="2650" y="583"/>
                    <a:pt x="2655" y="570"/>
                    <a:pt x="2661" y="566"/>
                  </a:cubicBezTo>
                  <a:cubicBezTo>
                    <a:pt x="2667" y="561"/>
                    <a:pt x="2675" y="548"/>
                    <a:pt x="2690" y="539"/>
                  </a:cubicBezTo>
                  <a:cubicBezTo>
                    <a:pt x="2705" y="530"/>
                    <a:pt x="2706" y="504"/>
                    <a:pt x="2705" y="495"/>
                  </a:cubicBezTo>
                  <a:cubicBezTo>
                    <a:pt x="2705" y="491"/>
                    <a:pt x="2706" y="487"/>
                    <a:pt x="2709" y="483"/>
                  </a:cubicBezTo>
                  <a:cubicBezTo>
                    <a:pt x="2708" y="475"/>
                    <a:pt x="2707" y="476"/>
                    <a:pt x="2698" y="477"/>
                  </a:cubicBezTo>
                  <a:cubicBezTo>
                    <a:pt x="2689" y="478"/>
                    <a:pt x="2692" y="463"/>
                    <a:pt x="2693" y="456"/>
                  </a:cubicBezTo>
                  <a:cubicBezTo>
                    <a:pt x="2694" y="448"/>
                    <a:pt x="2688" y="432"/>
                    <a:pt x="2685" y="426"/>
                  </a:cubicBezTo>
                  <a:cubicBezTo>
                    <a:pt x="2682" y="420"/>
                    <a:pt x="2678" y="422"/>
                    <a:pt x="2666" y="422"/>
                  </a:cubicBezTo>
                  <a:cubicBezTo>
                    <a:pt x="2654" y="422"/>
                    <a:pt x="2658" y="426"/>
                    <a:pt x="2646" y="430"/>
                  </a:cubicBezTo>
                  <a:cubicBezTo>
                    <a:pt x="2635" y="434"/>
                    <a:pt x="2638" y="438"/>
                    <a:pt x="2634" y="448"/>
                  </a:cubicBezTo>
                  <a:cubicBezTo>
                    <a:pt x="2629" y="458"/>
                    <a:pt x="2626" y="462"/>
                    <a:pt x="2614" y="458"/>
                  </a:cubicBezTo>
                  <a:cubicBezTo>
                    <a:pt x="2603" y="454"/>
                    <a:pt x="2610" y="440"/>
                    <a:pt x="2614" y="436"/>
                  </a:cubicBezTo>
                  <a:cubicBezTo>
                    <a:pt x="2619" y="433"/>
                    <a:pt x="2626" y="419"/>
                    <a:pt x="2638" y="411"/>
                  </a:cubicBezTo>
                  <a:cubicBezTo>
                    <a:pt x="2651" y="403"/>
                    <a:pt x="2650" y="391"/>
                    <a:pt x="2650" y="382"/>
                  </a:cubicBezTo>
                  <a:cubicBezTo>
                    <a:pt x="2651" y="374"/>
                    <a:pt x="2650" y="366"/>
                    <a:pt x="2646" y="361"/>
                  </a:cubicBezTo>
                  <a:cubicBezTo>
                    <a:pt x="2641" y="356"/>
                    <a:pt x="2647" y="351"/>
                    <a:pt x="2653" y="347"/>
                  </a:cubicBezTo>
                  <a:cubicBezTo>
                    <a:pt x="2659" y="343"/>
                    <a:pt x="2640" y="324"/>
                    <a:pt x="2628" y="320"/>
                  </a:cubicBezTo>
                  <a:cubicBezTo>
                    <a:pt x="2616" y="316"/>
                    <a:pt x="2612" y="309"/>
                    <a:pt x="2596" y="299"/>
                  </a:cubicBezTo>
                  <a:cubicBezTo>
                    <a:pt x="2580" y="289"/>
                    <a:pt x="2558" y="289"/>
                    <a:pt x="2547" y="289"/>
                  </a:cubicBezTo>
                  <a:cubicBezTo>
                    <a:pt x="2536" y="289"/>
                    <a:pt x="2530" y="291"/>
                    <a:pt x="2529" y="298"/>
                  </a:cubicBezTo>
                  <a:cubicBezTo>
                    <a:pt x="2528" y="306"/>
                    <a:pt x="2528" y="321"/>
                    <a:pt x="2520" y="322"/>
                  </a:cubicBezTo>
                  <a:cubicBezTo>
                    <a:pt x="2512" y="324"/>
                    <a:pt x="2513" y="346"/>
                    <a:pt x="2513" y="354"/>
                  </a:cubicBezTo>
                  <a:cubicBezTo>
                    <a:pt x="2513" y="363"/>
                    <a:pt x="2505" y="367"/>
                    <a:pt x="2502" y="360"/>
                  </a:cubicBezTo>
                  <a:cubicBezTo>
                    <a:pt x="2500" y="352"/>
                    <a:pt x="2498" y="348"/>
                    <a:pt x="2498" y="342"/>
                  </a:cubicBezTo>
                  <a:cubicBezTo>
                    <a:pt x="2497" y="336"/>
                    <a:pt x="2490" y="332"/>
                    <a:pt x="2489" y="338"/>
                  </a:cubicBezTo>
                  <a:cubicBezTo>
                    <a:pt x="2488" y="344"/>
                    <a:pt x="2483" y="344"/>
                    <a:pt x="2474" y="346"/>
                  </a:cubicBezTo>
                  <a:cubicBezTo>
                    <a:pt x="2464" y="347"/>
                    <a:pt x="2466" y="359"/>
                    <a:pt x="2460" y="362"/>
                  </a:cubicBezTo>
                  <a:cubicBezTo>
                    <a:pt x="2454" y="366"/>
                    <a:pt x="2457" y="380"/>
                    <a:pt x="2456" y="390"/>
                  </a:cubicBezTo>
                  <a:cubicBezTo>
                    <a:pt x="2456" y="399"/>
                    <a:pt x="2453" y="406"/>
                    <a:pt x="2444" y="413"/>
                  </a:cubicBezTo>
                  <a:cubicBezTo>
                    <a:pt x="2434" y="420"/>
                    <a:pt x="2439" y="454"/>
                    <a:pt x="2438" y="465"/>
                  </a:cubicBezTo>
                  <a:cubicBezTo>
                    <a:pt x="2438" y="476"/>
                    <a:pt x="2440" y="474"/>
                    <a:pt x="2450" y="481"/>
                  </a:cubicBezTo>
                  <a:cubicBezTo>
                    <a:pt x="2461" y="488"/>
                    <a:pt x="2459" y="512"/>
                    <a:pt x="2458" y="528"/>
                  </a:cubicBezTo>
                  <a:cubicBezTo>
                    <a:pt x="2458" y="544"/>
                    <a:pt x="2458" y="552"/>
                    <a:pt x="2454" y="554"/>
                  </a:cubicBezTo>
                  <a:cubicBezTo>
                    <a:pt x="2450" y="555"/>
                    <a:pt x="2441" y="572"/>
                    <a:pt x="2437" y="581"/>
                  </a:cubicBezTo>
                  <a:cubicBezTo>
                    <a:pt x="2433" y="590"/>
                    <a:pt x="2435" y="591"/>
                    <a:pt x="2421" y="594"/>
                  </a:cubicBezTo>
                  <a:cubicBezTo>
                    <a:pt x="2407" y="598"/>
                    <a:pt x="2404" y="609"/>
                    <a:pt x="2394" y="610"/>
                  </a:cubicBezTo>
                  <a:cubicBezTo>
                    <a:pt x="2384" y="610"/>
                    <a:pt x="2380" y="607"/>
                    <a:pt x="2379" y="599"/>
                  </a:cubicBezTo>
                  <a:cubicBezTo>
                    <a:pt x="2378" y="591"/>
                    <a:pt x="2371" y="584"/>
                    <a:pt x="2368" y="576"/>
                  </a:cubicBezTo>
                  <a:cubicBezTo>
                    <a:pt x="2366" y="568"/>
                    <a:pt x="2362" y="538"/>
                    <a:pt x="2365" y="528"/>
                  </a:cubicBezTo>
                  <a:cubicBezTo>
                    <a:pt x="2368" y="517"/>
                    <a:pt x="2354" y="508"/>
                    <a:pt x="2354" y="498"/>
                  </a:cubicBezTo>
                  <a:cubicBezTo>
                    <a:pt x="2354" y="489"/>
                    <a:pt x="2355" y="480"/>
                    <a:pt x="2360" y="475"/>
                  </a:cubicBezTo>
                  <a:cubicBezTo>
                    <a:pt x="2366" y="470"/>
                    <a:pt x="2361" y="462"/>
                    <a:pt x="2366" y="459"/>
                  </a:cubicBezTo>
                  <a:cubicBezTo>
                    <a:pt x="2372" y="456"/>
                    <a:pt x="2370" y="450"/>
                    <a:pt x="2370" y="442"/>
                  </a:cubicBezTo>
                  <a:cubicBezTo>
                    <a:pt x="2370" y="434"/>
                    <a:pt x="2370" y="429"/>
                    <a:pt x="2378" y="425"/>
                  </a:cubicBezTo>
                  <a:cubicBezTo>
                    <a:pt x="2387" y="421"/>
                    <a:pt x="2382" y="393"/>
                    <a:pt x="2384" y="386"/>
                  </a:cubicBezTo>
                  <a:cubicBezTo>
                    <a:pt x="2386" y="378"/>
                    <a:pt x="2392" y="369"/>
                    <a:pt x="2395" y="362"/>
                  </a:cubicBezTo>
                  <a:cubicBezTo>
                    <a:pt x="2398" y="356"/>
                    <a:pt x="2401" y="355"/>
                    <a:pt x="2404" y="340"/>
                  </a:cubicBezTo>
                  <a:cubicBezTo>
                    <a:pt x="2408" y="326"/>
                    <a:pt x="2397" y="333"/>
                    <a:pt x="2390" y="342"/>
                  </a:cubicBezTo>
                  <a:cubicBezTo>
                    <a:pt x="2384" y="352"/>
                    <a:pt x="2382" y="348"/>
                    <a:pt x="2376" y="358"/>
                  </a:cubicBezTo>
                  <a:cubicBezTo>
                    <a:pt x="2370" y="369"/>
                    <a:pt x="2364" y="364"/>
                    <a:pt x="2362" y="362"/>
                  </a:cubicBezTo>
                  <a:cubicBezTo>
                    <a:pt x="2359" y="359"/>
                    <a:pt x="2366" y="345"/>
                    <a:pt x="2372" y="339"/>
                  </a:cubicBezTo>
                  <a:cubicBezTo>
                    <a:pt x="2377" y="333"/>
                    <a:pt x="2393" y="315"/>
                    <a:pt x="2393" y="315"/>
                  </a:cubicBezTo>
                  <a:cubicBezTo>
                    <a:pt x="2406" y="294"/>
                    <a:pt x="2418" y="297"/>
                    <a:pt x="2421" y="292"/>
                  </a:cubicBezTo>
                  <a:cubicBezTo>
                    <a:pt x="2424" y="286"/>
                    <a:pt x="2430" y="292"/>
                    <a:pt x="2442" y="294"/>
                  </a:cubicBezTo>
                  <a:cubicBezTo>
                    <a:pt x="2454" y="297"/>
                    <a:pt x="2452" y="292"/>
                    <a:pt x="2460" y="284"/>
                  </a:cubicBezTo>
                  <a:cubicBezTo>
                    <a:pt x="2468" y="276"/>
                    <a:pt x="2476" y="283"/>
                    <a:pt x="2490" y="280"/>
                  </a:cubicBezTo>
                  <a:cubicBezTo>
                    <a:pt x="2505" y="276"/>
                    <a:pt x="2501" y="262"/>
                    <a:pt x="2510" y="262"/>
                  </a:cubicBezTo>
                  <a:cubicBezTo>
                    <a:pt x="2518" y="263"/>
                    <a:pt x="2528" y="270"/>
                    <a:pt x="2533" y="278"/>
                  </a:cubicBezTo>
                  <a:cubicBezTo>
                    <a:pt x="2538" y="286"/>
                    <a:pt x="2542" y="281"/>
                    <a:pt x="2558" y="282"/>
                  </a:cubicBezTo>
                  <a:cubicBezTo>
                    <a:pt x="2573" y="282"/>
                    <a:pt x="2589" y="278"/>
                    <a:pt x="2599" y="278"/>
                  </a:cubicBezTo>
                  <a:cubicBezTo>
                    <a:pt x="2609" y="278"/>
                    <a:pt x="2612" y="276"/>
                    <a:pt x="2616" y="272"/>
                  </a:cubicBezTo>
                  <a:cubicBezTo>
                    <a:pt x="2617" y="269"/>
                    <a:pt x="2621" y="266"/>
                    <a:pt x="2624" y="263"/>
                  </a:cubicBezTo>
                  <a:cubicBezTo>
                    <a:pt x="2619" y="260"/>
                    <a:pt x="2613" y="259"/>
                    <a:pt x="2607" y="259"/>
                  </a:cubicBezTo>
                  <a:cubicBezTo>
                    <a:pt x="2596" y="257"/>
                    <a:pt x="2589" y="250"/>
                    <a:pt x="2588" y="239"/>
                  </a:cubicBezTo>
                  <a:cubicBezTo>
                    <a:pt x="2586" y="231"/>
                    <a:pt x="2579" y="230"/>
                    <a:pt x="2570" y="229"/>
                  </a:cubicBezTo>
                  <a:cubicBezTo>
                    <a:pt x="2569" y="232"/>
                    <a:pt x="2566" y="233"/>
                    <a:pt x="2560" y="233"/>
                  </a:cubicBezTo>
                  <a:cubicBezTo>
                    <a:pt x="2551" y="233"/>
                    <a:pt x="2545" y="220"/>
                    <a:pt x="2541" y="215"/>
                  </a:cubicBezTo>
                  <a:cubicBezTo>
                    <a:pt x="2537" y="210"/>
                    <a:pt x="2524" y="202"/>
                    <a:pt x="2518" y="206"/>
                  </a:cubicBezTo>
                  <a:cubicBezTo>
                    <a:pt x="2512" y="209"/>
                    <a:pt x="2497" y="208"/>
                    <a:pt x="2486" y="212"/>
                  </a:cubicBezTo>
                  <a:cubicBezTo>
                    <a:pt x="2475" y="217"/>
                    <a:pt x="2470" y="214"/>
                    <a:pt x="2458" y="215"/>
                  </a:cubicBezTo>
                  <a:cubicBezTo>
                    <a:pt x="2446" y="216"/>
                    <a:pt x="2439" y="224"/>
                    <a:pt x="2438" y="229"/>
                  </a:cubicBezTo>
                  <a:cubicBezTo>
                    <a:pt x="2437" y="235"/>
                    <a:pt x="2427" y="232"/>
                    <a:pt x="2421" y="225"/>
                  </a:cubicBezTo>
                  <a:cubicBezTo>
                    <a:pt x="2414" y="219"/>
                    <a:pt x="2406" y="226"/>
                    <a:pt x="2395" y="224"/>
                  </a:cubicBezTo>
                  <a:cubicBezTo>
                    <a:pt x="2383" y="222"/>
                    <a:pt x="2384" y="217"/>
                    <a:pt x="2380" y="209"/>
                  </a:cubicBezTo>
                  <a:cubicBezTo>
                    <a:pt x="2375" y="200"/>
                    <a:pt x="2368" y="198"/>
                    <a:pt x="2360" y="197"/>
                  </a:cubicBezTo>
                  <a:cubicBezTo>
                    <a:pt x="2351" y="197"/>
                    <a:pt x="2352" y="191"/>
                    <a:pt x="2347" y="191"/>
                  </a:cubicBezTo>
                  <a:cubicBezTo>
                    <a:pt x="2343" y="191"/>
                    <a:pt x="2332" y="191"/>
                    <a:pt x="2332" y="186"/>
                  </a:cubicBezTo>
                  <a:cubicBezTo>
                    <a:pt x="2332" y="181"/>
                    <a:pt x="2341" y="176"/>
                    <a:pt x="2347" y="169"/>
                  </a:cubicBezTo>
                  <a:cubicBezTo>
                    <a:pt x="2354" y="162"/>
                    <a:pt x="2356" y="169"/>
                    <a:pt x="2362" y="162"/>
                  </a:cubicBezTo>
                  <a:cubicBezTo>
                    <a:pt x="2368" y="154"/>
                    <a:pt x="2363" y="149"/>
                    <a:pt x="2357" y="149"/>
                  </a:cubicBezTo>
                  <a:cubicBezTo>
                    <a:pt x="2352" y="149"/>
                    <a:pt x="2342" y="149"/>
                    <a:pt x="2330" y="152"/>
                  </a:cubicBezTo>
                  <a:cubicBezTo>
                    <a:pt x="2317" y="155"/>
                    <a:pt x="2315" y="161"/>
                    <a:pt x="2301" y="171"/>
                  </a:cubicBezTo>
                  <a:cubicBezTo>
                    <a:pt x="2287" y="180"/>
                    <a:pt x="2278" y="188"/>
                    <a:pt x="2270" y="193"/>
                  </a:cubicBezTo>
                  <a:cubicBezTo>
                    <a:pt x="2262" y="199"/>
                    <a:pt x="2246" y="199"/>
                    <a:pt x="2233" y="199"/>
                  </a:cubicBezTo>
                  <a:cubicBezTo>
                    <a:pt x="2220" y="199"/>
                    <a:pt x="2214" y="212"/>
                    <a:pt x="2205" y="212"/>
                  </a:cubicBezTo>
                  <a:cubicBezTo>
                    <a:pt x="2196" y="212"/>
                    <a:pt x="2196" y="221"/>
                    <a:pt x="2187" y="220"/>
                  </a:cubicBezTo>
                  <a:cubicBezTo>
                    <a:pt x="2178" y="220"/>
                    <a:pt x="2180" y="211"/>
                    <a:pt x="2180" y="206"/>
                  </a:cubicBezTo>
                  <a:cubicBezTo>
                    <a:pt x="2180" y="201"/>
                    <a:pt x="2175" y="204"/>
                    <a:pt x="2167" y="204"/>
                  </a:cubicBezTo>
                  <a:cubicBezTo>
                    <a:pt x="2159" y="204"/>
                    <a:pt x="2163" y="199"/>
                    <a:pt x="2162" y="192"/>
                  </a:cubicBezTo>
                  <a:cubicBezTo>
                    <a:pt x="2161" y="185"/>
                    <a:pt x="2157" y="189"/>
                    <a:pt x="2155" y="195"/>
                  </a:cubicBezTo>
                  <a:cubicBezTo>
                    <a:pt x="2153" y="201"/>
                    <a:pt x="2149" y="199"/>
                    <a:pt x="2139" y="201"/>
                  </a:cubicBezTo>
                  <a:cubicBezTo>
                    <a:pt x="2129" y="202"/>
                    <a:pt x="2125" y="209"/>
                    <a:pt x="2119" y="214"/>
                  </a:cubicBezTo>
                  <a:cubicBezTo>
                    <a:pt x="2112" y="218"/>
                    <a:pt x="2103" y="219"/>
                    <a:pt x="2101" y="213"/>
                  </a:cubicBezTo>
                  <a:cubicBezTo>
                    <a:pt x="2099" y="208"/>
                    <a:pt x="2099" y="202"/>
                    <a:pt x="2113" y="196"/>
                  </a:cubicBezTo>
                  <a:cubicBezTo>
                    <a:pt x="2126" y="190"/>
                    <a:pt x="2138" y="171"/>
                    <a:pt x="2138" y="171"/>
                  </a:cubicBezTo>
                  <a:cubicBezTo>
                    <a:pt x="2146" y="161"/>
                    <a:pt x="2153" y="157"/>
                    <a:pt x="2163" y="152"/>
                  </a:cubicBezTo>
                  <a:cubicBezTo>
                    <a:pt x="2173" y="147"/>
                    <a:pt x="2203" y="133"/>
                    <a:pt x="2212" y="127"/>
                  </a:cubicBezTo>
                  <a:cubicBezTo>
                    <a:pt x="2222" y="121"/>
                    <a:pt x="2230" y="122"/>
                    <a:pt x="2249" y="121"/>
                  </a:cubicBezTo>
                  <a:cubicBezTo>
                    <a:pt x="2259" y="120"/>
                    <a:pt x="2261" y="117"/>
                    <a:pt x="2262" y="113"/>
                  </a:cubicBezTo>
                  <a:cubicBezTo>
                    <a:pt x="2251" y="116"/>
                    <a:pt x="2243" y="112"/>
                    <a:pt x="2232" y="111"/>
                  </a:cubicBezTo>
                  <a:cubicBezTo>
                    <a:pt x="2221" y="110"/>
                    <a:pt x="2218" y="113"/>
                    <a:pt x="2206" y="105"/>
                  </a:cubicBezTo>
                  <a:cubicBezTo>
                    <a:pt x="2195" y="98"/>
                    <a:pt x="2182" y="103"/>
                    <a:pt x="2176" y="103"/>
                  </a:cubicBezTo>
                  <a:cubicBezTo>
                    <a:pt x="2170" y="103"/>
                    <a:pt x="2166" y="97"/>
                    <a:pt x="2158" y="95"/>
                  </a:cubicBezTo>
                  <a:cubicBezTo>
                    <a:pt x="2151" y="93"/>
                    <a:pt x="2143" y="101"/>
                    <a:pt x="2139" y="106"/>
                  </a:cubicBezTo>
                  <a:cubicBezTo>
                    <a:pt x="2135" y="111"/>
                    <a:pt x="2127" y="114"/>
                    <a:pt x="2119" y="109"/>
                  </a:cubicBezTo>
                  <a:cubicBezTo>
                    <a:pt x="2110" y="104"/>
                    <a:pt x="2099" y="103"/>
                    <a:pt x="2095" y="94"/>
                  </a:cubicBezTo>
                  <a:cubicBezTo>
                    <a:pt x="2092" y="86"/>
                    <a:pt x="2081" y="84"/>
                    <a:pt x="2077" y="90"/>
                  </a:cubicBezTo>
                  <a:cubicBezTo>
                    <a:pt x="2073" y="95"/>
                    <a:pt x="2053" y="89"/>
                    <a:pt x="2049" y="80"/>
                  </a:cubicBezTo>
                  <a:cubicBezTo>
                    <a:pt x="2045" y="72"/>
                    <a:pt x="2037" y="68"/>
                    <a:pt x="2027" y="65"/>
                  </a:cubicBezTo>
                  <a:cubicBezTo>
                    <a:pt x="2018" y="62"/>
                    <a:pt x="2007" y="60"/>
                    <a:pt x="1997" y="68"/>
                  </a:cubicBezTo>
                  <a:cubicBezTo>
                    <a:pt x="1987" y="76"/>
                    <a:pt x="1973" y="76"/>
                    <a:pt x="1968" y="66"/>
                  </a:cubicBezTo>
                  <a:cubicBezTo>
                    <a:pt x="1963" y="56"/>
                    <a:pt x="1939" y="59"/>
                    <a:pt x="1931" y="56"/>
                  </a:cubicBezTo>
                  <a:cubicBezTo>
                    <a:pt x="1922" y="53"/>
                    <a:pt x="1920" y="48"/>
                    <a:pt x="1917" y="39"/>
                  </a:cubicBezTo>
                  <a:cubicBezTo>
                    <a:pt x="1915" y="31"/>
                    <a:pt x="1910" y="25"/>
                    <a:pt x="1910" y="18"/>
                  </a:cubicBezTo>
                  <a:cubicBezTo>
                    <a:pt x="1910" y="12"/>
                    <a:pt x="1899" y="2"/>
                    <a:pt x="1892" y="1"/>
                  </a:cubicBezTo>
                  <a:cubicBezTo>
                    <a:pt x="1884" y="0"/>
                    <a:pt x="1885" y="12"/>
                    <a:pt x="1885" y="20"/>
                  </a:cubicBezTo>
                  <a:cubicBezTo>
                    <a:pt x="1885" y="27"/>
                    <a:pt x="1867" y="34"/>
                    <a:pt x="1867" y="34"/>
                  </a:cubicBezTo>
                  <a:cubicBezTo>
                    <a:pt x="1867" y="34"/>
                    <a:pt x="146" y="36"/>
                    <a:pt x="118" y="37"/>
                  </a:cubicBezTo>
                  <a:cubicBezTo>
                    <a:pt x="119" y="38"/>
                    <a:pt x="119" y="38"/>
                    <a:pt x="120" y="39"/>
                  </a:cubicBezTo>
                  <a:cubicBezTo>
                    <a:pt x="120" y="40"/>
                    <a:pt x="121" y="41"/>
                    <a:pt x="122" y="42"/>
                  </a:cubicBezTo>
                  <a:cubicBezTo>
                    <a:pt x="123" y="42"/>
                    <a:pt x="123" y="43"/>
                    <a:pt x="124" y="43"/>
                  </a:cubicBezTo>
                  <a:cubicBezTo>
                    <a:pt x="127" y="43"/>
                    <a:pt x="129" y="45"/>
                    <a:pt x="132" y="47"/>
                  </a:cubicBezTo>
                  <a:cubicBezTo>
                    <a:pt x="141" y="54"/>
                    <a:pt x="144" y="64"/>
                    <a:pt x="149" y="67"/>
                  </a:cubicBezTo>
                  <a:cubicBezTo>
                    <a:pt x="153" y="70"/>
                    <a:pt x="149" y="76"/>
                    <a:pt x="145" y="84"/>
                  </a:cubicBezTo>
                  <a:cubicBezTo>
                    <a:pt x="141" y="92"/>
                    <a:pt x="139" y="91"/>
                    <a:pt x="145" y="100"/>
                  </a:cubicBezTo>
                  <a:cubicBezTo>
                    <a:pt x="151" y="108"/>
                    <a:pt x="152" y="108"/>
                    <a:pt x="153" y="125"/>
                  </a:cubicBezTo>
                  <a:cubicBezTo>
                    <a:pt x="155" y="143"/>
                    <a:pt x="139" y="139"/>
                    <a:pt x="134" y="134"/>
                  </a:cubicBezTo>
                  <a:cubicBezTo>
                    <a:pt x="129" y="128"/>
                    <a:pt x="137" y="117"/>
                    <a:pt x="135" y="110"/>
                  </a:cubicBezTo>
                  <a:cubicBezTo>
                    <a:pt x="133" y="102"/>
                    <a:pt x="122" y="99"/>
                    <a:pt x="113" y="97"/>
                  </a:cubicBezTo>
                  <a:cubicBezTo>
                    <a:pt x="103" y="95"/>
                    <a:pt x="111" y="78"/>
                    <a:pt x="107" y="72"/>
                  </a:cubicBezTo>
                  <a:cubicBezTo>
                    <a:pt x="106" y="72"/>
                    <a:pt x="106" y="72"/>
                    <a:pt x="106" y="72"/>
                  </a:cubicBezTo>
                  <a:cubicBezTo>
                    <a:pt x="102" y="68"/>
                    <a:pt x="102" y="67"/>
                    <a:pt x="99" y="66"/>
                  </a:cubicBezTo>
                  <a:cubicBezTo>
                    <a:pt x="98" y="66"/>
                    <a:pt x="96" y="64"/>
                    <a:pt x="94" y="63"/>
                  </a:cubicBezTo>
                  <a:cubicBezTo>
                    <a:pt x="92" y="64"/>
                    <a:pt x="92" y="66"/>
                    <a:pt x="95" y="69"/>
                  </a:cubicBezTo>
                  <a:cubicBezTo>
                    <a:pt x="102" y="75"/>
                    <a:pt x="102" y="80"/>
                    <a:pt x="97" y="90"/>
                  </a:cubicBezTo>
                  <a:cubicBezTo>
                    <a:pt x="92" y="100"/>
                    <a:pt x="67" y="97"/>
                    <a:pt x="57" y="96"/>
                  </a:cubicBezTo>
                  <a:cubicBezTo>
                    <a:pt x="47" y="95"/>
                    <a:pt x="32" y="90"/>
                    <a:pt x="19" y="82"/>
                  </a:cubicBezTo>
                  <a:cubicBezTo>
                    <a:pt x="13" y="78"/>
                    <a:pt x="6" y="77"/>
                    <a:pt x="1" y="76"/>
                  </a:cubicBezTo>
                  <a:cubicBezTo>
                    <a:pt x="1" y="81"/>
                    <a:pt x="0" y="86"/>
                    <a:pt x="1" y="91"/>
                  </a:cubicBezTo>
                  <a:cubicBezTo>
                    <a:pt x="2" y="103"/>
                    <a:pt x="2" y="116"/>
                    <a:pt x="9" y="122"/>
                  </a:cubicBezTo>
                  <a:cubicBezTo>
                    <a:pt x="16" y="128"/>
                    <a:pt x="24" y="136"/>
                    <a:pt x="28" y="149"/>
                  </a:cubicBezTo>
                  <a:cubicBezTo>
                    <a:pt x="32" y="162"/>
                    <a:pt x="35" y="175"/>
                    <a:pt x="43" y="182"/>
                  </a:cubicBezTo>
                  <a:cubicBezTo>
                    <a:pt x="51" y="189"/>
                    <a:pt x="53" y="193"/>
                    <a:pt x="46" y="199"/>
                  </a:cubicBezTo>
                  <a:cubicBezTo>
                    <a:pt x="40" y="205"/>
                    <a:pt x="48" y="206"/>
                    <a:pt x="46" y="221"/>
                  </a:cubicBezTo>
                  <a:cubicBezTo>
                    <a:pt x="44" y="236"/>
                    <a:pt x="43" y="241"/>
                    <a:pt x="48" y="248"/>
                  </a:cubicBezTo>
                  <a:cubicBezTo>
                    <a:pt x="53" y="254"/>
                    <a:pt x="53" y="263"/>
                    <a:pt x="55" y="272"/>
                  </a:cubicBezTo>
                  <a:cubicBezTo>
                    <a:pt x="57" y="282"/>
                    <a:pt x="59" y="304"/>
                    <a:pt x="54" y="320"/>
                  </a:cubicBezTo>
                  <a:cubicBezTo>
                    <a:pt x="50" y="336"/>
                    <a:pt x="47" y="341"/>
                    <a:pt x="46" y="365"/>
                  </a:cubicBezTo>
                  <a:cubicBezTo>
                    <a:pt x="45" y="390"/>
                    <a:pt x="50" y="425"/>
                    <a:pt x="45" y="445"/>
                  </a:cubicBezTo>
                  <a:cubicBezTo>
                    <a:pt x="40" y="465"/>
                    <a:pt x="40" y="473"/>
                    <a:pt x="33" y="483"/>
                  </a:cubicBezTo>
                  <a:cubicBezTo>
                    <a:pt x="26" y="492"/>
                    <a:pt x="17" y="508"/>
                    <a:pt x="18" y="517"/>
                  </a:cubicBezTo>
                  <a:cubicBezTo>
                    <a:pt x="19" y="526"/>
                    <a:pt x="15" y="528"/>
                    <a:pt x="22" y="545"/>
                  </a:cubicBezTo>
                  <a:cubicBezTo>
                    <a:pt x="29" y="563"/>
                    <a:pt x="21" y="562"/>
                    <a:pt x="32" y="580"/>
                  </a:cubicBezTo>
                  <a:cubicBezTo>
                    <a:pt x="44" y="598"/>
                    <a:pt x="46" y="599"/>
                    <a:pt x="46" y="617"/>
                  </a:cubicBezTo>
                  <a:cubicBezTo>
                    <a:pt x="45" y="635"/>
                    <a:pt x="45" y="645"/>
                    <a:pt x="40" y="651"/>
                  </a:cubicBezTo>
                  <a:cubicBezTo>
                    <a:pt x="36" y="656"/>
                    <a:pt x="36" y="660"/>
                    <a:pt x="38" y="669"/>
                  </a:cubicBezTo>
                  <a:cubicBezTo>
                    <a:pt x="39" y="677"/>
                    <a:pt x="36" y="684"/>
                    <a:pt x="30" y="691"/>
                  </a:cubicBezTo>
                  <a:cubicBezTo>
                    <a:pt x="23" y="699"/>
                    <a:pt x="26" y="706"/>
                    <a:pt x="32" y="719"/>
                  </a:cubicBezTo>
                  <a:cubicBezTo>
                    <a:pt x="39" y="731"/>
                    <a:pt x="60" y="745"/>
                    <a:pt x="60" y="764"/>
                  </a:cubicBezTo>
                  <a:cubicBezTo>
                    <a:pt x="60" y="784"/>
                    <a:pt x="66" y="802"/>
                    <a:pt x="72" y="814"/>
                  </a:cubicBezTo>
                  <a:cubicBezTo>
                    <a:pt x="77" y="825"/>
                    <a:pt x="74" y="828"/>
                    <a:pt x="90" y="841"/>
                  </a:cubicBezTo>
                  <a:cubicBezTo>
                    <a:pt x="106" y="854"/>
                    <a:pt x="118" y="866"/>
                    <a:pt x="120" y="879"/>
                  </a:cubicBezTo>
                  <a:cubicBezTo>
                    <a:pt x="122" y="892"/>
                    <a:pt x="124" y="899"/>
                    <a:pt x="137" y="900"/>
                  </a:cubicBezTo>
                  <a:cubicBezTo>
                    <a:pt x="150" y="901"/>
                    <a:pt x="159" y="900"/>
                    <a:pt x="156" y="909"/>
                  </a:cubicBezTo>
                  <a:cubicBezTo>
                    <a:pt x="153" y="918"/>
                    <a:pt x="148" y="929"/>
                    <a:pt x="153" y="939"/>
                  </a:cubicBezTo>
                  <a:cubicBezTo>
                    <a:pt x="158" y="950"/>
                    <a:pt x="155" y="951"/>
                    <a:pt x="170" y="958"/>
                  </a:cubicBezTo>
                  <a:cubicBezTo>
                    <a:pt x="186" y="965"/>
                    <a:pt x="197" y="972"/>
                    <a:pt x="195" y="979"/>
                  </a:cubicBezTo>
                  <a:cubicBezTo>
                    <a:pt x="193" y="985"/>
                    <a:pt x="192" y="986"/>
                    <a:pt x="187" y="993"/>
                  </a:cubicBezTo>
                  <a:cubicBezTo>
                    <a:pt x="182" y="1000"/>
                    <a:pt x="180" y="1008"/>
                    <a:pt x="190" y="1015"/>
                  </a:cubicBezTo>
                  <a:cubicBezTo>
                    <a:pt x="201" y="1023"/>
                    <a:pt x="230" y="1060"/>
                    <a:pt x="241" y="1073"/>
                  </a:cubicBezTo>
                  <a:cubicBezTo>
                    <a:pt x="253" y="1086"/>
                    <a:pt x="265" y="1091"/>
                    <a:pt x="265" y="1110"/>
                  </a:cubicBezTo>
                  <a:cubicBezTo>
                    <a:pt x="266" y="1129"/>
                    <a:pt x="262" y="1145"/>
                    <a:pt x="280" y="1145"/>
                  </a:cubicBezTo>
                  <a:cubicBezTo>
                    <a:pt x="297" y="1145"/>
                    <a:pt x="328" y="1145"/>
                    <a:pt x="341" y="1155"/>
                  </a:cubicBezTo>
                  <a:cubicBezTo>
                    <a:pt x="353" y="1166"/>
                    <a:pt x="359" y="1174"/>
                    <a:pt x="378" y="1177"/>
                  </a:cubicBezTo>
                  <a:cubicBezTo>
                    <a:pt x="398" y="1180"/>
                    <a:pt x="413" y="1185"/>
                    <a:pt x="421" y="1195"/>
                  </a:cubicBezTo>
                  <a:cubicBezTo>
                    <a:pt x="429" y="1205"/>
                    <a:pt x="441" y="1205"/>
                    <a:pt x="460" y="1221"/>
                  </a:cubicBezTo>
                  <a:cubicBezTo>
                    <a:pt x="478" y="1237"/>
                    <a:pt x="481" y="1238"/>
                    <a:pt x="484" y="1257"/>
                  </a:cubicBezTo>
                  <a:cubicBezTo>
                    <a:pt x="487" y="1272"/>
                    <a:pt x="484" y="1282"/>
                    <a:pt x="489" y="1291"/>
                  </a:cubicBezTo>
                  <a:cubicBezTo>
                    <a:pt x="502" y="1289"/>
                    <a:pt x="520" y="1286"/>
                    <a:pt x="534" y="1286"/>
                  </a:cubicBezTo>
                  <a:cubicBezTo>
                    <a:pt x="559" y="1286"/>
                    <a:pt x="621" y="1265"/>
                    <a:pt x="639" y="1280"/>
                  </a:cubicBezTo>
                  <a:cubicBezTo>
                    <a:pt x="657" y="1295"/>
                    <a:pt x="660" y="1297"/>
                    <a:pt x="679" y="1304"/>
                  </a:cubicBezTo>
                  <a:cubicBezTo>
                    <a:pt x="698" y="1311"/>
                    <a:pt x="739" y="1321"/>
                    <a:pt x="767" y="1331"/>
                  </a:cubicBezTo>
                  <a:cubicBezTo>
                    <a:pt x="795" y="1341"/>
                    <a:pt x="854" y="1370"/>
                    <a:pt x="875" y="1376"/>
                  </a:cubicBezTo>
                  <a:cubicBezTo>
                    <a:pt x="918" y="1376"/>
                    <a:pt x="1047" y="1377"/>
                    <a:pt x="1047" y="1377"/>
                  </a:cubicBezTo>
                  <a:cubicBezTo>
                    <a:pt x="1047" y="1377"/>
                    <a:pt x="1056" y="1379"/>
                    <a:pt x="1057" y="1366"/>
                  </a:cubicBezTo>
                  <a:cubicBezTo>
                    <a:pt x="1058" y="1353"/>
                    <a:pt x="1052" y="1342"/>
                    <a:pt x="1080" y="1341"/>
                  </a:cubicBezTo>
                  <a:cubicBezTo>
                    <a:pt x="1108" y="1340"/>
                    <a:pt x="1171" y="1332"/>
                    <a:pt x="1183" y="1351"/>
                  </a:cubicBezTo>
                  <a:cubicBezTo>
                    <a:pt x="1195" y="1370"/>
                    <a:pt x="1221" y="1391"/>
                    <a:pt x="1228" y="1397"/>
                  </a:cubicBezTo>
                  <a:cubicBezTo>
                    <a:pt x="1235" y="1403"/>
                    <a:pt x="1242" y="1410"/>
                    <a:pt x="1253" y="1412"/>
                  </a:cubicBezTo>
                  <a:cubicBezTo>
                    <a:pt x="1264" y="1414"/>
                    <a:pt x="1268" y="1420"/>
                    <a:pt x="1269" y="1429"/>
                  </a:cubicBezTo>
                  <a:cubicBezTo>
                    <a:pt x="1270" y="1438"/>
                    <a:pt x="1279" y="1444"/>
                    <a:pt x="1280" y="1457"/>
                  </a:cubicBezTo>
                  <a:cubicBezTo>
                    <a:pt x="1281" y="1470"/>
                    <a:pt x="1289" y="1492"/>
                    <a:pt x="1299" y="1495"/>
                  </a:cubicBezTo>
                  <a:cubicBezTo>
                    <a:pt x="1309" y="1498"/>
                    <a:pt x="1324" y="1510"/>
                    <a:pt x="1338" y="1518"/>
                  </a:cubicBezTo>
                  <a:cubicBezTo>
                    <a:pt x="1352" y="1526"/>
                    <a:pt x="1384" y="1553"/>
                    <a:pt x="1400" y="1517"/>
                  </a:cubicBezTo>
                  <a:cubicBezTo>
                    <a:pt x="1416" y="1481"/>
                    <a:pt x="1417" y="1473"/>
                    <a:pt x="1441" y="1476"/>
                  </a:cubicBezTo>
                  <a:cubicBezTo>
                    <a:pt x="1465" y="1479"/>
                    <a:pt x="1491" y="1477"/>
                    <a:pt x="1502" y="1491"/>
                  </a:cubicBezTo>
                  <a:cubicBezTo>
                    <a:pt x="1513" y="1505"/>
                    <a:pt x="1513" y="1515"/>
                    <a:pt x="1526" y="1515"/>
                  </a:cubicBezTo>
                  <a:cubicBezTo>
                    <a:pt x="1539" y="1515"/>
                    <a:pt x="1543" y="1540"/>
                    <a:pt x="1550" y="1553"/>
                  </a:cubicBezTo>
                  <a:cubicBezTo>
                    <a:pt x="1557" y="1566"/>
                    <a:pt x="1567" y="1590"/>
                    <a:pt x="1579" y="1602"/>
                  </a:cubicBezTo>
                  <a:cubicBezTo>
                    <a:pt x="1591" y="1614"/>
                    <a:pt x="1603" y="1628"/>
                    <a:pt x="1609" y="1630"/>
                  </a:cubicBezTo>
                  <a:cubicBezTo>
                    <a:pt x="1615" y="1632"/>
                    <a:pt x="1616" y="1640"/>
                    <a:pt x="1616" y="1651"/>
                  </a:cubicBezTo>
                  <a:cubicBezTo>
                    <a:pt x="1616" y="1662"/>
                    <a:pt x="1616" y="1673"/>
                    <a:pt x="1621" y="1677"/>
                  </a:cubicBezTo>
                  <a:cubicBezTo>
                    <a:pt x="1626" y="1681"/>
                    <a:pt x="1631" y="1688"/>
                    <a:pt x="1631" y="1698"/>
                  </a:cubicBezTo>
                  <a:cubicBezTo>
                    <a:pt x="1631" y="1708"/>
                    <a:pt x="1634" y="1715"/>
                    <a:pt x="1648" y="1716"/>
                  </a:cubicBezTo>
                  <a:cubicBezTo>
                    <a:pt x="1662" y="1717"/>
                    <a:pt x="1674" y="1721"/>
                    <a:pt x="1683" y="1729"/>
                  </a:cubicBezTo>
                  <a:cubicBezTo>
                    <a:pt x="1692" y="1737"/>
                    <a:pt x="1710" y="1740"/>
                    <a:pt x="1722" y="1743"/>
                  </a:cubicBezTo>
                  <a:cubicBezTo>
                    <a:pt x="1734" y="1746"/>
                    <a:pt x="1739" y="1750"/>
                    <a:pt x="1752" y="1746"/>
                  </a:cubicBezTo>
                  <a:cubicBezTo>
                    <a:pt x="1760" y="1743"/>
                    <a:pt x="1765" y="1740"/>
                    <a:pt x="1773" y="1738"/>
                  </a:cubicBezTo>
                  <a:cubicBezTo>
                    <a:pt x="1772" y="1732"/>
                    <a:pt x="1771" y="1727"/>
                    <a:pt x="1766" y="1719"/>
                  </a:cubicBezTo>
                  <a:cubicBezTo>
                    <a:pt x="1758" y="1705"/>
                    <a:pt x="1756" y="1693"/>
                    <a:pt x="1754" y="1678"/>
                  </a:cubicBezTo>
                  <a:cubicBezTo>
                    <a:pt x="1751" y="1664"/>
                    <a:pt x="1751" y="1652"/>
                    <a:pt x="1759" y="1642"/>
                  </a:cubicBezTo>
                  <a:cubicBezTo>
                    <a:pt x="1766" y="1632"/>
                    <a:pt x="1767" y="1621"/>
                    <a:pt x="1783" y="1608"/>
                  </a:cubicBezTo>
                  <a:cubicBezTo>
                    <a:pt x="1799" y="1595"/>
                    <a:pt x="1812" y="1582"/>
                    <a:pt x="1809" y="1570"/>
                  </a:cubicBezTo>
                  <a:cubicBezTo>
                    <a:pt x="1807" y="1557"/>
                    <a:pt x="1807" y="1551"/>
                    <a:pt x="1819" y="1554"/>
                  </a:cubicBezTo>
                  <a:cubicBezTo>
                    <a:pt x="1830" y="1557"/>
                    <a:pt x="1826" y="1570"/>
                    <a:pt x="1834" y="1567"/>
                  </a:cubicBezTo>
                  <a:cubicBezTo>
                    <a:pt x="1842" y="1565"/>
                    <a:pt x="1856" y="1563"/>
                    <a:pt x="1863" y="1553"/>
                  </a:cubicBezTo>
                  <a:cubicBezTo>
                    <a:pt x="1870" y="1543"/>
                    <a:pt x="1889" y="1547"/>
                    <a:pt x="1896" y="1533"/>
                  </a:cubicBezTo>
                  <a:cubicBezTo>
                    <a:pt x="1903" y="1519"/>
                    <a:pt x="1914" y="1518"/>
                    <a:pt x="1912" y="1507"/>
                  </a:cubicBezTo>
                  <a:cubicBezTo>
                    <a:pt x="1910" y="1496"/>
                    <a:pt x="1901" y="1486"/>
                    <a:pt x="1910" y="1484"/>
                  </a:cubicBezTo>
                  <a:cubicBezTo>
                    <a:pt x="1918" y="1482"/>
                    <a:pt x="1926" y="1488"/>
                    <a:pt x="1926" y="1495"/>
                  </a:cubicBezTo>
                  <a:cubicBezTo>
                    <a:pt x="1926" y="1502"/>
                    <a:pt x="1931" y="1502"/>
                    <a:pt x="1939" y="1497"/>
                  </a:cubicBezTo>
                  <a:cubicBezTo>
                    <a:pt x="1948" y="1492"/>
                    <a:pt x="1961" y="1498"/>
                    <a:pt x="1967" y="1489"/>
                  </a:cubicBezTo>
                  <a:cubicBezTo>
                    <a:pt x="1973" y="1481"/>
                    <a:pt x="1987" y="1476"/>
                    <a:pt x="2005" y="1477"/>
                  </a:cubicBezTo>
                  <a:cubicBezTo>
                    <a:pt x="2024" y="1478"/>
                    <a:pt x="2040" y="1480"/>
                    <a:pt x="2045" y="1489"/>
                  </a:cubicBezTo>
                  <a:cubicBezTo>
                    <a:pt x="2051" y="1497"/>
                    <a:pt x="2065" y="1498"/>
                    <a:pt x="2078" y="1496"/>
                  </a:cubicBezTo>
                  <a:cubicBezTo>
                    <a:pt x="2092" y="1494"/>
                    <a:pt x="2101" y="1474"/>
                    <a:pt x="2124" y="1493"/>
                  </a:cubicBezTo>
                  <a:cubicBezTo>
                    <a:pt x="2147" y="1512"/>
                    <a:pt x="2135" y="1489"/>
                    <a:pt x="2146" y="1505"/>
                  </a:cubicBezTo>
                  <a:cubicBezTo>
                    <a:pt x="2158" y="1521"/>
                    <a:pt x="2168" y="1522"/>
                    <a:pt x="2178" y="1522"/>
                  </a:cubicBezTo>
                  <a:cubicBezTo>
                    <a:pt x="2188" y="1521"/>
                    <a:pt x="2193" y="1509"/>
                    <a:pt x="2202" y="1517"/>
                  </a:cubicBezTo>
                  <a:cubicBezTo>
                    <a:pt x="2212" y="1524"/>
                    <a:pt x="2222" y="1529"/>
                    <a:pt x="2222" y="1522"/>
                  </a:cubicBezTo>
                  <a:cubicBezTo>
                    <a:pt x="2223" y="1514"/>
                    <a:pt x="2223" y="1496"/>
                    <a:pt x="2236" y="1506"/>
                  </a:cubicBezTo>
                  <a:cubicBezTo>
                    <a:pt x="2249" y="1515"/>
                    <a:pt x="2248" y="1521"/>
                    <a:pt x="2254" y="1523"/>
                  </a:cubicBezTo>
                  <a:cubicBezTo>
                    <a:pt x="2260" y="1525"/>
                    <a:pt x="2259" y="1543"/>
                    <a:pt x="2266" y="1537"/>
                  </a:cubicBezTo>
                  <a:cubicBezTo>
                    <a:pt x="2273" y="1530"/>
                    <a:pt x="2288" y="1528"/>
                    <a:pt x="2285" y="1519"/>
                  </a:cubicBezTo>
                  <a:cubicBezTo>
                    <a:pt x="2281" y="1511"/>
                    <a:pt x="2283" y="1504"/>
                    <a:pt x="2272" y="1502"/>
                  </a:cubicBezTo>
                  <a:cubicBezTo>
                    <a:pt x="2260" y="1501"/>
                    <a:pt x="2244" y="1496"/>
                    <a:pt x="2248" y="1488"/>
                  </a:cubicBezTo>
                  <a:cubicBezTo>
                    <a:pt x="2252" y="1479"/>
                    <a:pt x="2264" y="1480"/>
                    <a:pt x="2262" y="1471"/>
                  </a:cubicBezTo>
                  <a:cubicBezTo>
                    <a:pt x="2260" y="1461"/>
                    <a:pt x="2250" y="1460"/>
                    <a:pt x="2245" y="1461"/>
                  </a:cubicBezTo>
                  <a:cubicBezTo>
                    <a:pt x="2240" y="1461"/>
                    <a:pt x="2237" y="1449"/>
                    <a:pt x="2248" y="1448"/>
                  </a:cubicBezTo>
                  <a:cubicBezTo>
                    <a:pt x="2260" y="1448"/>
                    <a:pt x="2257" y="1451"/>
                    <a:pt x="2265" y="1443"/>
                  </a:cubicBezTo>
                  <a:cubicBezTo>
                    <a:pt x="2272" y="1434"/>
                    <a:pt x="2281" y="1433"/>
                    <a:pt x="2296" y="1434"/>
                  </a:cubicBezTo>
                  <a:cubicBezTo>
                    <a:pt x="2311" y="1436"/>
                    <a:pt x="2326" y="1431"/>
                    <a:pt x="2331" y="1436"/>
                  </a:cubicBezTo>
                  <a:cubicBezTo>
                    <a:pt x="2335" y="1441"/>
                    <a:pt x="2341" y="1450"/>
                    <a:pt x="2343" y="1438"/>
                  </a:cubicBezTo>
                  <a:cubicBezTo>
                    <a:pt x="2345" y="1425"/>
                    <a:pt x="2353" y="1424"/>
                    <a:pt x="2355" y="1432"/>
                  </a:cubicBezTo>
                  <a:cubicBezTo>
                    <a:pt x="2357" y="1440"/>
                    <a:pt x="2358" y="1445"/>
                    <a:pt x="2371" y="1445"/>
                  </a:cubicBezTo>
                  <a:cubicBezTo>
                    <a:pt x="2384" y="1445"/>
                    <a:pt x="2386" y="1449"/>
                    <a:pt x="2390" y="1441"/>
                  </a:cubicBezTo>
                  <a:cubicBezTo>
                    <a:pt x="2394" y="1432"/>
                    <a:pt x="2397" y="1434"/>
                    <a:pt x="2404" y="1434"/>
                  </a:cubicBezTo>
                  <a:cubicBezTo>
                    <a:pt x="2411" y="1434"/>
                    <a:pt x="2437" y="1438"/>
                    <a:pt x="2454" y="1436"/>
                  </a:cubicBezTo>
                  <a:cubicBezTo>
                    <a:pt x="2472" y="1434"/>
                    <a:pt x="2468" y="1450"/>
                    <a:pt x="2482" y="1450"/>
                  </a:cubicBezTo>
                  <a:cubicBezTo>
                    <a:pt x="2495" y="1450"/>
                    <a:pt x="2510" y="1453"/>
                    <a:pt x="2513" y="1468"/>
                  </a:cubicBezTo>
                  <a:cubicBezTo>
                    <a:pt x="2517" y="1484"/>
                    <a:pt x="2519" y="1489"/>
                    <a:pt x="2523" y="1494"/>
                  </a:cubicBezTo>
                  <a:cubicBezTo>
                    <a:pt x="2528" y="1498"/>
                    <a:pt x="2536" y="1501"/>
                    <a:pt x="2545" y="1491"/>
                  </a:cubicBezTo>
                  <a:cubicBezTo>
                    <a:pt x="2553" y="1481"/>
                    <a:pt x="2554" y="1484"/>
                    <a:pt x="2562" y="1478"/>
                  </a:cubicBezTo>
                  <a:cubicBezTo>
                    <a:pt x="2570" y="1472"/>
                    <a:pt x="2573" y="1466"/>
                    <a:pt x="2587" y="1463"/>
                  </a:cubicBezTo>
                  <a:cubicBezTo>
                    <a:pt x="2601" y="1461"/>
                    <a:pt x="2629" y="1460"/>
                    <a:pt x="2630" y="1473"/>
                  </a:cubicBezTo>
                  <a:cubicBezTo>
                    <a:pt x="2631" y="1486"/>
                    <a:pt x="2636" y="1487"/>
                    <a:pt x="2647" y="1494"/>
                  </a:cubicBezTo>
                  <a:cubicBezTo>
                    <a:pt x="2659" y="1501"/>
                    <a:pt x="2652" y="1514"/>
                    <a:pt x="2666" y="1516"/>
                  </a:cubicBezTo>
                  <a:cubicBezTo>
                    <a:pt x="2680" y="1518"/>
                    <a:pt x="2687" y="1524"/>
                    <a:pt x="2687" y="1539"/>
                  </a:cubicBezTo>
                  <a:cubicBezTo>
                    <a:pt x="2687" y="1553"/>
                    <a:pt x="2694" y="1568"/>
                    <a:pt x="2687" y="1575"/>
                  </a:cubicBezTo>
                  <a:cubicBezTo>
                    <a:pt x="2680" y="1581"/>
                    <a:pt x="2679" y="1580"/>
                    <a:pt x="2680" y="1596"/>
                  </a:cubicBezTo>
                  <a:cubicBezTo>
                    <a:pt x="2680" y="1612"/>
                    <a:pt x="2685" y="1621"/>
                    <a:pt x="2690" y="1621"/>
                  </a:cubicBezTo>
                  <a:cubicBezTo>
                    <a:pt x="2695" y="1621"/>
                    <a:pt x="2697" y="1629"/>
                    <a:pt x="2698" y="1644"/>
                  </a:cubicBezTo>
                  <a:cubicBezTo>
                    <a:pt x="2700" y="1659"/>
                    <a:pt x="2698" y="1671"/>
                    <a:pt x="2710" y="1673"/>
                  </a:cubicBezTo>
                  <a:cubicBezTo>
                    <a:pt x="2721" y="1676"/>
                    <a:pt x="2720" y="1683"/>
                    <a:pt x="2725" y="1690"/>
                  </a:cubicBezTo>
                  <a:cubicBezTo>
                    <a:pt x="2729" y="1697"/>
                    <a:pt x="2738" y="1691"/>
                    <a:pt x="2741" y="1706"/>
                  </a:cubicBezTo>
                  <a:cubicBezTo>
                    <a:pt x="2744" y="1721"/>
                    <a:pt x="2744" y="1737"/>
                    <a:pt x="2753" y="1740"/>
                  </a:cubicBezTo>
                  <a:cubicBezTo>
                    <a:pt x="2761" y="1743"/>
                    <a:pt x="2774" y="1754"/>
                    <a:pt x="2780" y="1767"/>
                  </a:cubicBezTo>
                  <a:cubicBezTo>
                    <a:pt x="2786" y="1780"/>
                    <a:pt x="2792" y="1792"/>
                    <a:pt x="2801" y="1795"/>
                  </a:cubicBezTo>
                  <a:cubicBezTo>
                    <a:pt x="2811" y="1799"/>
                    <a:pt x="2809" y="1785"/>
                    <a:pt x="2822" y="1790"/>
                  </a:cubicBezTo>
                  <a:cubicBezTo>
                    <a:pt x="2836" y="1794"/>
                    <a:pt x="2836" y="1797"/>
                    <a:pt x="2842" y="1780"/>
                  </a:cubicBezTo>
                  <a:cubicBezTo>
                    <a:pt x="2849" y="1763"/>
                    <a:pt x="2846" y="1753"/>
                    <a:pt x="2854" y="1747"/>
                  </a:cubicBezTo>
                  <a:cubicBezTo>
                    <a:pt x="2862" y="1740"/>
                    <a:pt x="2860" y="1722"/>
                    <a:pt x="2860" y="1706"/>
                  </a:cubicBezTo>
                  <a:cubicBezTo>
                    <a:pt x="2860" y="1691"/>
                    <a:pt x="2864" y="1666"/>
                    <a:pt x="2855" y="1656"/>
                  </a:cubicBezTo>
                  <a:cubicBezTo>
                    <a:pt x="2846" y="1647"/>
                    <a:pt x="2839" y="1630"/>
                    <a:pt x="2836" y="1617"/>
                  </a:cubicBezTo>
                  <a:cubicBezTo>
                    <a:pt x="2834" y="1603"/>
                    <a:pt x="2826" y="1592"/>
                    <a:pt x="2826" y="1577"/>
                  </a:cubicBezTo>
                  <a:cubicBezTo>
                    <a:pt x="2826" y="1563"/>
                    <a:pt x="2829" y="1561"/>
                    <a:pt x="2821" y="1548"/>
                  </a:cubicBezTo>
                  <a:cubicBezTo>
                    <a:pt x="2812" y="1535"/>
                    <a:pt x="2801" y="1514"/>
                    <a:pt x="2797" y="1504"/>
                  </a:cubicBezTo>
                  <a:cubicBezTo>
                    <a:pt x="2793" y="1493"/>
                    <a:pt x="2781" y="1496"/>
                    <a:pt x="2783" y="1480"/>
                  </a:cubicBezTo>
                  <a:cubicBezTo>
                    <a:pt x="2784" y="1463"/>
                    <a:pt x="2777" y="1460"/>
                    <a:pt x="2777" y="1447"/>
                  </a:cubicBezTo>
                  <a:cubicBezTo>
                    <a:pt x="2777" y="1434"/>
                    <a:pt x="2776" y="1436"/>
                    <a:pt x="2771" y="1426"/>
                  </a:cubicBezTo>
                  <a:cubicBezTo>
                    <a:pt x="2766" y="1416"/>
                    <a:pt x="2766" y="1405"/>
                    <a:pt x="2766" y="1397"/>
                  </a:cubicBezTo>
                  <a:cubicBezTo>
                    <a:pt x="2766" y="1388"/>
                    <a:pt x="2783" y="1388"/>
                    <a:pt x="2783" y="1367"/>
                  </a:cubicBezTo>
                  <a:cubicBezTo>
                    <a:pt x="2783" y="1347"/>
                    <a:pt x="2788" y="1338"/>
                    <a:pt x="2798" y="1330"/>
                  </a:cubicBezTo>
                  <a:cubicBezTo>
                    <a:pt x="2808" y="1322"/>
                    <a:pt x="2807" y="1306"/>
                    <a:pt x="2821" y="1302"/>
                  </a:cubicBezTo>
                  <a:cubicBezTo>
                    <a:pt x="2836" y="1297"/>
                    <a:pt x="2832" y="1286"/>
                    <a:pt x="2845" y="1285"/>
                  </a:cubicBezTo>
                  <a:cubicBezTo>
                    <a:pt x="2858" y="1284"/>
                    <a:pt x="2861" y="1279"/>
                    <a:pt x="2864" y="1270"/>
                  </a:cubicBezTo>
                  <a:cubicBezTo>
                    <a:pt x="2867" y="1261"/>
                    <a:pt x="2897" y="1260"/>
                    <a:pt x="2900" y="1249"/>
                  </a:cubicBezTo>
                  <a:cubicBezTo>
                    <a:pt x="2902" y="1238"/>
                    <a:pt x="2905" y="1225"/>
                    <a:pt x="2920" y="1211"/>
                  </a:cubicBezTo>
                  <a:cubicBezTo>
                    <a:pt x="2935" y="1198"/>
                    <a:pt x="2943" y="1190"/>
                    <a:pt x="2960" y="1188"/>
                  </a:cubicBezTo>
                  <a:cubicBezTo>
                    <a:pt x="2978" y="1185"/>
                    <a:pt x="2999" y="1185"/>
                    <a:pt x="2999" y="1173"/>
                  </a:cubicBezTo>
                  <a:cubicBezTo>
                    <a:pt x="2999" y="1160"/>
                    <a:pt x="3012" y="1159"/>
                    <a:pt x="3019" y="1147"/>
                  </a:cubicBezTo>
                  <a:cubicBezTo>
                    <a:pt x="3026" y="1136"/>
                    <a:pt x="3036" y="1131"/>
                    <a:pt x="3053" y="1130"/>
                  </a:cubicBezTo>
                  <a:cubicBezTo>
                    <a:pt x="3070" y="1130"/>
                    <a:pt x="3089" y="1132"/>
                    <a:pt x="3094" y="1123"/>
                  </a:cubicBezTo>
                  <a:cubicBezTo>
                    <a:pt x="3098" y="1114"/>
                    <a:pt x="3098" y="1098"/>
                    <a:pt x="3091" y="1099"/>
                  </a:cubicBezTo>
                  <a:cubicBezTo>
                    <a:pt x="3084" y="1101"/>
                    <a:pt x="3077" y="1104"/>
                    <a:pt x="3075" y="1092"/>
                  </a:cubicBezTo>
                  <a:cubicBezTo>
                    <a:pt x="3073" y="1080"/>
                    <a:pt x="3065" y="1076"/>
                    <a:pt x="3076" y="1071"/>
                  </a:cubicBezTo>
                  <a:cubicBezTo>
                    <a:pt x="3087" y="1067"/>
                    <a:pt x="3079" y="1084"/>
                    <a:pt x="3091" y="1080"/>
                  </a:cubicBezTo>
                  <a:cubicBezTo>
                    <a:pt x="3103" y="1076"/>
                    <a:pt x="3117" y="1079"/>
                    <a:pt x="3121" y="1074"/>
                  </a:cubicBezTo>
                  <a:cubicBezTo>
                    <a:pt x="3125" y="1068"/>
                    <a:pt x="3132" y="1069"/>
                    <a:pt x="3130" y="1058"/>
                  </a:cubicBezTo>
                  <a:cubicBezTo>
                    <a:pt x="3127" y="1046"/>
                    <a:pt x="3130" y="1033"/>
                    <a:pt x="3116" y="1035"/>
                  </a:cubicBezTo>
                  <a:cubicBezTo>
                    <a:pt x="3102" y="1036"/>
                    <a:pt x="3089" y="1043"/>
                    <a:pt x="3094" y="1031"/>
                  </a:cubicBezTo>
                  <a:cubicBezTo>
                    <a:pt x="3099" y="1018"/>
                    <a:pt x="3103" y="1020"/>
                    <a:pt x="3110" y="1020"/>
                  </a:cubicBezTo>
                  <a:cubicBezTo>
                    <a:pt x="3117" y="1020"/>
                    <a:pt x="3125" y="1018"/>
                    <a:pt x="3127" y="1025"/>
                  </a:cubicBezTo>
                  <a:cubicBezTo>
                    <a:pt x="3130" y="1032"/>
                    <a:pt x="3139" y="1031"/>
                    <a:pt x="3140" y="1025"/>
                  </a:cubicBezTo>
                  <a:cubicBezTo>
                    <a:pt x="3140" y="1019"/>
                    <a:pt x="3132" y="1018"/>
                    <a:pt x="3132" y="1007"/>
                  </a:cubicBezTo>
                  <a:cubicBezTo>
                    <a:pt x="3131" y="996"/>
                    <a:pt x="3122" y="993"/>
                    <a:pt x="3122" y="983"/>
                  </a:cubicBezTo>
                  <a:cubicBezTo>
                    <a:pt x="3122" y="972"/>
                    <a:pt x="3119" y="965"/>
                    <a:pt x="3110" y="963"/>
                  </a:cubicBezTo>
                  <a:cubicBezTo>
                    <a:pt x="3102" y="960"/>
                    <a:pt x="3087" y="960"/>
                    <a:pt x="3077" y="954"/>
                  </a:cubicBezTo>
                  <a:cubicBezTo>
                    <a:pt x="3067" y="948"/>
                    <a:pt x="3057" y="938"/>
                    <a:pt x="3071" y="938"/>
                  </a:cubicBezTo>
                  <a:cubicBezTo>
                    <a:pt x="3084" y="938"/>
                    <a:pt x="3092" y="942"/>
                    <a:pt x="3094" y="932"/>
                  </a:cubicBezTo>
                  <a:cubicBezTo>
                    <a:pt x="3097" y="923"/>
                    <a:pt x="3098" y="921"/>
                    <a:pt x="3089" y="912"/>
                  </a:cubicBezTo>
                  <a:cubicBezTo>
                    <a:pt x="3081" y="904"/>
                    <a:pt x="3079" y="899"/>
                    <a:pt x="3070" y="893"/>
                  </a:cubicBezTo>
                  <a:cubicBezTo>
                    <a:pt x="3061" y="887"/>
                    <a:pt x="3050" y="868"/>
                    <a:pt x="3062" y="874"/>
                  </a:cubicBezTo>
                  <a:cubicBezTo>
                    <a:pt x="3073" y="879"/>
                    <a:pt x="3072" y="886"/>
                    <a:pt x="3079" y="892"/>
                  </a:cubicBezTo>
                  <a:cubicBezTo>
                    <a:pt x="3087" y="897"/>
                    <a:pt x="3096" y="902"/>
                    <a:pt x="3096" y="894"/>
                  </a:cubicBezTo>
                  <a:cubicBezTo>
                    <a:pt x="3096" y="885"/>
                    <a:pt x="3084" y="879"/>
                    <a:pt x="3084" y="866"/>
                  </a:cubicBezTo>
                  <a:cubicBezTo>
                    <a:pt x="3084" y="853"/>
                    <a:pt x="3077" y="846"/>
                    <a:pt x="3078" y="831"/>
                  </a:cubicBezTo>
                  <a:cubicBezTo>
                    <a:pt x="3079" y="815"/>
                    <a:pt x="3079" y="811"/>
                    <a:pt x="3089" y="811"/>
                  </a:cubicBezTo>
                  <a:cubicBezTo>
                    <a:pt x="3100" y="810"/>
                    <a:pt x="3102" y="813"/>
                    <a:pt x="3101" y="826"/>
                  </a:cubicBezTo>
                  <a:cubicBezTo>
                    <a:pt x="3100" y="839"/>
                    <a:pt x="3090" y="854"/>
                    <a:pt x="3099" y="858"/>
                  </a:cubicBezTo>
                  <a:cubicBezTo>
                    <a:pt x="3109" y="861"/>
                    <a:pt x="3120" y="864"/>
                    <a:pt x="3118" y="877"/>
                  </a:cubicBezTo>
                  <a:cubicBezTo>
                    <a:pt x="3117" y="890"/>
                    <a:pt x="3127" y="885"/>
                    <a:pt x="3126" y="897"/>
                  </a:cubicBezTo>
                  <a:cubicBezTo>
                    <a:pt x="3125" y="909"/>
                    <a:pt x="3105" y="935"/>
                    <a:pt x="3112" y="941"/>
                  </a:cubicBezTo>
                  <a:cubicBezTo>
                    <a:pt x="3118" y="947"/>
                    <a:pt x="3123" y="951"/>
                    <a:pt x="3126" y="939"/>
                  </a:cubicBezTo>
                  <a:cubicBezTo>
                    <a:pt x="3129" y="927"/>
                    <a:pt x="3138" y="925"/>
                    <a:pt x="3142" y="911"/>
                  </a:cubicBezTo>
                  <a:cubicBezTo>
                    <a:pt x="3147" y="897"/>
                    <a:pt x="3163" y="897"/>
                    <a:pt x="3163" y="884"/>
                  </a:cubicBezTo>
                  <a:cubicBezTo>
                    <a:pt x="3163" y="870"/>
                    <a:pt x="3166" y="872"/>
                    <a:pt x="3175" y="858"/>
                  </a:cubicBezTo>
                  <a:cubicBezTo>
                    <a:pt x="3183" y="844"/>
                    <a:pt x="3188" y="838"/>
                    <a:pt x="3177" y="829"/>
                  </a:cubicBezTo>
                  <a:cubicBezTo>
                    <a:pt x="3166" y="821"/>
                    <a:pt x="3150" y="808"/>
                    <a:pt x="3149" y="798"/>
                  </a:cubicBezTo>
                  <a:cubicBezTo>
                    <a:pt x="3148" y="787"/>
                    <a:pt x="3135" y="778"/>
                    <a:pt x="3141" y="765"/>
                  </a:cubicBezTo>
                  <a:cubicBezTo>
                    <a:pt x="3148" y="752"/>
                    <a:pt x="3155" y="753"/>
                    <a:pt x="3155" y="764"/>
                  </a:cubicBezTo>
                  <a:cubicBezTo>
                    <a:pt x="3155" y="775"/>
                    <a:pt x="3151" y="786"/>
                    <a:pt x="3158" y="790"/>
                  </a:cubicBezTo>
                  <a:cubicBezTo>
                    <a:pt x="3165" y="794"/>
                    <a:pt x="3178" y="794"/>
                    <a:pt x="3181" y="805"/>
                  </a:cubicBezTo>
                  <a:cubicBezTo>
                    <a:pt x="3185" y="816"/>
                    <a:pt x="3197" y="818"/>
                    <a:pt x="3200" y="801"/>
                  </a:cubicBezTo>
                  <a:cubicBezTo>
                    <a:pt x="3203" y="785"/>
                    <a:pt x="3213" y="788"/>
                    <a:pt x="3221" y="780"/>
                  </a:cubicBezTo>
                  <a:cubicBezTo>
                    <a:pt x="3228" y="773"/>
                    <a:pt x="3231" y="767"/>
                    <a:pt x="3234" y="755"/>
                  </a:cubicBezTo>
                  <a:cubicBezTo>
                    <a:pt x="3236" y="743"/>
                    <a:pt x="3242" y="738"/>
                    <a:pt x="3242" y="725"/>
                  </a:cubicBezTo>
                  <a:cubicBezTo>
                    <a:pt x="3242" y="713"/>
                    <a:pt x="3244" y="709"/>
                    <a:pt x="3239" y="702"/>
                  </a:cubicBezTo>
                  <a:cubicBezTo>
                    <a:pt x="3234" y="696"/>
                    <a:pt x="3241" y="688"/>
                    <a:pt x="3256" y="689"/>
                  </a:cubicBezTo>
                  <a:cubicBezTo>
                    <a:pt x="3270" y="691"/>
                    <a:pt x="3283" y="685"/>
                    <a:pt x="3301" y="683"/>
                  </a:cubicBezTo>
                  <a:cubicBezTo>
                    <a:pt x="3319" y="681"/>
                    <a:pt x="3316" y="672"/>
                    <a:pt x="3332" y="672"/>
                  </a:cubicBezTo>
                  <a:cubicBezTo>
                    <a:pt x="3347" y="671"/>
                    <a:pt x="3344" y="667"/>
                    <a:pt x="3355" y="664"/>
                  </a:cubicBezTo>
                  <a:cubicBezTo>
                    <a:pt x="3367" y="662"/>
                    <a:pt x="3383" y="654"/>
                    <a:pt x="3373" y="654"/>
                  </a:cubicBezTo>
                  <a:cubicBezTo>
                    <a:pt x="3362" y="654"/>
                    <a:pt x="3343" y="651"/>
                    <a:pt x="3332" y="655"/>
                  </a:cubicBezTo>
                  <a:cubicBezTo>
                    <a:pt x="3322" y="659"/>
                    <a:pt x="3314" y="662"/>
                    <a:pt x="3299" y="662"/>
                  </a:cubicBezTo>
                  <a:cubicBezTo>
                    <a:pt x="3284" y="661"/>
                    <a:pt x="3276" y="650"/>
                    <a:pt x="3288" y="649"/>
                  </a:cubicBezTo>
                  <a:cubicBezTo>
                    <a:pt x="3300" y="649"/>
                    <a:pt x="3297" y="656"/>
                    <a:pt x="3306" y="645"/>
                  </a:cubicBezTo>
                  <a:cubicBezTo>
                    <a:pt x="3315" y="634"/>
                    <a:pt x="3323" y="639"/>
                    <a:pt x="3338" y="638"/>
                  </a:cubicBezTo>
                  <a:cubicBezTo>
                    <a:pt x="3353" y="637"/>
                    <a:pt x="3368" y="639"/>
                    <a:pt x="3373" y="634"/>
                  </a:cubicBezTo>
                  <a:cubicBezTo>
                    <a:pt x="3378" y="629"/>
                    <a:pt x="3395" y="631"/>
                    <a:pt x="3398" y="629"/>
                  </a:cubicBezTo>
                  <a:cubicBezTo>
                    <a:pt x="3401" y="627"/>
                    <a:pt x="3410" y="614"/>
                    <a:pt x="3416" y="622"/>
                  </a:cubicBezTo>
                  <a:cubicBezTo>
                    <a:pt x="3423" y="631"/>
                    <a:pt x="3431" y="628"/>
                    <a:pt x="3433" y="624"/>
                  </a:cubicBezTo>
                  <a:cubicBezTo>
                    <a:pt x="3435" y="619"/>
                    <a:pt x="3449" y="622"/>
                    <a:pt x="3449" y="628"/>
                  </a:cubicBezTo>
                  <a:cubicBezTo>
                    <a:pt x="3449" y="634"/>
                    <a:pt x="3457" y="638"/>
                    <a:pt x="3461" y="629"/>
                  </a:cubicBezTo>
                  <a:cubicBezTo>
                    <a:pt x="3466" y="619"/>
                    <a:pt x="3470" y="620"/>
                    <a:pt x="3477" y="617"/>
                  </a:cubicBezTo>
                  <a:cubicBezTo>
                    <a:pt x="3484" y="614"/>
                    <a:pt x="3502" y="612"/>
                    <a:pt x="3497" y="601"/>
                  </a:cubicBezTo>
                  <a:cubicBezTo>
                    <a:pt x="3492" y="589"/>
                    <a:pt x="3497" y="586"/>
                    <a:pt x="3490" y="579"/>
                  </a:cubicBezTo>
                  <a:cubicBezTo>
                    <a:pt x="3483" y="573"/>
                    <a:pt x="3460" y="569"/>
                    <a:pt x="3472" y="578"/>
                  </a:cubicBezTo>
                  <a:cubicBezTo>
                    <a:pt x="3484" y="588"/>
                    <a:pt x="3491" y="592"/>
                    <a:pt x="3485" y="599"/>
                  </a:cubicBezTo>
                  <a:cubicBezTo>
                    <a:pt x="3479" y="606"/>
                    <a:pt x="3473" y="613"/>
                    <a:pt x="3466" y="598"/>
                  </a:cubicBezTo>
                  <a:cubicBezTo>
                    <a:pt x="3459" y="584"/>
                    <a:pt x="3461" y="574"/>
                    <a:pt x="3449" y="568"/>
                  </a:cubicBezTo>
                  <a:cubicBezTo>
                    <a:pt x="3437" y="563"/>
                    <a:pt x="3431" y="557"/>
                    <a:pt x="3441" y="548"/>
                  </a:cubicBezTo>
                  <a:cubicBezTo>
                    <a:pt x="3451" y="540"/>
                    <a:pt x="3458" y="539"/>
                    <a:pt x="3449" y="528"/>
                  </a:cubicBezTo>
                  <a:cubicBezTo>
                    <a:pt x="3439" y="517"/>
                    <a:pt x="3442" y="512"/>
                    <a:pt x="3454" y="499"/>
                  </a:cubicBezTo>
                  <a:cubicBezTo>
                    <a:pt x="3466" y="485"/>
                    <a:pt x="3474" y="456"/>
                    <a:pt x="3488" y="456"/>
                  </a:cubicBezTo>
                  <a:cubicBezTo>
                    <a:pt x="3502" y="456"/>
                    <a:pt x="3510" y="456"/>
                    <a:pt x="3516" y="448"/>
                  </a:cubicBezTo>
                  <a:cubicBezTo>
                    <a:pt x="3522" y="440"/>
                    <a:pt x="3525" y="437"/>
                    <a:pt x="3535" y="435"/>
                  </a:cubicBezTo>
                  <a:cubicBezTo>
                    <a:pt x="3545" y="434"/>
                    <a:pt x="3554" y="430"/>
                    <a:pt x="3555" y="421"/>
                  </a:cubicBezTo>
                  <a:cubicBezTo>
                    <a:pt x="3557" y="411"/>
                    <a:pt x="3555" y="392"/>
                    <a:pt x="3565" y="393"/>
                  </a:cubicBezTo>
                  <a:cubicBezTo>
                    <a:pt x="3575" y="395"/>
                    <a:pt x="3565" y="407"/>
                    <a:pt x="3576" y="408"/>
                  </a:cubicBezTo>
                  <a:cubicBezTo>
                    <a:pt x="3587" y="409"/>
                    <a:pt x="3605" y="416"/>
                    <a:pt x="3609" y="404"/>
                  </a:cubicBezTo>
                  <a:cubicBezTo>
                    <a:pt x="3613" y="392"/>
                    <a:pt x="3616" y="393"/>
                    <a:pt x="3626" y="393"/>
                  </a:cubicBezTo>
                  <a:cubicBezTo>
                    <a:pt x="3635" y="393"/>
                    <a:pt x="3646" y="393"/>
                    <a:pt x="3651" y="385"/>
                  </a:cubicBezTo>
                  <a:cubicBezTo>
                    <a:pt x="3655" y="377"/>
                    <a:pt x="3652" y="381"/>
                    <a:pt x="3667" y="384"/>
                  </a:cubicBezTo>
                  <a:cubicBezTo>
                    <a:pt x="3675" y="386"/>
                    <a:pt x="3682" y="387"/>
                    <a:pt x="3687" y="385"/>
                  </a:cubicBezTo>
                  <a:cubicBezTo>
                    <a:pt x="3687" y="368"/>
                    <a:pt x="3680" y="356"/>
                    <a:pt x="3679" y="350"/>
                  </a:cubicBezTo>
                  <a:cubicBezTo>
                    <a:pt x="3677" y="343"/>
                    <a:pt x="3671" y="337"/>
                    <a:pt x="3664" y="33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413" name="Freeform 25577"/>
            <p:cNvSpPr>
              <a:spLocks/>
            </p:cNvSpPr>
            <p:nvPr/>
          </p:nvSpPr>
          <p:spPr bwMode="auto">
            <a:xfrm>
              <a:off x="488993" y="2355577"/>
              <a:ext cx="7576" cy="14836"/>
            </a:xfrm>
            <a:custGeom>
              <a:avLst/>
              <a:gdLst>
                <a:gd name="T0" fmla="*/ 11 w 20"/>
                <a:gd name="T1" fmla="*/ 9 h 40"/>
                <a:gd name="T2" fmla="*/ 5 w 20"/>
                <a:gd name="T3" fmla="*/ 21 h 40"/>
                <a:gd name="T4" fmla="*/ 2 w 20"/>
                <a:gd name="T5" fmla="*/ 32 h 40"/>
                <a:gd name="T6" fmla="*/ 11 w 20"/>
                <a:gd name="T7" fmla="*/ 33 h 40"/>
                <a:gd name="T8" fmla="*/ 20 w 20"/>
                <a:gd name="T9" fmla="*/ 16 h 40"/>
                <a:gd name="T10" fmla="*/ 11 w 20"/>
                <a:gd name="T11" fmla="*/ 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40">
                  <a:moveTo>
                    <a:pt x="11" y="9"/>
                  </a:moveTo>
                  <a:cubicBezTo>
                    <a:pt x="11" y="9"/>
                    <a:pt x="11" y="17"/>
                    <a:pt x="5" y="21"/>
                  </a:cubicBezTo>
                  <a:cubicBezTo>
                    <a:pt x="0" y="24"/>
                    <a:pt x="1" y="25"/>
                    <a:pt x="2" y="32"/>
                  </a:cubicBezTo>
                  <a:cubicBezTo>
                    <a:pt x="4" y="40"/>
                    <a:pt x="11" y="39"/>
                    <a:pt x="11" y="33"/>
                  </a:cubicBezTo>
                  <a:cubicBezTo>
                    <a:pt x="11" y="27"/>
                    <a:pt x="20" y="27"/>
                    <a:pt x="20" y="16"/>
                  </a:cubicBezTo>
                  <a:cubicBezTo>
                    <a:pt x="20" y="6"/>
                    <a:pt x="10" y="0"/>
                    <a:pt x="11" y="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414" name="Freeform 25578"/>
            <p:cNvSpPr>
              <a:spLocks/>
            </p:cNvSpPr>
            <p:nvPr/>
          </p:nvSpPr>
          <p:spPr bwMode="auto">
            <a:xfrm>
              <a:off x="505091" y="2353683"/>
              <a:ext cx="2525" cy="16415"/>
            </a:xfrm>
            <a:custGeom>
              <a:avLst/>
              <a:gdLst>
                <a:gd name="T0" fmla="*/ 7 w 7"/>
                <a:gd name="T1" fmla="*/ 28 h 44"/>
                <a:gd name="T2" fmla="*/ 0 w 7"/>
                <a:gd name="T3" fmla="*/ 11 h 44"/>
                <a:gd name="T4" fmla="*/ 0 w 7"/>
                <a:gd name="T5" fmla="*/ 34 h 44"/>
                <a:gd name="T6" fmla="*/ 7 w 7"/>
                <a:gd name="T7" fmla="*/ 28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44">
                  <a:moveTo>
                    <a:pt x="7" y="28"/>
                  </a:moveTo>
                  <a:cubicBezTo>
                    <a:pt x="7" y="13"/>
                    <a:pt x="2" y="0"/>
                    <a:pt x="0" y="11"/>
                  </a:cubicBezTo>
                  <a:cubicBezTo>
                    <a:pt x="0" y="14"/>
                    <a:pt x="0" y="26"/>
                    <a:pt x="0" y="34"/>
                  </a:cubicBezTo>
                  <a:cubicBezTo>
                    <a:pt x="0" y="42"/>
                    <a:pt x="7" y="44"/>
                    <a:pt x="7" y="28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415" name="Freeform 25579"/>
            <p:cNvSpPr>
              <a:spLocks/>
            </p:cNvSpPr>
            <p:nvPr/>
          </p:nvSpPr>
          <p:spPr bwMode="auto">
            <a:xfrm>
              <a:off x="423333" y="2376410"/>
              <a:ext cx="14678" cy="13101"/>
            </a:xfrm>
            <a:custGeom>
              <a:avLst/>
              <a:gdLst>
                <a:gd name="T0" fmla="*/ 21 w 39"/>
                <a:gd name="T1" fmla="*/ 17 h 35"/>
                <a:gd name="T2" fmla="*/ 12 w 39"/>
                <a:gd name="T3" fmla="*/ 6 h 35"/>
                <a:gd name="T4" fmla="*/ 1 w 39"/>
                <a:gd name="T5" fmla="*/ 5 h 35"/>
                <a:gd name="T6" fmla="*/ 10 w 39"/>
                <a:gd name="T7" fmla="*/ 17 h 35"/>
                <a:gd name="T8" fmla="*/ 21 w 39"/>
                <a:gd name="T9" fmla="*/ 30 h 35"/>
                <a:gd name="T10" fmla="*/ 35 w 39"/>
                <a:gd name="T11" fmla="*/ 27 h 35"/>
                <a:gd name="T12" fmla="*/ 21 w 39"/>
                <a:gd name="T13" fmla="*/ 1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9" h="35">
                  <a:moveTo>
                    <a:pt x="21" y="17"/>
                  </a:moveTo>
                  <a:cubicBezTo>
                    <a:pt x="19" y="14"/>
                    <a:pt x="19" y="7"/>
                    <a:pt x="12" y="6"/>
                  </a:cubicBezTo>
                  <a:cubicBezTo>
                    <a:pt x="12" y="6"/>
                    <a:pt x="0" y="0"/>
                    <a:pt x="1" y="5"/>
                  </a:cubicBezTo>
                  <a:cubicBezTo>
                    <a:pt x="1" y="11"/>
                    <a:pt x="10" y="9"/>
                    <a:pt x="10" y="17"/>
                  </a:cubicBezTo>
                  <a:cubicBezTo>
                    <a:pt x="10" y="25"/>
                    <a:pt x="14" y="30"/>
                    <a:pt x="21" y="30"/>
                  </a:cubicBezTo>
                  <a:cubicBezTo>
                    <a:pt x="27" y="30"/>
                    <a:pt x="39" y="35"/>
                    <a:pt x="35" y="27"/>
                  </a:cubicBezTo>
                  <a:cubicBezTo>
                    <a:pt x="32" y="19"/>
                    <a:pt x="22" y="21"/>
                    <a:pt x="21" y="17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416" name="Freeform 25580"/>
            <p:cNvSpPr>
              <a:spLocks/>
            </p:cNvSpPr>
            <p:nvPr/>
          </p:nvSpPr>
          <p:spPr bwMode="auto">
            <a:xfrm>
              <a:off x="558439" y="2309647"/>
              <a:ext cx="9628" cy="7103"/>
            </a:xfrm>
            <a:custGeom>
              <a:avLst/>
              <a:gdLst>
                <a:gd name="T0" fmla="*/ 16 w 26"/>
                <a:gd name="T1" fmla="*/ 4 h 19"/>
                <a:gd name="T2" fmla="*/ 5 w 26"/>
                <a:gd name="T3" fmla="*/ 7 h 19"/>
                <a:gd name="T4" fmla="*/ 8 w 26"/>
                <a:gd name="T5" fmla="*/ 18 h 19"/>
                <a:gd name="T6" fmla="*/ 16 w 26"/>
                <a:gd name="T7" fmla="*/ 4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" h="19">
                  <a:moveTo>
                    <a:pt x="16" y="4"/>
                  </a:moveTo>
                  <a:cubicBezTo>
                    <a:pt x="16" y="4"/>
                    <a:pt x="10" y="0"/>
                    <a:pt x="5" y="7"/>
                  </a:cubicBezTo>
                  <a:cubicBezTo>
                    <a:pt x="1" y="15"/>
                    <a:pt x="0" y="16"/>
                    <a:pt x="8" y="18"/>
                  </a:cubicBezTo>
                  <a:cubicBezTo>
                    <a:pt x="15" y="19"/>
                    <a:pt x="26" y="2"/>
                    <a:pt x="16" y="4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417" name="Freeform 25581"/>
            <p:cNvSpPr>
              <a:spLocks/>
            </p:cNvSpPr>
            <p:nvPr/>
          </p:nvSpPr>
          <p:spPr bwMode="auto">
            <a:xfrm>
              <a:off x="595372" y="2331270"/>
              <a:ext cx="8523" cy="9312"/>
            </a:xfrm>
            <a:custGeom>
              <a:avLst/>
              <a:gdLst>
                <a:gd name="T0" fmla="*/ 12 w 23"/>
                <a:gd name="T1" fmla="*/ 23 h 25"/>
                <a:gd name="T2" fmla="*/ 16 w 23"/>
                <a:gd name="T3" fmla="*/ 16 h 25"/>
                <a:gd name="T4" fmla="*/ 9 w 23"/>
                <a:gd name="T5" fmla="*/ 8 h 25"/>
                <a:gd name="T6" fmla="*/ 12 w 23"/>
                <a:gd name="T7" fmla="*/ 2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" h="25">
                  <a:moveTo>
                    <a:pt x="12" y="23"/>
                  </a:moveTo>
                  <a:cubicBezTo>
                    <a:pt x="23" y="25"/>
                    <a:pt x="17" y="22"/>
                    <a:pt x="16" y="16"/>
                  </a:cubicBezTo>
                  <a:cubicBezTo>
                    <a:pt x="16" y="11"/>
                    <a:pt x="14" y="0"/>
                    <a:pt x="9" y="8"/>
                  </a:cubicBezTo>
                  <a:cubicBezTo>
                    <a:pt x="9" y="8"/>
                    <a:pt x="0" y="22"/>
                    <a:pt x="12" y="23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418" name="Freeform 25582"/>
            <p:cNvSpPr>
              <a:spLocks/>
            </p:cNvSpPr>
            <p:nvPr/>
          </p:nvSpPr>
          <p:spPr bwMode="auto">
            <a:xfrm>
              <a:off x="621099" y="2311541"/>
              <a:ext cx="9943" cy="6313"/>
            </a:xfrm>
            <a:custGeom>
              <a:avLst/>
              <a:gdLst>
                <a:gd name="T0" fmla="*/ 14 w 27"/>
                <a:gd name="T1" fmla="*/ 0 h 17"/>
                <a:gd name="T2" fmla="*/ 6 w 27"/>
                <a:gd name="T3" fmla="*/ 10 h 17"/>
                <a:gd name="T4" fmla="*/ 14 w 27"/>
                <a:gd name="T5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7" h="17">
                  <a:moveTo>
                    <a:pt x="14" y="0"/>
                  </a:moveTo>
                  <a:cubicBezTo>
                    <a:pt x="14" y="0"/>
                    <a:pt x="0" y="3"/>
                    <a:pt x="6" y="10"/>
                  </a:cubicBezTo>
                  <a:cubicBezTo>
                    <a:pt x="11" y="17"/>
                    <a:pt x="27" y="8"/>
                    <a:pt x="14" y="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419" name="Freeform 25583"/>
            <p:cNvSpPr>
              <a:spLocks/>
            </p:cNvSpPr>
            <p:nvPr/>
          </p:nvSpPr>
          <p:spPr bwMode="auto">
            <a:xfrm>
              <a:off x="632621" y="2308858"/>
              <a:ext cx="8207" cy="8207"/>
            </a:xfrm>
            <a:custGeom>
              <a:avLst/>
              <a:gdLst>
                <a:gd name="T0" fmla="*/ 13 w 22"/>
                <a:gd name="T1" fmla="*/ 10 h 22"/>
                <a:gd name="T2" fmla="*/ 8 w 22"/>
                <a:gd name="T3" fmla="*/ 2 h 22"/>
                <a:gd name="T4" fmla="*/ 2 w 22"/>
                <a:gd name="T5" fmla="*/ 10 h 22"/>
                <a:gd name="T6" fmla="*/ 9 w 22"/>
                <a:gd name="T7" fmla="*/ 19 h 22"/>
                <a:gd name="T8" fmla="*/ 22 w 22"/>
                <a:gd name="T9" fmla="*/ 18 h 22"/>
                <a:gd name="T10" fmla="*/ 13 w 22"/>
                <a:gd name="T11" fmla="*/ 1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22">
                  <a:moveTo>
                    <a:pt x="13" y="10"/>
                  </a:moveTo>
                  <a:cubicBezTo>
                    <a:pt x="12" y="6"/>
                    <a:pt x="14" y="0"/>
                    <a:pt x="8" y="2"/>
                  </a:cubicBezTo>
                  <a:cubicBezTo>
                    <a:pt x="8" y="2"/>
                    <a:pt x="0" y="3"/>
                    <a:pt x="2" y="10"/>
                  </a:cubicBezTo>
                  <a:cubicBezTo>
                    <a:pt x="4" y="17"/>
                    <a:pt x="3" y="17"/>
                    <a:pt x="9" y="19"/>
                  </a:cubicBezTo>
                  <a:cubicBezTo>
                    <a:pt x="15" y="20"/>
                    <a:pt x="22" y="22"/>
                    <a:pt x="22" y="18"/>
                  </a:cubicBezTo>
                  <a:cubicBezTo>
                    <a:pt x="21" y="14"/>
                    <a:pt x="13" y="14"/>
                    <a:pt x="13" y="1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420" name="Freeform 25584"/>
            <p:cNvSpPr>
              <a:spLocks/>
            </p:cNvSpPr>
            <p:nvPr/>
          </p:nvSpPr>
          <p:spPr bwMode="auto">
            <a:xfrm>
              <a:off x="676183" y="2230256"/>
              <a:ext cx="4577" cy="3314"/>
            </a:xfrm>
            <a:custGeom>
              <a:avLst/>
              <a:gdLst>
                <a:gd name="T0" fmla="*/ 4 w 12"/>
                <a:gd name="T1" fmla="*/ 2 h 9"/>
                <a:gd name="T2" fmla="*/ 4 w 12"/>
                <a:gd name="T3" fmla="*/ 8 h 9"/>
                <a:gd name="T4" fmla="*/ 12 w 12"/>
                <a:gd name="T5" fmla="*/ 4 h 9"/>
                <a:gd name="T6" fmla="*/ 8 w 12"/>
                <a:gd name="T7" fmla="*/ 1 h 9"/>
                <a:gd name="T8" fmla="*/ 4 w 12"/>
                <a:gd name="T9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9">
                  <a:moveTo>
                    <a:pt x="4" y="2"/>
                  </a:moveTo>
                  <a:cubicBezTo>
                    <a:pt x="2" y="5"/>
                    <a:pt x="0" y="7"/>
                    <a:pt x="4" y="8"/>
                  </a:cubicBezTo>
                  <a:cubicBezTo>
                    <a:pt x="8" y="9"/>
                    <a:pt x="12" y="7"/>
                    <a:pt x="12" y="4"/>
                  </a:cubicBezTo>
                  <a:cubicBezTo>
                    <a:pt x="12" y="1"/>
                    <a:pt x="11" y="0"/>
                    <a:pt x="8" y="1"/>
                  </a:cubicBezTo>
                  <a:cubicBezTo>
                    <a:pt x="8" y="1"/>
                    <a:pt x="5" y="0"/>
                    <a:pt x="4" y="2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421" name="Freeform 25585"/>
            <p:cNvSpPr>
              <a:spLocks/>
            </p:cNvSpPr>
            <p:nvPr/>
          </p:nvSpPr>
          <p:spPr bwMode="auto">
            <a:xfrm>
              <a:off x="679971" y="2173594"/>
              <a:ext cx="9312" cy="11522"/>
            </a:xfrm>
            <a:custGeom>
              <a:avLst/>
              <a:gdLst>
                <a:gd name="T0" fmla="*/ 12 w 25"/>
                <a:gd name="T1" fmla="*/ 29 h 31"/>
                <a:gd name="T2" fmla="*/ 19 w 25"/>
                <a:gd name="T3" fmla="*/ 20 h 31"/>
                <a:gd name="T4" fmla="*/ 23 w 25"/>
                <a:gd name="T5" fmla="*/ 12 h 31"/>
                <a:gd name="T6" fmla="*/ 13 w 25"/>
                <a:gd name="T7" fmla="*/ 5 h 31"/>
                <a:gd name="T8" fmla="*/ 10 w 25"/>
                <a:gd name="T9" fmla="*/ 12 h 31"/>
                <a:gd name="T10" fmla="*/ 6 w 25"/>
                <a:gd name="T11" fmla="*/ 21 h 31"/>
                <a:gd name="T12" fmla="*/ 2 w 25"/>
                <a:gd name="T13" fmla="*/ 28 h 31"/>
                <a:gd name="T14" fmla="*/ 12 w 25"/>
                <a:gd name="T15" fmla="*/ 2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" h="31">
                  <a:moveTo>
                    <a:pt x="12" y="29"/>
                  </a:moveTo>
                  <a:cubicBezTo>
                    <a:pt x="17" y="28"/>
                    <a:pt x="19" y="26"/>
                    <a:pt x="19" y="20"/>
                  </a:cubicBezTo>
                  <a:cubicBezTo>
                    <a:pt x="20" y="15"/>
                    <a:pt x="22" y="15"/>
                    <a:pt x="23" y="12"/>
                  </a:cubicBezTo>
                  <a:cubicBezTo>
                    <a:pt x="25" y="9"/>
                    <a:pt x="15" y="0"/>
                    <a:pt x="13" y="5"/>
                  </a:cubicBezTo>
                  <a:cubicBezTo>
                    <a:pt x="13" y="5"/>
                    <a:pt x="11" y="7"/>
                    <a:pt x="10" y="12"/>
                  </a:cubicBezTo>
                  <a:cubicBezTo>
                    <a:pt x="10" y="17"/>
                    <a:pt x="10" y="19"/>
                    <a:pt x="6" y="21"/>
                  </a:cubicBezTo>
                  <a:cubicBezTo>
                    <a:pt x="3" y="23"/>
                    <a:pt x="0" y="26"/>
                    <a:pt x="2" y="28"/>
                  </a:cubicBezTo>
                  <a:cubicBezTo>
                    <a:pt x="4" y="31"/>
                    <a:pt x="7" y="30"/>
                    <a:pt x="12" y="2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422" name="Freeform 25591"/>
            <p:cNvSpPr>
              <a:spLocks/>
            </p:cNvSpPr>
            <p:nvPr/>
          </p:nvSpPr>
          <p:spPr bwMode="auto">
            <a:xfrm>
              <a:off x="8715774" y="2173120"/>
              <a:ext cx="28725" cy="13889"/>
            </a:xfrm>
            <a:custGeom>
              <a:avLst/>
              <a:gdLst>
                <a:gd name="T0" fmla="*/ 45 w 77"/>
                <a:gd name="T1" fmla="*/ 20 h 37"/>
                <a:gd name="T2" fmla="*/ 25 w 77"/>
                <a:gd name="T3" fmla="*/ 8 h 37"/>
                <a:gd name="T4" fmla="*/ 14 w 77"/>
                <a:gd name="T5" fmla="*/ 20 h 37"/>
                <a:gd name="T6" fmla="*/ 50 w 77"/>
                <a:gd name="T7" fmla="*/ 37 h 37"/>
                <a:gd name="T8" fmla="*/ 45 w 77"/>
                <a:gd name="T9" fmla="*/ 2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7" h="37">
                  <a:moveTo>
                    <a:pt x="45" y="20"/>
                  </a:moveTo>
                  <a:cubicBezTo>
                    <a:pt x="45" y="20"/>
                    <a:pt x="32" y="16"/>
                    <a:pt x="25" y="8"/>
                  </a:cubicBezTo>
                  <a:cubicBezTo>
                    <a:pt x="18" y="0"/>
                    <a:pt x="0" y="5"/>
                    <a:pt x="14" y="20"/>
                  </a:cubicBezTo>
                  <a:cubicBezTo>
                    <a:pt x="29" y="34"/>
                    <a:pt x="42" y="37"/>
                    <a:pt x="50" y="37"/>
                  </a:cubicBezTo>
                  <a:cubicBezTo>
                    <a:pt x="58" y="37"/>
                    <a:pt x="77" y="24"/>
                    <a:pt x="45" y="2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423" name="Freeform 25592"/>
            <p:cNvSpPr>
              <a:spLocks/>
            </p:cNvSpPr>
            <p:nvPr/>
          </p:nvSpPr>
          <p:spPr bwMode="auto">
            <a:xfrm>
              <a:off x="8382113" y="2433073"/>
              <a:ext cx="24306" cy="6313"/>
            </a:xfrm>
            <a:custGeom>
              <a:avLst/>
              <a:gdLst>
                <a:gd name="T0" fmla="*/ 40 w 65"/>
                <a:gd name="T1" fmla="*/ 2 h 17"/>
                <a:gd name="T2" fmla="*/ 19 w 65"/>
                <a:gd name="T3" fmla="*/ 0 h 17"/>
                <a:gd name="T4" fmla="*/ 2 w 65"/>
                <a:gd name="T5" fmla="*/ 6 h 17"/>
                <a:gd name="T6" fmla="*/ 18 w 65"/>
                <a:gd name="T7" fmla="*/ 14 h 17"/>
                <a:gd name="T8" fmla="*/ 40 w 65"/>
                <a:gd name="T9" fmla="*/ 2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5" h="17">
                  <a:moveTo>
                    <a:pt x="40" y="2"/>
                  </a:moveTo>
                  <a:cubicBezTo>
                    <a:pt x="40" y="2"/>
                    <a:pt x="26" y="0"/>
                    <a:pt x="19" y="0"/>
                  </a:cubicBezTo>
                  <a:cubicBezTo>
                    <a:pt x="11" y="0"/>
                    <a:pt x="0" y="0"/>
                    <a:pt x="2" y="6"/>
                  </a:cubicBezTo>
                  <a:cubicBezTo>
                    <a:pt x="5" y="12"/>
                    <a:pt x="12" y="12"/>
                    <a:pt x="18" y="14"/>
                  </a:cubicBezTo>
                  <a:cubicBezTo>
                    <a:pt x="24" y="17"/>
                    <a:pt x="65" y="6"/>
                    <a:pt x="40" y="2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rnd">
              <a:solidFill>
                <a:schemeClr val="bg1">
                  <a:lumMod val="9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424" name="Freeform 25593"/>
            <p:cNvSpPr>
              <a:spLocks/>
            </p:cNvSpPr>
            <p:nvPr/>
          </p:nvSpPr>
          <p:spPr bwMode="auto">
            <a:xfrm>
              <a:off x="8403736" y="2447278"/>
              <a:ext cx="12311" cy="7734"/>
            </a:xfrm>
            <a:custGeom>
              <a:avLst/>
              <a:gdLst>
                <a:gd name="T0" fmla="*/ 18 w 33"/>
                <a:gd name="T1" fmla="*/ 4 h 21"/>
                <a:gd name="T2" fmla="*/ 2 w 33"/>
                <a:gd name="T3" fmla="*/ 9 h 21"/>
                <a:gd name="T4" fmla="*/ 10 w 33"/>
                <a:gd name="T5" fmla="*/ 21 h 21"/>
                <a:gd name="T6" fmla="*/ 18 w 33"/>
                <a:gd name="T7" fmla="*/ 4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3" h="21">
                  <a:moveTo>
                    <a:pt x="18" y="4"/>
                  </a:moveTo>
                  <a:cubicBezTo>
                    <a:pt x="18" y="4"/>
                    <a:pt x="4" y="4"/>
                    <a:pt x="2" y="9"/>
                  </a:cubicBezTo>
                  <a:cubicBezTo>
                    <a:pt x="0" y="15"/>
                    <a:pt x="3" y="21"/>
                    <a:pt x="10" y="21"/>
                  </a:cubicBezTo>
                  <a:cubicBezTo>
                    <a:pt x="18" y="20"/>
                    <a:pt x="33" y="0"/>
                    <a:pt x="18" y="4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rnd">
              <a:solidFill>
                <a:schemeClr val="bg1">
                  <a:lumMod val="9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425" name="Freeform 25594"/>
            <p:cNvSpPr>
              <a:spLocks/>
            </p:cNvSpPr>
            <p:nvPr/>
          </p:nvSpPr>
          <p:spPr bwMode="auto">
            <a:xfrm>
              <a:off x="8489913" y="2459589"/>
              <a:ext cx="9312" cy="12627"/>
            </a:xfrm>
            <a:custGeom>
              <a:avLst/>
              <a:gdLst>
                <a:gd name="T0" fmla="*/ 15 w 25"/>
                <a:gd name="T1" fmla="*/ 6 h 34"/>
                <a:gd name="T2" fmla="*/ 9 w 25"/>
                <a:gd name="T3" fmla="*/ 19 h 34"/>
                <a:gd name="T4" fmla="*/ 2 w 25"/>
                <a:gd name="T5" fmla="*/ 30 h 34"/>
                <a:gd name="T6" fmla="*/ 15 w 25"/>
                <a:gd name="T7" fmla="*/ 28 h 34"/>
                <a:gd name="T8" fmla="*/ 25 w 25"/>
                <a:gd name="T9" fmla="*/ 13 h 34"/>
                <a:gd name="T10" fmla="*/ 15 w 25"/>
                <a:gd name="T11" fmla="*/ 6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" h="34">
                  <a:moveTo>
                    <a:pt x="15" y="6"/>
                  </a:moveTo>
                  <a:cubicBezTo>
                    <a:pt x="15" y="6"/>
                    <a:pt x="14" y="14"/>
                    <a:pt x="9" y="19"/>
                  </a:cubicBezTo>
                  <a:cubicBezTo>
                    <a:pt x="4" y="24"/>
                    <a:pt x="0" y="25"/>
                    <a:pt x="2" y="30"/>
                  </a:cubicBezTo>
                  <a:cubicBezTo>
                    <a:pt x="3" y="34"/>
                    <a:pt x="10" y="28"/>
                    <a:pt x="15" y="28"/>
                  </a:cubicBezTo>
                  <a:cubicBezTo>
                    <a:pt x="20" y="28"/>
                    <a:pt x="25" y="18"/>
                    <a:pt x="25" y="13"/>
                  </a:cubicBezTo>
                  <a:cubicBezTo>
                    <a:pt x="25" y="7"/>
                    <a:pt x="18" y="0"/>
                    <a:pt x="15" y="6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rnd">
              <a:solidFill>
                <a:schemeClr val="bg1">
                  <a:lumMod val="9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426" name="Freeform 25595"/>
            <p:cNvSpPr>
              <a:spLocks/>
            </p:cNvSpPr>
            <p:nvPr/>
          </p:nvSpPr>
          <p:spPr bwMode="auto">
            <a:xfrm>
              <a:off x="8525268" y="2476793"/>
              <a:ext cx="16099" cy="10733"/>
            </a:xfrm>
            <a:custGeom>
              <a:avLst/>
              <a:gdLst>
                <a:gd name="T0" fmla="*/ 34 w 43"/>
                <a:gd name="T1" fmla="*/ 11 h 29"/>
                <a:gd name="T2" fmla="*/ 20 w 43"/>
                <a:gd name="T3" fmla="*/ 3 h 29"/>
                <a:gd name="T4" fmla="*/ 6 w 43"/>
                <a:gd name="T5" fmla="*/ 8 h 29"/>
                <a:gd name="T6" fmla="*/ 24 w 43"/>
                <a:gd name="T7" fmla="*/ 20 h 29"/>
                <a:gd name="T8" fmla="*/ 36 w 43"/>
                <a:gd name="T9" fmla="*/ 28 h 29"/>
                <a:gd name="T10" fmla="*/ 34 w 43"/>
                <a:gd name="T11" fmla="*/ 11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3" h="29">
                  <a:moveTo>
                    <a:pt x="34" y="11"/>
                  </a:moveTo>
                  <a:cubicBezTo>
                    <a:pt x="34" y="11"/>
                    <a:pt x="28" y="6"/>
                    <a:pt x="20" y="3"/>
                  </a:cubicBezTo>
                  <a:cubicBezTo>
                    <a:pt x="12" y="0"/>
                    <a:pt x="0" y="4"/>
                    <a:pt x="6" y="8"/>
                  </a:cubicBezTo>
                  <a:cubicBezTo>
                    <a:pt x="13" y="13"/>
                    <a:pt x="22" y="13"/>
                    <a:pt x="24" y="20"/>
                  </a:cubicBezTo>
                  <a:cubicBezTo>
                    <a:pt x="27" y="27"/>
                    <a:pt x="32" y="29"/>
                    <a:pt x="36" y="28"/>
                  </a:cubicBezTo>
                  <a:cubicBezTo>
                    <a:pt x="39" y="27"/>
                    <a:pt x="43" y="17"/>
                    <a:pt x="34" y="11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rnd">
              <a:solidFill>
                <a:schemeClr val="bg1">
                  <a:lumMod val="9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427" name="Freeform 25596"/>
            <p:cNvSpPr>
              <a:spLocks/>
            </p:cNvSpPr>
            <p:nvPr/>
          </p:nvSpPr>
          <p:spPr bwMode="auto">
            <a:xfrm>
              <a:off x="8599134" y="2466218"/>
              <a:ext cx="12627" cy="14205"/>
            </a:xfrm>
            <a:custGeom>
              <a:avLst/>
              <a:gdLst>
                <a:gd name="T0" fmla="*/ 19 w 34"/>
                <a:gd name="T1" fmla="*/ 5 h 38"/>
                <a:gd name="T2" fmla="*/ 1 w 34"/>
                <a:gd name="T3" fmla="*/ 8 h 38"/>
                <a:gd name="T4" fmla="*/ 9 w 34"/>
                <a:gd name="T5" fmla="*/ 23 h 38"/>
                <a:gd name="T6" fmla="*/ 22 w 34"/>
                <a:gd name="T7" fmla="*/ 36 h 38"/>
                <a:gd name="T8" fmla="*/ 27 w 34"/>
                <a:gd name="T9" fmla="*/ 24 h 38"/>
                <a:gd name="T10" fmla="*/ 19 w 34"/>
                <a:gd name="T11" fmla="*/ 5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" h="38">
                  <a:moveTo>
                    <a:pt x="19" y="5"/>
                  </a:moveTo>
                  <a:cubicBezTo>
                    <a:pt x="19" y="5"/>
                    <a:pt x="0" y="0"/>
                    <a:pt x="1" y="8"/>
                  </a:cubicBezTo>
                  <a:cubicBezTo>
                    <a:pt x="2" y="17"/>
                    <a:pt x="8" y="13"/>
                    <a:pt x="9" y="23"/>
                  </a:cubicBezTo>
                  <a:cubicBezTo>
                    <a:pt x="10" y="33"/>
                    <a:pt x="18" y="38"/>
                    <a:pt x="22" y="36"/>
                  </a:cubicBezTo>
                  <a:cubicBezTo>
                    <a:pt x="25" y="35"/>
                    <a:pt x="28" y="31"/>
                    <a:pt x="27" y="24"/>
                  </a:cubicBezTo>
                  <a:cubicBezTo>
                    <a:pt x="25" y="17"/>
                    <a:pt x="34" y="8"/>
                    <a:pt x="19" y="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rnd">
              <a:solidFill>
                <a:schemeClr val="bg1">
                  <a:lumMod val="9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428" name="Freeform 25597"/>
            <p:cNvSpPr>
              <a:spLocks/>
            </p:cNvSpPr>
            <p:nvPr/>
          </p:nvSpPr>
          <p:spPr bwMode="auto">
            <a:xfrm>
              <a:off x="8622968" y="2465903"/>
              <a:ext cx="12311" cy="11996"/>
            </a:xfrm>
            <a:custGeom>
              <a:avLst/>
              <a:gdLst>
                <a:gd name="T0" fmla="*/ 25 w 33"/>
                <a:gd name="T1" fmla="*/ 7 h 32"/>
                <a:gd name="T2" fmla="*/ 8 w 33"/>
                <a:gd name="T3" fmla="*/ 19 h 32"/>
                <a:gd name="T4" fmla="*/ 4 w 33"/>
                <a:gd name="T5" fmla="*/ 27 h 32"/>
                <a:gd name="T6" fmla="*/ 22 w 33"/>
                <a:gd name="T7" fmla="*/ 29 h 32"/>
                <a:gd name="T8" fmla="*/ 32 w 33"/>
                <a:gd name="T9" fmla="*/ 15 h 32"/>
                <a:gd name="T10" fmla="*/ 25 w 33"/>
                <a:gd name="T11" fmla="*/ 7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" h="32">
                  <a:moveTo>
                    <a:pt x="25" y="7"/>
                  </a:moveTo>
                  <a:cubicBezTo>
                    <a:pt x="25" y="7"/>
                    <a:pt x="14" y="17"/>
                    <a:pt x="8" y="19"/>
                  </a:cubicBezTo>
                  <a:cubicBezTo>
                    <a:pt x="3" y="22"/>
                    <a:pt x="0" y="24"/>
                    <a:pt x="4" y="27"/>
                  </a:cubicBezTo>
                  <a:cubicBezTo>
                    <a:pt x="9" y="31"/>
                    <a:pt x="17" y="32"/>
                    <a:pt x="22" y="29"/>
                  </a:cubicBezTo>
                  <a:cubicBezTo>
                    <a:pt x="26" y="25"/>
                    <a:pt x="31" y="20"/>
                    <a:pt x="32" y="15"/>
                  </a:cubicBezTo>
                  <a:cubicBezTo>
                    <a:pt x="33" y="10"/>
                    <a:pt x="30" y="0"/>
                    <a:pt x="25" y="7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rnd">
              <a:solidFill>
                <a:schemeClr val="bg1">
                  <a:lumMod val="9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429" name="Freeform 25598"/>
            <p:cNvSpPr>
              <a:spLocks/>
            </p:cNvSpPr>
            <p:nvPr/>
          </p:nvSpPr>
          <p:spPr bwMode="auto">
            <a:xfrm>
              <a:off x="8678525" y="2452487"/>
              <a:ext cx="11206" cy="12627"/>
            </a:xfrm>
            <a:custGeom>
              <a:avLst/>
              <a:gdLst>
                <a:gd name="T0" fmla="*/ 22 w 30"/>
                <a:gd name="T1" fmla="*/ 12 h 34"/>
                <a:gd name="T2" fmla="*/ 13 w 30"/>
                <a:gd name="T3" fmla="*/ 22 h 34"/>
                <a:gd name="T4" fmla="*/ 5 w 30"/>
                <a:gd name="T5" fmla="*/ 30 h 34"/>
                <a:gd name="T6" fmla="*/ 28 w 30"/>
                <a:gd name="T7" fmla="*/ 27 h 34"/>
                <a:gd name="T8" fmla="*/ 22 w 30"/>
                <a:gd name="T9" fmla="*/ 12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34">
                  <a:moveTo>
                    <a:pt x="22" y="12"/>
                  </a:moveTo>
                  <a:cubicBezTo>
                    <a:pt x="22" y="12"/>
                    <a:pt x="22" y="24"/>
                    <a:pt x="13" y="22"/>
                  </a:cubicBezTo>
                  <a:cubicBezTo>
                    <a:pt x="4" y="21"/>
                    <a:pt x="0" y="27"/>
                    <a:pt x="5" y="30"/>
                  </a:cubicBezTo>
                  <a:cubicBezTo>
                    <a:pt x="9" y="33"/>
                    <a:pt x="26" y="34"/>
                    <a:pt x="28" y="27"/>
                  </a:cubicBezTo>
                  <a:cubicBezTo>
                    <a:pt x="30" y="21"/>
                    <a:pt x="29" y="0"/>
                    <a:pt x="22" y="12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rnd">
              <a:solidFill>
                <a:schemeClr val="bg1">
                  <a:lumMod val="9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430" name="Freeform 25599"/>
            <p:cNvSpPr>
              <a:spLocks/>
            </p:cNvSpPr>
            <p:nvPr/>
          </p:nvSpPr>
          <p:spPr bwMode="auto">
            <a:xfrm>
              <a:off x="8703936" y="2459905"/>
              <a:ext cx="9312" cy="5998"/>
            </a:xfrm>
            <a:custGeom>
              <a:avLst/>
              <a:gdLst>
                <a:gd name="T0" fmla="*/ 10 w 25"/>
                <a:gd name="T1" fmla="*/ 4 h 16"/>
                <a:gd name="T2" fmla="*/ 2 w 25"/>
                <a:gd name="T3" fmla="*/ 9 h 16"/>
                <a:gd name="T4" fmla="*/ 20 w 25"/>
                <a:gd name="T5" fmla="*/ 12 h 16"/>
                <a:gd name="T6" fmla="*/ 10 w 25"/>
                <a:gd name="T7" fmla="*/ 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" h="16">
                  <a:moveTo>
                    <a:pt x="10" y="4"/>
                  </a:moveTo>
                  <a:cubicBezTo>
                    <a:pt x="10" y="4"/>
                    <a:pt x="0" y="2"/>
                    <a:pt x="2" y="9"/>
                  </a:cubicBezTo>
                  <a:cubicBezTo>
                    <a:pt x="4" y="16"/>
                    <a:pt x="14" y="12"/>
                    <a:pt x="20" y="12"/>
                  </a:cubicBezTo>
                  <a:cubicBezTo>
                    <a:pt x="25" y="11"/>
                    <a:pt x="23" y="0"/>
                    <a:pt x="10" y="4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rnd">
              <a:solidFill>
                <a:schemeClr val="bg1">
                  <a:lumMod val="9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431" name="Freeform 25600"/>
            <p:cNvSpPr>
              <a:spLocks/>
            </p:cNvSpPr>
            <p:nvPr/>
          </p:nvSpPr>
          <p:spPr bwMode="auto">
            <a:xfrm>
              <a:off x="8769595" y="2440965"/>
              <a:ext cx="6945" cy="8523"/>
            </a:xfrm>
            <a:custGeom>
              <a:avLst/>
              <a:gdLst>
                <a:gd name="T0" fmla="*/ 10 w 19"/>
                <a:gd name="T1" fmla="*/ 4 h 23"/>
                <a:gd name="T2" fmla="*/ 5 w 19"/>
                <a:gd name="T3" fmla="*/ 16 h 23"/>
                <a:gd name="T4" fmla="*/ 18 w 19"/>
                <a:gd name="T5" fmla="*/ 16 h 23"/>
                <a:gd name="T6" fmla="*/ 10 w 19"/>
                <a:gd name="T7" fmla="*/ 4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" h="23">
                  <a:moveTo>
                    <a:pt x="10" y="4"/>
                  </a:moveTo>
                  <a:cubicBezTo>
                    <a:pt x="10" y="4"/>
                    <a:pt x="0" y="9"/>
                    <a:pt x="5" y="16"/>
                  </a:cubicBezTo>
                  <a:cubicBezTo>
                    <a:pt x="9" y="23"/>
                    <a:pt x="17" y="20"/>
                    <a:pt x="18" y="16"/>
                  </a:cubicBezTo>
                  <a:cubicBezTo>
                    <a:pt x="19" y="13"/>
                    <a:pt x="19" y="0"/>
                    <a:pt x="10" y="4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rnd">
              <a:solidFill>
                <a:schemeClr val="bg1">
                  <a:lumMod val="9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432" name="Freeform 25601"/>
            <p:cNvSpPr>
              <a:spLocks/>
            </p:cNvSpPr>
            <p:nvPr/>
          </p:nvSpPr>
          <p:spPr bwMode="auto">
            <a:xfrm>
              <a:off x="8786641" y="2433073"/>
              <a:ext cx="7103" cy="6787"/>
            </a:xfrm>
            <a:custGeom>
              <a:avLst/>
              <a:gdLst>
                <a:gd name="T0" fmla="*/ 9 w 19"/>
                <a:gd name="T1" fmla="*/ 2 h 18"/>
                <a:gd name="T2" fmla="*/ 7 w 19"/>
                <a:gd name="T3" fmla="*/ 14 h 18"/>
                <a:gd name="T4" fmla="*/ 17 w 19"/>
                <a:gd name="T5" fmla="*/ 10 h 18"/>
                <a:gd name="T6" fmla="*/ 9 w 19"/>
                <a:gd name="T7" fmla="*/ 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" h="18">
                  <a:moveTo>
                    <a:pt x="9" y="2"/>
                  </a:moveTo>
                  <a:cubicBezTo>
                    <a:pt x="9" y="2"/>
                    <a:pt x="0" y="10"/>
                    <a:pt x="7" y="14"/>
                  </a:cubicBezTo>
                  <a:cubicBezTo>
                    <a:pt x="14" y="18"/>
                    <a:pt x="19" y="15"/>
                    <a:pt x="17" y="10"/>
                  </a:cubicBezTo>
                  <a:cubicBezTo>
                    <a:pt x="15" y="4"/>
                    <a:pt x="13" y="0"/>
                    <a:pt x="9" y="2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rnd">
              <a:solidFill>
                <a:schemeClr val="bg1">
                  <a:lumMod val="9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433" name="Freeform 25602"/>
            <p:cNvSpPr>
              <a:spLocks/>
            </p:cNvSpPr>
            <p:nvPr/>
          </p:nvSpPr>
          <p:spPr bwMode="auto">
            <a:xfrm>
              <a:off x="8814578" y="2414133"/>
              <a:ext cx="24622" cy="26043"/>
            </a:xfrm>
            <a:custGeom>
              <a:avLst/>
              <a:gdLst>
                <a:gd name="T0" fmla="*/ 59 w 66"/>
                <a:gd name="T1" fmla="*/ 15 h 70"/>
                <a:gd name="T2" fmla="*/ 54 w 66"/>
                <a:gd name="T3" fmla="*/ 5 h 70"/>
                <a:gd name="T4" fmla="*/ 38 w 66"/>
                <a:gd name="T5" fmla="*/ 18 h 70"/>
                <a:gd name="T6" fmla="*/ 26 w 66"/>
                <a:gd name="T7" fmla="*/ 30 h 70"/>
                <a:gd name="T8" fmla="*/ 14 w 66"/>
                <a:gd name="T9" fmla="*/ 44 h 70"/>
                <a:gd name="T10" fmla="*/ 5 w 66"/>
                <a:gd name="T11" fmla="*/ 64 h 70"/>
                <a:gd name="T12" fmla="*/ 28 w 66"/>
                <a:gd name="T13" fmla="*/ 60 h 70"/>
                <a:gd name="T14" fmla="*/ 51 w 66"/>
                <a:gd name="T15" fmla="*/ 39 h 70"/>
                <a:gd name="T16" fmla="*/ 65 w 66"/>
                <a:gd name="T17" fmla="*/ 28 h 70"/>
                <a:gd name="T18" fmla="*/ 59 w 66"/>
                <a:gd name="T19" fmla="*/ 15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6" h="70">
                  <a:moveTo>
                    <a:pt x="59" y="15"/>
                  </a:moveTo>
                  <a:cubicBezTo>
                    <a:pt x="63" y="9"/>
                    <a:pt x="61" y="0"/>
                    <a:pt x="54" y="5"/>
                  </a:cubicBezTo>
                  <a:cubicBezTo>
                    <a:pt x="54" y="5"/>
                    <a:pt x="40" y="10"/>
                    <a:pt x="38" y="18"/>
                  </a:cubicBezTo>
                  <a:cubicBezTo>
                    <a:pt x="37" y="25"/>
                    <a:pt x="33" y="28"/>
                    <a:pt x="26" y="30"/>
                  </a:cubicBezTo>
                  <a:cubicBezTo>
                    <a:pt x="20" y="32"/>
                    <a:pt x="17" y="38"/>
                    <a:pt x="14" y="44"/>
                  </a:cubicBezTo>
                  <a:cubicBezTo>
                    <a:pt x="11" y="50"/>
                    <a:pt x="0" y="58"/>
                    <a:pt x="5" y="64"/>
                  </a:cubicBezTo>
                  <a:cubicBezTo>
                    <a:pt x="11" y="70"/>
                    <a:pt x="22" y="66"/>
                    <a:pt x="28" y="60"/>
                  </a:cubicBezTo>
                  <a:cubicBezTo>
                    <a:pt x="33" y="53"/>
                    <a:pt x="46" y="42"/>
                    <a:pt x="51" y="39"/>
                  </a:cubicBezTo>
                  <a:cubicBezTo>
                    <a:pt x="56" y="37"/>
                    <a:pt x="66" y="30"/>
                    <a:pt x="65" y="28"/>
                  </a:cubicBezTo>
                  <a:cubicBezTo>
                    <a:pt x="65" y="25"/>
                    <a:pt x="55" y="21"/>
                    <a:pt x="59" y="1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rnd">
              <a:solidFill>
                <a:schemeClr val="bg1">
                  <a:lumMod val="9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434" name="Freeform 25603"/>
            <p:cNvSpPr>
              <a:spLocks/>
            </p:cNvSpPr>
            <p:nvPr/>
          </p:nvSpPr>
          <p:spPr bwMode="auto">
            <a:xfrm>
              <a:off x="8785537" y="2289918"/>
              <a:ext cx="3788" cy="8207"/>
            </a:xfrm>
            <a:custGeom>
              <a:avLst/>
              <a:gdLst>
                <a:gd name="T0" fmla="*/ 9 w 10"/>
                <a:gd name="T1" fmla="*/ 17 h 22"/>
                <a:gd name="T2" fmla="*/ 5 w 10"/>
                <a:gd name="T3" fmla="*/ 7 h 22"/>
                <a:gd name="T4" fmla="*/ 3 w 10"/>
                <a:gd name="T5" fmla="*/ 15 h 22"/>
                <a:gd name="T6" fmla="*/ 3 w 10"/>
                <a:gd name="T7" fmla="*/ 22 h 22"/>
                <a:gd name="T8" fmla="*/ 9 w 10"/>
                <a:gd name="T9" fmla="*/ 17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22">
                  <a:moveTo>
                    <a:pt x="9" y="17"/>
                  </a:moveTo>
                  <a:cubicBezTo>
                    <a:pt x="9" y="12"/>
                    <a:pt x="10" y="0"/>
                    <a:pt x="5" y="7"/>
                  </a:cubicBezTo>
                  <a:cubicBezTo>
                    <a:pt x="5" y="7"/>
                    <a:pt x="6" y="13"/>
                    <a:pt x="3" y="15"/>
                  </a:cubicBezTo>
                  <a:cubicBezTo>
                    <a:pt x="0" y="17"/>
                    <a:pt x="1" y="22"/>
                    <a:pt x="3" y="22"/>
                  </a:cubicBezTo>
                  <a:cubicBezTo>
                    <a:pt x="6" y="22"/>
                    <a:pt x="9" y="22"/>
                    <a:pt x="9" y="17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rnd">
              <a:solidFill>
                <a:schemeClr val="bg1">
                  <a:lumMod val="9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435" name="Freeform 25604"/>
            <p:cNvSpPr>
              <a:spLocks/>
            </p:cNvSpPr>
            <p:nvPr/>
          </p:nvSpPr>
          <p:spPr bwMode="auto">
            <a:xfrm>
              <a:off x="8797848" y="2312646"/>
              <a:ext cx="6787" cy="4419"/>
            </a:xfrm>
            <a:custGeom>
              <a:avLst/>
              <a:gdLst>
                <a:gd name="T0" fmla="*/ 8 w 18"/>
                <a:gd name="T1" fmla="*/ 2 h 12"/>
                <a:gd name="T2" fmla="*/ 1 w 18"/>
                <a:gd name="T3" fmla="*/ 8 h 12"/>
                <a:gd name="T4" fmla="*/ 8 w 18"/>
                <a:gd name="T5" fmla="*/ 11 h 12"/>
                <a:gd name="T6" fmla="*/ 18 w 18"/>
                <a:gd name="T7" fmla="*/ 9 h 12"/>
                <a:gd name="T8" fmla="*/ 8 w 18"/>
                <a:gd name="T9" fmla="*/ 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2">
                  <a:moveTo>
                    <a:pt x="8" y="2"/>
                  </a:moveTo>
                  <a:cubicBezTo>
                    <a:pt x="8" y="2"/>
                    <a:pt x="0" y="3"/>
                    <a:pt x="1" y="8"/>
                  </a:cubicBezTo>
                  <a:cubicBezTo>
                    <a:pt x="2" y="12"/>
                    <a:pt x="5" y="11"/>
                    <a:pt x="8" y="11"/>
                  </a:cubicBezTo>
                  <a:cubicBezTo>
                    <a:pt x="12" y="11"/>
                    <a:pt x="18" y="12"/>
                    <a:pt x="18" y="9"/>
                  </a:cubicBezTo>
                  <a:cubicBezTo>
                    <a:pt x="18" y="5"/>
                    <a:pt x="15" y="0"/>
                    <a:pt x="8" y="2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rnd">
              <a:solidFill>
                <a:schemeClr val="bg1">
                  <a:lumMod val="9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436" name="Freeform 25633"/>
            <p:cNvSpPr>
              <a:spLocks/>
            </p:cNvSpPr>
            <p:nvPr/>
          </p:nvSpPr>
          <p:spPr bwMode="auto">
            <a:xfrm>
              <a:off x="2300453" y="2082839"/>
              <a:ext cx="50665" cy="32198"/>
            </a:xfrm>
            <a:custGeom>
              <a:avLst/>
              <a:gdLst>
                <a:gd name="T0" fmla="*/ 22 w 136"/>
                <a:gd name="T1" fmla="*/ 39 h 86"/>
                <a:gd name="T2" fmla="*/ 5 w 136"/>
                <a:gd name="T3" fmla="*/ 54 h 86"/>
                <a:gd name="T4" fmla="*/ 14 w 136"/>
                <a:gd name="T5" fmla="*/ 72 h 86"/>
                <a:gd name="T6" fmla="*/ 34 w 136"/>
                <a:gd name="T7" fmla="*/ 83 h 86"/>
                <a:gd name="T8" fmla="*/ 73 w 136"/>
                <a:gd name="T9" fmla="*/ 78 h 86"/>
                <a:gd name="T10" fmla="*/ 91 w 136"/>
                <a:gd name="T11" fmla="*/ 59 h 86"/>
                <a:gd name="T12" fmla="*/ 111 w 136"/>
                <a:gd name="T13" fmla="*/ 43 h 86"/>
                <a:gd name="T14" fmla="*/ 132 w 136"/>
                <a:gd name="T15" fmla="*/ 25 h 86"/>
                <a:gd name="T16" fmla="*/ 125 w 136"/>
                <a:gd name="T17" fmla="*/ 3 h 86"/>
                <a:gd name="T18" fmla="*/ 99 w 136"/>
                <a:gd name="T19" fmla="*/ 2 h 86"/>
                <a:gd name="T20" fmla="*/ 78 w 136"/>
                <a:gd name="T21" fmla="*/ 5 h 86"/>
                <a:gd name="T22" fmla="*/ 63 w 136"/>
                <a:gd name="T23" fmla="*/ 12 h 86"/>
                <a:gd name="T24" fmla="*/ 28 w 136"/>
                <a:gd name="T25" fmla="*/ 20 h 86"/>
                <a:gd name="T26" fmla="*/ 22 w 136"/>
                <a:gd name="T27" fmla="*/ 39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6" h="86">
                  <a:moveTo>
                    <a:pt x="22" y="39"/>
                  </a:moveTo>
                  <a:cubicBezTo>
                    <a:pt x="12" y="42"/>
                    <a:pt x="0" y="44"/>
                    <a:pt x="5" y="54"/>
                  </a:cubicBezTo>
                  <a:cubicBezTo>
                    <a:pt x="10" y="64"/>
                    <a:pt x="14" y="65"/>
                    <a:pt x="14" y="72"/>
                  </a:cubicBezTo>
                  <a:cubicBezTo>
                    <a:pt x="15" y="79"/>
                    <a:pt x="26" y="83"/>
                    <a:pt x="34" y="83"/>
                  </a:cubicBezTo>
                  <a:cubicBezTo>
                    <a:pt x="42" y="83"/>
                    <a:pt x="70" y="86"/>
                    <a:pt x="73" y="78"/>
                  </a:cubicBezTo>
                  <a:cubicBezTo>
                    <a:pt x="75" y="70"/>
                    <a:pt x="79" y="67"/>
                    <a:pt x="91" y="59"/>
                  </a:cubicBezTo>
                  <a:cubicBezTo>
                    <a:pt x="102" y="52"/>
                    <a:pt x="98" y="45"/>
                    <a:pt x="111" y="43"/>
                  </a:cubicBezTo>
                  <a:cubicBezTo>
                    <a:pt x="123" y="41"/>
                    <a:pt x="131" y="35"/>
                    <a:pt x="132" y="25"/>
                  </a:cubicBezTo>
                  <a:cubicBezTo>
                    <a:pt x="133" y="15"/>
                    <a:pt x="136" y="5"/>
                    <a:pt x="125" y="3"/>
                  </a:cubicBezTo>
                  <a:cubicBezTo>
                    <a:pt x="114" y="1"/>
                    <a:pt x="111" y="1"/>
                    <a:pt x="99" y="2"/>
                  </a:cubicBezTo>
                  <a:cubicBezTo>
                    <a:pt x="99" y="2"/>
                    <a:pt x="80" y="0"/>
                    <a:pt x="78" y="5"/>
                  </a:cubicBezTo>
                  <a:cubicBezTo>
                    <a:pt x="76" y="11"/>
                    <a:pt x="84" y="14"/>
                    <a:pt x="63" y="12"/>
                  </a:cubicBezTo>
                  <a:cubicBezTo>
                    <a:pt x="43" y="10"/>
                    <a:pt x="29" y="12"/>
                    <a:pt x="28" y="20"/>
                  </a:cubicBezTo>
                  <a:cubicBezTo>
                    <a:pt x="26" y="29"/>
                    <a:pt x="33" y="37"/>
                    <a:pt x="22" y="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437" name="Freeform 25645"/>
            <p:cNvSpPr>
              <a:spLocks/>
            </p:cNvSpPr>
            <p:nvPr/>
          </p:nvSpPr>
          <p:spPr bwMode="auto">
            <a:xfrm>
              <a:off x="1131061" y="2392036"/>
              <a:ext cx="53348" cy="69763"/>
            </a:xfrm>
            <a:custGeom>
              <a:avLst/>
              <a:gdLst>
                <a:gd name="T0" fmla="*/ 114 w 143"/>
                <a:gd name="T1" fmla="*/ 138 h 187"/>
                <a:gd name="T2" fmla="*/ 111 w 143"/>
                <a:gd name="T3" fmla="*/ 121 h 187"/>
                <a:gd name="T4" fmla="*/ 105 w 143"/>
                <a:gd name="T5" fmla="*/ 108 h 187"/>
                <a:gd name="T6" fmla="*/ 100 w 143"/>
                <a:gd name="T7" fmla="*/ 91 h 187"/>
                <a:gd name="T8" fmla="*/ 92 w 143"/>
                <a:gd name="T9" fmla="*/ 76 h 187"/>
                <a:gd name="T10" fmla="*/ 90 w 143"/>
                <a:gd name="T11" fmla="*/ 43 h 187"/>
                <a:gd name="T12" fmla="*/ 100 w 143"/>
                <a:gd name="T13" fmla="*/ 23 h 187"/>
                <a:gd name="T14" fmla="*/ 105 w 143"/>
                <a:gd name="T15" fmla="*/ 13 h 187"/>
                <a:gd name="T16" fmla="*/ 86 w 143"/>
                <a:gd name="T17" fmla="*/ 5 h 187"/>
                <a:gd name="T18" fmla="*/ 69 w 143"/>
                <a:gd name="T19" fmla="*/ 12 h 187"/>
                <a:gd name="T20" fmla="*/ 61 w 143"/>
                <a:gd name="T21" fmla="*/ 4 h 187"/>
                <a:gd name="T22" fmla="*/ 28 w 143"/>
                <a:gd name="T23" fmla="*/ 3 h 187"/>
                <a:gd name="T24" fmla="*/ 13 w 143"/>
                <a:gd name="T25" fmla="*/ 6 h 187"/>
                <a:gd name="T26" fmla="*/ 1 w 143"/>
                <a:gd name="T27" fmla="*/ 25 h 187"/>
                <a:gd name="T28" fmla="*/ 20 w 143"/>
                <a:gd name="T29" fmla="*/ 54 h 187"/>
                <a:gd name="T30" fmla="*/ 35 w 143"/>
                <a:gd name="T31" fmla="*/ 75 h 187"/>
                <a:gd name="T32" fmla="*/ 54 w 143"/>
                <a:gd name="T33" fmla="*/ 108 h 187"/>
                <a:gd name="T34" fmla="*/ 82 w 143"/>
                <a:gd name="T35" fmla="*/ 137 h 187"/>
                <a:gd name="T36" fmla="*/ 103 w 143"/>
                <a:gd name="T37" fmla="*/ 159 h 187"/>
                <a:gd name="T38" fmla="*/ 124 w 143"/>
                <a:gd name="T39" fmla="*/ 178 h 187"/>
                <a:gd name="T40" fmla="*/ 130 w 143"/>
                <a:gd name="T41" fmla="*/ 165 h 187"/>
                <a:gd name="T42" fmla="*/ 114 w 143"/>
                <a:gd name="T43" fmla="*/ 138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43" h="187">
                  <a:moveTo>
                    <a:pt x="114" y="138"/>
                  </a:moveTo>
                  <a:cubicBezTo>
                    <a:pt x="114" y="127"/>
                    <a:pt x="114" y="126"/>
                    <a:pt x="111" y="121"/>
                  </a:cubicBezTo>
                  <a:cubicBezTo>
                    <a:pt x="107" y="117"/>
                    <a:pt x="104" y="118"/>
                    <a:pt x="105" y="108"/>
                  </a:cubicBezTo>
                  <a:cubicBezTo>
                    <a:pt x="105" y="98"/>
                    <a:pt x="106" y="97"/>
                    <a:pt x="100" y="91"/>
                  </a:cubicBezTo>
                  <a:cubicBezTo>
                    <a:pt x="95" y="85"/>
                    <a:pt x="95" y="80"/>
                    <a:pt x="92" y="76"/>
                  </a:cubicBezTo>
                  <a:cubicBezTo>
                    <a:pt x="89" y="73"/>
                    <a:pt x="85" y="49"/>
                    <a:pt x="90" y="43"/>
                  </a:cubicBezTo>
                  <a:cubicBezTo>
                    <a:pt x="95" y="36"/>
                    <a:pt x="95" y="28"/>
                    <a:pt x="100" y="23"/>
                  </a:cubicBezTo>
                  <a:cubicBezTo>
                    <a:pt x="106" y="19"/>
                    <a:pt x="105" y="19"/>
                    <a:pt x="105" y="13"/>
                  </a:cubicBezTo>
                  <a:cubicBezTo>
                    <a:pt x="106" y="7"/>
                    <a:pt x="98" y="0"/>
                    <a:pt x="86" y="5"/>
                  </a:cubicBezTo>
                  <a:cubicBezTo>
                    <a:pt x="73" y="11"/>
                    <a:pt x="77" y="15"/>
                    <a:pt x="69" y="12"/>
                  </a:cubicBezTo>
                  <a:cubicBezTo>
                    <a:pt x="62" y="10"/>
                    <a:pt x="65" y="4"/>
                    <a:pt x="61" y="4"/>
                  </a:cubicBezTo>
                  <a:cubicBezTo>
                    <a:pt x="56" y="4"/>
                    <a:pt x="40" y="3"/>
                    <a:pt x="28" y="3"/>
                  </a:cubicBezTo>
                  <a:cubicBezTo>
                    <a:pt x="28" y="3"/>
                    <a:pt x="15" y="0"/>
                    <a:pt x="13" y="6"/>
                  </a:cubicBezTo>
                  <a:cubicBezTo>
                    <a:pt x="11" y="11"/>
                    <a:pt x="0" y="15"/>
                    <a:pt x="1" y="25"/>
                  </a:cubicBezTo>
                  <a:cubicBezTo>
                    <a:pt x="2" y="35"/>
                    <a:pt x="13" y="43"/>
                    <a:pt x="20" y="54"/>
                  </a:cubicBezTo>
                  <a:cubicBezTo>
                    <a:pt x="26" y="65"/>
                    <a:pt x="29" y="63"/>
                    <a:pt x="35" y="75"/>
                  </a:cubicBezTo>
                  <a:cubicBezTo>
                    <a:pt x="41" y="88"/>
                    <a:pt x="47" y="98"/>
                    <a:pt x="54" y="108"/>
                  </a:cubicBezTo>
                  <a:cubicBezTo>
                    <a:pt x="62" y="118"/>
                    <a:pt x="73" y="129"/>
                    <a:pt x="82" y="137"/>
                  </a:cubicBezTo>
                  <a:cubicBezTo>
                    <a:pt x="91" y="144"/>
                    <a:pt x="95" y="153"/>
                    <a:pt x="103" y="159"/>
                  </a:cubicBezTo>
                  <a:cubicBezTo>
                    <a:pt x="110" y="165"/>
                    <a:pt x="119" y="173"/>
                    <a:pt x="124" y="178"/>
                  </a:cubicBezTo>
                  <a:cubicBezTo>
                    <a:pt x="128" y="182"/>
                    <a:pt x="143" y="187"/>
                    <a:pt x="130" y="165"/>
                  </a:cubicBezTo>
                  <a:cubicBezTo>
                    <a:pt x="117" y="143"/>
                    <a:pt x="114" y="149"/>
                    <a:pt x="114" y="138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438" name="Freeform 25649"/>
            <p:cNvSpPr>
              <a:spLocks/>
            </p:cNvSpPr>
            <p:nvPr/>
          </p:nvSpPr>
          <p:spPr bwMode="auto">
            <a:xfrm>
              <a:off x="2670416" y="2168228"/>
              <a:ext cx="16731" cy="15783"/>
            </a:xfrm>
            <a:custGeom>
              <a:avLst/>
              <a:gdLst>
                <a:gd name="T0" fmla="*/ 22 w 45"/>
                <a:gd name="T1" fmla="*/ 12 h 42"/>
                <a:gd name="T2" fmla="*/ 5 w 45"/>
                <a:gd name="T3" fmla="*/ 23 h 42"/>
                <a:gd name="T4" fmla="*/ 16 w 45"/>
                <a:gd name="T5" fmla="*/ 42 h 42"/>
                <a:gd name="T6" fmla="*/ 36 w 45"/>
                <a:gd name="T7" fmla="*/ 28 h 42"/>
                <a:gd name="T8" fmla="*/ 22 w 45"/>
                <a:gd name="T9" fmla="*/ 1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42">
                  <a:moveTo>
                    <a:pt x="22" y="12"/>
                  </a:moveTo>
                  <a:cubicBezTo>
                    <a:pt x="22" y="12"/>
                    <a:pt x="9" y="12"/>
                    <a:pt x="5" y="23"/>
                  </a:cubicBezTo>
                  <a:cubicBezTo>
                    <a:pt x="0" y="35"/>
                    <a:pt x="7" y="42"/>
                    <a:pt x="16" y="42"/>
                  </a:cubicBezTo>
                  <a:cubicBezTo>
                    <a:pt x="26" y="42"/>
                    <a:pt x="28" y="34"/>
                    <a:pt x="36" y="28"/>
                  </a:cubicBezTo>
                  <a:cubicBezTo>
                    <a:pt x="45" y="22"/>
                    <a:pt x="40" y="0"/>
                    <a:pt x="22" y="12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439" name="Freeform 25650"/>
            <p:cNvSpPr>
              <a:spLocks/>
            </p:cNvSpPr>
            <p:nvPr/>
          </p:nvSpPr>
          <p:spPr bwMode="auto">
            <a:xfrm>
              <a:off x="2738285" y="2119141"/>
              <a:ext cx="24149" cy="27148"/>
            </a:xfrm>
            <a:custGeom>
              <a:avLst/>
              <a:gdLst>
                <a:gd name="T0" fmla="*/ 23 w 65"/>
                <a:gd name="T1" fmla="*/ 6 h 73"/>
                <a:gd name="T2" fmla="*/ 17 w 65"/>
                <a:gd name="T3" fmla="*/ 16 h 73"/>
                <a:gd name="T4" fmla="*/ 31 w 65"/>
                <a:gd name="T5" fmla="*/ 20 h 73"/>
                <a:gd name="T6" fmla="*/ 16 w 65"/>
                <a:gd name="T7" fmla="*/ 29 h 73"/>
                <a:gd name="T8" fmla="*/ 6 w 65"/>
                <a:gd name="T9" fmla="*/ 41 h 73"/>
                <a:gd name="T10" fmla="*/ 24 w 65"/>
                <a:gd name="T11" fmla="*/ 57 h 73"/>
                <a:gd name="T12" fmla="*/ 52 w 65"/>
                <a:gd name="T13" fmla="*/ 62 h 73"/>
                <a:gd name="T14" fmla="*/ 61 w 65"/>
                <a:gd name="T15" fmla="*/ 44 h 73"/>
                <a:gd name="T16" fmla="*/ 48 w 65"/>
                <a:gd name="T17" fmla="*/ 24 h 73"/>
                <a:gd name="T18" fmla="*/ 23 w 65"/>
                <a:gd name="T19" fmla="*/ 6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5" h="73">
                  <a:moveTo>
                    <a:pt x="23" y="6"/>
                  </a:moveTo>
                  <a:cubicBezTo>
                    <a:pt x="23" y="6"/>
                    <a:pt x="9" y="11"/>
                    <a:pt x="17" y="16"/>
                  </a:cubicBezTo>
                  <a:cubicBezTo>
                    <a:pt x="25" y="20"/>
                    <a:pt x="33" y="11"/>
                    <a:pt x="31" y="20"/>
                  </a:cubicBezTo>
                  <a:cubicBezTo>
                    <a:pt x="29" y="29"/>
                    <a:pt x="23" y="29"/>
                    <a:pt x="16" y="29"/>
                  </a:cubicBezTo>
                  <a:cubicBezTo>
                    <a:pt x="9" y="29"/>
                    <a:pt x="0" y="36"/>
                    <a:pt x="6" y="41"/>
                  </a:cubicBezTo>
                  <a:cubicBezTo>
                    <a:pt x="12" y="45"/>
                    <a:pt x="19" y="48"/>
                    <a:pt x="24" y="57"/>
                  </a:cubicBezTo>
                  <a:cubicBezTo>
                    <a:pt x="29" y="65"/>
                    <a:pt x="47" y="73"/>
                    <a:pt x="52" y="62"/>
                  </a:cubicBezTo>
                  <a:cubicBezTo>
                    <a:pt x="58" y="51"/>
                    <a:pt x="65" y="53"/>
                    <a:pt x="61" y="44"/>
                  </a:cubicBezTo>
                  <a:cubicBezTo>
                    <a:pt x="56" y="35"/>
                    <a:pt x="51" y="35"/>
                    <a:pt x="48" y="24"/>
                  </a:cubicBezTo>
                  <a:cubicBezTo>
                    <a:pt x="45" y="12"/>
                    <a:pt x="36" y="0"/>
                    <a:pt x="23" y="6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440" name="Freeform 25651"/>
            <p:cNvSpPr>
              <a:spLocks/>
            </p:cNvSpPr>
            <p:nvPr/>
          </p:nvSpPr>
          <p:spPr bwMode="auto">
            <a:xfrm>
              <a:off x="2384421" y="2100044"/>
              <a:ext cx="29830" cy="35828"/>
            </a:xfrm>
            <a:custGeom>
              <a:avLst/>
              <a:gdLst>
                <a:gd name="T0" fmla="*/ 33 w 80"/>
                <a:gd name="T1" fmla="*/ 15 h 96"/>
                <a:gd name="T2" fmla="*/ 21 w 80"/>
                <a:gd name="T3" fmla="*/ 33 h 96"/>
                <a:gd name="T4" fmla="*/ 9 w 80"/>
                <a:gd name="T5" fmla="*/ 47 h 96"/>
                <a:gd name="T6" fmla="*/ 11 w 80"/>
                <a:gd name="T7" fmla="*/ 67 h 96"/>
                <a:gd name="T8" fmla="*/ 26 w 80"/>
                <a:gd name="T9" fmla="*/ 83 h 96"/>
                <a:gd name="T10" fmla="*/ 52 w 80"/>
                <a:gd name="T11" fmla="*/ 87 h 96"/>
                <a:gd name="T12" fmla="*/ 66 w 80"/>
                <a:gd name="T13" fmla="*/ 68 h 96"/>
                <a:gd name="T14" fmla="*/ 73 w 80"/>
                <a:gd name="T15" fmla="*/ 48 h 96"/>
                <a:gd name="T16" fmla="*/ 79 w 80"/>
                <a:gd name="T17" fmla="*/ 31 h 96"/>
                <a:gd name="T18" fmla="*/ 67 w 80"/>
                <a:gd name="T19" fmla="*/ 15 h 96"/>
                <a:gd name="T20" fmla="*/ 33 w 80"/>
                <a:gd name="T21" fmla="*/ 1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0" h="96">
                  <a:moveTo>
                    <a:pt x="33" y="15"/>
                  </a:moveTo>
                  <a:cubicBezTo>
                    <a:pt x="33" y="15"/>
                    <a:pt x="31" y="28"/>
                    <a:pt x="21" y="33"/>
                  </a:cubicBezTo>
                  <a:cubicBezTo>
                    <a:pt x="11" y="37"/>
                    <a:pt x="18" y="45"/>
                    <a:pt x="9" y="47"/>
                  </a:cubicBezTo>
                  <a:cubicBezTo>
                    <a:pt x="0" y="49"/>
                    <a:pt x="3" y="60"/>
                    <a:pt x="11" y="67"/>
                  </a:cubicBezTo>
                  <a:cubicBezTo>
                    <a:pt x="19" y="73"/>
                    <a:pt x="23" y="76"/>
                    <a:pt x="26" y="83"/>
                  </a:cubicBezTo>
                  <a:cubicBezTo>
                    <a:pt x="30" y="90"/>
                    <a:pt x="53" y="96"/>
                    <a:pt x="52" y="87"/>
                  </a:cubicBezTo>
                  <a:cubicBezTo>
                    <a:pt x="51" y="78"/>
                    <a:pt x="59" y="79"/>
                    <a:pt x="66" y="68"/>
                  </a:cubicBezTo>
                  <a:cubicBezTo>
                    <a:pt x="72" y="56"/>
                    <a:pt x="67" y="52"/>
                    <a:pt x="73" y="48"/>
                  </a:cubicBezTo>
                  <a:cubicBezTo>
                    <a:pt x="78" y="43"/>
                    <a:pt x="80" y="40"/>
                    <a:pt x="79" y="31"/>
                  </a:cubicBezTo>
                  <a:cubicBezTo>
                    <a:pt x="78" y="23"/>
                    <a:pt x="75" y="19"/>
                    <a:pt x="67" y="15"/>
                  </a:cubicBezTo>
                  <a:cubicBezTo>
                    <a:pt x="60" y="11"/>
                    <a:pt x="34" y="0"/>
                    <a:pt x="33" y="1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441" name="Freeform 25655"/>
            <p:cNvSpPr>
              <a:spLocks/>
            </p:cNvSpPr>
            <p:nvPr/>
          </p:nvSpPr>
          <p:spPr bwMode="auto">
            <a:xfrm>
              <a:off x="2523788" y="2091520"/>
              <a:ext cx="13416" cy="9312"/>
            </a:xfrm>
            <a:custGeom>
              <a:avLst/>
              <a:gdLst>
                <a:gd name="T0" fmla="*/ 8 w 36"/>
                <a:gd name="T1" fmla="*/ 3 h 25"/>
                <a:gd name="T2" fmla="*/ 3 w 36"/>
                <a:gd name="T3" fmla="*/ 11 h 25"/>
                <a:gd name="T4" fmla="*/ 19 w 36"/>
                <a:gd name="T5" fmla="*/ 18 h 25"/>
                <a:gd name="T6" fmla="*/ 36 w 36"/>
                <a:gd name="T7" fmla="*/ 15 h 25"/>
                <a:gd name="T8" fmla="*/ 23 w 36"/>
                <a:gd name="T9" fmla="*/ 0 h 25"/>
                <a:gd name="T10" fmla="*/ 8 w 36"/>
                <a:gd name="T11" fmla="*/ 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6" h="25">
                  <a:moveTo>
                    <a:pt x="8" y="3"/>
                  </a:moveTo>
                  <a:cubicBezTo>
                    <a:pt x="8" y="3"/>
                    <a:pt x="0" y="5"/>
                    <a:pt x="3" y="11"/>
                  </a:cubicBezTo>
                  <a:cubicBezTo>
                    <a:pt x="5" y="18"/>
                    <a:pt x="10" y="18"/>
                    <a:pt x="19" y="18"/>
                  </a:cubicBezTo>
                  <a:cubicBezTo>
                    <a:pt x="28" y="18"/>
                    <a:pt x="36" y="25"/>
                    <a:pt x="36" y="15"/>
                  </a:cubicBezTo>
                  <a:cubicBezTo>
                    <a:pt x="36" y="4"/>
                    <a:pt x="28" y="0"/>
                    <a:pt x="23" y="0"/>
                  </a:cubicBezTo>
                  <a:cubicBezTo>
                    <a:pt x="17" y="0"/>
                    <a:pt x="13" y="0"/>
                    <a:pt x="8" y="3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442" name="Freeform 25664"/>
            <p:cNvSpPr>
              <a:spLocks/>
            </p:cNvSpPr>
            <p:nvPr/>
          </p:nvSpPr>
          <p:spPr bwMode="auto">
            <a:xfrm>
              <a:off x="2730393" y="2122456"/>
              <a:ext cx="8207" cy="7418"/>
            </a:xfrm>
            <a:custGeom>
              <a:avLst/>
              <a:gdLst>
                <a:gd name="T0" fmla="*/ 11 w 22"/>
                <a:gd name="T1" fmla="*/ 3 h 20"/>
                <a:gd name="T2" fmla="*/ 1 w 22"/>
                <a:gd name="T3" fmla="*/ 9 h 20"/>
                <a:gd name="T4" fmla="*/ 10 w 22"/>
                <a:gd name="T5" fmla="*/ 14 h 20"/>
                <a:gd name="T6" fmla="*/ 11 w 22"/>
                <a:gd name="T7" fmla="*/ 3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20">
                  <a:moveTo>
                    <a:pt x="11" y="3"/>
                  </a:moveTo>
                  <a:cubicBezTo>
                    <a:pt x="11" y="3"/>
                    <a:pt x="0" y="0"/>
                    <a:pt x="1" y="9"/>
                  </a:cubicBezTo>
                  <a:cubicBezTo>
                    <a:pt x="1" y="18"/>
                    <a:pt x="8" y="20"/>
                    <a:pt x="10" y="14"/>
                  </a:cubicBezTo>
                  <a:cubicBezTo>
                    <a:pt x="11" y="8"/>
                    <a:pt x="22" y="0"/>
                    <a:pt x="11" y="3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443" name="Freeform 25255"/>
            <p:cNvSpPr>
              <a:spLocks/>
            </p:cNvSpPr>
            <p:nvPr/>
          </p:nvSpPr>
          <p:spPr bwMode="auto">
            <a:xfrm>
              <a:off x="2598444" y="1456712"/>
              <a:ext cx="32040" cy="8997"/>
            </a:xfrm>
            <a:custGeom>
              <a:avLst/>
              <a:gdLst>
                <a:gd name="T0" fmla="*/ 40 w 86"/>
                <a:gd name="T1" fmla="*/ 4 h 24"/>
                <a:gd name="T2" fmla="*/ 12 w 86"/>
                <a:gd name="T3" fmla="*/ 2 h 24"/>
                <a:gd name="T4" fmla="*/ 6 w 86"/>
                <a:gd name="T5" fmla="*/ 10 h 24"/>
                <a:gd name="T6" fmla="*/ 16 w 86"/>
                <a:gd name="T7" fmla="*/ 16 h 24"/>
                <a:gd name="T8" fmla="*/ 35 w 86"/>
                <a:gd name="T9" fmla="*/ 20 h 24"/>
                <a:gd name="T10" fmla="*/ 69 w 86"/>
                <a:gd name="T11" fmla="*/ 19 h 24"/>
                <a:gd name="T12" fmla="*/ 78 w 86"/>
                <a:gd name="T13" fmla="*/ 9 h 24"/>
                <a:gd name="T14" fmla="*/ 40 w 86"/>
                <a:gd name="T15" fmla="*/ 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6" h="24">
                  <a:moveTo>
                    <a:pt x="40" y="4"/>
                  </a:moveTo>
                  <a:cubicBezTo>
                    <a:pt x="40" y="4"/>
                    <a:pt x="20" y="0"/>
                    <a:pt x="12" y="2"/>
                  </a:cubicBezTo>
                  <a:cubicBezTo>
                    <a:pt x="3" y="3"/>
                    <a:pt x="0" y="10"/>
                    <a:pt x="6" y="10"/>
                  </a:cubicBezTo>
                  <a:cubicBezTo>
                    <a:pt x="12" y="10"/>
                    <a:pt x="16" y="12"/>
                    <a:pt x="16" y="16"/>
                  </a:cubicBezTo>
                  <a:cubicBezTo>
                    <a:pt x="17" y="19"/>
                    <a:pt x="24" y="20"/>
                    <a:pt x="35" y="20"/>
                  </a:cubicBezTo>
                  <a:cubicBezTo>
                    <a:pt x="46" y="20"/>
                    <a:pt x="65" y="24"/>
                    <a:pt x="69" y="19"/>
                  </a:cubicBezTo>
                  <a:cubicBezTo>
                    <a:pt x="73" y="13"/>
                    <a:pt x="86" y="16"/>
                    <a:pt x="78" y="9"/>
                  </a:cubicBezTo>
                  <a:cubicBezTo>
                    <a:pt x="70" y="2"/>
                    <a:pt x="54" y="5"/>
                    <a:pt x="40" y="4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444" name="Freeform 25256"/>
            <p:cNvSpPr>
              <a:spLocks/>
            </p:cNvSpPr>
            <p:nvPr/>
          </p:nvSpPr>
          <p:spPr bwMode="auto">
            <a:xfrm>
              <a:off x="2569718" y="1456712"/>
              <a:ext cx="29357" cy="11996"/>
            </a:xfrm>
            <a:custGeom>
              <a:avLst/>
              <a:gdLst>
                <a:gd name="T0" fmla="*/ 41 w 79"/>
                <a:gd name="T1" fmla="*/ 3 h 32"/>
                <a:gd name="T2" fmla="*/ 19 w 79"/>
                <a:gd name="T3" fmla="*/ 5 h 32"/>
                <a:gd name="T4" fmla="*/ 8 w 79"/>
                <a:gd name="T5" fmla="*/ 11 h 32"/>
                <a:gd name="T6" fmla="*/ 8 w 79"/>
                <a:gd name="T7" fmla="*/ 19 h 32"/>
                <a:gd name="T8" fmla="*/ 19 w 79"/>
                <a:gd name="T9" fmla="*/ 25 h 32"/>
                <a:gd name="T10" fmla="*/ 42 w 79"/>
                <a:gd name="T11" fmla="*/ 27 h 32"/>
                <a:gd name="T12" fmla="*/ 70 w 79"/>
                <a:gd name="T13" fmla="*/ 26 h 32"/>
                <a:gd name="T14" fmla="*/ 79 w 79"/>
                <a:gd name="T15" fmla="*/ 18 h 32"/>
                <a:gd name="T16" fmla="*/ 70 w 79"/>
                <a:gd name="T17" fmla="*/ 9 h 32"/>
                <a:gd name="T18" fmla="*/ 57 w 79"/>
                <a:gd name="T19" fmla="*/ 6 h 32"/>
                <a:gd name="T20" fmla="*/ 41 w 79"/>
                <a:gd name="T21" fmla="*/ 3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9" h="32">
                  <a:moveTo>
                    <a:pt x="41" y="3"/>
                  </a:moveTo>
                  <a:cubicBezTo>
                    <a:pt x="41" y="3"/>
                    <a:pt x="22" y="0"/>
                    <a:pt x="19" y="5"/>
                  </a:cubicBezTo>
                  <a:cubicBezTo>
                    <a:pt x="16" y="9"/>
                    <a:pt x="16" y="11"/>
                    <a:pt x="8" y="11"/>
                  </a:cubicBezTo>
                  <a:cubicBezTo>
                    <a:pt x="1" y="11"/>
                    <a:pt x="0" y="19"/>
                    <a:pt x="8" y="19"/>
                  </a:cubicBezTo>
                  <a:cubicBezTo>
                    <a:pt x="16" y="20"/>
                    <a:pt x="17" y="20"/>
                    <a:pt x="19" y="25"/>
                  </a:cubicBezTo>
                  <a:cubicBezTo>
                    <a:pt x="22" y="29"/>
                    <a:pt x="31" y="27"/>
                    <a:pt x="42" y="27"/>
                  </a:cubicBezTo>
                  <a:cubicBezTo>
                    <a:pt x="53" y="27"/>
                    <a:pt x="68" y="32"/>
                    <a:pt x="70" y="26"/>
                  </a:cubicBezTo>
                  <a:cubicBezTo>
                    <a:pt x="72" y="20"/>
                    <a:pt x="79" y="25"/>
                    <a:pt x="79" y="18"/>
                  </a:cubicBezTo>
                  <a:cubicBezTo>
                    <a:pt x="79" y="11"/>
                    <a:pt x="74" y="9"/>
                    <a:pt x="70" y="9"/>
                  </a:cubicBezTo>
                  <a:cubicBezTo>
                    <a:pt x="65" y="10"/>
                    <a:pt x="64" y="9"/>
                    <a:pt x="57" y="6"/>
                  </a:cubicBezTo>
                  <a:cubicBezTo>
                    <a:pt x="51" y="3"/>
                    <a:pt x="49" y="3"/>
                    <a:pt x="41" y="3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445" name="Freeform 25608"/>
            <p:cNvSpPr>
              <a:spLocks/>
            </p:cNvSpPr>
            <p:nvPr/>
          </p:nvSpPr>
          <p:spPr bwMode="auto">
            <a:xfrm>
              <a:off x="1373494" y="1451188"/>
              <a:ext cx="179773" cy="89019"/>
            </a:xfrm>
            <a:custGeom>
              <a:avLst/>
              <a:gdLst>
                <a:gd name="T0" fmla="*/ 14 w 482"/>
                <a:gd name="T1" fmla="*/ 200 h 239"/>
                <a:gd name="T2" fmla="*/ 21 w 482"/>
                <a:gd name="T3" fmla="*/ 210 h 239"/>
                <a:gd name="T4" fmla="*/ 27 w 482"/>
                <a:gd name="T5" fmla="*/ 229 h 239"/>
                <a:gd name="T6" fmla="*/ 44 w 482"/>
                <a:gd name="T7" fmla="*/ 223 h 239"/>
                <a:gd name="T8" fmla="*/ 57 w 482"/>
                <a:gd name="T9" fmla="*/ 212 h 239"/>
                <a:gd name="T10" fmla="*/ 84 w 482"/>
                <a:gd name="T11" fmla="*/ 219 h 239"/>
                <a:gd name="T12" fmla="*/ 99 w 482"/>
                <a:gd name="T13" fmla="*/ 224 h 239"/>
                <a:gd name="T14" fmla="*/ 121 w 482"/>
                <a:gd name="T15" fmla="*/ 212 h 239"/>
                <a:gd name="T16" fmla="*/ 128 w 482"/>
                <a:gd name="T17" fmla="*/ 196 h 239"/>
                <a:gd name="T18" fmla="*/ 142 w 482"/>
                <a:gd name="T19" fmla="*/ 204 h 239"/>
                <a:gd name="T20" fmla="*/ 150 w 482"/>
                <a:gd name="T21" fmla="*/ 218 h 239"/>
                <a:gd name="T22" fmla="*/ 159 w 482"/>
                <a:gd name="T23" fmla="*/ 230 h 239"/>
                <a:gd name="T24" fmla="*/ 173 w 482"/>
                <a:gd name="T25" fmla="*/ 239 h 239"/>
                <a:gd name="T26" fmla="*/ 204 w 482"/>
                <a:gd name="T27" fmla="*/ 233 h 239"/>
                <a:gd name="T28" fmla="*/ 213 w 482"/>
                <a:gd name="T29" fmla="*/ 210 h 239"/>
                <a:gd name="T30" fmla="*/ 216 w 482"/>
                <a:gd name="T31" fmla="*/ 188 h 239"/>
                <a:gd name="T32" fmla="*/ 227 w 482"/>
                <a:gd name="T33" fmla="*/ 198 h 239"/>
                <a:gd name="T34" fmla="*/ 252 w 482"/>
                <a:gd name="T35" fmla="*/ 203 h 239"/>
                <a:gd name="T36" fmla="*/ 266 w 482"/>
                <a:gd name="T37" fmla="*/ 181 h 239"/>
                <a:gd name="T38" fmla="*/ 278 w 482"/>
                <a:gd name="T39" fmla="*/ 169 h 239"/>
                <a:gd name="T40" fmla="*/ 273 w 482"/>
                <a:gd name="T41" fmla="*/ 150 h 239"/>
                <a:gd name="T42" fmla="*/ 290 w 482"/>
                <a:gd name="T43" fmla="*/ 141 h 239"/>
                <a:gd name="T44" fmla="*/ 297 w 482"/>
                <a:gd name="T45" fmla="*/ 125 h 239"/>
                <a:gd name="T46" fmla="*/ 307 w 482"/>
                <a:gd name="T47" fmla="*/ 113 h 239"/>
                <a:gd name="T48" fmla="*/ 322 w 482"/>
                <a:gd name="T49" fmla="*/ 125 h 239"/>
                <a:gd name="T50" fmla="*/ 317 w 482"/>
                <a:gd name="T51" fmla="*/ 142 h 239"/>
                <a:gd name="T52" fmla="*/ 312 w 482"/>
                <a:gd name="T53" fmla="*/ 157 h 239"/>
                <a:gd name="T54" fmla="*/ 325 w 482"/>
                <a:gd name="T55" fmla="*/ 174 h 239"/>
                <a:gd name="T56" fmla="*/ 354 w 482"/>
                <a:gd name="T57" fmla="*/ 181 h 239"/>
                <a:gd name="T58" fmla="*/ 378 w 482"/>
                <a:gd name="T59" fmla="*/ 169 h 239"/>
                <a:gd name="T60" fmla="*/ 394 w 482"/>
                <a:gd name="T61" fmla="*/ 146 h 239"/>
                <a:gd name="T62" fmla="*/ 425 w 482"/>
                <a:gd name="T63" fmla="*/ 141 h 239"/>
                <a:gd name="T64" fmla="*/ 441 w 482"/>
                <a:gd name="T65" fmla="*/ 129 h 239"/>
                <a:gd name="T66" fmla="*/ 444 w 482"/>
                <a:gd name="T67" fmla="*/ 119 h 239"/>
                <a:gd name="T68" fmla="*/ 434 w 482"/>
                <a:gd name="T69" fmla="*/ 102 h 239"/>
                <a:gd name="T70" fmla="*/ 453 w 482"/>
                <a:gd name="T71" fmla="*/ 94 h 239"/>
                <a:gd name="T72" fmla="*/ 442 w 482"/>
                <a:gd name="T73" fmla="*/ 82 h 239"/>
                <a:gd name="T74" fmla="*/ 430 w 482"/>
                <a:gd name="T75" fmla="*/ 69 h 239"/>
                <a:gd name="T76" fmla="*/ 446 w 482"/>
                <a:gd name="T77" fmla="*/ 55 h 239"/>
                <a:gd name="T78" fmla="*/ 464 w 482"/>
                <a:gd name="T79" fmla="*/ 45 h 239"/>
                <a:gd name="T80" fmla="*/ 469 w 482"/>
                <a:gd name="T81" fmla="*/ 34 h 239"/>
                <a:gd name="T82" fmla="*/ 444 w 482"/>
                <a:gd name="T83" fmla="*/ 22 h 239"/>
                <a:gd name="T84" fmla="*/ 419 w 482"/>
                <a:gd name="T85" fmla="*/ 8 h 239"/>
                <a:gd name="T86" fmla="*/ 399 w 482"/>
                <a:gd name="T87" fmla="*/ 9 h 239"/>
                <a:gd name="T88" fmla="*/ 371 w 482"/>
                <a:gd name="T89" fmla="*/ 17 h 239"/>
                <a:gd name="T90" fmla="*/ 375 w 482"/>
                <a:gd name="T91" fmla="*/ 28 h 239"/>
                <a:gd name="T92" fmla="*/ 358 w 482"/>
                <a:gd name="T93" fmla="*/ 33 h 239"/>
                <a:gd name="T94" fmla="*/ 304 w 482"/>
                <a:gd name="T95" fmla="*/ 33 h 239"/>
                <a:gd name="T96" fmla="*/ 252 w 482"/>
                <a:gd name="T97" fmla="*/ 36 h 239"/>
                <a:gd name="T98" fmla="*/ 229 w 482"/>
                <a:gd name="T99" fmla="*/ 50 h 239"/>
                <a:gd name="T100" fmla="*/ 201 w 482"/>
                <a:gd name="T101" fmla="*/ 72 h 239"/>
                <a:gd name="T102" fmla="*/ 174 w 482"/>
                <a:gd name="T103" fmla="*/ 90 h 239"/>
                <a:gd name="T104" fmla="*/ 158 w 482"/>
                <a:gd name="T105" fmla="*/ 108 h 239"/>
                <a:gd name="T106" fmla="*/ 135 w 482"/>
                <a:gd name="T107" fmla="*/ 118 h 239"/>
                <a:gd name="T108" fmla="*/ 110 w 482"/>
                <a:gd name="T109" fmla="*/ 131 h 239"/>
                <a:gd name="T110" fmla="*/ 74 w 482"/>
                <a:gd name="T111" fmla="*/ 157 h 239"/>
                <a:gd name="T112" fmla="*/ 29 w 482"/>
                <a:gd name="T113" fmla="*/ 170 h 239"/>
                <a:gd name="T114" fmla="*/ 7 w 482"/>
                <a:gd name="T115" fmla="*/ 185 h 239"/>
                <a:gd name="T116" fmla="*/ 14 w 482"/>
                <a:gd name="T117" fmla="*/ 200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82" h="239">
                  <a:moveTo>
                    <a:pt x="14" y="200"/>
                  </a:moveTo>
                  <a:cubicBezTo>
                    <a:pt x="22" y="199"/>
                    <a:pt x="25" y="202"/>
                    <a:pt x="21" y="210"/>
                  </a:cubicBezTo>
                  <a:cubicBezTo>
                    <a:pt x="18" y="218"/>
                    <a:pt x="18" y="225"/>
                    <a:pt x="27" y="229"/>
                  </a:cubicBezTo>
                  <a:cubicBezTo>
                    <a:pt x="35" y="232"/>
                    <a:pt x="42" y="230"/>
                    <a:pt x="44" y="223"/>
                  </a:cubicBezTo>
                  <a:cubicBezTo>
                    <a:pt x="47" y="216"/>
                    <a:pt x="47" y="212"/>
                    <a:pt x="57" y="212"/>
                  </a:cubicBezTo>
                  <a:cubicBezTo>
                    <a:pt x="68" y="212"/>
                    <a:pt x="80" y="212"/>
                    <a:pt x="84" y="219"/>
                  </a:cubicBezTo>
                  <a:cubicBezTo>
                    <a:pt x="88" y="225"/>
                    <a:pt x="92" y="224"/>
                    <a:pt x="99" y="224"/>
                  </a:cubicBezTo>
                  <a:cubicBezTo>
                    <a:pt x="106" y="224"/>
                    <a:pt x="122" y="224"/>
                    <a:pt x="121" y="212"/>
                  </a:cubicBezTo>
                  <a:cubicBezTo>
                    <a:pt x="120" y="199"/>
                    <a:pt x="120" y="196"/>
                    <a:pt x="128" y="196"/>
                  </a:cubicBezTo>
                  <a:cubicBezTo>
                    <a:pt x="137" y="196"/>
                    <a:pt x="142" y="197"/>
                    <a:pt x="142" y="204"/>
                  </a:cubicBezTo>
                  <a:cubicBezTo>
                    <a:pt x="142" y="211"/>
                    <a:pt x="145" y="216"/>
                    <a:pt x="150" y="218"/>
                  </a:cubicBezTo>
                  <a:cubicBezTo>
                    <a:pt x="155" y="220"/>
                    <a:pt x="158" y="224"/>
                    <a:pt x="159" y="230"/>
                  </a:cubicBezTo>
                  <a:cubicBezTo>
                    <a:pt x="160" y="237"/>
                    <a:pt x="162" y="239"/>
                    <a:pt x="173" y="239"/>
                  </a:cubicBezTo>
                  <a:cubicBezTo>
                    <a:pt x="185" y="239"/>
                    <a:pt x="202" y="238"/>
                    <a:pt x="204" y="233"/>
                  </a:cubicBezTo>
                  <a:cubicBezTo>
                    <a:pt x="205" y="228"/>
                    <a:pt x="213" y="222"/>
                    <a:pt x="213" y="210"/>
                  </a:cubicBezTo>
                  <a:cubicBezTo>
                    <a:pt x="213" y="198"/>
                    <a:pt x="210" y="188"/>
                    <a:pt x="216" y="188"/>
                  </a:cubicBezTo>
                  <a:cubicBezTo>
                    <a:pt x="221" y="188"/>
                    <a:pt x="221" y="194"/>
                    <a:pt x="227" y="198"/>
                  </a:cubicBezTo>
                  <a:cubicBezTo>
                    <a:pt x="233" y="202"/>
                    <a:pt x="244" y="214"/>
                    <a:pt x="252" y="203"/>
                  </a:cubicBezTo>
                  <a:cubicBezTo>
                    <a:pt x="259" y="192"/>
                    <a:pt x="258" y="184"/>
                    <a:pt x="266" y="181"/>
                  </a:cubicBezTo>
                  <a:cubicBezTo>
                    <a:pt x="274" y="179"/>
                    <a:pt x="282" y="174"/>
                    <a:pt x="278" y="169"/>
                  </a:cubicBezTo>
                  <a:cubicBezTo>
                    <a:pt x="274" y="164"/>
                    <a:pt x="270" y="156"/>
                    <a:pt x="273" y="150"/>
                  </a:cubicBezTo>
                  <a:cubicBezTo>
                    <a:pt x="276" y="144"/>
                    <a:pt x="290" y="151"/>
                    <a:pt x="290" y="141"/>
                  </a:cubicBezTo>
                  <a:cubicBezTo>
                    <a:pt x="290" y="131"/>
                    <a:pt x="296" y="131"/>
                    <a:pt x="297" y="125"/>
                  </a:cubicBezTo>
                  <a:cubicBezTo>
                    <a:pt x="297" y="118"/>
                    <a:pt x="299" y="113"/>
                    <a:pt x="307" y="113"/>
                  </a:cubicBezTo>
                  <a:cubicBezTo>
                    <a:pt x="316" y="114"/>
                    <a:pt x="321" y="117"/>
                    <a:pt x="322" y="125"/>
                  </a:cubicBezTo>
                  <a:cubicBezTo>
                    <a:pt x="322" y="133"/>
                    <a:pt x="315" y="136"/>
                    <a:pt x="317" y="142"/>
                  </a:cubicBezTo>
                  <a:cubicBezTo>
                    <a:pt x="319" y="148"/>
                    <a:pt x="316" y="152"/>
                    <a:pt x="312" y="157"/>
                  </a:cubicBezTo>
                  <a:cubicBezTo>
                    <a:pt x="307" y="162"/>
                    <a:pt x="314" y="164"/>
                    <a:pt x="325" y="174"/>
                  </a:cubicBezTo>
                  <a:cubicBezTo>
                    <a:pt x="335" y="184"/>
                    <a:pt x="344" y="182"/>
                    <a:pt x="354" y="181"/>
                  </a:cubicBezTo>
                  <a:cubicBezTo>
                    <a:pt x="364" y="181"/>
                    <a:pt x="378" y="178"/>
                    <a:pt x="378" y="169"/>
                  </a:cubicBezTo>
                  <a:cubicBezTo>
                    <a:pt x="378" y="159"/>
                    <a:pt x="386" y="147"/>
                    <a:pt x="394" y="146"/>
                  </a:cubicBezTo>
                  <a:cubicBezTo>
                    <a:pt x="403" y="144"/>
                    <a:pt x="414" y="142"/>
                    <a:pt x="425" y="141"/>
                  </a:cubicBezTo>
                  <a:cubicBezTo>
                    <a:pt x="436" y="139"/>
                    <a:pt x="437" y="128"/>
                    <a:pt x="441" y="129"/>
                  </a:cubicBezTo>
                  <a:cubicBezTo>
                    <a:pt x="444" y="131"/>
                    <a:pt x="450" y="126"/>
                    <a:pt x="444" y="119"/>
                  </a:cubicBezTo>
                  <a:cubicBezTo>
                    <a:pt x="439" y="112"/>
                    <a:pt x="431" y="108"/>
                    <a:pt x="434" y="102"/>
                  </a:cubicBezTo>
                  <a:cubicBezTo>
                    <a:pt x="437" y="96"/>
                    <a:pt x="453" y="103"/>
                    <a:pt x="453" y="94"/>
                  </a:cubicBezTo>
                  <a:cubicBezTo>
                    <a:pt x="453" y="85"/>
                    <a:pt x="451" y="85"/>
                    <a:pt x="442" y="82"/>
                  </a:cubicBezTo>
                  <a:cubicBezTo>
                    <a:pt x="433" y="79"/>
                    <a:pt x="430" y="75"/>
                    <a:pt x="430" y="69"/>
                  </a:cubicBezTo>
                  <a:cubicBezTo>
                    <a:pt x="430" y="63"/>
                    <a:pt x="431" y="53"/>
                    <a:pt x="446" y="55"/>
                  </a:cubicBezTo>
                  <a:cubicBezTo>
                    <a:pt x="460" y="56"/>
                    <a:pt x="452" y="41"/>
                    <a:pt x="464" y="45"/>
                  </a:cubicBezTo>
                  <a:cubicBezTo>
                    <a:pt x="477" y="48"/>
                    <a:pt x="482" y="39"/>
                    <a:pt x="469" y="34"/>
                  </a:cubicBezTo>
                  <a:cubicBezTo>
                    <a:pt x="455" y="29"/>
                    <a:pt x="449" y="27"/>
                    <a:pt x="444" y="22"/>
                  </a:cubicBezTo>
                  <a:cubicBezTo>
                    <a:pt x="439" y="16"/>
                    <a:pt x="424" y="16"/>
                    <a:pt x="419" y="8"/>
                  </a:cubicBezTo>
                  <a:cubicBezTo>
                    <a:pt x="413" y="0"/>
                    <a:pt x="410" y="6"/>
                    <a:pt x="399" y="9"/>
                  </a:cubicBezTo>
                  <a:cubicBezTo>
                    <a:pt x="388" y="12"/>
                    <a:pt x="373" y="12"/>
                    <a:pt x="371" y="17"/>
                  </a:cubicBezTo>
                  <a:cubicBezTo>
                    <a:pt x="369" y="22"/>
                    <a:pt x="367" y="25"/>
                    <a:pt x="375" y="28"/>
                  </a:cubicBezTo>
                  <a:cubicBezTo>
                    <a:pt x="383" y="31"/>
                    <a:pt x="385" y="40"/>
                    <a:pt x="358" y="33"/>
                  </a:cubicBezTo>
                  <a:cubicBezTo>
                    <a:pt x="330" y="26"/>
                    <a:pt x="315" y="35"/>
                    <a:pt x="304" y="33"/>
                  </a:cubicBezTo>
                  <a:cubicBezTo>
                    <a:pt x="292" y="32"/>
                    <a:pt x="264" y="36"/>
                    <a:pt x="252" y="36"/>
                  </a:cubicBezTo>
                  <a:cubicBezTo>
                    <a:pt x="240" y="36"/>
                    <a:pt x="237" y="40"/>
                    <a:pt x="229" y="50"/>
                  </a:cubicBezTo>
                  <a:cubicBezTo>
                    <a:pt x="220" y="60"/>
                    <a:pt x="209" y="67"/>
                    <a:pt x="201" y="72"/>
                  </a:cubicBezTo>
                  <a:cubicBezTo>
                    <a:pt x="193" y="77"/>
                    <a:pt x="181" y="82"/>
                    <a:pt x="174" y="90"/>
                  </a:cubicBezTo>
                  <a:cubicBezTo>
                    <a:pt x="168" y="99"/>
                    <a:pt x="161" y="100"/>
                    <a:pt x="158" y="108"/>
                  </a:cubicBezTo>
                  <a:cubicBezTo>
                    <a:pt x="154" y="116"/>
                    <a:pt x="144" y="115"/>
                    <a:pt x="135" y="118"/>
                  </a:cubicBezTo>
                  <a:cubicBezTo>
                    <a:pt x="135" y="118"/>
                    <a:pt x="117" y="121"/>
                    <a:pt x="110" y="131"/>
                  </a:cubicBezTo>
                  <a:cubicBezTo>
                    <a:pt x="102" y="141"/>
                    <a:pt x="90" y="157"/>
                    <a:pt x="74" y="157"/>
                  </a:cubicBezTo>
                  <a:cubicBezTo>
                    <a:pt x="58" y="157"/>
                    <a:pt x="37" y="164"/>
                    <a:pt x="29" y="170"/>
                  </a:cubicBezTo>
                  <a:cubicBezTo>
                    <a:pt x="22" y="176"/>
                    <a:pt x="14" y="180"/>
                    <a:pt x="7" y="185"/>
                  </a:cubicBezTo>
                  <a:cubicBezTo>
                    <a:pt x="0" y="190"/>
                    <a:pt x="6" y="202"/>
                    <a:pt x="14" y="20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446" name="Freeform 25609"/>
            <p:cNvSpPr>
              <a:spLocks/>
            </p:cNvSpPr>
            <p:nvPr/>
          </p:nvSpPr>
          <p:spPr bwMode="auto">
            <a:xfrm>
              <a:off x="1459672" y="1524581"/>
              <a:ext cx="43246" cy="31724"/>
            </a:xfrm>
            <a:custGeom>
              <a:avLst/>
              <a:gdLst>
                <a:gd name="T0" fmla="*/ 107 w 116"/>
                <a:gd name="T1" fmla="*/ 7 h 85"/>
                <a:gd name="T2" fmla="*/ 93 w 116"/>
                <a:gd name="T3" fmla="*/ 5 h 85"/>
                <a:gd name="T4" fmla="*/ 75 w 116"/>
                <a:gd name="T5" fmla="*/ 20 h 85"/>
                <a:gd name="T6" fmla="*/ 51 w 116"/>
                <a:gd name="T7" fmla="*/ 24 h 85"/>
                <a:gd name="T8" fmla="*/ 32 w 116"/>
                <a:gd name="T9" fmla="*/ 39 h 85"/>
                <a:gd name="T10" fmla="*/ 0 w 116"/>
                <a:gd name="T11" fmla="*/ 68 h 85"/>
                <a:gd name="T12" fmla="*/ 21 w 116"/>
                <a:gd name="T13" fmla="*/ 81 h 85"/>
                <a:gd name="T14" fmla="*/ 57 w 116"/>
                <a:gd name="T15" fmla="*/ 78 h 85"/>
                <a:gd name="T16" fmla="*/ 83 w 116"/>
                <a:gd name="T17" fmla="*/ 60 h 85"/>
                <a:gd name="T18" fmla="*/ 99 w 116"/>
                <a:gd name="T19" fmla="*/ 35 h 85"/>
                <a:gd name="T20" fmla="*/ 116 w 116"/>
                <a:gd name="T21" fmla="*/ 19 h 85"/>
                <a:gd name="T22" fmla="*/ 107 w 116"/>
                <a:gd name="T23" fmla="*/ 7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16" h="85">
                  <a:moveTo>
                    <a:pt x="107" y="7"/>
                  </a:moveTo>
                  <a:cubicBezTo>
                    <a:pt x="104" y="2"/>
                    <a:pt x="95" y="0"/>
                    <a:pt x="93" y="5"/>
                  </a:cubicBezTo>
                  <a:cubicBezTo>
                    <a:pt x="93" y="5"/>
                    <a:pt x="85" y="19"/>
                    <a:pt x="75" y="20"/>
                  </a:cubicBezTo>
                  <a:cubicBezTo>
                    <a:pt x="65" y="20"/>
                    <a:pt x="57" y="20"/>
                    <a:pt x="51" y="24"/>
                  </a:cubicBezTo>
                  <a:cubicBezTo>
                    <a:pt x="44" y="29"/>
                    <a:pt x="38" y="34"/>
                    <a:pt x="32" y="39"/>
                  </a:cubicBezTo>
                  <a:cubicBezTo>
                    <a:pt x="26" y="44"/>
                    <a:pt x="0" y="62"/>
                    <a:pt x="0" y="68"/>
                  </a:cubicBezTo>
                  <a:cubicBezTo>
                    <a:pt x="0" y="74"/>
                    <a:pt x="10" y="78"/>
                    <a:pt x="21" y="81"/>
                  </a:cubicBezTo>
                  <a:cubicBezTo>
                    <a:pt x="33" y="84"/>
                    <a:pt x="50" y="85"/>
                    <a:pt x="57" y="78"/>
                  </a:cubicBezTo>
                  <a:cubicBezTo>
                    <a:pt x="63" y="72"/>
                    <a:pt x="77" y="68"/>
                    <a:pt x="83" y="60"/>
                  </a:cubicBezTo>
                  <a:cubicBezTo>
                    <a:pt x="88" y="53"/>
                    <a:pt x="92" y="39"/>
                    <a:pt x="99" y="35"/>
                  </a:cubicBezTo>
                  <a:cubicBezTo>
                    <a:pt x="107" y="31"/>
                    <a:pt x="116" y="24"/>
                    <a:pt x="116" y="19"/>
                  </a:cubicBezTo>
                  <a:cubicBezTo>
                    <a:pt x="116" y="13"/>
                    <a:pt x="109" y="11"/>
                    <a:pt x="107" y="7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447" name="Freeform 25610"/>
            <p:cNvSpPr>
              <a:spLocks/>
            </p:cNvSpPr>
            <p:nvPr/>
          </p:nvSpPr>
          <p:spPr bwMode="auto">
            <a:xfrm>
              <a:off x="1416425" y="1529789"/>
              <a:ext cx="5998" cy="17520"/>
            </a:xfrm>
            <a:custGeom>
              <a:avLst/>
              <a:gdLst>
                <a:gd name="T0" fmla="*/ 0 w 16"/>
                <a:gd name="T1" fmla="*/ 38 h 47"/>
                <a:gd name="T2" fmla="*/ 7 w 16"/>
                <a:gd name="T3" fmla="*/ 43 h 47"/>
                <a:gd name="T4" fmla="*/ 15 w 16"/>
                <a:gd name="T5" fmla="*/ 29 h 47"/>
                <a:gd name="T6" fmla="*/ 9 w 16"/>
                <a:gd name="T7" fmla="*/ 13 h 47"/>
                <a:gd name="T8" fmla="*/ 8 w 16"/>
                <a:gd name="T9" fmla="*/ 27 h 47"/>
                <a:gd name="T10" fmla="*/ 0 w 16"/>
                <a:gd name="T11" fmla="*/ 38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47">
                  <a:moveTo>
                    <a:pt x="0" y="38"/>
                  </a:moveTo>
                  <a:cubicBezTo>
                    <a:pt x="0" y="43"/>
                    <a:pt x="3" y="47"/>
                    <a:pt x="7" y="43"/>
                  </a:cubicBezTo>
                  <a:cubicBezTo>
                    <a:pt x="11" y="38"/>
                    <a:pt x="14" y="35"/>
                    <a:pt x="15" y="29"/>
                  </a:cubicBezTo>
                  <a:cubicBezTo>
                    <a:pt x="16" y="22"/>
                    <a:pt x="13" y="0"/>
                    <a:pt x="9" y="13"/>
                  </a:cubicBezTo>
                  <a:cubicBezTo>
                    <a:pt x="9" y="13"/>
                    <a:pt x="12" y="23"/>
                    <a:pt x="8" y="27"/>
                  </a:cubicBezTo>
                  <a:cubicBezTo>
                    <a:pt x="3" y="30"/>
                    <a:pt x="0" y="34"/>
                    <a:pt x="0" y="38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448" name="Freeform 25611"/>
            <p:cNvSpPr>
              <a:spLocks/>
            </p:cNvSpPr>
            <p:nvPr/>
          </p:nvSpPr>
          <p:spPr bwMode="auto">
            <a:xfrm>
              <a:off x="1568576" y="1487332"/>
              <a:ext cx="29830" cy="11206"/>
            </a:xfrm>
            <a:custGeom>
              <a:avLst/>
              <a:gdLst>
                <a:gd name="T0" fmla="*/ 36 w 80"/>
                <a:gd name="T1" fmla="*/ 0 h 30"/>
                <a:gd name="T2" fmla="*/ 14 w 80"/>
                <a:gd name="T3" fmla="*/ 4 h 30"/>
                <a:gd name="T4" fmla="*/ 0 w 80"/>
                <a:gd name="T5" fmla="*/ 16 h 30"/>
                <a:gd name="T6" fmla="*/ 12 w 80"/>
                <a:gd name="T7" fmla="*/ 24 h 30"/>
                <a:gd name="T8" fmla="*/ 40 w 80"/>
                <a:gd name="T9" fmla="*/ 29 h 30"/>
                <a:gd name="T10" fmla="*/ 67 w 80"/>
                <a:gd name="T11" fmla="*/ 25 h 30"/>
                <a:gd name="T12" fmla="*/ 80 w 80"/>
                <a:gd name="T13" fmla="*/ 13 h 30"/>
                <a:gd name="T14" fmla="*/ 70 w 80"/>
                <a:gd name="T15" fmla="*/ 4 h 30"/>
                <a:gd name="T16" fmla="*/ 36 w 80"/>
                <a:gd name="T1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0" h="30">
                  <a:moveTo>
                    <a:pt x="36" y="0"/>
                  </a:moveTo>
                  <a:cubicBezTo>
                    <a:pt x="36" y="0"/>
                    <a:pt x="21" y="1"/>
                    <a:pt x="14" y="4"/>
                  </a:cubicBezTo>
                  <a:cubicBezTo>
                    <a:pt x="7" y="8"/>
                    <a:pt x="0" y="11"/>
                    <a:pt x="0" y="16"/>
                  </a:cubicBezTo>
                  <a:cubicBezTo>
                    <a:pt x="1" y="21"/>
                    <a:pt x="8" y="21"/>
                    <a:pt x="12" y="24"/>
                  </a:cubicBezTo>
                  <a:cubicBezTo>
                    <a:pt x="15" y="26"/>
                    <a:pt x="29" y="29"/>
                    <a:pt x="40" y="29"/>
                  </a:cubicBezTo>
                  <a:cubicBezTo>
                    <a:pt x="50" y="29"/>
                    <a:pt x="63" y="30"/>
                    <a:pt x="67" y="25"/>
                  </a:cubicBezTo>
                  <a:cubicBezTo>
                    <a:pt x="71" y="20"/>
                    <a:pt x="80" y="19"/>
                    <a:pt x="80" y="13"/>
                  </a:cubicBezTo>
                  <a:cubicBezTo>
                    <a:pt x="79" y="7"/>
                    <a:pt x="76" y="3"/>
                    <a:pt x="70" y="4"/>
                  </a:cubicBezTo>
                  <a:cubicBezTo>
                    <a:pt x="64" y="4"/>
                    <a:pt x="48" y="0"/>
                    <a:pt x="36" y="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449" name="Freeform 25612"/>
            <p:cNvSpPr>
              <a:spLocks/>
            </p:cNvSpPr>
            <p:nvPr/>
          </p:nvSpPr>
          <p:spPr bwMode="auto">
            <a:xfrm>
              <a:off x="1556897" y="1423567"/>
              <a:ext cx="38827" cy="26043"/>
            </a:xfrm>
            <a:custGeom>
              <a:avLst/>
              <a:gdLst>
                <a:gd name="T0" fmla="*/ 13 w 104"/>
                <a:gd name="T1" fmla="*/ 32 h 70"/>
                <a:gd name="T2" fmla="*/ 49 w 104"/>
                <a:gd name="T3" fmla="*/ 57 h 70"/>
                <a:gd name="T4" fmla="*/ 74 w 104"/>
                <a:gd name="T5" fmla="*/ 63 h 70"/>
                <a:gd name="T6" fmla="*/ 93 w 104"/>
                <a:gd name="T7" fmla="*/ 54 h 70"/>
                <a:gd name="T8" fmla="*/ 101 w 104"/>
                <a:gd name="T9" fmla="*/ 38 h 70"/>
                <a:gd name="T10" fmla="*/ 81 w 104"/>
                <a:gd name="T11" fmla="*/ 26 h 70"/>
                <a:gd name="T12" fmla="*/ 39 w 104"/>
                <a:gd name="T13" fmla="*/ 12 h 70"/>
                <a:gd name="T14" fmla="*/ 25 w 104"/>
                <a:gd name="T15" fmla="*/ 17 h 70"/>
                <a:gd name="T16" fmla="*/ 13 w 104"/>
                <a:gd name="T17" fmla="*/ 3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4" h="70">
                  <a:moveTo>
                    <a:pt x="13" y="32"/>
                  </a:moveTo>
                  <a:cubicBezTo>
                    <a:pt x="26" y="42"/>
                    <a:pt x="42" y="53"/>
                    <a:pt x="49" y="57"/>
                  </a:cubicBezTo>
                  <a:cubicBezTo>
                    <a:pt x="56" y="61"/>
                    <a:pt x="71" y="70"/>
                    <a:pt x="74" y="63"/>
                  </a:cubicBezTo>
                  <a:cubicBezTo>
                    <a:pt x="76" y="56"/>
                    <a:pt x="92" y="60"/>
                    <a:pt x="93" y="54"/>
                  </a:cubicBezTo>
                  <a:cubicBezTo>
                    <a:pt x="94" y="48"/>
                    <a:pt x="104" y="44"/>
                    <a:pt x="101" y="38"/>
                  </a:cubicBezTo>
                  <a:cubicBezTo>
                    <a:pt x="99" y="32"/>
                    <a:pt x="90" y="32"/>
                    <a:pt x="81" y="26"/>
                  </a:cubicBezTo>
                  <a:cubicBezTo>
                    <a:pt x="71" y="20"/>
                    <a:pt x="49" y="0"/>
                    <a:pt x="39" y="12"/>
                  </a:cubicBezTo>
                  <a:cubicBezTo>
                    <a:pt x="39" y="12"/>
                    <a:pt x="32" y="17"/>
                    <a:pt x="25" y="17"/>
                  </a:cubicBezTo>
                  <a:cubicBezTo>
                    <a:pt x="18" y="18"/>
                    <a:pt x="0" y="22"/>
                    <a:pt x="13" y="32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450" name="Freeform 25613"/>
            <p:cNvSpPr>
              <a:spLocks/>
            </p:cNvSpPr>
            <p:nvPr/>
          </p:nvSpPr>
          <p:spPr bwMode="auto">
            <a:xfrm>
              <a:off x="1601406" y="1423094"/>
              <a:ext cx="89492" cy="43405"/>
            </a:xfrm>
            <a:custGeom>
              <a:avLst/>
              <a:gdLst>
                <a:gd name="T0" fmla="*/ 175 w 240"/>
                <a:gd name="T1" fmla="*/ 40 h 116"/>
                <a:gd name="T2" fmla="*/ 206 w 240"/>
                <a:gd name="T3" fmla="*/ 37 h 116"/>
                <a:gd name="T4" fmla="*/ 230 w 240"/>
                <a:gd name="T5" fmla="*/ 31 h 116"/>
                <a:gd name="T6" fmla="*/ 240 w 240"/>
                <a:gd name="T7" fmla="*/ 21 h 116"/>
                <a:gd name="T8" fmla="*/ 231 w 240"/>
                <a:gd name="T9" fmla="*/ 7 h 116"/>
                <a:gd name="T10" fmla="*/ 198 w 240"/>
                <a:gd name="T11" fmla="*/ 1 h 116"/>
                <a:gd name="T12" fmla="*/ 174 w 240"/>
                <a:gd name="T13" fmla="*/ 5 h 116"/>
                <a:gd name="T14" fmla="*/ 150 w 240"/>
                <a:gd name="T15" fmla="*/ 10 h 116"/>
                <a:gd name="T16" fmla="*/ 72 w 240"/>
                <a:gd name="T17" fmla="*/ 18 h 116"/>
                <a:gd name="T18" fmla="*/ 52 w 240"/>
                <a:gd name="T19" fmla="*/ 22 h 116"/>
                <a:gd name="T20" fmla="*/ 25 w 240"/>
                <a:gd name="T21" fmla="*/ 29 h 116"/>
                <a:gd name="T22" fmla="*/ 12 w 240"/>
                <a:gd name="T23" fmla="*/ 34 h 116"/>
                <a:gd name="T24" fmla="*/ 1 w 240"/>
                <a:gd name="T25" fmla="*/ 51 h 116"/>
                <a:gd name="T26" fmla="*/ 14 w 240"/>
                <a:gd name="T27" fmla="*/ 82 h 116"/>
                <a:gd name="T28" fmla="*/ 40 w 240"/>
                <a:gd name="T29" fmla="*/ 101 h 116"/>
                <a:gd name="T30" fmla="*/ 54 w 240"/>
                <a:gd name="T31" fmla="*/ 109 h 116"/>
                <a:gd name="T32" fmla="*/ 74 w 240"/>
                <a:gd name="T33" fmla="*/ 116 h 116"/>
                <a:gd name="T34" fmla="*/ 102 w 240"/>
                <a:gd name="T35" fmla="*/ 111 h 116"/>
                <a:gd name="T36" fmla="*/ 126 w 240"/>
                <a:gd name="T37" fmla="*/ 107 h 116"/>
                <a:gd name="T38" fmla="*/ 163 w 240"/>
                <a:gd name="T39" fmla="*/ 99 h 116"/>
                <a:gd name="T40" fmla="*/ 188 w 240"/>
                <a:gd name="T41" fmla="*/ 95 h 116"/>
                <a:gd name="T42" fmla="*/ 204 w 240"/>
                <a:gd name="T43" fmla="*/ 84 h 116"/>
                <a:gd name="T44" fmla="*/ 199 w 240"/>
                <a:gd name="T45" fmla="*/ 52 h 116"/>
                <a:gd name="T46" fmla="*/ 162 w 240"/>
                <a:gd name="T47" fmla="*/ 47 h 116"/>
                <a:gd name="T48" fmla="*/ 175 w 240"/>
                <a:gd name="T49" fmla="*/ 4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40" h="116">
                  <a:moveTo>
                    <a:pt x="175" y="40"/>
                  </a:moveTo>
                  <a:cubicBezTo>
                    <a:pt x="186" y="40"/>
                    <a:pt x="206" y="41"/>
                    <a:pt x="206" y="37"/>
                  </a:cubicBezTo>
                  <a:cubicBezTo>
                    <a:pt x="206" y="32"/>
                    <a:pt x="230" y="37"/>
                    <a:pt x="230" y="31"/>
                  </a:cubicBezTo>
                  <a:cubicBezTo>
                    <a:pt x="230" y="25"/>
                    <a:pt x="240" y="30"/>
                    <a:pt x="240" y="21"/>
                  </a:cubicBezTo>
                  <a:cubicBezTo>
                    <a:pt x="240" y="12"/>
                    <a:pt x="237" y="13"/>
                    <a:pt x="231" y="7"/>
                  </a:cubicBezTo>
                  <a:cubicBezTo>
                    <a:pt x="224" y="1"/>
                    <a:pt x="208" y="1"/>
                    <a:pt x="198" y="1"/>
                  </a:cubicBezTo>
                  <a:cubicBezTo>
                    <a:pt x="188" y="0"/>
                    <a:pt x="179" y="2"/>
                    <a:pt x="174" y="5"/>
                  </a:cubicBezTo>
                  <a:cubicBezTo>
                    <a:pt x="169" y="9"/>
                    <a:pt x="169" y="11"/>
                    <a:pt x="150" y="10"/>
                  </a:cubicBezTo>
                  <a:cubicBezTo>
                    <a:pt x="132" y="10"/>
                    <a:pt x="90" y="17"/>
                    <a:pt x="72" y="18"/>
                  </a:cubicBezTo>
                  <a:cubicBezTo>
                    <a:pt x="72" y="18"/>
                    <a:pt x="61" y="16"/>
                    <a:pt x="52" y="22"/>
                  </a:cubicBezTo>
                  <a:cubicBezTo>
                    <a:pt x="43" y="27"/>
                    <a:pt x="34" y="29"/>
                    <a:pt x="25" y="29"/>
                  </a:cubicBezTo>
                  <a:cubicBezTo>
                    <a:pt x="17" y="29"/>
                    <a:pt x="20" y="33"/>
                    <a:pt x="12" y="34"/>
                  </a:cubicBezTo>
                  <a:cubicBezTo>
                    <a:pt x="4" y="36"/>
                    <a:pt x="2" y="40"/>
                    <a:pt x="1" y="51"/>
                  </a:cubicBezTo>
                  <a:cubicBezTo>
                    <a:pt x="0" y="61"/>
                    <a:pt x="2" y="76"/>
                    <a:pt x="14" y="82"/>
                  </a:cubicBezTo>
                  <a:cubicBezTo>
                    <a:pt x="27" y="88"/>
                    <a:pt x="33" y="101"/>
                    <a:pt x="40" y="101"/>
                  </a:cubicBezTo>
                  <a:cubicBezTo>
                    <a:pt x="47" y="101"/>
                    <a:pt x="52" y="104"/>
                    <a:pt x="54" y="109"/>
                  </a:cubicBezTo>
                  <a:cubicBezTo>
                    <a:pt x="57" y="114"/>
                    <a:pt x="62" y="116"/>
                    <a:pt x="74" y="116"/>
                  </a:cubicBezTo>
                  <a:cubicBezTo>
                    <a:pt x="86" y="116"/>
                    <a:pt x="100" y="115"/>
                    <a:pt x="102" y="111"/>
                  </a:cubicBezTo>
                  <a:cubicBezTo>
                    <a:pt x="104" y="108"/>
                    <a:pt x="114" y="107"/>
                    <a:pt x="126" y="107"/>
                  </a:cubicBezTo>
                  <a:cubicBezTo>
                    <a:pt x="139" y="107"/>
                    <a:pt x="153" y="99"/>
                    <a:pt x="163" y="99"/>
                  </a:cubicBezTo>
                  <a:cubicBezTo>
                    <a:pt x="174" y="99"/>
                    <a:pt x="186" y="102"/>
                    <a:pt x="188" y="95"/>
                  </a:cubicBezTo>
                  <a:cubicBezTo>
                    <a:pt x="190" y="88"/>
                    <a:pt x="205" y="96"/>
                    <a:pt x="204" y="84"/>
                  </a:cubicBezTo>
                  <a:cubicBezTo>
                    <a:pt x="204" y="72"/>
                    <a:pt x="211" y="53"/>
                    <a:pt x="199" y="52"/>
                  </a:cubicBezTo>
                  <a:cubicBezTo>
                    <a:pt x="187" y="52"/>
                    <a:pt x="163" y="56"/>
                    <a:pt x="162" y="47"/>
                  </a:cubicBezTo>
                  <a:cubicBezTo>
                    <a:pt x="160" y="39"/>
                    <a:pt x="163" y="39"/>
                    <a:pt x="175" y="4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451" name="Freeform 25614"/>
            <p:cNvSpPr>
              <a:spLocks/>
            </p:cNvSpPr>
            <p:nvPr/>
          </p:nvSpPr>
          <p:spPr bwMode="auto">
            <a:xfrm>
              <a:off x="1599828" y="1389159"/>
              <a:ext cx="100382" cy="29830"/>
            </a:xfrm>
            <a:custGeom>
              <a:avLst/>
              <a:gdLst>
                <a:gd name="T0" fmla="*/ 9 w 269"/>
                <a:gd name="T1" fmla="*/ 69 h 80"/>
                <a:gd name="T2" fmla="*/ 29 w 269"/>
                <a:gd name="T3" fmla="*/ 76 h 80"/>
                <a:gd name="T4" fmla="*/ 58 w 269"/>
                <a:gd name="T5" fmla="*/ 67 h 80"/>
                <a:gd name="T6" fmla="*/ 92 w 269"/>
                <a:gd name="T7" fmla="*/ 71 h 80"/>
                <a:gd name="T8" fmla="*/ 118 w 269"/>
                <a:gd name="T9" fmla="*/ 76 h 80"/>
                <a:gd name="T10" fmla="*/ 136 w 269"/>
                <a:gd name="T11" fmla="*/ 71 h 80"/>
                <a:gd name="T12" fmla="*/ 149 w 269"/>
                <a:gd name="T13" fmla="*/ 67 h 80"/>
                <a:gd name="T14" fmla="*/ 166 w 269"/>
                <a:gd name="T15" fmla="*/ 70 h 80"/>
                <a:gd name="T16" fmla="*/ 183 w 269"/>
                <a:gd name="T17" fmla="*/ 76 h 80"/>
                <a:gd name="T18" fmla="*/ 202 w 269"/>
                <a:gd name="T19" fmla="*/ 74 h 80"/>
                <a:gd name="T20" fmla="*/ 219 w 269"/>
                <a:gd name="T21" fmla="*/ 71 h 80"/>
                <a:gd name="T22" fmla="*/ 235 w 269"/>
                <a:gd name="T23" fmla="*/ 75 h 80"/>
                <a:gd name="T24" fmla="*/ 259 w 269"/>
                <a:gd name="T25" fmla="*/ 73 h 80"/>
                <a:gd name="T26" fmla="*/ 264 w 269"/>
                <a:gd name="T27" fmla="*/ 60 h 80"/>
                <a:gd name="T28" fmla="*/ 265 w 269"/>
                <a:gd name="T29" fmla="*/ 48 h 80"/>
                <a:gd name="T30" fmla="*/ 254 w 269"/>
                <a:gd name="T31" fmla="*/ 36 h 80"/>
                <a:gd name="T32" fmla="*/ 236 w 269"/>
                <a:gd name="T33" fmla="*/ 25 h 80"/>
                <a:gd name="T34" fmla="*/ 209 w 269"/>
                <a:gd name="T35" fmla="*/ 10 h 80"/>
                <a:gd name="T36" fmla="*/ 183 w 269"/>
                <a:gd name="T37" fmla="*/ 4 h 80"/>
                <a:gd name="T38" fmla="*/ 158 w 269"/>
                <a:gd name="T39" fmla="*/ 10 h 80"/>
                <a:gd name="T40" fmla="*/ 137 w 269"/>
                <a:gd name="T41" fmla="*/ 18 h 80"/>
                <a:gd name="T42" fmla="*/ 117 w 269"/>
                <a:gd name="T43" fmla="*/ 24 h 80"/>
                <a:gd name="T44" fmla="*/ 81 w 269"/>
                <a:gd name="T45" fmla="*/ 35 h 80"/>
                <a:gd name="T46" fmla="*/ 57 w 269"/>
                <a:gd name="T47" fmla="*/ 41 h 80"/>
                <a:gd name="T48" fmla="*/ 32 w 269"/>
                <a:gd name="T49" fmla="*/ 48 h 80"/>
                <a:gd name="T50" fmla="*/ 18 w 269"/>
                <a:gd name="T51" fmla="*/ 53 h 80"/>
                <a:gd name="T52" fmla="*/ 7 w 269"/>
                <a:gd name="T53" fmla="*/ 60 h 80"/>
                <a:gd name="T54" fmla="*/ 9 w 269"/>
                <a:gd name="T55" fmla="*/ 69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69" h="80">
                  <a:moveTo>
                    <a:pt x="9" y="69"/>
                  </a:moveTo>
                  <a:cubicBezTo>
                    <a:pt x="16" y="71"/>
                    <a:pt x="17" y="78"/>
                    <a:pt x="29" y="76"/>
                  </a:cubicBezTo>
                  <a:cubicBezTo>
                    <a:pt x="42" y="73"/>
                    <a:pt x="41" y="69"/>
                    <a:pt x="58" y="67"/>
                  </a:cubicBezTo>
                  <a:cubicBezTo>
                    <a:pt x="75" y="65"/>
                    <a:pt x="85" y="62"/>
                    <a:pt x="92" y="71"/>
                  </a:cubicBezTo>
                  <a:cubicBezTo>
                    <a:pt x="99" y="79"/>
                    <a:pt x="109" y="77"/>
                    <a:pt x="118" y="76"/>
                  </a:cubicBezTo>
                  <a:cubicBezTo>
                    <a:pt x="128" y="76"/>
                    <a:pt x="135" y="74"/>
                    <a:pt x="136" y="71"/>
                  </a:cubicBezTo>
                  <a:cubicBezTo>
                    <a:pt x="137" y="68"/>
                    <a:pt x="142" y="67"/>
                    <a:pt x="149" y="67"/>
                  </a:cubicBezTo>
                  <a:cubicBezTo>
                    <a:pt x="157" y="67"/>
                    <a:pt x="166" y="66"/>
                    <a:pt x="166" y="70"/>
                  </a:cubicBezTo>
                  <a:cubicBezTo>
                    <a:pt x="167" y="74"/>
                    <a:pt x="176" y="77"/>
                    <a:pt x="183" y="76"/>
                  </a:cubicBezTo>
                  <a:cubicBezTo>
                    <a:pt x="190" y="75"/>
                    <a:pt x="199" y="79"/>
                    <a:pt x="202" y="74"/>
                  </a:cubicBezTo>
                  <a:cubicBezTo>
                    <a:pt x="206" y="69"/>
                    <a:pt x="210" y="67"/>
                    <a:pt x="219" y="71"/>
                  </a:cubicBezTo>
                  <a:cubicBezTo>
                    <a:pt x="228" y="75"/>
                    <a:pt x="228" y="76"/>
                    <a:pt x="235" y="75"/>
                  </a:cubicBezTo>
                  <a:cubicBezTo>
                    <a:pt x="241" y="74"/>
                    <a:pt x="257" y="80"/>
                    <a:pt x="259" y="73"/>
                  </a:cubicBezTo>
                  <a:cubicBezTo>
                    <a:pt x="260" y="65"/>
                    <a:pt x="260" y="63"/>
                    <a:pt x="264" y="60"/>
                  </a:cubicBezTo>
                  <a:cubicBezTo>
                    <a:pt x="267" y="57"/>
                    <a:pt x="269" y="54"/>
                    <a:pt x="265" y="48"/>
                  </a:cubicBezTo>
                  <a:cubicBezTo>
                    <a:pt x="260" y="42"/>
                    <a:pt x="261" y="37"/>
                    <a:pt x="254" y="36"/>
                  </a:cubicBezTo>
                  <a:cubicBezTo>
                    <a:pt x="247" y="35"/>
                    <a:pt x="246" y="31"/>
                    <a:pt x="236" y="25"/>
                  </a:cubicBezTo>
                  <a:cubicBezTo>
                    <a:pt x="226" y="19"/>
                    <a:pt x="215" y="14"/>
                    <a:pt x="209" y="10"/>
                  </a:cubicBezTo>
                  <a:cubicBezTo>
                    <a:pt x="204" y="7"/>
                    <a:pt x="191" y="0"/>
                    <a:pt x="183" y="4"/>
                  </a:cubicBezTo>
                  <a:cubicBezTo>
                    <a:pt x="175" y="8"/>
                    <a:pt x="169" y="8"/>
                    <a:pt x="158" y="10"/>
                  </a:cubicBezTo>
                  <a:cubicBezTo>
                    <a:pt x="146" y="12"/>
                    <a:pt x="151" y="17"/>
                    <a:pt x="137" y="18"/>
                  </a:cubicBezTo>
                  <a:cubicBezTo>
                    <a:pt x="124" y="19"/>
                    <a:pt x="120" y="20"/>
                    <a:pt x="117" y="24"/>
                  </a:cubicBezTo>
                  <a:cubicBezTo>
                    <a:pt x="115" y="29"/>
                    <a:pt x="117" y="38"/>
                    <a:pt x="81" y="35"/>
                  </a:cubicBezTo>
                  <a:cubicBezTo>
                    <a:pt x="81" y="35"/>
                    <a:pt x="66" y="36"/>
                    <a:pt x="57" y="41"/>
                  </a:cubicBezTo>
                  <a:cubicBezTo>
                    <a:pt x="47" y="45"/>
                    <a:pt x="35" y="43"/>
                    <a:pt x="32" y="48"/>
                  </a:cubicBezTo>
                  <a:cubicBezTo>
                    <a:pt x="30" y="53"/>
                    <a:pt x="23" y="53"/>
                    <a:pt x="18" y="53"/>
                  </a:cubicBezTo>
                  <a:cubicBezTo>
                    <a:pt x="13" y="53"/>
                    <a:pt x="14" y="57"/>
                    <a:pt x="7" y="60"/>
                  </a:cubicBezTo>
                  <a:cubicBezTo>
                    <a:pt x="0" y="63"/>
                    <a:pt x="3" y="66"/>
                    <a:pt x="9" y="6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452" name="Freeform 25617"/>
            <p:cNvSpPr>
              <a:spLocks/>
            </p:cNvSpPr>
            <p:nvPr/>
          </p:nvSpPr>
          <p:spPr bwMode="auto">
            <a:xfrm>
              <a:off x="2151300" y="1633171"/>
              <a:ext cx="693996" cy="493705"/>
            </a:xfrm>
            <a:custGeom>
              <a:avLst/>
              <a:gdLst>
                <a:gd name="T0" fmla="*/ 1733 w 1861"/>
                <a:gd name="T1" fmla="*/ 796 h 1324"/>
                <a:gd name="T2" fmla="*/ 1562 w 1861"/>
                <a:gd name="T3" fmla="*/ 684 h 1324"/>
                <a:gd name="T4" fmla="*/ 1409 w 1861"/>
                <a:gd name="T5" fmla="*/ 618 h 1324"/>
                <a:gd name="T6" fmla="*/ 1397 w 1861"/>
                <a:gd name="T7" fmla="*/ 550 h 1324"/>
                <a:gd name="T8" fmla="*/ 1439 w 1861"/>
                <a:gd name="T9" fmla="*/ 513 h 1324"/>
                <a:gd name="T10" fmla="*/ 1401 w 1861"/>
                <a:gd name="T11" fmla="*/ 432 h 1324"/>
                <a:gd name="T12" fmla="*/ 1365 w 1861"/>
                <a:gd name="T13" fmla="*/ 434 h 1324"/>
                <a:gd name="T14" fmla="*/ 1366 w 1861"/>
                <a:gd name="T15" fmla="*/ 380 h 1324"/>
                <a:gd name="T16" fmla="*/ 1231 w 1861"/>
                <a:gd name="T17" fmla="*/ 393 h 1324"/>
                <a:gd name="T18" fmla="*/ 1245 w 1861"/>
                <a:gd name="T19" fmla="*/ 364 h 1324"/>
                <a:gd name="T20" fmla="*/ 1188 w 1861"/>
                <a:gd name="T21" fmla="*/ 337 h 1324"/>
                <a:gd name="T22" fmla="*/ 1066 w 1861"/>
                <a:gd name="T23" fmla="*/ 347 h 1324"/>
                <a:gd name="T24" fmla="*/ 1022 w 1861"/>
                <a:gd name="T25" fmla="*/ 306 h 1324"/>
                <a:gd name="T26" fmla="*/ 992 w 1861"/>
                <a:gd name="T27" fmla="*/ 251 h 1324"/>
                <a:gd name="T28" fmla="*/ 919 w 1861"/>
                <a:gd name="T29" fmla="*/ 239 h 1324"/>
                <a:gd name="T30" fmla="*/ 926 w 1861"/>
                <a:gd name="T31" fmla="*/ 153 h 1324"/>
                <a:gd name="T32" fmla="*/ 803 w 1861"/>
                <a:gd name="T33" fmla="*/ 33 h 1324"/>
                <a:gd name="T34" fmla="*/ 600 w 1861"/>
                <a:gd name="T35" fmla="*/ 71 h 1324"/>
                <a:gd name="T36" fmla="*/ 778 w 1861"/>
                <a:gd name="T37" fmla="*/ 144 h 1324"/>
                <a:gd name="T38" fmla="*/ 757 w 1861"/>
                <a:gd name="T39" fmla="*/ 214 h 1324"/>
                <a:gd name="T40" fmla="*/ 677 w 1861"/>
                <a:gd name="T41" fmla="*/ 183 h 1324"/>
                <a:gd name="T42" fmla="*/ 603 w 1861"/>
                <a:gd name="T43" fmla="*/ 197 h 1324"/>
                <a:gd name="T44" fmla="*/ 593 w 1861"/>
                <a:gd name="T45" fmla="*/ 78 h 1324"/>
                <a:gd name="T46" fmla="*/ 395 w 1861"/>
                <a:gd name="T47" fmla="*/ 42 h 1324"/>
                <a:gd name="T48" fmla="*/ 417 w 1861"/>
                <a:gd name="T49" fmla="*/ 104 h 1324"/>
                <a:gd name="T50" fmla="*/ 303 w 1861"/>
                <a:gd name="T51" fmla="*/ 164 h 1324"/>
                <a:gd name="T52" fmla="*/ 331 w 1861"/>
                <a:gd name="T53" fmla="*/ 199 h 1324"/>
                <a:gd name="T54" fmla="*/ 345 w 1861"/>
                <a:gd name="T55" fmla="*/ 341 h 1324"/>
                <a:gd name="T56" fmla="*/ 246 w 1861"/>
                <a:gd name="T57" fmla="*/ 191 h 1324"/>
                <a:gd name="T58" fmla="*/ 197 w 1861"/>
                <a:gd name="T59" fmla="*/ 5 h 1324"/>
                <a:gd name="T60" fmla="*/ 21 w 1861"/>
                <a:gd name="T61" fmla="*/ 303 h 1324"/>
                <a:gd name="T62" fmla="*/ 94 w 1861"/>
                <a:gd name="T63" fmla="*/ 402 h 1324"/>
                <a:gd name="T64" fmla="*/ 341 w 1861"/>
                <a:gd name="T65" fmla="*/ 454 h 1324"/>
                <a:gd name="T66" fmla="*/ 626 w 1861"/>
                <a:gd name="T67" fmla="*/ 506 h 1324"/>
                <a:gd name="T68" fmla="*/ 601 w 1861"/>
                <a:gd name="T69" fmla="*/ 452 h 1324"/>
                <a:gd name="T70" fmla="*/ 743 w 1861"/>
                <a:gd name="T71" fmla="*/ 412 h 1324"/>
                <a:gd name="T72" fmla="*/ 879 w 1861"/>
                <a:gd name="T73" fmla="*/ 518 h 1324"/>
                <a:gd name="T74" fmla="*/ 896 w 1861"/>
                <a:gd name="T75" fmla="*/ 602 h 1324"/>
                <a:gd name="T76" fmla="*/ 946 w 1861"/>
                <a:gd name="T77" fmla="*/ 620 h 1324"/>
                <a:gd name="T78" fmla="*/ 1025 w 1861"/>
                <a:gd name="T79" fmla="*/ 628 h 1324"/>
                <a:gd name="T80" fmla="*/ 1131 w 1861"/>
                <a:gd name="T81" fmla="*/ 777 h 1324"/>
                <a:gd name="T82" fmla="*/ 1048 w 1861"/>
                <a:gd name="T83" fmla="*/ 950 h 1324"/>
                <a:gd name="T84" fmla="*/ 816 w 1861"/>
                <a:gd name="T85" fmla="*/ 971 h 1324"/>
                <a:gd name="T86" fmla="*/ 903 w 1861"/>
                <a:gd name="T87" fmla="*/ 1073 h 1324"/>
                <a:gd name="T88" fmla="*/ 1198 w 1861"/>
                <a:gd name="T89" fmla="*/ 1137 h 1324"/>
                <a:gd name="T90" fmla="*/ 1274 w 1861"/>
                <a:gd name="T91" fmla="*/ 1245 h 1324"/>
                <a:gd name="T92" fmla="*/ 1538 w 1861"/>
                <a:gd name="T93" fmla="*/ 1307 h 1324"/>
                <a:gd name="T94" fmla="*/ 1408 w 1861"/>
                <a:gd name="T95" fmla="*/ 1143 h 1324"/>
                <a:gd name="T96" fmla="*/ 1648 w 1861"/>
                <a:gd name="T97" fmla="*/ 1252 h 1324"/>
                <a:gd name="T98" fmla="*/ 1659 w 1861"/>
                <a:gd name="T99" fmla="*/ 1148 h 1324"/>
                <a:gd name="T100" fmla="*/ 1535 w 1861"/>
                <a:gd name="T101" fmla="*/ 1025 h 1324"/>
                <a:gd name="T102" fmla="*/ 1466 w 1861"/>
                <a:gd name="T103" fmla="*/ 886 h 1324"/>
                <a:gd name="T104" fmla="*/ 1579 w 1861"/>
                <a:gd name="T105" fmla="*/ 907 h 1324"/>
                <a:gd name="T106" fmla="*/ 1706 w 1861"/>
                <a:gd name="T107" fmla="*/ 931 h 1324"/>
                <a:gd name="T108" fmla="*/ 1777 w 1861"/>
                <a:gd name="T109" fmla="*/ 864 h 1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861" h="1324">
                  <a:moveTo>
                    <a:pt x="1834" y="793"/>
                  </a:moveTo>
                  <a:cubicBezTo>
                    <a:pt x="1823" y="792"/>
                    <a:pt x="1809" y="793"/>
                    <a:pt x="1802" y="785"/>
                  </a:cubicBezTo>
                  <a:cubicBezTo>
                    <a:pt x="1794" y="776"/>
                    <a:pt x="1789" y="781"/>
                    <a:pt x="1783" y="786"/>
                  </a:cubicBezTo>
                  <a:cubicBezTo>
                    <a:pt x="1778" y="790"/>
                    <a:pt x="1751" y="802"/>
                    <a:pt x="1756" y="788"/>
                  </a:cubicBezTo>
                  <a:cubicBezTo>
                    <a:pt x="1762" y="774"/>
                    <a:pt x="1782" y="762"/>
                    <a:pt x="1770" y="761"/>
                  </a:cubicBezTo>
                  <a:cubicBezTo>
                    <a:pt x="1759" y="760"/>
                    <a:pt x="1761" y="763"/>
                    <a:pt x="1752" y="772"/>
                  </a:cubicBezTo>
                  <a:cubicBezTo>
                    <a:pt x="1743" y="780"/>
                    <a:pt x="1743" y="799"/>
                    <a:pt x="1733" y="796"/>
                  </a:cubicBezTo>
                  <a:cubicBezTo>
                    <a:pt x="1722" y="794"/>
                    <a:pt x="1741" y="774"/>
                    <a:pt x="1738" y="763"/>
                  </a:cubicBezTo>
                  <a:cubicBezTo>
                    <a:pt x="1735" y="752"/>
                    <a:pt x="1734" y="744"/>
                    <a:pt x="1719" y="741"/>
                  </a:cubicBezTo>
                  <a:cubicBezTo>
                    <a:pt x="1704" y="737"/>
                    <a:pt x="1694" y="741"/>
                    <a:pt x="1680" y="728"/>
                  </a:cubicBezTo>
                  <a:cubicBezTo>
                    <a:pt x="1666" y="715"/>
                    <a:pt x="1657" y="718"/>
                    <a:pt x="1647" y="706"/>
                  </a:cubicBezTo>
                  <a:cubicBezTo>
                    <a:pt x="1636" y="694"/>
                    <a:pt x="1618" y="663"/>
                    <a:pt x="1607" y="673"/>
                  </a:cubicBezTo>
                  <a:cubicBezTo>
                    <a:pt x="1596" y="682"/>
                    <a:pt x="1593" y="694"/>
                    <a:pt x="1582" y="686"/>
                  </a:cubicBezTo>
                  <a:cubicBezTo>
                    <a:pt x="1571" y="677"/>
                    <a:pt x="1565" y="674"/>
                    <a:pt x="1562" y="684"/>
                  </a:cubicBezTo>
                  <a:cubicBezTo>
                    <a:pt x="1559" y="693"/>
                    <a:pt x="1540" y="704"/>
                    <a:pt x="1542" y="688"/>
                  </a:cubicBezTo>
                  <a:cubicBezTo>
                    <a:pt x="1545" y="672"/>
                    <a:pt x="1540" y="674"/>
                    <a:pt x="1535" y="675"/>
                  </a:cubicBezTo>
                  <a:cubicBezTo>
                    <a:pt x="1530" y="676"/>
                    <a:pt x="1524" y="670"/>
                    <a:pt x="1524" y="657"/>
                  </a:cubicBezTo>
                  <a:cubicBezTo>
                    <a:pt x="1524" y="644"/>
                    <a:pt x="1517" y="628"/>
                    <a:pt x="1501" y="628"/>
                  </a:cubicBezTo>
                  <a:cubicBezTo>
                    <a:pt x="1484" y="628"/>
                    <a:pt x="1480" y="646"/>
                    <a:pt x="1473" y="641"/>
                  </a:cubicBezTo>
                  <a:cubicBezTo>
                    <a:pt x="1465" y="635"/>
                    <a:pt x="1461" y="627"/>
                    <a:pt x="1445" y="626"/>
                  </a:cubicBezTo>
                  <a:cubicBezTo>
                    <a:pt x="1429" y="624"/>
                    <a:pt x="1420" y="620"/>
                    <a:pt x="1409" y="618"/>
                  </a:cubicBezTo>
                  <a:cubicBezTo>
                    <a:pt x="1398" y="616"/>
                    <a:pt x="1382" y="601"/>
                    <a:pt x="1416" y="601"/>
                  </a:cubicBezTo>
                  <a:cubicBezTo>
                    <a:pt x="1449" y="601"/>
                    <a:pt x="1440" y="596"/>
                    <a:pt x="1429" y="592"/>
                  </a:cubicBezTo>
                  <a:cubicBezTo>
                    <a:pt x="1417" y="588"/>
                    <a:pt x="1415" y="575"/>
                    <a:pt x="1404" y="578"/>
                  </a:cubicBezTo>
                  <a:cubicBezTo>
                    <a:pt x="1393" y="581"/>
                    <a:pt x="1373" y="593"/>
                    <a:pt x="1368" y="587"/>
                  </a:cubicBezTo>
                  <a:cubicBezTo>
                    <a:pt x="1364" y="580"/>
                    <a:pt x="1368" y="574"/>
                    <a:pt x="1382" y="571"/>
                  </a:cubicBezTo>
                  <a:cubicBezTo>
                    <a:pt x="1396" y="567"/>
                    <a:pt x="1424" y="578"/>
                    <a:pt x="1423" y="567"/>
                  </a:cubicBezTo>
                  <a:cubicBezTo>
                    <a:pt x="1422" y="557"/>
                    <a:pt x="1406" y="549"/>
                    <a:pt x="1397" y="550"/>
                  </a:cubicBezTo>
                  <a:cubicBezTo>
                    <a:pt x="1389" y="551"/>
                    <a:pt x="1366" y="560"/>
                    <a:pt x="1365" y="553"/>
                  </a:cubicBezTo>
                  <a:cubicBezTo>
                    <a:pt x="1364" y="547"/>
                    <a:pt x="1373" y="537"/>
                    <a:pt x="1392" y="538"/>
                  </a:cubicBezTo>
                  <a:cubicBezTo>
                    <a:pt x="1411" y="540"/>
                    <a:pt x="1412" y="540"/>
                    <a:pt x="1429" y="547"/>
                  </a:cubicBezTo>
                  <a:cubicBezTo>
                    <a:pt x="1445" y="555"/>
                    <a:pt x="1459" y="553"/>
                    <a:pt x="1482" y="551"/>
                  </a:cubicBezTo>
                  <a:cubicBezTo>
                    <a:pt x="1506" y="549"/>
                    <a:pt x="1505" y="540"/>
                    <a:pt x="1491" y="532"/>
                  </a:cubicBezTo>
                  <a:cubicBezTo>
                    <a:pt x="1477" y="524"/>
                    <a:pt x="1472" y="529"/>
                    <a:pt x="1464" y="519"/>
                  </a:cubicBezTo>
                  <a:cubicBezTo>
                    <a:pt x="1456" y="509"/>
                    <a:pt x="1444" y="507"/>
                    <a:pt x="1439" y="513"/>
                  </a:cubicBezTo>
                  <a:cubicBezTo>
                    <a:pt x="1435" y="518"/>
                    <a:pt x="1426" y="517"/>
                    <a:pt x="1413" y="513"/>
                  </a:cubicBezTo>
                  <a:cubicBezTo>
                    <a:pt x="1401" y="508"/>
                    <a:pt x="1380" y="494"/>
                    <a:pt x="1402" y="492"/>
                  </a:cubicBezTo>
                  <a:cubicBezTo>
                    <a:pt x="1423" y="490"/>
                    <a:pt x="1426" y="477"/>
                    <a:pt x="1439" y="485"/>
                  </a:cubicBezTo>
                  <a:cubicBezTo>
                    <a:pt x="1452" y="492"/>
                    <a:pt x="1473" y="492"/>
                    <a:pt x="1474" y="479"/>
                  </a:cubicBezTo>
                  <a:cubicBezTo>
                    <a:pt x="1475" y="466"/>
                    <a:pt x="1452" y="457"/>
                    <a:pt x="1445" y="442"/>
                  </a:cubicBezTo>
                  <a:cubicBezTo>
                    <a:pt x="1437" y="427"/>
                    <a:pt x="1420" y="416"/>
                    <a:pt x="1413" y="419"/>
                  </a:cubicBezTo>
                  <a:cubicBezTo>
                    <a:pt x="1407" y="422"/>
                    <a:pt x="1401" y="421"/>
                    <a:pt x="1401" y="432"/>
                  </a:cubicBezTo>
                  <a:cubicBezTo>
                    <a:pt x="1401" y="443"/>
                    <a:pt x="1393" y="450"/>
                    <a:pt x="1387" y="449"/>
                  </a:cubicBezTo>
                  <a:cubicBezTo>
                    <a:pt x="1380" y="448"/>
                    <a:pt x="1378" y="456"/>
                    <a:pt x="1370" y="455"/>
                  </a:cubicBezTo>
                  <a:cubicBezTo>
                    <a:pt x="1363" y="454"/>
                    <a:pt x="1345" y="465"/>
                    <a:pt x="1341" y="470"/>
                  </a:cubicBezTo>
                  <a:cubicBezTo>
                    <a:pt x="1338" y="474"/>
                    <a:pt x="1316" y="481"/>
                    <a:pt x="1309" y="481"/>
                  </a:cubicBezTo>
                  <a:cubicBezTo>
                    <a:pt x="1303" y="481"/>
                    <a:pt x="1296" y="472"/>
                    <a:pt x="1313" y="469"/>
                  </a:cubicBezTo>
                  <a:cubicBezTo>
                    <a:pt x="1331" y="465"/>
                    <a:pt x="1346" y="457"/>
                    <a:pt x="1354" y="449"/>
                  </a:cubicBezTo>
                  <a:cubicBezTo>
                    <a:pt x="1363" y="442"/>
                    <a:pt x="1373" y="434"/>
                    <a:pt x="1365" y="434"/>
                  </a:cubicBezTo>
                  <a:cubicBezTo>
                    <a:pt x="1358" y="434"/>
                    <a:pt x="1343" y="429"/>
                    <a:pt x="1331" y="438"/>
                  </a:cubicBezTo>
                  <a:cubicBezTo>
                    <a:pt x="1319" y="448"/>
                    <a:pt x="1288" y="473"/>
                    <a:pt x="1287" y="460"/>
                  </a:cubicBezTo>
                  <a:cubicBezTo>
                    <a:pt x="1286" y="447"/>
                    <a:pt x="1284" y="444"/>
                    <a:pt x="1307" y="435"/>
                  </a:cubicBezTo>
                  <a:cubicBezTo>
                    <a:pt x="1330" y="427"/>
                    <a:pt x="1335" y="420"/>
                    <a:pt x="1353" y="420"/>
                  </a:cubicBezTo>
                  <a:cubicBezTo>
                    <a:pt x="1372" y="420"/>
                    <a:pt x="1359" y="405"/>
                    <a:pt x="1381" y="408"/>
                  </a:cubicBezTo>
                  <a:cubicBezTo>
                    <a:pt x="1404" y="412"/>
                    <a:pt x="1404" y="407"/>
                    <a:pt x="1393" y="400"/>
                  </a:cubicBezTo>
                  <a:cubicBezTo>
                    <a:pt x="1382" y="392"/>
                    <a:pt x="1376" y="380"/>
                    <a:pt x="1366" y="380"/>
                  </a:cubicBezTo>
                  <a:cubicBezTo>
                    <a:pt x="1356" y="380"/>
                    <a:pt x="1344" y="365"/>
                    <a:pt x="1329" y="366"/>
                  </a:cubicBezTo>
                  <a:cubicBezTo>
                    <a:pt x="1313" y="368"/>
                    <a:pt x="1294" y="378"/>
                    <a:pt x="1294" y="370"/>
                  </a:cubicBezTo>
                  <a:cubicBezTo>
                    <a:pt x="1294" y="361"/>
                    <a:pt x="1283" y="364"/>
                    <a:pt x="1274" y="365"/>
                  </a:cubicBezTo>
                  <a:cubicBezTo>
                    <a:pt x="1264" y="366"/>
                    <a:pt x="1245" y="374"/>
                    <a:pt x="1261" y="379"/>
                  </a:cubicBezTo>
                  <a:cubicBezTo>
                    <a:pt x="1277" y="385"/>
                    <a:pt x="1278" y="401"/>
                    <a:pt x="1268" y="400"/>
                  </a:cubicBezTo>
                  <a:cubicBezTo>
                    <a:pt x="1259" y="399"/>
                    <a:pt x="1264" y="391"/>
                    <a:pt x="1252" y="387"/>
                  </a:cubicBezTo>
                  <a:cubicBezTo>
                    <a:pt x="1240" y="383"/>
                    <a:pt x="1238" y="379"/>
                    <a:pt x="1231" y="393"/>
                  </a:cubicBezTo>
                  <a:cubicBezTo>
                    <a:pt x="1223" y="407"/>
                    <a:pt x="1212" y="421"/>
                    <a:pt x="1209" y="436"/>
                  </a:cubicBezTo>
                  <a:cubicBezTo>
                    <a:pt x="1206" y="451"/>
                    <a:pt x="1192" y="460"/>
                    <a:pt x="1194" y="444"/>
                  </a:cubicBezTo>
                  <a:cubicBezTo>
                    <a:pt x="1196" y="428"/>
                    <a:pt x="1209" y="414"/>
                    <a:pt x="1210" y="405"/>
                  </a:cubicBezTo>
                  <a:cubicBezTo>
                    <a:pt x="1211" y="397"/>
                    <a:pt x="1192" y="395"/>
                    <a:pt x="1189" y="407"/>
                  </a:cubicBezTo>
                  <a:cubicBezTo>
                    <a:pt x="1186" y="419"/>
                    <a:pt x="1167" y="432"/>
                    <a:pt x="1167" y="418"/>
                  </a:cubicBezTo>
                  <a:cubicBezTo>
                    <a:pt x="1167" y="404"/>
                    <a:pt x="1176" y="387"/>
                    <a:pt x="1192" y="386"/>
                  </a:cubicBezTo>
                  <a:cubicBezTo>
                    <a:pt x="1208" y="385"/>
                    <a:pt x="1244" y="381"/>
                    <a:pt x="1245" y="364"/>
                  </a:cubicBezTo>
                  <a:cubicBezTo>
                    <a:pt x="1246" y="347"/>
                    <a:pt x="1268" y="337"/>
                    <a:pt x="1248" y="335"/>
                  </a:cubicBezTo>
                  <a:cubicBezTo>
                    <a:pt x="1227" y="333"/>
                    <a:pt x="1215" y="333"/>
                    <a:pt x="1210" y="340"/>
                  </a:cubicBezTo>
                  <a:cubicBezTo>
                    <a:pt x="1206" y="346"/>
                    <a:pt x="1195" y="357"/>
                    <a:pt x="1183" y="357"/>
                  </a:cubicBezTo>
                  <a:cubicBezTo>
                    <a:pt x="1172" y="357"/>
                    <a:pt x="1160" y="364"/>
                    <a:pt x="1152" y="370"/>
                  </a:cubicBezTo>
                  <a:cubicBezTo>
                    <a:pt x="1145" y="375"/>
                    <a:pt x="1125" y="393"/>
                    <a:pt x="1123" y="380"/>
                  </a:cubicBezTo>
                  <a:cubicBezTo>
                    <a:pt x="1121" y="368"/>
                    <a:pt x="1135" y="359"/>
                    <a:pt x="1148" y="350"/>
                  </a:cubicBezTo>
                  <a:cubicBezTo>
                    <a:pt x="1161" y="342"/>
                    <a:pt x="1178" y="335"/>
                    <a:pt x="1188" y="337"/>
                  </a:cubicBezTo>
                  <a:cubicBezTo>
                    <a:pt x="1197" y="340"/>
                    <a:pt x="1194" y="329"/>
                    <a:pt x="1206" y="323"/>
                  </a:cubicBezTo>
                  <a:cubicBezTo>
                    <a:pt x="1218" y="318"/>
                    <a:pt x="1215" y="308"/>
                    <a:pt x="1207" y="300"/>
                  </a:cubicBezTo>
                  <a:cubicBezTo>
                    <a:pt x="1200" y="291"/>
                    <a:pt x="1184" y="284"/>
                    <a:pt x="1169" y="278"/>
                  </a:cubicBezTo>
                  <a:cubicBezTo>
                    <a:pt x="1154" y="273"/>
                    <a:pt x="1137" y="266"/>
                    <a:pt x="1124" y="269"/>
                  </a:cubicBezTo>
                  <a:cubicBezTo>
                    <a:pt x="1111" y="271"/>
                    <a:pt x="1111" y="273"/>
                    <a:pt x="1104" y="289"/>
                  </a:cubicBezTo>
                  <a:cubicBezTo>
                    <a:pt x="1096" y="305"/>
                    <a:pt x="1091" y="313"/>
                    <a:pt x="1087" y="328"/>
                  </a:cubicBezTo>
                  <a:cubicBezTo>
                    <a:pt x="1082" y="343"/>
                    <a:pt x="1061" y="371"/>
                    <a:pt x="1066" y="347"/>
                  </a:cubicBezTo>
                  <a:cubicBezTo>
                    <a:pt x="1072" y="323"/>
                    <a:pt x="1085" y="320"/>
                    <a:pt x="1085" y="302"/>
                  </a:cubicBezTo>
                  <a:cubicBezTo>
                    <a:pt x="1085" y="284"/>
                    <a:pt x="1068" y="297"/>
                    <a:pt x="1064" y="308"/>
                  </a:cubicBezTo>
                  <a:cubicBezTo>
                    <a:pt x="1060" y="320"/>
                    <a:pt x="1045" y="346"/>
                    <a:pt x="1043" y="337"/>
                  </a:cubicBezTo>
                  <a:cubicBezTo>
                    <a:pt x="1040" y="329"/>
                    <a:pt x="1054" y="312"/>
                    <a:pt x="1057" y="300"/>
                  </a:cubicBezTo>
                  <a:cubicBezTo>
                    <a:pt x="1059" y="288"/>
                    <a:pt x="1059" y="282"/>
                    <a:pt x="1052" y="276"/>
                  </a:cubicBezTo>
                  <a:cubicBezTo>
                    <a:pt x="1046" y="271"/>
                    <a:pt x="1037" y="277"/>
                    <a:pt x="1036" y="290"/>
                  </a:cubicBezTo>
                  <a:cubicBezTo>
                    <a:pt x="1035" y="303"/>
                    <a:pt x="1022" y="318"/>
                    <a:pt x="1022" y="306"/>
                  </a:cubicBezTo>
                  <a:cubicBezTo>
                    <a:pt x="1022" y="294"/>
                    <a:pt x="1032" y="275"/>
                    <a:pt x="1023" y="268"/>
                  </a:cubicBezTo>
                  <a:cubicBezTo>
                    <a:pt x="1015" y="260"/>
                    <a:pt x="1005" y="272"/>
                    <a:pt x="997" y="272"/>
                  </a:cubicBezTo>
                  <a:cubicBezTo>
                    <a:pt x="990" y="272"/>
                    <a:pt x="989" y="277"/>
                    <a:pt x="990" y="287"/>
                  </a:cubicBezTo>
                  <a:cubicBezTo>
                    <a:pt x="991" y="297"/>
                    <a:pt x="989" y="304"/>
                    <a:pt x="981" y="300"/>
                  </a:cubicBezTo>
                  <a:cubicBezTo>
                    <a:pt x="974" y="295"/>
                    <a:pt x="981" y="285"/>
                    <a:pt x="969" y="284"/>
                  </a:cubicBezTo>
                  <a:cubicBezTo>
                    <a:pt x="958" y="283"/>
                    <a:pt x="952" y="268"/>
                    <a:pt x="963" y="261"/>
                  </a:cubicBezTo>
                  <a:cubicBezTo>
                    <a:pt x="974" y="255"/>
                    <a:pt x="988" y="263"/>
                    <a:pt x="992" y="251"/>
                  </a:cubicBezTo>
                  <a:cubicBezTo>
                    <a:pt x="996" y="240"/>
                    <a:pt x="1020" y="252"/>
                    <a:pt x="1022" y="240"/>
                  </a:cubicBezTo>
                  <a:cubicBezTo>
                    <a:pt x="1024" y="227"/>
                    <a:pt x="1018" y="216"/>
                    <a:pt x="1008" y="216"/>
                  </a:cubicBezTo>
                  <a:cubicBezTo>
                    <a:pt x="999" y="216"/>
                    <a:pt x="978" y="209"/>
                    <a:pt x="973" y="212"/>
                  </a:cubicBezTo>
                  <a:cubicBezTo>
                    <a:pt x="967" y="214"/>
                    <a:pt x="964" y="229"/>
                    <a:pt x="952" y="230"/>
                  </a:cubicBezTo>
                  <a:cubicBezTo>
                    <a:pt x="940" y="231"/>
                    <a:pt x="934" y="233"/>
                    <a:pt x="932" y="244"/>
                  </a:cubicBezTo>
                  <a:cubicBezTo>
                    <a:pt x="930" y="255"/>
                    <a:pt x="906" y="273"/>
                    <a:pt x="904" y="262"/>
                  </a:cubicBezTo>
                  <a:cubicBezTo>
                    <a:pt x="902" y="251"/>
                    <a:pt x="916" y="249"/>
                    <a:pt x="919" y="239"/>
                  </a:cubicBezTo>
                  <a:cubicBezTo>
                    <a:pt x="922" y="228"/>
                    <a:pt x="936" y="219"/>
                    <a:pt x="929" y="217"/>
                  </a:cubicBezTo>
                  <a:cubicBezTo>
                    <a:pt x="921" y="215"/>
                    <a:pt x="911" y="220"/>
                    <a:pt x="908" y="228"/>
                  </a:cubicBezTo>
                  <a:cubicBezTo>
                    <a:pt x="905" y="235"/>
                    <a:pt x="882" y="243"/>
                    <a:pt x="882" y="235"/>
                  </a:cubicBezTo>
                  <a:cubicBezTo>
                    <a:pt x="882" y="228"/>
                    <a:pt x="891" y="211"/>
                    <a:pt x="908" y="208"/>
                  </a:cubicBezTo>
                  <a:cubicBezTo>
                    <a:pt x="925" y="206"/>
                    <a:pt x="965" y="212"/>
                    <a:pt x="966" y="192"/>
                  </a:cubicBezTo>
                  <a:cubicBezTo>
                    <a:pt x="967" y="173"/>
                    <a:pt x="973" y="178"/>
                    <a:pt x="954" y="168"/>
                  </a:cubicBezTo>
                  <a:cubicBezTo>
                    <a:pt x="936" y="157"/>
                    <a:pt x="930" y="159"/>
                    <a:pt x="926" y="153"/>
                  </a:cubicBezTo>
                  <a:cubicBezTo>
                    <a:pt x="923" y="146"/>
                    <a:pt x="910" y="144"/>
                    <a:pt x="904" y="150"/>
                  </a:cubicBezTo>
                  <a:cubicBezTo>
                    <a:pt x="897" y="157"/>
                    <a:pt x="887" y="157"/>
                    <a:pt x="876" y="150"/>
                  </a:cubicBezTo>
                  <a:cubicBezTo>
                    <a:pt x="865" y="144"/>
                    <a:pt x="850" y="131"/>
                    <a:pt x="861" y="129"/>
                  </a:cubicBezTo>
                  <a:cubicBezTo>
                    <a:pt x="872" y="127"/>
                    <a:pt x="900" y="130"/>
                    <a:pt x="896" y="115"/>
                  </a:cubicBezTo>
                  <a:cubicBezTo>
                    <a:pt x="893" y="100"/>
                    <a:pt x="900" y="105"/>
                    <a:pt x="874" y="86"/>
                  </a:cubicBezTo>
                  <a:cubicBezTo>
                    <a:pt x="848" y="67"/>
                    <a:pt x="860" y="59"/>
                    <a:pt x="840" y="51"/>
                  </a:cubicBezTo>
                  <a:cubicBezTo>
                    <a:pt x="821" y="44"/>
                    <a:pt x="821" y="43"/>
                    <a:pt x="803" y="33"/>
                  </a:cubicBezTo>
                  <a:cubicBezTo>
                    <a:pt x="785" y="24"/>
                    <a:pt x="778" y="15"/>
                    <a:pt x="761" y="19"/>
                  </a:cubicBezTo>
                  <a:cubicBezTo>
                    <a:pt x="744" y="24"/>
                    <a:pt x="733" y="25"/>
                    <a:pt x="706" y="25"/>
                  </a:cubicBezTo>
                  <a:cubicBezTo>
                    <a:pt x="679" y="25"/>
                    <a:pt x="672" y="19"/>
                    <a:pt x="659" y="19"/>
                  </a:cubicBezTo>
                  <a:cubicBezTo>
                    <a:pt x="646" y="19"/>
                    <a:pt x="641" y="5"/>
                    <a:pt x="624" y="6"/>
                  </a:cubicBezTo>
                  <a:cubicBezTo>
                    <a:pt x="608" y="7"/>
                    <a:pt x="598" y="3"/>
                    <a:pt x="598" y="13"/>
                  </a:cubicBezTo>
                  <a:cubicBezTo>
                    <a:pt x="598" y="22"/>
                    <a:pt x="603" y="30"/>
                    <a:pt x="595" y="34"/>
                  </a:cubicBezTo>
                  <a:cubicBezTo>
                    <a:pt x="588" y="39"/>
                    <a:pt x="587" y="70"/>
                    <a:pt x="600" y="71"/>
                  </a:cubicBezTo>
                  <a:cubicBezTo>
                    <a:pt x="613" y="72"/>
                    <a:pt x="634" y="69"/>
                    <a:pt x="643" y="101"/>
                  </a:cubicBezTo>
                  <a:cubicBezTo>
                    <a:pt x="651" y="133"/>
                    <a:pt x="665" y="139"/>
                    <a:pt x="679" y="139"/>
                  </a:cubicBezTo>
                  <a:cubicBezTo>
                    <a:pt x="693" y="139"/>
                    <a:pt x="715" y="133"/>
                    <a:pt x="731" y="130"/>
                  </a:cubicBezTo>
                  <a:cubicBezTo>
                    <a:pt x="747" y="127"/>
                    <a:pt x="750" y="120"/>
                    <a:pt x="767" y="120"/>
                  </a:cubicBezTo>
                  <a:cubicBezTo>
                    <a:pt x="785" y="120"/>
                    <a:pt x="832" y="112"/>
                    <a:pt x="832" y="125"/>
                  </a:cubicBezTo>
                  <a:cubicBezTo>
                    <a:pt x="832" y="137"/>
                    <a:pt x="825" y="137"/>
                    <a:pt x="809" y="137"/>
                  </a:cubicBezTo>
                  <a:cubicBezTo>
                    <a:pt x="793" y="137"/>
                    <a:pt x="795" y="144"/>
                    <a:pt x="778" y="144"/>
                  </a:cubicBezTo>
                  <a:cubicBezTo>
                    <a:pt x="761" y="144"/>
                    <a:pt x="749" y="150"/>
                    <a:pt x="748" y="160"/>
                  </a:cubicBezTo>
                  <a:cubicBezTo>
                    <a:pt x="747" y="170"/>
                    <a:pt x="747" y="174"/>
                    <a:pt x="765" y="179"/>
                  </a:cubicBezTo>
                  <a:cubicBezTo>
                    <a:pt x="784" y="185"/>
                    <a:pt x="803" y="191"/>
                    <a:pt x="819" y="196"/>
                  </a:cubicBezTo>
                  <a:cubicBezTo>
                    <a:pt x="835" y="200"/>
                    <a:pt x="844" y="209"/>
                    <a:pt x="827" y="209"/>
                  </a:cubicBezTo>
                  <a:cubicBezTo>
                    <a:pt x="809" y="209"/>
                    <a:pt x="794" y="196"/>
                    <a:pt x="782" y="192"/>
                  </a:cubicBezTo>
                  <a:cubicBezTo>
                    <a:pt x="771" y="189"/>
                    <a:pt x="751" y="190"/>
                    <a:pt x="747" y="192"/>
                  </a:cubicBezTo>
                  <a:cubicBezTo>
                    <a:pt x="743" y="194"/>
                    <a:pt x="746" y="207"/>
                    <a:pt x="757" y="214"/>
                  </a:cubicBezTo>
                  <a:cubicBezTo>
                    <a:pt x="767" y="220"/>
                    <a:pt x="773" y="233"/>
                    <a:pt x="779" y="236"/>
                  </a:cubicBezTo>
                  <a:cubicBezTo>
                    <a:pt x="786" y="240"/>
                    <a:pt x="781" y="249"/>
                    <a:pt x="764" y="249"/>
                  </a:cubicBezTo>
                  <a:cubicBezTo>
                    <a:pt x="747" y="249"/>
                    <a:pt x="753" y="232"/>
                    <a:pt x="735" y="231"/>
                  </a:cubicBezTo>
                  <a:cubicBezTo>
                    <a:pt x="717" y="230"/>
                    <a:pt x="699" y="230"/>
                    <a:pt x="711" y="219"/>
                  </a:cubicBezTo>
                  <a:cubicBezTo>
                    <a:pt x="724" y="208"/>
                    <a:pt x="728" y="205"/>
                    <a:pt x="725" y="194"/>
                  </a:cubicBezTo>
                  <a:cubicBezTo>
                    <a:pt x="723" y="184"/>
                    <a:pt x="706" y="183"/>
                    <a:pt x="699" y="180"/>
                  </a:cubicBezTo>
                  <a:cubicBezTo>
                    <a:pt x="691" y="178"/>
                    <a:pt x="679" y="173"/>
                    <a:pt x="677" y="183"/>
                  </a:cubicBezTo>
                  <a:cubicBezTo>
                    <a:pt x="675" y="192"/>
                    <a:pt x="662" y="206"/>
                    <a:pt x="659" y="198"/>
                  </a:cubicBezTo>
                  <a:cubicBezTo>
                    <a:pt x="656" y="189"/>
                    <a:pt x="659" y="174"/>
                    <a:pt x="651" y="175"/>
                  </a:cubicBezTo>
                  <a:cubicBezTo>
                    <a:pt x="644" y="176"/>
                    <a:pt x="639" y="182"/>
                    <a:pt x="638" y="191"/>
                  </a:cubicBezTo>
                  <a:cubicBezTo>
                    <a:pt x="637" y="201"/>
                    <a:pt x="633" y="217"/>
                    <a:pt x="615" y="223"/>
                  </a:cubicBezTo>
                  <a:cubicBezTo>
                    <a:pt x="596" y="230"/>
                    <a:pt x="598" y="246"/>
                    <a:pt x="592" y="240"/>
                  </a:cubicBezTo>
                  <a:cubicBezTo>
                    <a:pt x="587" y="233"/>
                    <a:pt x="582" y="218"/>
                    <a:pt x="594" y="215"/>
                  </a:cubicBezTo>
                  <a:cubicBezTo>
                    <a:pt x="606" y="212"/>
                    <a:pt x="603" y="203"/>
                    <a:pt x="603" y="197"/>
                  </a:cubicBezTo>
                  <a:cubicBezTo>
                    <a:pt x="603" y="190"/>
                    <a:pt x="619" y="186"/>
                    <a:pt x="619" y="175"/>
                  </a:cubicBezTo>
                  <a:cubicBezTo>
                    <a:pt x="619" y="164"/>
                    <a:pt x="606" y="162"/>
                    <a:pt x="598" y="178"/>
                  </a:cubicBezTo>
                  <a:cubicBezTo>
                    <a:pt x="589" y="194"/>
                    <a:pt x="565" y="209"/>
                    <a:pt x="570" y="196"/>
                  </a:cubicBezTo>
                  <a:cubicBezTo>
                    <a:pt x="574" y="182"/>
                    <a:pt x="587" y="175"/>
                    <a:pt x="594" y="163"/>
                  </a:cubicBezTo>
                  <a:cubicBezTo>
                    <a:pt x="602" y="151"/>
                    <a:pt x="628" y="154"/>
                    <a:pt x="629" y="137"/>
                  </a:cubicBezTo>
                  <a:cubicBezTo>
                    <a:pt x="630" y="121"/>
                    <a:pt x="610" y="122"/>
                    <a:pt x="610" y="110"/>
                  </a:cubicBezTo>
                  <a:cubicBezTo>
                    <a:pt x="610" y="97"/>
                    <a:pt x="608" y="78"/>
                    <a:pt x="593" y="78"/>
                  </a:cubicBezTo>
                  <a:cubicBezTo>
                    <a:pt x="578" y="78"/>
                    <a:pt x="574" y="74"/>
                    <a:pt x="574" y="60"/>
                  </a:cubicBezTo>
                  <a:cubicBezTo>
                    <a:pt x="574" y="46"/>
                    <a:pt x="578" y="46"/>
                    <a:pt x="570" y="39"/>
                  </a:cubicBezTo>
                  <a:cubicBezTo>
                    <a:pt x="561" y="31"/>
                    <a:pt x="567" y="17"/>
                    <a:pt x="547" y="15"/>
                  </a:cubicBezTo>
                  <a:cubicBezTo>
                    <a:pt x="527" y="13"/>
                    <a:pt x="484" y="5"/>
                    <a:pt x="464" y="14"/>
                  </a:cubicBezTo>
                  <a:cubicBezTo>
                    <a:pt x="445" y="22"/>
                    <a:pt x="423" y="20"/>
                    <a:pt x="418" y="33"/>
                  </a:cubicBezTo>
                  <a:cubicBezTo>
                    <a:pt x="413" y="46"/>
                    <a:pt x="434" y="65"/>
                    <a:pt x="419" y="61"/>
                  </a:cubicBezTo>
                  <a:cubicBezTo>
                    <a:pt x="404" y="57"/>
                    <a:pt x="414" y="37"/>
                    <a:pt x="395" y="42"/>
                  </a:cubicBezTo>
                  <a:cubicBezTo>
                    <a:pt x="377" y="46"/>
                    <a:pt x="377" y="45"/>
                    <a:pt x="369" y="55"/>
                  </a:cubicBezTo>
                  <a:cubicBezTo>
                    <a:pt x="360" y="64"/>
                    <a:pt x="372" y="61"/>
                    <a:pt x="380" y="69"/>
                  </a:cubicBezTo>
                  <a:cubicBezTo>
                    <a:pt x="389" y="76"/>
                    <a:pt x="394" y="89"/>
                    <a:pt x="369" y="78"/>
                  </a:cubicBezTo>
                  <a:cubicBezTo>
                    <a:pt x="343" y="68"/>
                    <a:pt x="337" y="55"/>
                    <a:pt x="332" y="64"/>
                  </a:cubicBezTo>
                  <a:cubicBezTo>
                    <a:pt x="327" y="74"/>
                    <a:pt x="329" y="77"/>
                    <a:pt x="348" y="85"/>
                  </a:cubicBezTo>
                  <a:cubicBezTo>
                    <a:pt x="367" y="92"/>
                    <a:pt x="384" y="92"/>
                    <a:pt x="399" y="93"/>
                  </a:cubicBezTo>
                  <a:cubicBezTo>
                    <a:pt x="414" y="94"/>
                    <a:pt x="436" y="103"/>
                    <a:pt x="417" y="104"/>
                  </a:cubicBezTo>
                  <a:cubicBezTo>
                    <a:pt x="398" y="105"/>
                    <a:pt x="374" y="111"/>
                    <a:pt x="352" y="103"/>
                  </a:cubicBezTo>
                  <a:cubicBezTo>
                    <a:pt x="331" y="96"/>
                    <a:pt x="313" y="90"/>
                    <a:pt x="309" y="94"/>
                  </a:cubicBezTo>
                  <a:cubicBezTo>
                    <a:pt x="306" y="99"/>
                    <a:pt x="313" y="103"/>
                    <a:pt x="334" y="111"/>
                  </a:cubicBezTo>
                  <a:cubicBezTo>
                    <a:pt x="356" y="118"/>
                    <a:pt x="384" y="118"/>
                    <a:pt x="379" y="127"/>
                  </a:cubicBezTo>
                  <a:cubicBezTo>
                    <a:pt x="375" y="135"/>
                    <a:pt x="336" y="121"/>
                    <a:pt x="327" y="119"/>
                  </a:cubicBezTo>
                  <a:cubicBezTo>
                    <a:pt x="317" y="117"/>
                    <a:pt x="295" y="108"/>
                    <a:pt x="291" y="118"/>
                  </a:cubicBezTo>
                  <a:cubicBezTo>
                    <a:pt x="287" y="128"/>
                    <a:pt x="291" y="157"/>
                    <a:pt x="303" y="164"/>
                  </a:cubicBezTo>
                  <a:cubicBezTo>
                    <a:pt x="315" y="172"/>
                    <a:pt x="327" y="178"/>
                    <a:pt x="330" y="169"/>
                  </a:cubicBezTo>
                  <a:cubicBezTo>
                    <a:pt x="333" y="159"/>
                    <a:pt x="336" y="173"/>
                    <a:pt x="347" y="173"/>
                  </a:cubicBezTo>
                  <a:cubicBezTo>
                    <a:pt x="358" y="173"/>
                    <a:pt x="370" y="178"/>
                    <a:pt x="359" y="183"/>
                  </a:cubicBezTo>
                  <a:cubicBezTo>
                    <a:pt x="348" y="187"/>
                    <a:pt x="342" y="190"/>
                    <a:pt x="358" y="199"/>
                  </a:cubicBezTo>
                  <a:cubicBezTo>
                    <a:pt x="374" y="207"/>
                    <a:pt x="386" y="214"/>
                    <a:pt x="387" y="225"/>
                  </a:cubicBezTo>
                  <a:cubicBezTo>
                    <a:pt x="388" y="235"/>
                    <a:pt x="376" y="234"/>
                    <a:pt x="365" y="222"/>
                  </a:cubicBezTo>
                  <a:cubicBezTo>
                    <a:pt x="355" y="211"/>
                    <a:pt x="346" y="200"/>
                    <a:pt x="331" y="199"/>
                  </a:cubicBezTo>
                  <a:cubicBezTo>
                    <a:pt x="316" y="198"/>
                    <a:pt x="307" y="191"/>
                    <a:pt x="306" y="203"/>
                  </a:cubicBezTo>
                  <a:cubicBezTo>
                    <a:pt x="305" y="215"/>
                    <a:pt x="281" y="215"/>
                    <a:pt x="289" y="228"/>
                  </a:cubicBezTo>
                  <a:cubicBezTo>
                    <a:pt x="297" y="241"/>
                    <a:pt x="301" y="237"/>
                    <a:pt x="304" y="251"/>
                  </a:cubicBezTo>
                  <a:cubicBezTo>
                    <a:pt x="307" y="265"/>
                    <a:pt x="318" y="265"/>
                    <a:pt x="329" y="265"/>
                  </a:cubicBezTo>
                  <a:cubicBezTo>
                    <a:pt x="340" y="265"/>
                    <a:pt x="363" y="260"/>
                    <a:pt x="362" y="276"/>
                  </a:cubicBezTo>
                  <a:cubicBezTo>
                    <a:pt x="361" y="292"/>
                    <a:pt x="347" y="279"/>
                    <a:pt x="355" y="298"/>
                  </a:cubicBezTo>
                  <a:cubicBezTo>
                    <a:pt x="362" y="316"/>
                    <a:pt x="360" y="341"/>
                    <a:pt x="345" y="341"/>
                  </a:cubicBezTo>
                  <a:cubicBezTo>
                    <a:pt x="330" y="341"/>
                    <a:pt x="308" y="313"/>
                    <a:pt x="293" y="320"/>
                  </a:cubicBezTo>
                  <a:cubicBezTo>
                    <a:pt x="278" y="328"/>
                    <a:pt x="237" y="370"/>
                    <a:pt x="235" y="346"/>
                  </a:cubicBezTo>
                  <a:cubicBezTo>
                    <a:pt x="233" y="322"/>
                    <a:pt x="249" y="342"/>
                    <a:pt x="257" y="327"/>
                  </a:cubicBezTo>
                  <a:cubicBezTo>
                    <a:pt x="264" y="312"/>
                    <a:pt x="288" y="306"/>
                    <a:pt x="303" y="307"/>
                  </a:cubicBezTo>
                  <a:cubicBezTo>
                    <a:pt x="318" y="308"/>
                    <a:pt x="332" y="299"/>
                    <a:pt x="313" y="287"/>
                  </a:cubicBezTo>
                  <a:cubicBezTo>
                    <a:pt x="293" y="275"/>
                    <a:pt x="251" y="249"/>
                    <a:pt x="245" y="234"/>
                  </a:cubicBezTo>
                  <a:cubicBezTo>
                    <a:pt x="238" y="219"/>
                    <a:pt x="236" y="201"/>
                    <a:pt x="246" y="191"/>
                  </a:cubicBezTo>
                  <a:cubicBezTo>
                    <a:pt x="256" y="182"/>
                    <a:pt x="257" y="164"/>
                    <a:pt x="243" y="160"/>
                  </a:cubicBezTo>
                  <a:cubicBezTo>
                    <a:pt x="229" y="156"/>
                    <a:pt x="218" y="136"/>
                    <a:pt x="238" y="118"/>
                  </a:cubicBezTo>
                  <a:cubicBezTo>
                    <a:pt x="259" y="100"/>
                    <a:pt x="254" y="70"/>
                    <a:pt x="277" y="59"/>
                  </a:cubicBezTo>
                  <a:cubicBezTo>
                    <a:pt x="301" y="48"/>
                    <a:pt x="311" y="33"/>
                    <a:pt x="326" y="28"/>
                  </a:cubicBezTo>
                  <a:cubicBezTo>
                    <a:pt x="341" y="22"/>
                    <a:pt x="348" y="1"/>
                    <a:pt x="322" y="1"/>
                  </a:cubicBezTo>
                  <a:cubicBezTo>
                    <a:pt x="297" y="1"/>
                    <a:pt x="263" y="0"/>
                    <a:pt x="235" y="1"/>
                  </a:cubicBezTo>
                  <a:cubicBezTo>
                    <a:pt x="235" y="1"/>
                    <a:pt x="219" y="0"/>
                    <a:pt x="197" y="5"/>
                  </a:cubicBezTo>
                  <a:cubicBezTo>
                    <a:pt x="184" y="8"/>
                    <a:pt x="157" y="16"/>
                    <a:pt x="146" y="25"/>
                  </a:cubicBezTo>
                  <a:cubicBezTo>
                    <a:pt x="135" y="33"/>
                    <a:pt x="99" y="61"/>
                    <a:pt x="90" y="71"/>
                  </a:cubicBezTo>
                  <a:cubicBezTo>
                    <a:pt x="82" y="80"/>
                    <a:pt x="68" y="76"/>
                    <a:pt x="62" y="91"/>
                  </a:cubicBezTo>
                  <a:cubicBezTo>
                    <a:pt x="57" y="106"/>
                    <a:pt x="53" y="142"/>
                    <a:pt x="41" y="146"/>
                  </a:cubicBezTo>
                  <a:cubicBezTo>
                    <a:pt x="29" y="150"/>
                    <a:pt x="32" y="168"/>
                    <a:pt x="27" y="176"/>
                  </a:cubicBezTo>
                  <a:cubicBezTo>
                    <a:pt x="21" y="185"/>
                    <a:pt x="15" y="190"/>
                    <a:pt x="13" y="202"/>
                  </a:cubicBezTo>
                  <a:cubicBezTo>
                    <a:pt x="11" y="214"/>
                    <a:pt x="0" y="297"/>
                    <a:pt x="21" y="303"/>
                  </a:cubicBezTo>
                  <a:cubicBezTo>
                    <a:pt x="43" y="309"/>
                    <a:pt x="62" y="313"/>
                    <a:pt x="87" y="314"/>
                  </a:cubicBezTo>
                  <a:cubicBezTo>
                    <a:pt x="112" y="315"/>
                    <a:pt x="157" y="316"/>
                    <a:pt x="169" y="325"/>
                  </a:cubicBezTo>
                  <a:cubicBezTo>
                    <a:pt x="180" y="333"/>
                    <a:pt x="198" y="344"/>
                    <a:pt x="176" y="344"/>
                  </a:cubicBezTo>
                  <a:cubicBezTo>
                    <a:pt x="155" y="344"/>
                    <a:pt x="136" y="354"/>
                    <a:pt x="125" y="347"/>
                  </a:cubicBezTo>
                  <a:cubicBezTo>
                    <a:pt x="113" y="341"/>
                    <a:pt x="98" y="340"/>
                    <a:pt x="83" y="337"/>
                  </a:cubicBezTo>
                  <a:cubicBezTo>
                    <a:pt x="68" y="335"/>
                    <a:pt x="45" y="334"/>
                    <a:pt x="53" y="362"/>
                  </a:cubicBezTo>
                  <a:cubicBezTo>
                    <a:pt x="60" y="390"/>
                    <a:pt x="74" y="386"/>
                    <a:pt x="94" y="402"/>
                  </a:cubicBezTo>
                  <a:cubicBezTo>
                    <a:pt x="115" y="418"/>
                    <a:pt x="155" y="437"/>
                    <a:pt x="168" y="430"/>
                  </a:cubicBezTo>
                  <a:cubicBezTo>
                    <a:pt x="180" y="422"/>
                    <a:pt x="189" y="417"/>
                    <a:pt x="195" y="419"/>
                  </a:cubicBezTo>
                  <a:cubicBezTo>
                    <a:pt x="202" y="421"/>
                    <a:pt x="206" y="406"/>
                    <a:pt x="222" y="409"/>
                  </a:cubicBezTo>
                  <a:cubicBezTo>
                    <a:pt x="238" y="413"/>
                    <a:pt x="232" y="416"/>
                    <a:pt x="236" y="427"/>
                  </a:cubicBezTo>
                  <a:cubicBezTo>
                    <a:pt x="241" y="437"/>
                    <a:pt x="260" y="450"/>
                    <a:pt x="270" y="456"/>
                  </a:cubicBezTo>
                  <a:cubicBezTo>
                    <a:pt x="279" y="461"/>
                    <a:pt x="289" y="462"/>
                    <a:pt x="300" y="457"/>
                  </a:cubicBezTo>
                  <a:cubicBezTo>
                    <a:pt x="311" y="451"/>
                    <a:pt x="318" y="441"/>
                    <a:pt x="341" y="454"/>
                  </a:cubicBezTo>
                  <a:cubicBezTo>
                    <a:pt x="363" y="466"/>
                    <a:pt x="380" y="462"/>
                    <a:pt x="405" y="464"/>
                  </a:cubicBezTo>
                  <a:cubicBezTo>
                    <a:pt x="430" y="466"/>
                    <a:pt x="442" y="450"/>
                    <a:pt x="475" y="467"/>
                  </a:cubicBezTo>
                  <a:cubicBezTo>
                    <a:pt x="508" y="485"/>
                    <a:pt x="527" y="481"/>
                    <a:pt x="531" y="476"/>
                  </a:cubicBezTo>
                  <a:cubicBezTo>
                    <a:pt x="535" y="471"/>
                    <a:pt x="530" y="452"/>
                    <a:pt x="548" y="458"/>
                  </a:cubicBezTo>
                  <a:cubicBezTo>
                    <a:pt x="566" y="463"/>
                    <a:pt x="562" y="467"/>
                    <a:pt x="575" y="481"/>
                  </a:cubicBezTo>
                  <a:cubicBezTo>
                    <a:pt x="588" y="495"/>
                    <a:pt x="591" y="495"/>
                    <a:pt x="601" y="497"/>
                  </a:cubicBezTo>
                  <a:cubicBezTo>
                    <a:pt x="610" y="499"/>
                    <a:pt x="617" y="499"/>
                    <a:pt x="626" y="506"/>
                  </a:cubicBezTo>
                  <a:cubicBezTo>
                    <a:pt x="635" y="513"/>
                    <a:pt x="651" y="526"/>
                    <a:pt x="652" y="519"/>
                  </a:cubicBezTo>
                  <a:cubicBezTo>
                    <a:pt x="653" y="513"/>
                    <a:pt x="656" y="502"/>
                    <a:pt x="668" y="502"/>
                  </a:cubicBezTo>
                  <a:cubicBezTo>
                    <a:pt x="679" y="501"/>
                    <a:pt x="689" y="500"/>
                    <a:pt x="684" y="493"/>
                  </a:cubicBezTo>
                  <a:cubicBezTo>
                    <a:pt x="679" y="486"/>
                    <a:pt x="667" y="479"/>
                    <a:pt x="656" y="481"/>
                  </a:cubicBezTo>
                  <a:cubicBezTo>
                    <a:pt x="645" y="484"/>
                    <a:pt x="629" y="496"/>
                    <a:pt x="610" y="486"/>
                  </a:cubicBezTo>
                  <a:cubicBezTo>
                    <a:pt x="590" y="476"/>
                    <a:pt x="582" y="470"/>
                    <a:pt x="580" y="462"/>
                  </a:cubicBezTo>
                  <a:cubicBezTo>
                    <a:pt x="578" y="454"/>
                    <a:pt x="584" y="448"/>
                    <a:pt x="601" y="452"/>
                  </a:cubicBezTo>
                  <a:cubicBezTo>
                    <a:pt x="619" y="457"/>
                    <a:pt x="643" y="466"/>
                    <a:pt x="656" y="467"/>
                  </a:cubicBezTo>
                  <a:cubicBezTo>
                    <a:pt x="668" y="467"/>
                    <a:pt x="687" y="477"/>
                    <a:pt x="690" y="479"/>
                  </a:cubicBezTo>
                  <a:cubicBezTo>
                    <a:pt x="694" y="481"/>
                    <a:pt x="723" y="474"/>
                    <a:pt x="732" y="467"/>
                  </a:cubicBezTo>
                  <a:cubicBezTo>
                    <a:pt x="741" y="460"/>
                    <a:pt x="741" y="448"/>
                    <a:pt x="731" y="438"/>
                  </a:cubicBezTo>
                  <a:cubicBezTo>
                    <a:pt x="720" y="428"/>
                    <a:pt x="691" y="426"/>
                    <a:pt x="695" y="415"/>
                  </a:cubicBezTo>
                  <a:cubicBezTo>
                    <a:pt x="699" y="404"/>
                    <a:pt x="711" y="408"/>
                    <a:pt x="713" y="397"/>
                  </a:cubicBezTo>
                  <a:cubicBezTo>
                    <a:pt x="715" y="387"/>
                    <a:pt x="734" y="392"/>
                    <a:pt x="743" y="412"/>
                  </a:cubicBezTo>
                  <a:cubicBezTo>
                    <a:pt x="751" y="432"/>
                    <a:pt x="753" y="437"/>
                    <a:pt x="775" y="436"/>
                  </a:cubicBezTo>
                  <a:cubicBezTo>
                    <a:pt x="796" y="435"/>
                    <a:pt x="800" y="432"/>
                    <a:pt x="797" y="455"/>
                  </a:cubicBezTo>
                  <a:cubicBezTo>
                    <a:pt x="795" y="478"/>
                    <a:pt x="804" y="492"/>
                    <a:pt x="815" y="483"/>
                  </a:cubicBezTo>
                  <a:cubicBezTo>
                    <a:pt x="827" y="475"/>
                    <a:pt x="822" y="466"/>
                    <a:pt x="833" y="470"/>
                  </a:cubicBezTo>
                  <a:cubicBezTo>
                    <a:pt x="844" y="473"/>
                    <a:pt x="857" y="476"/>
                    <a:pt x="852" y="486"/>
                  </a:cubicBezTo>
                  <a:cubicBezTo>
                    <a:pt x="846" y="497"/>
                    <a:pt x="837" y="501"/>
                    <a:pt x="851" y="507"/>
                  </a:cubicBezTo>
                  <a:cubicBezTo>
                    <a:pt x="864" y="513"/>
                    <a:pt x="873" y="509"/>
                    <a:pt x="879" y="518"/>
                  </a:cubicBezTo>
                  <a:cubicBezTo>
                    <a:pt x="885" y="527"/>
                    <a:pt x="889" y="527"/>
                    <a:pt x="899" y="529"/>
                  </a:cubicBezTo>
                  <a:cubicBezTo>
                    <a:pt x="909" y="531"/>
                    <a:pt x="926" y="536"/>
                    <a:pt x="929" y="545"/>
                  </a:cubicBezTo>
                  <a:cubicBezTo>
                    <a:pt x="932" y="553"/>
                    <a:pt x="930" y="565"/>
                    <a:pt x="908" y="564"/>
                  </a:cubicBezTo>
                  <a:cubicBezTo>
                    <a:pt x="885" y="562"/>
                    <a:pt x="870" y="565"/>
                    <a:pt x="867" y="569"/>
                  </a:cubicBezTo>
                  <a:cubicBezTo>
                    <a:pt x="865" y="574"/>
                    <a:pt x="867" y="579"/>
                    <a:pt x="866" y="591"/>
                  </a:cubicBezTo>
                  <a:cubicBezTo>
                    <a:pt x="866" y="603"/>
                    <a:pt x="870" y="611"/>
                    <a:pt x="877" y="610"/>
                  </a:cubicBezTo>
                  <a:cubicBezTo>
                    <a:pt x="885" y="610"/>
                    <a:pt x="889" y="611"/>
                    <a:pt x="896" y="602"/>
                  </a:cubicBezTo>
                  <a:cubicBezTo>
                    <a:pt x="902" y="593"/>
                    <a:pt x="923" y="597"/>
                    <a:pt x="926" y="587"/>
                  </a:cubicBezTo>
                  <a:cubicBezTo>
                    <a:pt x="930" y="576"/>
                    <a:pt x="940" y="573"/>
                    <a:pt x="949" y="575"/>
                  </a:cubicBezTo>
                  <a:cubicBezTo>
                    <a:pt x="958" y="577"/>
                    <a:pt x="961" y="588"/>
                    <a:pt x="969" y="584"/>
                  </a:cubicBezTo>
                  <a:cubicBezTo>
                    <a:pt x="977" y="580"/>
                    <a:pt x="989" y="574"/>
                    <a:pt x="989" y="580"/>
                  </a:cubicBezTo>
                  <a:cubicBezTo>
                    <a:pt x="990" y="586"/>
                    <a:pt x="985" y="590"/>
                    <a:pt x="975" y="595"/>
                  </a:cubicBezTo>
                  <a:cubicBezTo>
                    <a:pt x="966" y="600"/>
                    <a:pt x="971" y="610"/>
                    <a:pt x="954" y="608"/>
                  </a:cubicBezTo>
                  <a:cubicBezTo>
                    <a:pt x="938" y="605"/>
                    <a:pt x="944" y="609"/>
                    <a:pt x="946" y="620"/>
                  </a:cubicBezTo>
                  <a:cubicBezTo>
                    <a:pt x="947" y="631"/>
                    <a:pt x="958" y="636"/>
                    <a:pt x="964" y="639"/>
                  </a:cubicBezTo>
                  <a:cubicBezTo>
                    <a:pt x="969" y="643"/>
                    <a:pt x="983" y="639"/>
                    <a:pt x="983" y="628"/>
                  </a:cubicBezTo>
                  <a:cubicBezTo>
                    <a:pt x="983" y="617"/>
                    <a:pt x="989" y="618"/>
                    <a:pt x="994" y="618"/>
                  </a:cubicBezTo>
                  <a:cubicBezTo>
                    <a:pt x="998" y="618"/>
                    <a:pt x="1009" y="612"/>
                    <a:pt x="1010" y="625"/>
                  </a:cubicBezTo>
                  <a:cubicBezTo>
                    <a:pt x="1010" y="638"/>
                    <a:pt x="1009" y="637"/>
                    <a:pt x="1015" y="643"/>
                  </a:cubicBezTo>
                  <a:cubicBezTo>
                    <a:pt x="1021" y="649"/>
                    <a:pt x="1030" y="651"/>
                    <a:pt x="1028" y="644"/>
                  </a:cubicBezTo>
                  <a:cubicBezTo>
                    <a:pt x="1026" y="637"/>
                    <a:pt x="1018" y="633"/>
                    <a:pt x="1025" y="628"/>
                  </a:cubicBezTo>
                  <a:cubicBezTo>
                    <a:pt x="1032" y="624"/>
                    <a:pt x="1038" y="620"/>
                    <a:pt x="1042" y="632"/>
                  </a:cubicBezTo>
                  <a:cubicBezTo>
                    <a:pt x="1045" y="644"/>
                    <a:pt x="1052" y="648"/>
                    <a:pt x="1063" y="648"/>
                  </a:cubicBezTo>
                  <a:cubicBezTo>
                    <a:pt x="1074" y="648"/>
                    <a:pt x="1073" y="642"/>
                    <a:pt x="1086" y="656"/>
                  </a:cubicBezTo>
                  <a:cubicBezTo>
                    <a:pt x="1099" y="670"/>
                    <a:pt x="1104" y="671"/>
                    <a:pt x="1105" y="683"/>
                  </a:cubicBezTo>
                  <a:cubicBezTo>
                    <a:pt x="1105" y="694"/>
                    <a:pt x="1118" y="686"/>
                    <a:pt x="1120" y="704"/>
                  </a:cubicBezTo>
                  <a:cubicBezTo>
                    <a:pt x="1122" y="722"/>
                    <a:pt x="1134" y="716"/>
                    <a:pt x="1137" y="738"/>
                  </a:cubicBezTo>
                  <a:cubicBezTo>
                    <a:pt x="1140" y="761"/>
                    <a:pt x="1153" y="773"/>
                    <a:pt x="1131" y="777"/>
                  </a:cubicBezTo>
                  <a:cubicBezTo>
                    <a:pt x="1108" y="781"/>
                    <a:pt x="1101" y="789"/>
                    <a:pt x="1103" y="804"/>
                  </a:cubicBezTo>
                  <a:cubicBezTo>
                    <a:pt x="1105" y="819"/>
                    <a:pt x="1097" y="817"/>
                    <a:pt x="1085" y="820"/>
                  </a:cubicBezTo>
                  <a:cubicBezTo>
                    <a:pt x="1072" y="823"/>
                    <a:pt x="1078" y="842"/>
                    <a:pt x="1055" y="846"/>
                  </a:cubicBezTo>
                  <a:cubicBezTo>
                    <a:pt x="1033" y="850"/>
                    <a:pt x="1033" y="866"/>
                    <a:pt x="1021" y="868"/>
                  </a:cubicBezTo>
                  <a:cubicBezTo>
                    <a:pt x="1009" y="871"/>
                    <a:pt x="997" y="880"/>
                    <a:pt x="1020" y="895"/>
                  </a:cubicBezTo>
                  <a:cubicBezTo>
                    <a:pt x="1043" y="910"/>
                    <a:pt x="1048" y="923"/>
                    <a:pt x="1055" y="932"/>
                  </a:cubicBezTo>
                  <a:cubicBezTo>
                    <a:pt x="1063" y="940"/>
                    <a:pt x="1065" y="951"/>
                    <a:pt x="1048" y="950"/>
                  </a:cubicBezTo>
                  <a:cubicBezTo>
                    <a:pt x="1031" y="949"/>
                    <a:pt x="1021" y="950"/>
                    <a:pt x="1014" y="956"/>
                  </a:cubicBezTo>
                  <a:cubicBezTo>
                    <a:pt x="1006" y="961"/>
                    <a:pt x="1001" y="961"/>
                    <a:pt x="983" y="961"/>
                  </a:cubicBezTo>
                  <a:cubicBezTo>
                    <a:pt x="966" y="961"/>
                    <a:pt x="959" y="972"/>
                    <a:pt x="948" y="972"/>
                  </a:cubicBezTo>
                  <a:cubicBezTo>
                    <a:pt x="937" y="972"/>
                    <a:pt x="921" y="985"/>
                    <a:pt x="904" y="974"/>
                  </a:cubicBezTo>
                  <a:cubicBezTo>
                    <a:pt x="887" y="963"/>
                    <a:pt x="870" y="962"/>
                    <a:pt x="862" y="960"/>
                  </a:cubicBezTo>
                  <a:cubicBezTo>
                    <a:pt x="854" y="958"/>
                    <a:pt x="842" y="951"/>
                    <a:pt x="832" y="952"/>
                  </a:cubicBezTo>
                  <a:cubicBezTo>
                    <a:pt x="822" y="953"/>
                    <a:pt x="816" y="960"/>
                    <a:pt x="816" y="971"/>
                  </a:cubicBezTo>
                  <a:cubicBezTo>
                    <a:pt x="816" y="981"/>
                    <a:pt x="814" y="986"/>
                    <a:pt x="804" y="986"/>
                  </a:cubicBezTo>
                  <a:cubicBezTo>
                    <a:pt x="794" y="986"/>
                    <a:pt x="791" y="995"/>
                    <a:pt x="782" y="995"/>
                  </a:cubicBezTo>
                  <a:cubicBezTo>
                    <a:pt x="774" y="995"/>
                    <a:pt x="777" y="1006"/>
                    <a:pt x="775" y="1019"/>
                  </a:cubicBezTo>
                  <a:cubicBezTo>
                    <a:pt x="773" y="1032"/>
                    <a:pt x="767" y="1044"/>
                    <a:pt x="779" y="1053"/>
                  </a:cubicBezTo>
                  <a:cubicBezTo>
                    <a:pt x="791" y="1063"/>
                    <a:pt x="801" y="1061"/>
                    <a:pt x="811" y="1069"/>
                  </a:cubicBezTo>
                  <a:cubicBezTo>
                    <a:pt x="822" y="1078"/>
                    <a:pt x="835" y="1080"/>
                    <a:pt x="850" y="1080"/>
                  </a:cubicBezTo>
                  <a:cubicBezTo>
                    <a:pt x="865" y="1080"/>
                    <a:pt x="890" y="1079"/>
                    <a:pt x="903" y="1073"/>
                  </a:cubicBezTo>
                  <a:cubicBezTo>
                    <a:pt x="916" y="1066"/>
                    <a:pt x="922" y="1043"/>
                    <a:pt x="951" y="1051"/>
                  </a:cubicBezTo>
                  <a:cubicBezTo>
                    <a:pt x="980" y="1060"/>
                    <a:pt x="991" y="1069"/>
                    <a:pt x="1003" y="1057"/>
                  </a:cubicBezTo>
                  <a:cubicBezTo>
                    <a:pt x="1015" y="1044"/>
                    <a:pt x="1022" y="1037"/>
                    <a:pt x="1040" y="1048"/>
                  </a:cubicBezTo>
                  <a:cubicBezTo>
                    <a:pt x="1059" y="1059"/>
                    <a:pt x="1072" y="1043"/>
                    <a:pt x="1083" y="1067"/>
                  </a:cubicBezTo>
                  <a:cubicBezTo>
                    <a:pt x="1095" y="1092"/>
                    <a:pt x="1123" y="1116"/>
                    <a:pt x="1137" y="1120"/>
                  </a:cubicBezTo>
                  <a:cubicBezTo>
                    <a:pt x="1151" y="1124"/>
                    <a:pt x="1155" y="1131"/>
                    <a:pt x="1169" y="1131"/>
                  </a:cubicBezTo>
                  <a:cubicBezTo>
                    <a:pt x="1183" y="1131"/>
                    <a:pt x="1192" y="1131"/>
                    <a:pt x="1198" y="1137"/>
                  </a:cubicBezTo>
                  <a:cubicBezTo>
                    <a:pt x="1205" y="1144"/>
                    <a:pt x="1210" y="1151"/>
                    <a:pt x="1196" y="1154"/>
                  </a:cubicBezTo>
                  <a:cubicBezTo>
                    <a:pt x="1182" y="1158"/>
                    <a:pt x="1162" y="1157"/>
                    <a:pt x="1171" y="1165"/>
                  </a:cubicBezTo>
                  <a:cubicBezTo>
                    <a:pt x="1179" y="1174"/>
                    <a:pt x="1181" y="1183"/>
                    <a:pt x="1191" y="1187"/>
                  </a:cubicBezTo>
                  <a:cubicBezTo>
                    <a:pt x="1201" y="1190"/>
                    <a:pt x="1229" y="1196"/>
                    <a:pt x="1229" y="1201"/>
                  </a:cubicBezTo>
                  <a:cubicBezTo>
                    <a:pt x="1229" y="1205"/>
                    <a:pt x="1233" y="1212"/>
                    <a:pt x="1233" y="1222"/>
                  </a:cubicBezTo>
                  <a:cubicBezTo>
                    <a:pt x="1233" y="1232"/>
                    <a:pt x="1239" y="1247"/>
                    <a:pt x="1250" y="1252"/>
                  </a:cubicBezTo>
                  <a:cubicBezTo>
                    <a:pt x="1261" y="1258"/>
                    <a:pt x="1277" y="1255"/>
                    <a:pt x="1274" y="1245"/>
                  </a:cubicBezTo>
                  <a:cubicBezTo>
                    <a:pt x="1270" y="1234"/>
                    <a:pt x="1265" y="1225"/>
                    <a:pt x="1283" y="1225"/>
                  </a:cubicBezTo>
                  <a:cubicBezTo>
                    <a:pt x="1302" y="1225"/>
                    <a:pt x="1323" y="1224"/>
                    <a:pt x="1323" y="1237"/>
                  </a:cubicBezTo>
                  <a:cubicBezTo>
                    <a:pt x="1323" y="1250"/>
                    <a:pt x="1323" y="1252"/>
                    <a:pt x="1349" y="1262"/>
                  </a:cubicBezTo>
                  <a:cubicBezTo>
                    <a:pt x="1375" y="1272"/>
                    <a:pt x="1387" y="1286"/>
                    <a:pt x="1405" y="1286"/>
                  </a:cubicBezTo>
                  <a:cubicBezTo>
                    <a:pt x="1423" y="1286"/>
                    <a:pt x="1434" y="1281"/>
                    <a:pt x="1452" y="1291"/>
                  </a:cubicBezTo>
                  <a:cubicBezTo>
                    <a:pt x="1470" y="1301"/>
                    <a:pt x="1488" y="1291"/>
                    <a:pt x="1498" y="1306"/>
                  </a:cubicBezTo>
                  <a:cubicBezTo>
                    <a:pt x="1509" y="1321"/>
                    <a:pt x="1535" y="1324"/>
                    <a:pt x="1538" y="1307"/>
                  </a:cubicBezTo>
                  <a:cubicBezTo>
                    <a:pt x="1541" y="1290"/>
                    <a:pt x="1547" y="1286"/>
                    <a:pt x="1531" y="1277"/>
                  </a:cubicBezTo>
                  <a:cubicBezTo>
                    <a:pt x="1515" y="1268"/>
                    <a:pt x="1527" y="1250"/>
                    <a:pt x="1503" y="1244"/>
                  </a:cubicBezTo>
                  <a:cubicBezTo>
                    <a:pt x="1478" y="1237"/>
                    <a:pt x="1461" y="1224"/>
                    <a:pt x="1452" y="1209"/>
                  </a:cubicBezTo>
                  <a:cubicBezTo>
                    <a:pt x="1444" y="1194"/>
                    <a:pt x="1436" y="1195"/>
                    <a:pt x="1420" y="1186"/>
                  </a:cubicBezTo>
                  <a:cubicBezTo>
                    <a:pt x="1404" y="1176"/>
                    <a:pt x="1388" y="1164"/>
                    <a:pt x="1378" y="1154"/>
                  </a:cubicBezTo>
                  <a:cubicBezTo>
                    <a:pt x="1368" y="1145"/>
                    <a:pt x="1364" y="1132"/>
                    <a:pt x="1374" y="1132"/>
                  </a:cubicBezTo>
                  <a:cubicBezTo>
                    <a:pt x="1383" y="1132"/>
                    <a:pt x="1404" y="1147"/>
                    <a:pt x="1408" y="1143"/>
                  </a:cubicBezTo>
                  <a:cubicBezTo>
                    <a:pt x="1412" y="1138"/>
                    <a:pt x="1426" y="1142"/>
                    <a:pt x="1449" y="1159"/>
                  </a:cubicBezTo>
                  <a:cubicBezTo>
                    <a:pt x="1472" y="1176"/>
                    <a:pt x="1494" y="1196"/>
                    <a:pt x="1503" y="1194"/>
                  </a:cubicBezTo>
                  <a:cubicBezTo>
                    <a:pt x="1511" y="1192"/>
                    <a:pt x="1517" y="1202"/>
                    <a:pt x="1538" y="1209"/>
                  </a:cubicBezTo>
                  <a:cubicBezTo>
                    <a:pt x="1560" y="1217"/>
                    <a:pt x="1582" y="1209"/>
                    <a:pt x="1588" y="1225"/>
                  </a:cubicBezTo>
                  <a:cubicBezTo>
                    <a:pt x="1593" y="1241"/>
                    <a:pt x="1593" y="1245"/>
                    <a:pt x="1602" y="1246"/>
                  </a:cubicBezTo>
                  <a:cubicBezTo>
                    <a:pt x="1610" y="1247"/>
                    <a:pt x="1607" y="1266"/>
                    <a:pt x="1621" y="1265"/>
                  </a:cubicBezTo>
                  <a:cubicBezTo>
                    <a:pt x="1635" y="1264"/>
                    <a:pt x="1655" y="1260"/>
                    <a:pt x="1648" y="1252"/>
                  </a:cubicBezTo>
                  <a:cubicBezTo>
                    <a:pt x="1640" y="1245"/>
                    <a:pt x="1628" y="1255"/>
                    <a:pt x="1616" y="1238"/>
                  </a:cubicBezTo>
                  <a:cubicBezTo>
                    <a:pt x="1603" y="1221"/>
                    <a:pt x="1602" y="1221"/>
                    <a:pt x="1611" y="1221"/>
                  </a:cubicBezTo>
                  <a:cubicBezTo>
                    <a:pt x="1621" y="1221"/>
                    <a:pt x="1630" y="1218"/>
                    <a:pt x="1621" y="1203"/>
                  </a:cubicBezTo>
                  <a:cubicBezTo>
                    <a:pt x="1612" y="1188"/>
                    <a:pt x="1603" y="1177"/>
                    <a:pt x="1619" y="1177"/>
                  </a:cubicBezTo>
                  <a:cubicBezTo>
                    <a:pt x="1635" y="1177"/>
                    <a:pt x="1640" y="1177"/>
                    <a:pt x="1640" y="1169"/>
                  </a:cubicBezTo>
                  <a:cubicBezTo>
                    <a:pt x="1640" y="1162"/>
                    <a:pt x="1637" y="1155"/>
                    <a:pt x="1649" y="1163"/>
                  </a:cubicBezTo>
                  <a:cubicBezTo>
                    <a:pt x="1661" y="1171"/>
                    <a:pt x="1666" y="1160"/>
                    <a:pt x="1659" y="1148"/>
                  </a:cubicBezTo>
                  <a:cubicBezTo>
                    <a:pt x="1651" y="1136"/>
                    <a:pt x="1641" y="1133"/>
                    <a:pt x="1640" y="1120"/>
                  </a:cubicBezTo>
                  <a:cubicBezTo>
                    <a:pt x="1639" y="1107"/>
                    <a:pt x="1631" y="1108"/>
                    <a:pt x="1618" y="1105"/>
                  </a:cubicBezTo>
                  <a:cubicBezTo>
                    <a:pt x="1605" y="1102"/>
                    <a:pt x="1587" y="1093"/>
                    <a:pt x="1590" y="1077"/>
                  </a:cubicBezTo>
                  <a:cubicBezTo>
                    <a:pt x="1593" y="1061"/>
                    <a:pt x="1596" y="1057"/>
                    <a:pt x="1590" y="1046"/>
                  </a:cubicBezTo>
                  <a:cubicBezTo>
                    <a:pt x="1583" y="1035"/>
                    <a:pt x="1598" y="1025"/>
                    <a:pt x="1571" y="1022"/>
                  </a:cubicBezTo>
                  <a:cubicBezTo>
                    <a:pt x="1545" y="1019"/>
                    <a:pt x="1548" y="1003"/>
                    <a:pt x="1547" y="1016"/>
                  </a:cubicBezTo>
                  <a:cubicBezTo>
                    <a:pt x="1546" y="1029"/>
                    <a:pt x="1546" y="1034"/>
                    <a:pt x="1535" y="1025"/>
                  </a:cubicBezTo>
                  <a:cubicBezTo>
                    <a:pt x="1524" y="1017"/>
                    <a:pt x="1532" y="1005"/>
                    <a:pt x="1515" y="1004"/>
                  </a:cubicBezTo>
                  <a:cubicBezTo>
                    <a:pt x="1497" y="1003"/>
                    <a:pt x="1491" y="1004"/>
                    <a:pt x="1491" y="992"/>
                  </a:cubicBezTo>
                  <a:cubicBezTo>
                    <a:pt x="1491" y="980"/>
                    <a:pt x="1466" y="981"/>
                    <a:pt x="1469" y="964"/>
                  </a:cubicBezTo>
                  <a:cubicBezTo>
                    <a:pt x="1473" y="947"/>
                    <a:pt x="1467" y="933"/>
                    <a:pt x="1453" y="933"/>
                  </a:cubicBezTo>
                  <a:cubicBezTo>
                    <a:pt x="1439" y="933"/>
                    <a:pt x="1422" y="931"/>
                    <a:pt x="1422" y="919"/>
                  </a:cubicBezTo>
                  <a:cubicBezTo>
                    <a:pt x="1422" y="907"/>
                    <a:pt x="1429" y="901"/>
                    <a:pt x="1445" y="904"/>
                  </a:cubicBezTo>
                  <a:cubicBezTo>
                    <a:pt x="1461" y="907"/>
                    <a:pt x="1478" y="899"/>
                    <a:pt x="1466" y="886"/>
                  </a:cubicBezTo>
                  <a:cubicBezTo>
                    <a:pt x="1454" y="873"/>
                    <a:pt x="1445" y="880"/>
                    <a:pt x="1438" y="865"/>
                  </a:cubicBezTo>
                  <a:cubicBezTo>
                    <a:pt x="1432" y="850"/>
                    <a:pt x="1445" y="844"/>
                    <a:pt x="1455" y="857"/>
                  </a:cubicBezTo>
                  <a:cubicBezTo>
                    <a:pt x="1466" y="870"/>
                    <a:pt x="1470" y="876"/>
                    <a:pt x="1472" y="858"/>
                  </a:cubicBezTo>
                  <a:cubicBezTo>
                    <a:pt x="1473" y="839"/>
                    <a:pt x="1487" y="831"/>
                    <a:pt x="1496" y="848"/>
                  </a:cubicBezTo>
                  <a:cubicBezTo>
                    <a:pt x="1506" y="865"/>
                    <a:pt x="1505" y="867"/>
                    <a:pt x="1521" y="872"/>
                  </a:cubicBezTo>
                  <a:cubicBezTo>
                    <a:pt x="1537" y="876"/>
                    <a:pt x="1547" y="886"/>
                    <a:pt x="1553" y="896"/>
                  </a:cubicBezTo>
                  <a:cubicBezTo>
                    <a:pt x="1560" y="907"/>
                    <a:pt x="1577" y="889"/>
                    <a:pt x="1579" y="907"/>
                  </a:cubicBezTo>
                  <a:cubicBezTo>
                    <a:pt x="1581" y="925"/>
                    <a:pt x="1582" y="934"/>
                    <a:pt x="1594" y="933"/>
                  </a:cubicBezTo>
                  <a:cubicBezTo>
                    <a:pt x="1606" y="932"/>
                    <a:pt x="1597" y="957"/>
                    <a:pt x="1610" y="963"/>
                  </a:cubicBezTo>
                  <a:cubicBezTo>
                    <a:pt x="1623" y="970"/>
                    <a:pt x="1636" y="997"/>
                    <a:pt x="1636" y="985"/>
                  </a:cubicBezTo>
                  <a:cubicBezTo>
                    <a:pt x="1636" y="972"/>
                    <a:pt x="1645" y="971"/>
                    <a:pt x="1656" y="983"/>
                  </a:cubicBezTo>
                  <a:cubicBezTo>
                    <a:pt x="1668" y="996"/>
                    <a:pt x="1688" y="1016"/>
                    <a:pt x="1700" y="1007"/>
                  </a:cubicBezTo>
                  <a:cubicBezTo>
                    <a:pt x="1713" y="999"/>
                    <a:pt x="1719" y="980"/>
                    <a:pt x="1712" y="968"/>
                  </a:cubicBezTo>
                  <a:cubicBezTo>
                    <a:pt x="1706" y="957"/>
                    <a:pt x="1709" y="946"/>
                    <a:pt x="1706" y="931"/>
                  </a:cubicBezTo>
                  <a:cubicBezTo>
                    <a:pt x="1703" y="916"/>
                    <a:pt x="1717" y="920"/>
                    <a:pt x="1723" y="930"/>
                  </a:cubicBezTo>
                  <a:cubicBezTo>
                    <a:pt x="1730" y="939"/>
                    <a:pt x="1736" y="940"/>
                    <a:pt x="1740" y="932"/>
                  </a:cubicBezTo>
                  <a:cubicBezTo>
                    <a:pt x="1745" y="923"/>
                    <a:pt x="1766" y="920"/>
                    <a:pt x="1773" y="930"/>
                  </a:cubicBezTo>
                  <a:cubicBezTo>
                    <a:pt x="1779" y="939"/>
                    <a:pt x="1791" y="942"/>
                    <a:pt x="1784" y="929"/>
                  </a:cubicBezTo>
                  <a:cubicBezTo>
                    <a:pt x="1778" y="916"/>
                    <a:pt x="1769" y="910"/>
                    <a:pt x="1778" y="905"/>
                  </a:cubicBezTo>
                  <a:cubicBezTo>
                    <a:pt x="1786" y="900"/>
                    <a:pt x="1796" y="896"/>
                    <a:pt x="1794" y="887"/>
                  </a:cubicBezTo>
                  <a:cubicBezTo>
                    <a:pt x="1792" y="877"/>
                    <a:pt x="1776" y="873"/>
                    <a:pt x="1777" y="864"/>
                  </a:cubicBezTo>
                  <a:cubicBezTo>
                    <a:pt x="1778" y="856"/>
                    <a:pt x="1789" y="861"/>
                    <a:pt x="1795" y="866"/>
                  </a:cubicBezTo>
                  <a:cubicBezTo>
                    <a:pt x="1802" y="872"/>
                    <a:pt x="1817" y="872"/>
                    <a:pt x="1826" y="861"/>
                  </a:cubicBezTo>
                  <a:cubicBezTo>
                    <a:pt x="1836" y="850"/>
                    <a:pt x="1853" y="859"/>
                    <a:pt x="1855" y="844"/>
                  </a:cubicBezTo>
                  <a:cubicBezTo>
                    <a:pt x="1857" y="829"/>
                    <a:pt x="1861" y="824"/>
                    <a:pt x="1855" y="814"/>
                  </a:cubicBezTo>
                  <a:cubicBezTo>
                    <a:pt x="1850" y="803"/>
                    <a:pt x="1845" y="794"/>
                    <a:pt x="1834" y="793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453" name="Freeform 25623"/>
            <p:cNvSpPr>
              <a:spLocks/>
            </p:cNvSpPr>
            <p:nvPr/>
          </p:nvSpPr>
          <p:spPr bwMode="auto">
            <a:xfrm>
              <a:off x="2036870" y="1530894"/>
              <a:ext cx="18940" cy="14995"/>
            </a:xfrm>
            <a:custGeom>
              <a:avLst/>
              <a:gdLst>
                <a:gd name="T0" fmla="*/ 13 w 51"/>
                <a:gd name="T1" fmla="*/ 25 h 40"/>
                <a:gd name="T2" fmla="*/ 28 w 51"/>
                <a:gd name="T3" fmla="*/ 34 h 40"/>
                <a:gd name="T4" fmla="*/ 48 w 51"/>
                <a:gd name="T5" fmla="*/ 31 h 40"/>
                <a:gd name="T6" fmla="*/ 36 w 51"/>
                <a:gd name="T7" fmla="*/ 1 h 40"/>
                <a:gd name="T8" fmla="*/ 18 w 51"/>
                <a:gd name="T9" fmla="*/ 2 h 40"/>
                <a:gd name="T10" fmla="*/ 5 w 51"/>
                <a:gd name="T11" fmla="*/ 12 h 40"/>
                <a:gd name="T12" fmla="*/ 13 w 51"/>
                <a:gd name="T13" fmla="*/ 2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1" h="40">
                  <a:moveTo>
                    <a:pt x="13" y="25"/>
                  </a:moveTo>
                  <a:cubicBezTo>
                    <a:pt x="13" y="31"/>
                    <a:pt x="16" y="34"/>
                    <a:pt x="28" y="34"/>
                  </a:cubicBezTo>
                  <a:cubicBezTo>
                    <a:pt x="40" y="34"/>
                    <a:pt x="51" y="40"/>
                    <a:pt x="48" y="31"/>
                  </a:cubicBezTo>
                  <a:cubicBezTo>
                    <a:pt x="44" y="21"/>
                    <a:pt x="44" y="1"/>
                    <a:pt x="36" y="1"/>
                  </a:cubicBezTo>
                  <a:cubicBezTo>
                    <a:pt x="27" y="1"/>
                    <a:pt x="29" y="0"/>
                    <a:pt x="18" y="2"/>
                  </a:cubicBezTo>
                  <a:cubicBezTo>
                    <a:pt x="18" y="2"/>
                    <a:pt x="0" y="6"/>
                    <a:pt x="5" y="12"/>
                  </a:cubicBezTo>
                  <a:cubicBezTo>
                    <a:pt x="11" y="18"/>
                    <a:pt x="13" y="19"/>
                    <a:pt x="13" y="2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454" name="Freeform 25627"/>
            <p:cNvSpPr>
              <a:spLocks/>
            </p:cNvSpPr>
            <p:nvPr/>
          </p:nvSpPr>
          <p:spPr bwMode="auto">
            <a:xfrm>
              <a:off x="1775813" y="1438087"/>
              <a:ext cx="43246" cy="40247"/>
            </a:xfrm>
            <a:custGeom>
              <a:avLst/>
              <a:gdLst>
                <a:gd name="T0" fmla="*/ 10 w 116"/>
                <a:gd name="T1" fmla="*/ 34 h 108"/>
                <a:gd name="T2" fmla="*/ 19 w 116"/>
                <a:gd name="T3" fmla="*/ 62 h 108"/>
                <a:gd name="T4" fmla="*/ 41 w 116"/>
                <a:gd name="T5" fmla="*/ 79 h 108"/>
                <a:gd name="T6" fmla="*/ 66 w 116"/>
                <a:gd name="T7" fmla="*/ 100 h 108"/>
                <a:gd name="T8" fmla="*/ 98 w 116"/>
                <a:gd name="T9" fmla="*/ 102 h 108"/>
                <a:gd name="T10" fmla="*/ 102 w 116"/>
                <a:gd name="T11" fmla="*/ 80 h 108"/>
                <a:gd name="T12" fmla="*/ 61 w 116"/>
                <a:gd name="T13" fmla="*/ 47 h 108"/>
                <a:gd name="T14" fmla="*/ 39 w 116"/>
                <a:gd name="T15" fmla="*/ 22 h 108"/>
                <a:gd name="T16" fmla="*/ 4 w 116"/>
                <a:gd name="T17" fmla="*/ 16 h 108"/>
                <a:gd name="T18" fmla="*/ 10 w 116"/>
                <a:gd name="T19" fmla="*/ 34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6" h="108">
                  <a:moveTo>
                    <a:pt x="10" y="34"/>
                  </a:moveTo>
                  <a:cubicBezTo>
                    <a:pt x="13" y="43"/>
                    <a:pt x="11" y="57"/>
                    <a:pt x="19" y="62"/>
                  </a:cubicBezTo>
                  <a:cubicBezTo>
                    <a:pt x="27" y="66"/>
                    <a:pt x="37" y="72"/>
                    <a:pt x="41" y="79"/>
                  </a:cubicBezTo>
                  <a:cubicBezTo>
                    <a:pt x="45" y="86"/>
                    <a:pt x="55" y="98"/>
                    <a:pt x="66" y="100"/>
                  </a:cubicBezTo>
                  <a:cubicBezTo>
                    <a:pt x="76" y="103"/>
                    <a:pt x="91" y="108"/>
                    <a:pt x="98" y="102"/>
                  </a:cubicBezTo>
                  <a:cubicBezTo>
                    <a:pt x="105" y="95"/>
                    <a:pt x="116" y="92"/>
                    <a:pt x="102" y="80"/>
                  </a:cubicBezTo>
                  <a:cubicBezTo>
                    <a:pt x="88" y="67"/>
                    <a:pt x="68" y="60"/>
                    <a:pt x="61" y="47"/>
                  </a:cubicBezTo>
                  <a:cubicBezTo>
                    <a:pt x="55" y="34"/>
                    <a:pt x="50" y="30"/>
                    <a:pt x="39" y="22"/>
                  </a:cubicBezTo>
                  <a:cubicBezTo>
                    <a:pt x="28" y="14"/>
                    <a:pt x="0" y="0"/>
                    <a:pt x="4" y="16"/>
                  </a:cubicBezTo>
                  <a:cubicBezTo>
                    <a:pt x="4" y="16"/>
                    <a:pt x="7" y="26"/>
                    <a:pt x="10" y="34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455" name="Freeform 25628"/>
            <p:cNvSpPr>
              <a:spLocks/>
            </p:cNvSpPr>
            <p:nvPr/>
          </p:nvSpPr>
          <p:spPr bwMode="auto">
            <a:xfrm>
              <a:off x="1781495" y="1358224"/>
              <a:ext cx="165883" cy="83967"/>
            </a:xfrm>
            <a:custGeom>
              <a:avLst/>
              <a:gdLst>
                <a:gd name="T0" fmla="*/ 14 w 445"/>
                <a:gd name="T1" fmla="*/ 51 h 225"/>
                <a:gd name="T2" fmla="*/ 64 w 445"/>
                <a:gd name="T3" fmla="*/ 53 h 225"/>
                <a:gd name="T4" fmla="*/ 51 w 445"/>
                <a:gd name="T5" fmla="*/ 70 h 225"/>
                <a:gd name="T6" fmla="*/ 56 w 445"/>
                <a:gd name="T7" fmla="*/ 84 h 225"/>
                <a:gd name="T8" fmla="*/ 76 w 445"/>
                <a:gd name="T9" fmla="*/ 74 h 225"/>
                <a:gd name="T10" fmla="*/ 99 w 445"/>
                <a:gd name="T11" fmla="*/ 63 h 225"/>
                <a:gd name="T12" fmla="*/ 108 w 445"/>
                <a:gd name="T13" fmla="*/ 78 h 225"/>
                <a:gd name="T14" fmla="*/ 115 w 445"/>
                <a:gd name="T15" fmla="*/ 91 h 225"/>
                <a:gd name="T16" fmla="*/ 134 w 445"/>
                <a:gd name="T17" fmla="*/ 89 h 225"/>
                <a:gd name="T18" fmla="*/ 121 w 445"/>
                <a:gd name="T19" fmla="*/ 107 h 225"/>
                <a:gd name="T20" fmla="*/ 123 w 445"/>
                <a:gd name="T21" fmla="*/ 119 h 225"/>
                <a:gd name="T22" fmla="*/ 91 w 445"/>
                <a:gd name="T23" fmla="*/ 115 h 225"/>
                <a:gd name="T24" fmla="*/ 53 w 445"/>
                <a:gd name="T25" fmla="*/ 112 h 225"/>
                <a:gd name="T26" fmla="*/ 57 w 445"/>
                <a:gd name="T27" fmla="*/ 142 h 225"/>
                <a:gd name="T28" fmla="*/ 114 w 445"/>
                <a:gd name="T29" fmla="*/ 165 h 225"/>
                <a:gd name="T30" fmla="*/ 154 w 445"/>
                <a:gd name="T31" fmla="*/ 148 h 225"/>
                <a:gd name="T32" fmla="*/ 174 w 445"/>
                <a:gd name="T33" fmla="*/ 158 h 225"/>
                <a:gd name="T34" fmla="*/ 171 w 445"/>
                <a:gd name="T35" fmla="*/ 177 h 225"/>
                <a:gd name="T36" fmla="*/ 192 w 445"/>
                <a:gd name="T37" fmla="*/ 167 h 225"/>
                <a:gd name="T38" fmla="*/ 222 w 445"/>
                <a:gd name="T39" fmla="*/ 161 h 225"/>
                <a:gd name="T40" fmla="*/ 278 w 445"/>
                <a:gd name="T41" fmla="*/ 169 h 225"/>
                <a:gd name="T42" fmla="*/ 314 w 445"/>
                <a:gd name="T43" fmla="*/ 195 h 225"/>
                <a:gd name="T44" fmla="*/ 354 w 445"/>
                <a:gd name="T45" fmla="*/ 223 h 225"/>
                <a:gd name="T46" fmla="*/ 420 w 445"/>
                <a:gd name="T47" fmla="*/ 218 h 225"/>
                <a:gd name="T48" fmla="*/ 426 w 445"/>
                <a:gd name="T49" fmla="*/ 183 h 225"/>
                <a:gd name="T50" fmla="*/ 399 w 445"/>
                <a:gd name="T51" fmla="*/ 158 h 225"/>
                <a:gd name="T52" fmla="*/ 382 w 445"/>
                <a:gd name="T53" fmla="*/ 143 h 225"/>
                <a:gd name="T54" fmla="*/ 393 w 445"/>
                <a:gd name="T55" fmla="*/ 129 h 225"/>
                <a:gd name="T56" fmla="*/ 400 w 445"/>
                <a:gd name="T57" fmla="*/ 115 h 225"/>
                <a:gd name="T58" fmla="*/ 371 w 445"/>
                <a:gd name="T59" fmla="*/ 100 h 225"/>
                <a:gd name="T60" fmla="*/ 357 w 445"/>
                <a:gd name="T61" fmla="*/ 86 h 225"/>
                <a:gd name="T62" fmla="*/ 334 w 445"/>
                <a:gd name="T63" fmla="*/ 75 h 225"/>
                <a:gd name="T64" fmla="*/ 310 w 445"/>
                <a:gd name="T65" fmla="*/ 86 h 225"/>
                <a:gd name="T66" fmla="*/ 279 w 445"/>
                <a:gd name="T67" fmla="*/ 51 h 225"/>
                <a:gd name="T68" fmla="*/ 239 w 445"/>
                <a:gd name="T69" fmla="*/ 40 h 225"/>
                <a:gd name="T70" fmla="*/ 217 w 445"/>
                <a:gd name="T71" fmla="*/ 55 h 225"/>
                <a:gd name="T72" fmla="*/ 200 w 445"/>
                <a:gd name="T73" fmla="*/ 71 h 225"/>
                <a:gd name="T74" fmla="*/ 196 w 445"/>
                <a:gd name="T75" fmla="*/ 56 h 225"/>
                <a:gd name="T76" fmla="*/ 196 w 445"/>
                <a:gd name="T77" fmla="*/ 36 h 225"/>
                <a:gd name="T78" fmla="*/ 157 w 445"/>
                <a:gd name="T79" fmla="*/ 11 h 225"/>
                <a:gd name="T80" fmla="*/ 128 w 445"/>
                <a:gd name="T81" fmla="*/ 2 h 225"/>
                <a:gd name="T82" fmla="*/ 83 w 445"/>
                <a:gd name="T83" fmla="*/ 6 h 225"/>
                <a:gd name="T84" fmla="*/ 59 w 445"/>
                <a:gd name="T85" fmla="*/ 13 h 225"/>
                <a:gd name="T86" fmla="*/ 15 w 445"/>
                <a:gd name="T87" fmla="*/ 17 h 225"/>
                <a:gd name="T88" fmla="*/ 14 w 445"/>
                <a:gd name="T89" fmla="*/ 51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45" h="225">
                  <a:moveTo>
                    <a:pt x="14" y="51"/>
                  </a:moveTo>
                  <a:cubicBezTo>
                    <a:pt x="28" y="53"/>
                    <a:pt x="68" y="43"/>
                    <a:pt x="64" y="53"/>
                  </a:cubicBezTo>
                  <a:cubicBezTo>
                    <a:pt x="60" y="62"/>
                    <a:pt x="62" y="66"/>
                    <a:pt x="51" y="70"/>
                  </a:cubicBezTo>
                  <a:cubicBezTo>
                    <a:pt x="39" y="74"/>
                    <a:pt x="46" y="84"/>
                    <a:pt x="56" y="84"/>
                  </a:cubicBezTo>
                  <a:cubicBezTo>
                    <a:pt x="66" y="84"/>
                    <a:pt x="71" y="84"/>
                    <a:pt x="76" y="74"/>
                  </a:cubicBezTo>
                  <a:cubicBezTo>
                    <a:pt x="81" y="64"/>
                    <a:pt x="89" y="63"/>
                    <a:pt x="99" y="63"/>
                  </a:cubicBezTo>
                  <a:cubicBezTo>
                    <a:pt x="109" y="63"/>
                    <a:pt x="119" y="73"/>
                    <a:pt x="108" y="78"/>
                  </a:cubicBezTo>
                  <a:cubicBezTo>
                    <a:pt x="97" y="83"/>
                    <a:pt x="103" y="94"/>
                    <a:pt x="115" y="91"/>
                  </a:cubicBezTo>
                  <a:cubicBezTo>
                    <a:pt x="127" y="89"/>
                    <a:pt x="134" y="82"/>
                    <a:pt x="134" y="89"/>
                  </a:cubicBezTo>
                  <a:cubicBezTo>
                    <a:pt x="135" y="95"/>
                    <a:pt x="134" y="108"/>
                    <a:pt x="121" y="107"/>
                  </a:cubicBezTo>
                  <a:cubicBezTo>
                    <a:pt x="109" y="107"/>
                    <a:pt x="139" y="118"/>
                    <a:pt x="123" y="119"/>
                  </a:cubicBezTo>
                  <a:cubicBezTo>
                    <a:pt x="107" y="119"/>
                    <a:pt x="110" y="127"/>
                    <a:pt x="91" y="115"/>
                  </a:cubicBezTo>
                  <a:cubicBezTo>
                    <a:pt x="73" y="104"/>
                    <a:pt x="60" y="107"/>
                    <a:pt x="53" y="112"/>
                  </a:cubicBezTo>
                  <a:cubicBezTo>
                    <a:pt x="45" y="117"/>
                    <a:pt x="43" y="132"/>
                    <a:pt x="57" y="142"/>
                  </a:cubicBezTo>
                  <a:cubicBezTo>
                    <a:pt x="71" y="153"/>
                    <a:pt x="96" y="175"/>
                    <a:pt x="114" y="165"/>
                  </a:cubicBezTo>
                  <a:cubicBezTo>
                    <a:pt x="131" y="156"/>
                    <a:pt x="143" y="147"/>
                    <a:pt x="154" y="148"/>
                  </a:cubicBezTo>
                  <a:cubicBezTo>
                    <a:pt x="164" y="149"/>
                    <a:pt x="192" y="150"/>
                    <a:pt x="174" y="158"/>
                  </a:cubicBezTo>
                  <a:cubicBezTo>
                    <a:pt x="157" y="167"/>
                    <a:pt x="162" y="176"/>
                    <a:pt x="171" y="177"/>
                  </a:cubicBezTo>
                  <a:cubicBezTo>
                    <a:pt x="180" y="179"/>
                    <a:pt x="183" y="174"/>
                    <a:pt x="192" y="167"/>
                  </a:cubicBezTo>
                  <a:cubicBezTo>
                    <a:pt x="200" y="161"/>
                    <a:pt x="204" y="160"/>
                    <a:pt x="222" y="161"/>
                  </a:cubicBezTo>
                  <a:cubicBezTo>
                    <a:pt x="240" y="162"/>
                    <a:pt x="257" y="157"/>
                    <a:pt x="278" y="169"/>
                  </a:cubicBezTo>
                  <a:cubicBezTo>
                    <a:pt x="300" y="181"/>
                    <a:pt x="295" y="172"/>
                    <a:pt x="314" y="195"/>
                  </a:cubicBezTo>
                  <a:cubicBezTo>
                    <a:pt x="334" y="218"/>
                    <a:pt x="334" y="220"/>
                    <a:pt x="354" y="223"/>
                  </a:cubicBezTo>
                  <a:cubicBezTo>
                    <a:pt x="374" y="225"/>
                    <a:pt x="412" y="225"/>
                    <a:pt x="420" y="218"/>
                  </a:cubicBezTo>
                  <a:cubicBezTo>
                    <a:pt x="427" y="210"/>
                    <a:pt x="445" y="196"/>
                    <a:pt x="426" y="183"/>
                  </a:cubicBezTo>
                  <a:cubicBezTo>
                    <a:pt x="407" y="169"/>
                    <a:pt x="411" y="163"/>
                    <a:pt x="399" y="158"/>
                  </a:cubicBezTo>
                  <a:cubicBezTo>
                    <a:pt x="387" y="153"/>
                    <a:pt x="382" y="152"/>
                    <a:pt x="382" y="143"/>
                  </a:cubicBezTo>
                  <a:cubicBezTo>
                    <a:pt x="382" y="134"/>
                    <a:pt x="385" y="132"/>
                    <a:pt x="393" y="129"/>
                  </a:cubicBezTo>
                  <a:cubicBezTo>
                    <a:pt x="401" y="127"/>
                    <a:pt x="405" y="124"/>
                    <a:pt x="400" y="115"/>
                  </a:cubicBezTo>
                  <a:cubicBezTo>
                    <a:pt x="394" y="107"/>
                    <a:pt x="374" y="115"/>
                    <a:pt x="371" y="100"/>
                  </a:cubicBezTo>
                  <a:cubicBezTo>
                    <a:pt x="368" y="85"/>
                    <a:pt x="362" y="87"/>
                    <a:pt x="357" y="86"/>
                  </a:cubicBezTo>
                  <a:cubicBezTo>
                    <a:pt x="351" y="84"/>
                    <a:pt x="348" y="74"/>
                    <a:pt x="334" y="75"/>
                  </a:cubicBezTo>
                  <a:cubicBezTo>
                    <a:pt x="319" y="76"/>
                    <a:pt x="329" y="95"/>
                    <a:pt x="310" y="86"/>
                  </a:cubicBezTo>
                  <a:cubicBezTo>
                    <a:pt x="291" y="76"/>
                    <a:pt x="296" y="58"/>
                    <a:pt x="279" y="51"/>
                  </a:cubicBezTo>
                  <a:cubicBezTo>
                    <a:pt x="263" y="45"/>
                    <a:pt x="246" y="39"/>
                    <a:pt x="239" y="40"/>
                  </a:cubicBezTo>
                  <a:cubicBezTo>
                    <a:pt x="232" y="41"/>
                    <a:pt x="218" y="48"/>
                    <a:pt x="217" y="55"/>
                  </a:cubicBezTo>
                  <a:cubicBezTo>
                    <a:pt x="215" y="61"/>
                    <a:pt x="213" y="73"/>
                    <a:pt x="200" y="71"/>
                  </a:cubicBezTo>
                  <a:cubicBezTo>
                    <a:pt x="187" y="69"/>
                    <a:pt x="186" y="60"/>
                    <a:pt x="196" y="56"/>
                  </a:cubicBezTo>
                  <a:cubicBezTo>
                    <a:pt x="206" y="51"/>
                    <a:pt x="207" y="42"/>
                    <a:pt x="196" y="36"/>
                  </a:cubicBezTo>
                  <a:cubicBezTo>
                    <a:pt x="185" y="29"/>
                    <a:pt x="173" y="11"/>
                    <a:pt x="157" y="11"/>
                  </a:cubicBezTo>
                  <a:cubicBezTo>
                    <a:pt x="142" y="11"/>
                    <a:pt x="147" y="4"/>
                    <a:pt x="128" y="2"/>
                  </a:cubicBezTo>
                  <a:cubicBezTo>
                    <a:pt x="109" y="0"/>
                    <a:pt x="88" y="0"/>
                    <a:pt x="83" y="6"/>
                  </a:cubicBezTo>
                  <a:cubicBezTo>
                    <a:pt x="79" y="12"/>
                    <a:pt x="83" y="11"/>
                    <a:pt x="59" y="13"/>
                  </a:cubicBezTo>
                  <a:cubicBezTo>
                    <a:pt x="59" y="13"/>
                    <a:pt x="24" y="8"/>
                    <a:pt x="15" y="17"/>
                  </a:cubicBezTo>
                  <a:cubicBezTo>
                    <a:pt x="5" y="26"/>
                    <a:pt x="0" y="50"/>
                    <a:pt x="14" y="51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456" name="Freeform 25629"/>
            <p:cNvSpPr>
              <a:spLocks/>
            </p:cNvSpPr>
            <p:nvPr/>
          </p:nvSpPr>
          <p:spPr bwMode="auto">
            <a:xfrm>
              <a:off x="1858676" y="1432879"/>
              <a:ext cx="40879" cy="16731"/>
            </a:xfrm>
            <a:custGeom>
              <a:avLst/>
              <a:gdLst>
                <a:gd name="T0" fmla="*/ 49 w 110"/>
                <a:gd name="T1" fmla="*/ 43 h 45"/>
                <a:gd name="T2" fmla="*/ 76 w 110"/>
                <a:gd name="T3" fmla="*/ 31 h 45"/>
                <a:gd name="T4" fmla="*/ 91 w 110"/>
                <a:gd name="T5" fmla="*/ 20 h 45"/>
                <a:gd name="T6" fmla="*/ 60 w 110"/>
                <a:gd name="T7" fmla="*/ 8 h 45"/>
                <a:gd name="T8" fmla="*/ 31 w 110"/>
                <a:gd name="T9" fmla="*/ 9 h 45"/>
                <a:gd name="T10" fmla="*/ 0 w 110"/>
                <a:gd name="T11" fmla="*/ 12 h 45"/>
                <a:gd name="T12" fmla="*/ 15 w 110"/>
                <a:gd name="T13" fmla="*/ 35 h 45"/>
                <a:gd name="T14" fmla="*/ 49 w 110"/>
                <a:gd name="T15" fmla="*/ 43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0" h="45">
                  <a:moveTo>
                    <a:pt x="49" y="43"/>
                  </a:moveTo>
                  <a:cubicBezTo>
                    <a:pt x="61" y="41"/>
                    <a:pt x="58" y="28"/>
                    <a:pt x="76" y="31"/>
                  </a:cubicBezTo>
                  <a:cubicBezTo>
                    <a:pt x="94" y="34"/>
                    <a:pt x="110" y="24"/>
                    <a:pt x="91" y="20"/>
                  </a:cubicBezTo>
                  <a:cubicBezTo>
                    <a:pt x="73" y="15"/>
                    <a:pt x="77" y="8"/>
                    <a:pt x="60" y="8"/>
                  </a:cubicBezTo>
                  <a:cubicBezTo>
                    <a:pt x="43" y="8"/>
                    <a:pt x="51" y="12"/>
                    <a:pt x="31" y="9"/>
                  </a:cubicBezTo>
                  <a:cubicBezTo>
                    <a:pt x="31" y="9"/>
                    <a:pt x="0" y="0"/>
                    <a:pt x="0" y="12"/>
                  </a:cubicBezTo>
                  <a:cubicBezTo>
                    <a:pt x="0" y="24"/>
                    <a:pt x="5" y="27"/>
                    <a:pt x="15" y="35"/>
                  </a:cubicBezTo>
                  <a:cubicBezTo>
                    <a:pt x="25" y="43"/>
                    <a:pt x="38" y="45"/>
                    <a:pt x="49" y="43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457" name="Freeform 25630"/>
            <p:cNvSpPr>
              <a:spLocks/>
            </p:cNvSpPr>
            <p:nvPr/>
          </p:nvSpPr>
          <p:spPr bwMode="auto">
            <a:xfrm>
              <a:off x="1957007" y="1386634"/>
              <a:ext cx="82863" cy="56347"/>
            </a:xfrm>
            <a:custGeom>
              <a:avLst/>
              <a:gdLst>
                <a:gd name="T0" fmla="*/ 10 w 222"/>
                <a:gd name="T1" fmla="*/ 31 h 151"/>
                <a:gd name="T2" fmla="*/ 8 w 222"/>
                <a:gd name="T3" fmla="*/ 44 h 151"/>
                <a:gd name="T4" fmla="*/ 11 w 222"/>
                <a:gd name="T5" fmla="*/ 64 h 151"/>
                <a:gd name="T6" fmla="*/ 31 w 222"/>
                <a:gd name="T7" fmla="*/ 80 h 151"/>
                <a:gd name="T8" fmla="*/ 53 w 222"/>
                <a:gd name="T9" fmla="*/ 90 h 151"/>
                <a:gd name="T10" fmla="*/ 70 w 222"/>
                <a:gd name="T11" fmla="*/ 96 h 151"/>
                <a:gd name="T12" fmla="*/ 84 w 222"/>
                <a:gd name="T13" fmla="*/ 105 h 151"/>
                <a:gd name="T14" fmla="*/ 64 w 222"/>
                <a:gd name="T15" fmla="*/ 109 h 151"/>
                <a:gd name="T16" fmla="*/ 44 w 222"/>
                <a:gd name="T17" fmla="*/ 118 h 151"/>
                <a:gd name="T18" fmla="*/ 71 w 222"/>
                <a:gd name="T19" fmla="*/ 132 h 151"/>
                <a:gd name="T20" fmla="*/ 93 w 222"/>
                <a:gd name="T21" fmla="*/ 148 h 151"/>
                <a:gd name="T22" fmla="*/ 108 w 222"/>
                <a:gd name="T23" fmla="*/ 144 h 151"/>
                <a:gd name="T24" fmla="*/ 144 w 222"/>
                <a:gd name="T25" fmla="*/ 139 h 151"/>
                <a:gd name="T26" fmla="*/ 173 w 222"/>
                <a:gd name="T27" fmla="*/ 132 h 151"/>
                <a:gd name="T28" fmla="*/ 204 w 222"/>
                <a:gd name="T29" fmla="*/ 127 h 151"/>
                <a:gd name="T30" fmla="*/ 218 w 222"/>
                <a:gd name="T31" fmla="*/ 114 h 151"/>
                <a:gd name="T32" fmla="*/ 207 w 222"/>
                <a:gd name="T33" fmla="*/ 93 h 151"/>
                <a:gd name="T34" fmla="*/ 208 w 222"/>
                <a:gd name="T35" fmla="*/ 81 h 151"/>
                <a:gd name="T36" fmla="*/ 222 w 222"/>
                <a:gd name="T37" fmla="*/ 71 h 151"/>
                <a:gd name="T38" fmla="*/ 207 w 222"/>
                <a:gd name="T39" fmla="*/ 56 h 151"/>
                <a:gd name="T40" fmla="*/ 173 w 222"/>
                <a:gd name="T41" fmla="*/ 43 h 151"/>
                <a:gd name="T42" fmla="*/ 149 w 222"/>
                <a:gd name="T43" fmla="*/ 48 h 151"/>
                <a:gd name="T44" fmla="*/ 133 w 222"/>
                <a:gd name="T45" fmla="*/ 29 h 151"/>
                <a:gd name="T46" fmla="*/ 103 w 222"/>
                <a:gd name="T47" fmla="*/ 17 h 151"/>
                <a:gd name="T48" fmla="*/ 58 w 222"/>
                <a:gd name="T49" fmla="*/ 6 h 151"/>
                <a:gd name="T50" fmla="*/ 35 w 222"/>
                <a:gd name="T51" fmla="*/ 3 h 151"/>
                <a:gd name="T52" fmla="*/ 7 w 222"/>
                <a:gd name="T53" fmla="*/ 5 h 151"/>
                <a:gd name="T54" fmla="*/ 10 w 222"/>
                <a:gd name="T55" fmla="*/ 31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22" h="151">
                  <a:moveTo>
                    <a:pt x="10" y="31"/>
                  </a:moveTo>
                  <a:cubicBezTo>
                    <a:pt x="18" y="34"/>
                    <a:pt x="15" y="41"/>
                    <a:pt x="8" y="44"/>
                  </a:cubicBezTo>
                  <a:cubicBezTo>
                    <a:pt x="1" y="48"/>
                    <a:pt x="0" y="59"/>
                    <a:pt x="11" y="64"/>
                  </a:cubicBezTo>
                  <a:cubicBezTo>
                    <a:pt x="22" y="69"/>
                    <a:pt x="28" y="74"/>
                    <a:pt x="31" y="80"/>
                  </a:cubicBezTo>
                  <a:cubicBezTo>
                    <a:pt x="34" y="86"/>
                    <a:pt x="42" y="89"/>
                    <a:pt x="53" y="90"/>
                  </a:cubicBezTo>
                  <a:cubicBezTo>
                    <a:pt x="65" y="91"/>
                    <a:pt x="66" y="89"/>
                    <a:pt x="70" y="96"/>
                  </a:cubicBezTo>
                  <a:cubicBezTo>
                    <a:pt x="75" y="102"/>
                    <a:pt x="83" y="97"/>
                    <a:pt x="84" y="105"/>
                  </a:cubicBezTo>
                  <a:cubicBezTo>
                    <a:pt x="85" y="113"/>
                    <a:pt x="75" y="111"/>
                    <a:pt x="64" y="109"/>
                  </a:cubicBezTo>
                  <a:cubicBezTo>
                    <a:pt x="53" y="107"/>
                    <a:pt x="30" y="109"/>
                    <a:pt x="44" y="118"/>
                  </a:cubicBezTo>
                  <a:cubicBezTo>
                    <a:pt x="58" y="127"/>
                    <a:pt x="65" y="123"/>
                    <a:pt x="71" y="132"/>
                  </a:cubicBezTo>
                  <a:cubicBezTo>
                    <a:pt x="77" y="140"/>
                    <a:pt x="86" y="147"/>
                    <a:pt x="93" y="148"/>
                  </a:cubicBezTo>
                  <a:cubicBezTo>
                    <a:pt x="101" y="150"/>
                    <a:pt x="106" y="151"/>
                    <a:pt x="108" y="144"/>
                  </a:cubicBezTo>
                  <a:cubicBezTo>
                    <a:pt x="109" y="137"/>
                    <a:pt x="135" y="139"/>
                    <a:pt x="144" y="139"/>
                  </a:cubicBezTo>
                  <a:cubicBezTo>
                    <a:pt x="154" y="138"/>
                    <a:pt x="149" y="129"/>
                    <a:pt x="173" y="132"/>
                  </a:cubicBezTo>
                  <a:cubicBezTo>
                    <a:pt x="197" y="134"/>
                    <a:pt x="202" y="136"/>
                    <a:pt x="204" y="127"/>
                  </a:cubicBezTo>
                  <a:cubicBezTo>
                    <a:pt x="207" y="119"/>
                    <a:pt x="217" y="127"/>
                    <a:pt x="218" y="114"/>
                  </a:cubicBezTo>
                  <a:cubicBezTo>
                    <a:pt x="219" y="102"/>
                    <a:pt x="214" y="94"/>
                    <a:pt x="207" y="93"/>
                  </a:cubicBezTo>
                  <a:cubicBezTo>
                    <a:pt x="200" y="92"/>
                    <a:pt x="199" y="84"/>
                    <a:pt x="208" y="81"/>
                  </a:cubicBezTo>
                  <a:cubicBezTo>
                    <a:pt x="217" y="78"/>
                    <a:pt x="222" y="80"/>
                    <a:pt x="222" y="71"/>
                  </a:cubicBezTo>
                  <a:cubicBezTo>
                    <a:pt x="222" y="63"/>
                    <a:pt x="219" y="59"/>
                    <a:pt x="207" y="56"/>
                  </a:cubicBezTo>
                  <a:cubicBezTo>
                    <a:pt x="194" y="52"/>
                    <a:pt x="182" y="39"/>
                    <a:pt x="173" y="43"/>
                  </a:cubicBezTo>
                  <a:cubicBezTo>
                    <a:pt x="164" y="48"/>
                    <a:pt x="154" y="55"/>
                    <a:pt x="149" y="48"/>
                  </a:cubicBezTo>
                  <a:cubicBezTo>
                    <a:pt x="144" y="41"/>
                    <a:pt x="143" y="30"/>
                    <a:pt x="133" y="29"/>
                  </a:cubicBezTo>
                  <a:cubicBezTo>
                    <a:pt x="123" y="28"/>
                    <a:pt x="115" y="18"/>
                    <a:pt x="103" y="17"/>
                  </a:cubicBezTo>
                  <a:cubicBezTo>
                    <a:pt x="92" y="15"/>
                    <a:pt x="75" y="5"/>
                    <a:pt x="58" y="6"/>
                  </a:cubicBezTo>
                  <a:cubicBezTo>
                    <a:pt x="58" y="6"/>
                    <a:pt x="45" y="6"/>
                    <a:pt x="35" y="3"/>
                  </a:cubicBezTo>
                  <a:cubicBezTo>
                    <a:pt x="24" y="0"/>
                    <a:pt x="14" y="0"/>
                    <a:pt x="7" y="5"/>
                  </a:cubicBezTo>
                  <a:cubicBezTo>
                    <a:pt x="1" y="10"/>
                    <a:pt x="1" y="27"/>
                    <a:pt x="10" y="31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458" name="Freeform 25631"/>
            <p:cNvSpPr>
              <a:spLocks/>
            </p:cNvSpPr>
            <p:nvPr/>
          </p:nvSpPr>
          <p:spPr bwMode="auto">
            <a:xfrm>
              <a:off x="2005935" y="1438403"/>
              <a:ext cx="79391" cy="24306"/>
            </a:xfrm>
            <a:custGeom>
              <a:avLst/>
              <a:gdLst>
                <a:gd name="T0" fmla="*/ 91 w 213"/>
                <a:gd name="T1" fmla="*/ 6 h 65"/>
                <a:gd name="T2" fmla="*/ 54 w 213"/>
                <a:gd name="T3" fmla="*/ 4 h 65"/>
                <a:gd name="T4" fmla="*/ 25 w 213"/>
                <a:gd name="T5" fmla="*/ 13 h 65"/>
                <a:gd name="T6" fmla="*/ 2 w 213"/>
                <a:gd name="T7" fmla="*/ 21 h 65"/>
                <a:gd name="T8" fmla="*/ 10 w 213"/>
                <a:gd name="T9" fmla="*/ 43 h 65"/>
                <a:gd name="T10" fmla="*/ 33 w 213"/>
                <a:gd name="T11" fmla="*/ 59 h 65"/>
                <a:gd name="T12" fmla="*/ 91 w 213"/>
                <a:gd name="T13" fmla="*/ 56 h 65"/>
                <a:gd name="T14" fmla="*/ 132 w 213"/>
                <a:gd name="T15" fmla="*/ 56 h 65"/>
                <a:gd name="T16" fmla="*/ 174 w 213"/>
                <a:gd name="T17" fmla="*/ 55 h 65"/>
                <a:gd name="T18" fmla="*/ 191 w 213"/>
                <a:gd name="T19" fmla="*/ 31 h 65"/>
                <a:gd name="T20" fmla="*/ 202 w 213"/>
                <a:gd name="T21" fmla="*/ 17 h 65"/>
                <a:gd name="T22" fmla="*/ 178 w 213"/>
                <a:gd name="T23" fmla="*/ 11 h 65"/>
                <a:gd name="T24" fmla="*/ 127 w 213"/>
                <a:gd name="T25" fmla="*/ 11 h 65"/>
                <a:gd name="T26" fmla="*/ 91 w 213"/>
                <a:gd name="T27" fmla="*/ 6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13" h="65">
                  <a:moveTo>
                    <a:pt x="91" y="6"/>
                  </a:moveTo>
                  <a:cubicBezTo>
                    <a:pt x="83" y="11"/>
                    <a:pt x="66" y="8"/>
                    <a:pt x="54" y="4"/>
                  </a:cubicBezTo>
                  <a:cubicBezTo>
                    <a:pt x="42" y="0"/>
                    <a:pt x="38" y="11"/>
                    <a:pt x="25" y="13"/>
                  </a:cubicBezTo>
                  <a:cubicBezTo>
                    <a:pt x="13" y="14"/>
                    <a:pt x="5" y="13"/>
                    <a:pt x="2" y="21"/>
                  </a:cubicBezTo>
                  <a:cubicBezTo>
                    <a:pt x="0" y="29"/>
                    <a:pt x="0" y="41"/>
                    <a:pt x="10" y="43"/>
                  </a:cubicBezTo>
                  <a:cubicBezTo>
                    <a:pt x="20" y="46"/>
                    <a:pt x="18" y="60"/>
                    <a:pt x="33" y="59"/>
                  </a:cubicBezTo>
                  <a:cubicBezTo>
                    <a:pt x="47" y="57"/>
                    <a:pt x="81" y="59"/>
                    <a:pt x="91" y="56"/>
                  </a:cubicBezTo>
                  <a:cubicBezTo>
                    <a:pt x="100" y="54"/>
                    <a:pt x="121" y="50"/>
                    <a:pt x="132" y="56"/>
                  </a:cubicBezTo>
                  <a:cubicBezTo>
                    <a:pt x="143" y="63"/>
                    <a:pt x="172" y="65"/>
                    <a:pt x="174" y="55"/>
                  </a:cubicBezTo>
                  <a:cubicBezTo>
                    <a:pt x="177" y="45"/>
                    <a:pt x="181" y="36"/>
                    <a:pt x="191" y="31"/>
                  </a:cubicBezTo>
                  <a:cubicBezTo>
                    <a:pt x="201" y="27"/>
                    <a:pt x="213" y="22"/>
                    <a:pt x="202" y="17"/>
                  </a:cubicBezTo>
                  <a:cubicBezTo>
                    <a:pt x="192" y="12"/>
                    <a:pt x="191" y="10"/>
                    <a:pt x="178" y="11"/>
                  </a:cubicBezTo>
                  <a:cubicBezTo>
                    <a:pt x="165" y="11"/>
                    <a:pt x="142" y="13"/>
                    <a:pt x="127" y="11"/>
                  </a:cubicBezTo>
                  <a:cubicBezTo>
                    <a:pt x="127" y="11"/>
                    <a:pt x="100" y="1"/>
                    <a:pt x="91" y="6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459" name="Freeform 25634"/>
            <p:cNvSpPr>
              <a:spLocks/>
            </p:cNvSpPr>
            <p:nvPr/>
          </p:nvSpPr>
          <p:spPr bwMode="auto">
            <a:xfrm>
              <a:off x="1914549" y="1315767"/>
              <a:ext cx="38038" cy="26516"/>
            </a:xfrm>
            <a:custGeom>
              <a:avLst/>
              <a:gdLst>
                <a:gd name="T0" fmla="*/ 10 w 102"/>
                <a:gd name="T1" fmla="*/ 44 h 71"/>
                <a:gd name="T2" fmla="*/ 30 w 102"/>
                <a:gd name="T3" fmla="*/ 46 h 71"/>
                <a:gd name="T4" fmla="*/ 53 w 102"/>
                <a:gd name="T5" fmla="*/ 52 h 71"/>
                <a:gd name="T6" fmla="*/ 65 w 102"/>
                <a:gd name="T7" fmla="*/ 69 h 71"/>
                <a:gd name="T8" fmla="*/ 91 w 102"/>
                <a:gd name="T9" fmla="*/ 61 h 71"/>
                <a:gd name="T10" fmla="*/ 96 w 102"/>
                <a:gd name="T11" fmla="*/ 46 h 71"/>
                <a:gd name="T12" fmla="*/ 87 w 102"/>
                <a:gd name="T13" fmla="*/ 22 h 71"/>
                <a:gd name="T14" fmla="*/ 68 w 102"/>
                <a:gd name="T15" fmla="*/ 10 h 71"/>
                <a:gd name="T16" fmla="*/ 53 w 102"/>
                <a:gd name="T17" fmla="*/ 12 h 71"/>
                <a:gd name="T18" fmla="*/ 29 w 102"/>
                <a:gd name="T19" fmla="*/ 2 h 71"/>
                <a:gd name="T20" fmla="*/ 14 w 102"/>
                <a:gd name="T21" fmla="*/ 10 h 71"/>
                <a:gd name="T22" fmla="*/ 2 w 102"/>
                <a:gd name="T23" fmla="*/ 25 h 71"/>
                <a:gd name="T24" fmla="*/ 10 w 102"/>
                <a:gd name="T25" fmla="*/ 44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2" h="71">
                  <a:moveTo>
                    <a:pt x="10" y="44"/>
                  </a:moveTo>
                  <a:cubicBezTo>
                    <a:pt x="18" y="47"/>
                    <a:pt x="20" y="48"/>
                    <a:pt x="30" y="46"/>
                  </a:cubicBezTo>
                  <a:cubicBezTo>
                    <a:pt x="40" y="45"/>
                    <a:pt x="50" y="41"/>
                    <a:pt x="53" y="52"/>
                  </a:cubicBezTo>
                  <a:cubicBezTo>
                    <a:pt x="55" y="63"/>
                    <a:pt x="55" y="69"/>
                    <a:pt x="65" y="69"/>
                  </a:cubicBezTo>
                  <a:cubicBezTo>
                    <a:pt x="75" y="69"/>
                    <a:pt x="91" y="71"/>
                    <a:pt x="91" y="61"/>
                  </a:cubicBezTo>
                  <a:cubicBezTo>
                    <a:pt x="91" y="51"/>
                    <a:pt x="102" y="55"/>
                    <a:pt x="96" y="46"/>
                  </a:cubicBezTo>
                  <a:cubicBezTo>
                    <a:pt x="89" y="36"/>
                    <a:pt x="93" y="30"/>
                    <a:pt x="87" y="22"/>
                  </a:cubicBezTo>
                  <a:cubicBezTo>
                    <a:pt x="81" y="14"/>
                    <a:pt x="75" y="8"/>
                    <a:pt x="68" y="10"/>
                  </a:cubicBezTo>
                  <a:cubicBezTo>
                    <a:pt x="61" y="11"/>
                    <a:pt x="67" y="18"/>
                    <a:pt x="53" y="12"/>
                  </a:cubicBezTo>
                  <a:cubicBezTo>
                    <a:pt x="53" y="12"/>
                    <a:pt x="37" y="4"/>
                    <a:pt x="29" y="2"/>
                  </a:cubicBezTo>
                  <a:cubicBezTo>
                    <a:pt x="21" y="0"/>
                    <a:pt x="18" y="6"/>
                    <a:pt x="14" y="10"/>
                  </a:cubicBezTo>
                  <a:cubicBezTo>
                    <a:pt x="10" y="14"/>
                    <a:pt x="3" y="16"/>
                    <a:pt x="2" y="25"/>
                  </a:cubicBezTo>
                  <a:cubicBezTo>
                    <a:pt x="0" y="34"/>
                    <a:pt x="1" y="40"/>
                    <a:pt x="10" y="44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460" name="Freeform 25635"/>
            <p:cNvSpPr>
              <a:spLocks/>
            </p:cNvSpPr>
            <p:nvPr/>
          </p:nvSpPr>
          <p:spPr bwMode="auto">
            <a:xfrm>
              <a:off x="1991730" y="1146410"/>
              <a:ext cx="848989" cy="380854"/>
            </a:xfrm>
            <a:custGeom>
              <a:avLst/>
              <a:gdLst>
                <a:gd name="T0" fmla="*/ 130 w 2277"/>
                <a:gd name="T1" fmla="*/ 584 h 1021"/>
                <a:gd name="T2" fmla="*/ 210 w 2277"/>
                <a:gd name="T3" fmla="*/ 612 h 1021"/>
                <a:gd name="T4" fmla="*/ 311 w 2277"/>
                <a:gd name="T5" fmla="*/ 734 h 1021"/>
                <a:gd name="T6" fmla="*/ 521 w 2277"/>
                <a:gd name="T7" fmla="*/ 730 h 1021"/>
                <a:gd name="T8" fmla="*/ 621 w 2277"/>
                <a:gd name="T9" fmla="*/ 651 h 1021"/>
                <a:gd name="T10" fmla="*/ 606 w 2277"/>
                <a:gd name="T11" fmla="*/ 726 h 1021"/>
                <a:gd name="T12" fmla="*/ 751 w 2277"/>
                <a:gd name="T13" fmla="*/ 754 h 1021"/>
                <a:gd name="T14" fmla="*/ 795 w 2277"/>
                <a:gd name="T15" fmla="*/ 849 h 1021"/>
                <a:gd name="T16" fmla="*/ 579 w 2277"/>
                <a:gd name="T17" fmla="*/ 840 h 1021"/>
                <a:gd name="T18" fmla="*/ 518 w 2277"/>
                <a:gd name="T19" fmla="*/ 976 h 1021"/>
                <a:gd name="T20" fmla="*/ 703 w 2277"/>
                <a:gd name="T21" fmla="*/ 992 h 1021"/>
                <a:gd name="T22" fmla="*/ 939 w 2277"/>
                <a:gd name="T23" fmla="*/ 986 h 1021"/>
                <a:gd name="T24" fmla="*/ 1138 w 2277"/>
                <a:gd name="T25" fmla="*/ 976 h 1021"/>
                <a:gd name="T26" fmla="*/ 1138 w 2277"/>
                <a:gd name="T27" fmla="*/ 904 h 1021"/>
                <a:gd name="T28" fmla="*/ 975 w 2277"/>
                <a:gd name="T29" fmla="*/ 832 h 1021"/>
                <a:gd name="T30" fmla="*/ 1210 w 2277"/>
                <a:gd name="T31" fmla="*/ 770 h 1021"/>
                <a:gd name="T32" fmla="*/ 1333 w 2277"/>
                <a:gd name="T33" fmla="*/ 701 h 1021"/>
                <a:gd name="T34" fmla="*/ 1336 w 2277"/>
                <a:gd name="T35" fmla="*/ 631 h 1021"/>
                <a:gd name="T36" fmla="*/ 1166 w 2277"/>
                <a:gd name="T37" fmla="*/ 609 h 1021"/>
                <a:gd name="T38" fmla="*/ 1425 w 2277"/>
                <a:gd name="T39" fmla="*/ 614 h 1021"/>
                <a:gd name="T40" fmla="*/ 1401 w 2277"/>
                <a:gd name="T41" fmla="*/ 567 h 1021"/>
                <a:gd name="T42" fmla="*/ 1525 w 2277"/>
                <a:gd name="T43" fmla="*/ 511 h 1021"/>
                <a:gd name="T44" fmla="*/ 1570 w 2277"/>
                <a:gd name="T45" fmla="*/ 472 h 1021"/>
                <a:gd name="T46" fmla="*/ 1700 w 2277"/>
                <a:gd name="T47" fmla="*/ 425 h 1021"/>
                <a:gd name="T48" fmla="*/ 1930 w 2277"/>
                <a:gd name="T49" fmla="*/ 270 h 1021"/>
                <a:gd name="T50" fmla="*/ 1915 w 2277"/>
                <a:gd name="T51" fmla="*/ 257 h 1021"/>
                <a:gd name="T52" fmla="*/ 2022 w 2277"/>
                <a:gd name="T53" fmla="*/ 222 h 1021"/>
                <a:gd name="T54" fmla="*/ 2157 w 2277"/>
                <a:gd name="T55" fmla="*/ 104 h 1021"/>
                <a:gd name="T56" fmla="*/ 1996 w 2277"/>
                <a:gd name="T57" fmla="*/ 55 h 1021"/>
                <a:gd name="T58" fmla="*/ 1901 w 2277"/>
                <a:gd name="T59" fmla="*/ 52 h 1021"/>
                <a:gd name="T60" fmla="*/ 1647 w 2277"/>
                <a:gd name="T61" fmla="*/ 4 h 1021"/>
                <a:gd name="T62" fmla="*/ 1462 w 2277"/>
                <a:gd name="T63" fmla="*/ 43 h 1021"/>
                <a:gd name="T64" fmla="*/ 1347 w 2277"/>
                <a:gd name="T65" fmla="*/ 78 h 1021"/>
                <a:gd name="T66" fmla="*/ 1163 w 2277"/>
                <a:gd name="T67" fmla="*/ 32 h 1021"/>
                <a:gd name="T68" fmla="*/ 1101 w 2277"/>
                <a:gd name="T69" fmla="*/ 78 h 1021"/>
                <a:gd name="T70" fmla="*/ 908 w 2277"/>
                <a:gd name="T71" fmla="*/ 113 h 1021"/>
                <a:gd name="T72" fmla="*/ 895 w 2277"/>
                <a:gd name="T73" fmla="*/ 170 h 1021"/>
                <a:gd name="T74" fmla="*/ 683 w 2277"/>
                <a:gd name="T75" fmla="*/ 143 h 1021"/>
                <a:gd name="T76" fmla="*/ 605 w 2277"/>
                <a:gd name="T77" fmla="*/ 177 h 1021"/>
                <a:gd name="T78" fmla="*/ 316 w 2277"/>
                <a:gd name="T79" fmla="*/ 240 h 1021"/>
                <a:gd name="T80" fmla="*/ 440 w 2277"/>
                <a:gd name="T81" fmla="*/ 267 h 1021"/>
                <a:gd name="T82" fmla="*/ 497 w 2277"/>
                <a:gd name="T83" fmla="*/ 333 h 1021"/>
                <a:gd name="T84" fmla="*/ 684 w 2277"/>
                <a:gd name="T85" fmla="*/ 307 h 1021"/>
                <a:gd name="T86" fmla="*/ 667 w 2277"/>
                <a:gd name="T87" fmla="*/ 368 h 1021"/>
                <a:gd name="T88" fmla="*/ 875 w 2277"/>
                <a:gd name="T89" fmla="*/ 394 h 1021"/>
                <a:gd name="T90" fmla="*/ 1162 w 2277"/>
                <a:gd name="T91" fmla="*/ 310 h 1021"/>
                <a:gd name="T92" fmla="*/ 1201 w 2277"/>
                <a:gd name="T93" fmla="*/ 342 h 1021"/>
                <a:gd name="T94" fmla="*/ 1161 w 2277"/>
                <a:gd name="T95" fmla="*/ 404 h 1021"/>
                <a:gd name="T96" fmla="*/ 1003 w 2277"/>
                <a:gd name="T97" fmla="*/ 527 h 1021"/>
                <a:gd name="T98" fmla="*/ 803 w 2277"/>
                <a:gd name="T99" fmla="*/ 439 h 1021"/>
                <a:gd name="T100" fmla="*/ 749 w 2277"/>
                <a:gd name="T101" fmla="*/ 538 h 1021"/>
                <a:gd name="T102" fmla="*/ 964 w 2277"/>
                <a:gd name="T103" fmla="*/ 617 h 1021"/>
                <a:gd name="T104" fmla="*/ 720 w 2277"/>
                <a:gd name="T105" fmla="*/ 629 h 1021"/>
                <a:gd name="T106" fmla="*/ 625 w 2277"/>
                <a:gd name="T107" fmla="*/ 539 h 1021"/>
                <a:gd name="T108" fmla="*/ 540 w 2277"/>
                <a:gd name="T109" fmla="*/ 451 h 1021"/>
                <a:gd name="T110" fmla="*/ 215 w 2277"/>
                <a:gd name="T111" fmla="*/ 276 h 1021"/>
                <a:gd name="T112" fmla="*/ 137 w 2277"/>
                <a:gd name="T113" fmla="*/ 376 h 1021"/>
                <a:gd name="T114" fmla="*/ 35 w 2277"/>
                <a:gd name="T115" fmla="*/ 422 h 1021"/>
                <a:gd name="T116" fmla="*/ 33 w 2277"/>
                <a:gd name="T117" fmla="*/ 462 h 10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277" h="1021">
                  <a:moveTo>
                    <a:pt x="30" y="493"/>
                  </a:moveTo>
                  <a:cubicBezTo>
                    <a:pt x="33" y="502"/>
                    <a:pt x="30" y="505"/>
                    <a:pt x="41" y="513"/>
                  </a:cubicBezTo>
                  <a:cubicBezTo>
                    <a:pt x="53" y="520"/>
                    <a:pt x="58" y="533"/>
                    <a:pt x="69" y="533"/>
                  </a:cubicBezTo>
                  <a:cubicBezTo>
                    <a:pt x="80" y="533"/>
                    <a:pt x="94" y="534"/>
                    <a:pt x="103" y="533"/>
                  </a:cubicBezTo>
                  <a:cubicBezTo>
                    <a:pt x="112" y="531"/>
                    <a:pt x="126" y="534"/>
                    <a:pt x="132" y="529"/>
                  </a:cubicBezTo>
                  <a:cubicBezTo>
                    <a:pt x="137" y="524"/>
                    <a:pt x="153" y="529"/>
                    <a:pt x="144" y="536"/>
                  </a:cubicBezTo>
                  <a:cubicBezTo>
                    <a:pt x="136" y="542"/>
                    <a:pt x="127" y="542"/>
                    <a:pt x="110" y="542"/>
                  </a:cubicBezTo>
                  <a:cubicBezTo>
                    <a:pt x="93" y="542"/>
                    <a:pt x="81" y="543"/>
                    <a:pt x="78" y="551"/>
                  </a:cubicBezTo>
                  <a:cubicBezTo>
                    <a:pt x="75" y="558"/>
                    <a:pt x="86" y="560"/>
                    <a:pt x="99" y="570"/>
                  </a:cubicBezTo>
                  <a:cubicBezTo>
                    <a:pt x="112" y="580"/>
                    <a:pt x="126" y="591"/>
                    <a:pt x="130" y="584"/>
                  </a:cubicBezTo>
                  <a:cubicBezTo>
                    <a:pt x="134" y="576"/>
                    <a:pt x="143" y="575"/>
                    <a:pt x="148" y="576"/>
                  </a:cubicBezTo>
                  <a:cubicBezTo>
                    <a:pt x="153" y="576"/>
                    <a:pt x="169" y="561"/>
                    <a:pt x="175" y="573"/>
                  </a:cubicBezTo>
                  <a:cubicBezTo>
                    <a:pt x="181" y="584"/>
                    <a:pt x="192" y="591"/>
                    <a:pt x="201" y="584"/>
                  </a:cubicBezTo>
                  <a:cubicBezTo>
                    <a:pt x="210" y="576"/>
                    <a:pt x="218" y="574"/>
                    <a:pt x="225" y="574"/>
                  </a:cubicBezTo>
                  <a:cubicBezTo>
                    <a:pt x="233" y="574"/>
                    <a:pt x="238" y="561"/>
                    <a:pt x="251" y="561"/>
                  </a:cubicBezTo>
                  <a:cubicBezTo>
                    <a:pt x="265" y="562"/>
                    <a:pt x="287" y="559"/>
                    <a:pt x="287" y="568"/>
                  </a:cubicBezTo>
                  <a:cubicBezTo>
                    <a:pt x="287" y="578"/>
                    <a:pt x="262" y="574"/>
                    <a:pt x="273" y="581"/>
                  </a:cubicBezTo>
                  <a:cubicBezTo>
                    <a:pt x="285" y="587"/>
                    <a:pt x="292" y="596"/>
                    <a:pt x="273" y="596"/>
                  </a:cubicBezTo>
                  <a:cubicBezTo>
                    <a:pt x="255" y="596"/>
                    <a:pt x="242" y="598"/>
                    <a:pt x="230" y="599"/>
                  </a:cubicBezTo>
                  <a:cubicBezTo>
                    <a:pt x="218" y="599"/>
                    <a:pt x="223" y="605"/>
                    <a:pt x="210" y="612"/>
                  </a:cubicBezTo>
                  <a:cubicBezTo>
                    <a:pt x="197" y="619"/>
                    <a:pt x="189" y="619"/>
                    <a:pt x="178" y="621"/>
                  </a:cubicBezTo>
                  <a:cubicBezTo>
                    <a:pt x="167" y="622"/>
                    <a:pt x="167" y="632"/>
                    <a:pt x="180" y="640"/>
                  </a:cubicBezTo>
                  <a:cubicBezTo>
                    <a:pt x="194" y="649"/>
                    <a:pt x="202" y="657"/>
                    <a:pt x="215" y="668"/>
                  </a:cubicBezTo>
                  <a:cubicBezTo>
                    <a:pt x="228" y="679"/>
                    <a:pt x="235" y="685"/>
                    <a:pt x="243" y="684"/>
                  </a:cubicBezTo>
                  <a:cubicBezTo>
                    <a:pt x="250" y="683"/>
                    <a:pt x="254" y="672"/>
                    <a:pt x="268" y="678"/>
                  </a:cubicBezTo>
                  <a:cubicBezTo>
                    <a:pt x="283" y="685"/>
                    <a:pt x="307" y="683"/>
                    <a:pt x="316" y="683"/>
                  </a:cubicBezTo>
                  <a:cubicBezTo>
                    <a:pt x="324" y="683"/>
                    <a:pt x="331" y="687"/>
                    <a:pt x="313" y="690"/>
                  </a:cubicBezTo>
                  <a:cubicBezTo>
                    <a:pt x="295" y="694"/>
                    <a:pt x="268" y="692"/>
                    <a:pt x="257" y="697"/>
                  </a:cubicBezTo>
                  <a:cubicBezTo>
                    <a:pt x="245" y="701"/>
                    <a:pt x="245" y="709"/>
                    <a:pt x="268" y="715"/>
                  </a:cubicBezTo>
                  <a:cubicBezTo>
                    <a:pt x="292" y="722"/>
                    <a:pt x="303" y="728"/>
                    <a:pt x="311" y="734"/>
                  </a:cubicBezTo>
                  <a:cubicBezTo>
                    <a:pt x="320" y="740"/>
                    <a:pt x="329" y="730"/>
                    <a:pt x="343" y="740"/>
                  </a:cubicBezTo>
                  <a:cubicBezTo>
                    <a:pt x="357" y="750"/>
                    <a:pt x="373" y="748"/>
                    <a:pt x="385" y="747"/>
                  </a:cubicBezTo>
                  <a:cubicBezTo>
                    <a:pt x="397" y="746"/>
                    <a:pt x="414" y="748"/>
                    <a:pt x="416" y="735"/>
                  </a:cubicBezTo>
                  <a:cubicBezTo>
                    <a:pt x="418" y="722"/>
                    <a:pt x="424" y="709"/>
                    <a:pt x="435" y="721"/>
                  </a:cubicBezTo>
                  <a:cubicBezTo>
                    <a:pt x="445" y="733"/>
                    <a:pt x="448" y="738"/>
                    <a:pt x="457" y="738"/>
                  </a:cubicBezTo>
                  <a:cubicBezTo>
                    <a:pt x="465" y="739"/>
                    <a:pt x="477" y="742"/>
                    <a:pt x="473" y="733"/>
                  </a:cubicBezTo>
                  <a:cubicBezTo>
                    <a:pt x="470" y="725"/>
                    <a:pt x="460" y="724"/>
                    <a:pt x="460" y="717"/>
                  </a:cubicBezTo>
                  <a:cubicBezTo>
                    <a:pt x="460" y="710"/>
                    <a:pt x="470" y="697"/>
                    <a:pt x="480" y="715"/>
                  </a:cubicBezTo>
                  <a:cubicBezTo>
                    <a:pt x="489" y="733"/>
                    <a:pt x="488" y="738"/>
                    <a:pt x="500" y="740"/>
                  </a:cubicBezTo>
                  <a:cubicBezTo>
                    <a:pt x="511" y="743"/>
                    <a:pt x="521" y="740"/>
                    <a:pt x="521" y="730"/>
                  </a:cubicBezTo>
                  <a:cubicBezTo>
                    <a:pt x="522" y="720"/>
                    <a:pt x="541" y="720"/>
                    <a:pt x="534" y="709"/>
                  </a:cubicBezTo>
                  <a:cubicBezTo>
                    <a:pt x="526" y="698"/>
                    <a:pt x="525" y="685"/>
                    <a:pt x="535" y="687"/>
                  </a:cubicBezTo>
                  <a:cubicBezTo>
                    <a:pt x="545" y="689"/>
                    <a:pt x="550" y="699"/>
                    <a:pt x="558" y="700"/>
                  </a:cubicBezTo>
                  <a:cubicBezTo>
                    <a:pt x="566" y="700"/>
                    <a:pt x="570" y="699"/>
                    <a:pt x="570" y="690"/>
                  </a:cubicBezTo>
                  <a:cubicBezTo>
                    <a:pt x="570" y="680"/>
                    <a:pt x="574" y="676"/>
                    <a:pt x="563" y="670"/>
                  </a:cubicBezTo>
                  <a:cubicBezTo>
                    <a:pt x="552" y="663"/>
                    <a:pt x="548" y="655"/>
                    <a:pt x="553" y="646"/>
                  </a:cubicBezTo>
                  <a:cubicBezTo>
                    <a:pt x="558" y="637"/>
                    <a:pt x="572" y="622"/>
                    <a:pt x="571" y="637"/>
                  </a:cubicBezTo>
                  <a:cubicBezTo>
                    <a:pt x="570" y="652"/>
                    <a:pt x="569" y="661"/>
                    <a:pt x="576" y="665"/>
                  </a:cubicBezTo>
                  <a:cubicBezTo>
                    <a:pt x="583" y="668"/>
                    <a:pt x="589" y="685"/>
                    <a:pt x="599" y="670"/>
                  </a:cubicBezTo>
                  <a:cubicBezTo>
                    <a:pt x="608" y="656"/>
                    <a:pt x="605" y="659"/>
                    <a:pt x="621" y="651"/>
                  </a:cubicBezTo>
                  <a:cubicBezTo>
                    <a:pt x="637" y="643"/>
                    <a:pt x="619" y="625"/>
                    <a:pt x="642" y="625"/>
                  </a:cubicBezTo>
                  <a:cubicBezTo>
                    <a:pt x="665" y="625"/>
                    <a:pt x="671" y="614"/>
                    <a:pt x="681" y="612"/>
                  </a:cubicBezTo>
                  <a:cubicBezTo>
                    <a:pt x="691" y="611"/>
                    <a:pt x="702" y="610"/>
                    <a:pt x="690" y="619"/>
                  </a:cubicBezTo>
                  <a:cubicBezTo>
                    <a:pt x="678" y="629"/>
                    <a:pt x="672" y="623"/>
                    <a:pt x="671" y="634"/>
                  </a:cubicBezTo>
                  <a:cubicBezTo>
                    <a:pt x="670" y="644"/>
                    <a:pt x="671" y="649"/>
                    <a:pt x="658" y="651"/>
                  </a:cubicBezTo>
                  <a:cubicBezTo>
                    <a:pt x="645" y="653"/>
                    <a:pt x="637" y="652"/>
                    <a:pt x="634" y="664"/>
                  </a:cubicBezTo>
                  <a:cubicBezTo>
                    <a:pt x="631" y="675"/>
                    <a:pt x="637" y="685"/>
                    <a:pt x="624" y="686"/>
                  </a:cubicBezTo>
                  <a:cubicBezTo>
                    <a:pt x="611" y="687"/>
                    <a:pt x="615" y="695"/>
                    <a:pt x="603" y="702"/>
                  </a:cubicBezTo>
                  <a:cubicBezTo>
                    <a:pt x="592" y="709"/>
                    <a:pt x="593" y="707"/>
                    <a:pt x="594" y="715"/>
                  </a:cubicBezTo>
                  <a:cubicBezTo>
                    <a:pt x="594" y="724"/>
                    <a:pt x="602" y="713"/>
                    <a:pt x="606" y="726"/>
                  </a:cubicBezTo>
                  <a:cubicBezTo>
                    <a:pt x="610" y="740"/>
                    <a:pt x="614" y="751"/>
                    <a:pt x="627" y="751"/>
                  </a:cubicBezTo>
                  <a:cubicBezTo>
                    <a:pt x="641" y="751"/>
                    <a:pt x="648" y="755"/>
                    <a:pt x="653" y="745"/>
                  </a:cubicBezTo>
                  <a:cubicBezTo>
                    <a:pt x="659" y="735"/>
                    <a:pt x="663" y="733"/>
                    <a:pt x="670" y="733"/>
                  </a:cubicBezTo>
                  <a:cubicBezTo>
                    <a:pt x="678" y="733"/>
                    <a:pt x="680" y="734"/>
                    <a:pt x="680" y="741"/>
                  </a:cubicBezTo>
                  <a:cubicBezTo>
                    <a:pt x="680" y="748"/>
                    <a:pt x="690" y="754"/>
                    <a:pt x="698" y="756"/>
                  </a:cubicBezTo>
                  <a:cubicBezTo>
                    <a:pt x="706" y="757"/>
                    <a:pt x="708" y="748"/>
                    <a:pt x="716" y="748"/>
                  </a:cubicBezTo>
                  <a:cubicBezTo>
                    <a:pt x="724" y="748"/>
                    <a:pt x="741" y="746"/>
                    <a:pt x="741" y="738"/>
                  </a:cubicBezTo>
                  <a:cubicBezTo>
                    <a:pt x="741" y="730"/>
                    <a:pt x="748" y="728"/>
                    <a:pt x="756" y="728"/>
                  </a:cubicBezTo>
                  <a:cubicBezTo>
                    <a:pt x="764" y="728"/>
                    <a:pt x="763" y="733"/>
                    <a:pt x="763" y="740"/>
                  </a:cubicBezTo>
                  <a:cubicBezTo>
                    <a:pt x="763" y="746"/>
                    <a:pt x="769" y="753"/>
                    <a:pt x="751" y="754"/>
                  </a:cubicBezTo>
                  <a:cubicBezTo>
                    <a:pt x="732" y="756"/>
                    <a:pt x="749" y="757"/>
                    <a:pt x="736" y="760"/>
                  </a:cubicBezTo>
                  <a:cubicBezTo>
                    <a:pt x="724" y="763"/>
                    <a:pt x="717" y="771"/>
                    <a:pt x="723" y="775"/>
                  </a:cubicBezTo>
                  <a:cubicBezTo>
                    <a:pt x="730" y="779"/>
                    <a:pt x="740" y="779"/>
                    <a:pt x="741" y="788"/>
                  </a:cubicBezTo>
                  <a:cubicBezTo>
                    <a:pt x="741" y="796"/>
                    <a:pt x="736" y="809"/>
                    <a:pt x="743" y="811"/>
                  </a:cubicBezTo>
                  <a:cubicBezTo>
                    <a:pt x="750" y="813"/>
                    <a:pt x="757" y="819"/>
                    <a:pt x="744" y="819"/>
                  </a:cubicBezTo>
                  <a:cubicBezTo>
                    <a:pt x="731" y="819"/>
                    <a:pt x="734" y="826"/>
                    <a:pt x="743" y="829"/>
                  </a:cubicBezTo>
                  <a:cubicBezTo>
                    <a:pt x="752" y="833"/>
                    <a:pt x="753" y="839"/>
                    <a:pt x="765" y="836"/>
                  </a:cubicBezTo>
                  <a:cubicBezTo>
                    <a:pt x="777" y="833"/>
                    <a:pt x="788" y="829"/>
                    <a:pt x="799" y="831"/>
                  </a:cubicBezTo>
                  <a:cubicBezTo>
                    <a:pt x="809" y="832"/>
                    <a:pt x="830" y="827"/>
                    <a:pt x="827" y="838"/>
                  </a:cubicBezTo>
                  <a:cubicBezTo>
                    <a:pt x="824" y="849"/>
                    <a:pt x="817" y="852"/>
                    <a:pt x="795" y="849"/>
                  </a:cubicBezTo>
                  <a:cubicBezTo>
                    <a:pt x="774" y="847"/>
                    <a:pt x="754" y="847"/>
                    <a:pt x="743" y="847"/>
                  </a:cubicBezTo>
                  <a:cubicBezTo>
                    <a:pt x="731" y="847"/>
                    <a:pt x="731" y="834"/>
                    <a:pt x="719" y="834"/>
                  </a:cubicBezTo>
                  <a:cubicBezTo>
                    <a:pt x="707" y="834"/>
                    <a:pt x="708" y="833"/>
                    <a:pt x="706" y="824"/>
                  </a:cubicBezTo>
                  <a:cubicBezTo>
                    <a:pt x="705" y="814"/>
                    <a:pt x="703" y="814"/>
                    <a:pt x="691" y="804"/>
                  </a:cubicBezTo>
                  <a:cubicBezTo>
                    <a:pt x="678" y="793"/>
                    <a:pt x="665" y="778"/>
                    <a:pt x="654" y="777"/>
                  </a:cubicBezTo>
                  <a:cubicBezTo>
                    <a:pt x="642" y="776"/>
                    <a:pt x="626" y="776"/>
                    <a:pt x="610" y="776"/>
                  </a:cubicBezTo>
                  <a:cubicBezTo>
                    <a:pt x="594" y="776"/>
                    <a:pt x="592" y="776"/>
                    <a:pt x="583" y="781"/>
                  </a:cubicBezTo>
                  <a:cubicBezTo>
                    <a:pt x="574" y="785"/>
                    <a:pt x="554" y="782"/>
                    <a:pt x="554" y="792"/>
                  </a:cubicBezTo>
                  <a:cubicBezTo>
                    <a:pt x="554" y="802"/>
                    <a:pt x="554" y="816"/>
                    <a:pt x="570" y="816"/>
                  </a:cubicBezTo>
                  <a:cubicBezTo>
                    <a:pt x="586" y="816"/>
                    <a:pt x="567" y="829"/>
                    <a:pt x="579" y="840"/>
                  </a:cubicBezTo>
                  <a:cubicBezTo>
                    <a:pt x="592" y="852"/>
                    <a:pt x="595" y="856"/>
                    <a:pt x="605" y="856"/>
                  </a:cubicBezTo>
                  <a:cubicBezTo>
                    <a:pt x="615" y="856"/>
                    <a:pt x="620" y="858"/>
                    <a:pt x="620" y="863"/>
                  </a:cubicBezTo>
                  <a:cubicBezTo>
                    <a:pt x="620" y="868"/>
                    <a:pt x="622" y="881"/>
                    <a:pt x="610" y="881"/>
                  </a:cubicBezTo>
                  <a:cubicBezTo>
                    <a:pt x="597" y="881"/>
                    <a:pt x="549" y="882"/>
                    <a:pt x="540" y="882"/>
                  </a:cubicBezTo>
                  <a:cubicBezTo>
                    <a:pt x="531" y="882"/>
                    <a:pt x="530" y="896"/>
                    <a:pt x="517" y="899"/>
                  </a:cubicBezTo>
                  <a:cubicBezTo>
                    <a:pt x="504" y="902"/>
                    <a:pt x="510" y="908"/>
                    <a:pt x="496" y="909"/>
                  </a:cubicBezTo>
                  <a:cubicBezTo>
                    <a:pt x="483" y="910"/>
                    <a:pt x="468" y="914"/>
                    <a:pt x="465" y="920"/>
                  </a:cubicBezTo>
                  <a:cubicBezTo>
                    <a:pt x="463" y="927"/>
                    <a:pt x="478" y="929"/>
                    <a:pt x="476" y="942"/>
                  </a:cubicBezTo>
                  <a:cubicBezTo>
                    <a:pt x="473" y="955"/>
                    <a:pt x="470" y="960"/>
                    <a:pt x="486" y="968"/>
                  </a:cubicBezTo>
                  <a:cubicBezTo>
                    <a:pt x="501" y="977"/>
                    <a:pt x="509" y="984"/>
                    <a:pt x="518" y="976"/>
                  </a:cubicBezTo>
                  <a:cubicBezTo>
                    <a:pt x="526" y="967"/>
                    <a:pt x="536" y="965"/>
                    <a:pt x="539" y="972"/>
                  </a:cubicBezTo>
                  <a:cubicBezTo>
                    <a:pt x="541" y="979"/>
                    <a:pt x="549" y="983"/>
                    <a:pt x="556" y="983"/>
                  </a:cubicBezTo>
                  <a:cubicBezTo>
                    <a:pt x="564" y="983"/>
                    <a:pt x="575" y="978"/>
                    <a:pt x="582" y="985"/>
                  </a:cubicBezTo>
                  <a:cubicBezTo>
                    <a:pt x="588" y="992"/>
                    <a:pt x="602" y="986"/>
                    <a:pt x="603" y="978"/>
                  </a:cubicBezTo>
                  <a:cubicBezTo>
                    <a:pt x="604" y="970"/>
                    <a:pt x="615" y="971"/>
                    <a:pt x="617" y="976"/>
                  </a:cubicBezTo>
                  <a:cubicBezTo>
                    <a:pt x="620" y="982"/>
                    <a:pt x="619" y="984"/>
                    <a:pt x="630" y="984"/>
                  </a:cubicBezTo>
                  <a:cubicBezTo>
                    <a:pt x="642" y="984"/>
                    <a:pt x="647" y="991"/>
                    <a:pt x="650" y="980"/>
                  </a:cubicBezTo>
                  <a:cubicBezTo>
                    <a:pt x="653" y="969"/>
                    <a:pt x="666" y="956"/>
                    <a:pt x="670" y="966"/>
                  </a:cubicBezTo>
                  <a:cubicBezTo>
                    <a:pt x="675" y="976"/>
                    <a:pt x="675" y="979"/>
                    <a:pt x="684" y="981"/>
                  </a:cubicBezTo>
                  <a:cubicBezTo>
                    <a:pt x="693" y="983"/>
                    <a:pt x="696" y="992"/>
                    <a:pt x="703" y="992"/>
                  </a:cubicBezTo>
                  <a:cubicBezTo>
                    <a:pt x="711" y="992"/>
                    <a:pt x="725" y="987"/>
                    <a:pt x="736" y="991"/>
                  </a:cubicBezTo>
                  <a:cubicBezTo>
                    <a:pt x="746" y="994"/>
                    <a:pt x="798" y="996"/>
                    <a:pt x="800" y="991"/>
                  </a:cubicBezTo>
                  <a:cubicBezTo>
                    <a:pt x="802" y="986"/>
                    <a:pt x="787" y="986"/>
                    <a:pt x="788" y="981"/>
                  </a:cubicBezTo>
                  <a:cubicBezTo>
                    <a:pt x="789" y="976"/>
                    <a:pt x="787" y="973"/>
                    <a:pt x="800" y="974"/>
                  </a:cubicBezTo>
                  <a:cubicBezTo>
                    <a:pt x="813" y="975"/>
                    <a:pt x="817" y="974"/>
                    <a:pt x="819" y="966"/>
                  </a:cubicBezTo>
                  <a:cubicBezTo>
                    <a:pt x="821" y="957"/>
                    <a:pt x="834" y="958"/>
                    <a:pt x="838" y="968"/>
                  </a:cubicBezTo>
                  <a:cubicBezTo>
                    <a:pt x="842" y="978"/>
                    <a:pt x="856" y="983"/>
                    <a:pt x="864" y="979"/>
                  </a:cubicBezTo>
                  <a:cubicBezTo>
                    <a:pt x="872" y="976"/>
                    <a:pt x="886" y="960"/>
                    <a:pt x="895" y="975"/>
                  </a:cubicBezTo>
                  <a:cubicBezTo>
                    <a:pt x="903" y="989"/>
                    <a:pt x="895" y="995"/>
                    <a:pt x="912" y="995"/>
                  </a:cubicBezTo>
                  <a:cubicBezTo>
                    <a:pt x="928" y="995"/>
                    <a:pt x="934" y="994"/>
                    <a:pt x="939" y="986"/>
                  </a:cubicBezTo>
                  <a:cubicBezTo>
                    <a:pt x="944" y="977"/>
                    <a:pt x="945" y="970"/>
                    <a:pt x="966" y="970"/>
                  </a:cubicBezTo>
                  <a:cubicBezTo>
                    <a:pt x="986" y="970"/>
                    <a:pt x="992" y="973"/>
                    <a:pt x="992" y="967"/>
                  </a:cubicBezTo>
                  <a:cubicBezTo>
                    <a:pt x="992" y="961"/>
                    <a:pt x="1001" y="963"/>
                    <a:pt x="1007" y="966"/>
                  </a:cubicBezTo>
                  <a:cubicBezTo>
                    <a:pt x="1012" y="968"/>
                    <a:pt x="1027" y="970"/>
                    <a:pt x="1026" y="978"/>
                  </a:cubicBezTo>
                  <a:cubicBezTo>
                    <a:pt x="1024" y="987"/>
                    <a:pt x="1028" y="995"/>
                    <a:pt x="1011" y="998"/>
                  </a:cubicBezTo>
                  <a:cubicBezTo>
                    <a:pt x="994" y="1002"/>
                    <a:pt x="981" y="1018"/>
                    <a:pt x="997" y="1016"/>
                  </a:cubicBezTo>
                  <a:cubicBezTo>
                    <a:pt x="1014" y="1015"/>
                    <a:pt x="1036" y="1021"/>
                    <a:pt x="1037" y="1012"/>
                  </a:cubicBezTo>
                  <a:cubicBezTo>
                    <a:pt x="1037" y="1004"/>
                    <a:pt x="1048" y="1004"/>
                    <a:pt x="1056" y="1004"/>
                  </a:cubicBezTo>
                  <a:cubicBezTo>
                    <a:pt x="1064" y="1003"/>
                    <a:pt x="1100" y="999"/>
                    <a:pt x="1104" y="988"/>
                  </a:cubicBezTo>
                  <a:cubicBezTo>
                    <a:pt x="1108" y="978"/>
                    <a:pt x="1131" y="990"/>
                    <a:pt x="1138" y="976"/>
                  </a:cubicBezTo>
                  <a:cubicBezTo>
                    <a:pt x="1146" y="961"/>
                    <a:pt x="1154" y="956"/>
                    <a:pt x="1161" y="958"/>
                  </a:cubicBezTo>
                  <a:cubicBezTo>
                    <a:pt x="1169" y="961"/>
                    <a:pt x="1171" y="971"/>
                    <a:pt x="1179" y="971"/>
                  </a:cubicBezTo>
                  <a:cubicBezTo>
                    <a:pt x="1188" y="971"/>
                    <a:pt x="1186" y="965"/>
                    <a:pt x="1199" y="956"/>
                  </a:cubicBezTo>
                  <a:cubicBezTo>
                    <a:pt x="1211" y="948"/>
                    <a:pt x="1221" y="950"/>
                    <a:pt x="1222" y="934"/>
                  </a:cubicBezTo>
                  <a:cubicBezTo>
                    <a:pt x="1222" y="918"/>
                    <a:pt x="1221" y="918"/>
                    <a:pt x="1212" y="909"/>
                  </a:cubicBezTo>
                  <a:cubicBezTo>
                    <a:pt x="1204" y="900"/>
                    <a:pt x="1201" y="895"/>
                    <a:pt x="1192" y="895"/>
                  </a:cubicBezTo>
                  <a:cubicBezTo>
                    <a:pt x="1183" y="895"/>
                    <a:pt x="1179" y="896"/>
                    <a:pt x="1176" y="906"/>
                  </a:cubicBezTo>
                  <a:cubicBezTo>
                    <a:pt x="1174" y="916"/>
                    <a:pt x="1173" y="912"/>
                    <a:pt x="1160" y="919"/>
                  </a:cubicBezTo>
                  <a:cubicBezTo>
                    <a:pt x="1147" y="925"/>
                    <a:pt x="1148" y="925"/>
                    <a:pt x="1148" y="918"/>
                  </a:cubicBezTo>
                  <a:cubicBezTo>
                    <a:pt x="1147" y="910"/>
                    <a:pt x="1143" y="904"/>
                    <a:pt x="1138" y="904"/>
                  </a:cubicBezTo>
                  <a:cubicBezTo>
                    <a:pt x="1132" y="904"/>
                    <a:pt x="1117" y="900"/>
                    <a:pt x="1124" y="892"/>
                  </a:cubicBezTo>
                  <a:cubicBezTo>
                    <a:pt x="1131" y="885"/>
                    <a:pt x="1151" y="888"/>
                    <a:pt x="1135" y="877"/>
                  </a:cubicBezTo>
                  <a:cubicBezTo>
                    <a:pt x="1119" y="867"/>
                    <a:pt x="1106" y="870"/>
                    <a:pt x="1095" y="871"/>
                  </a:cubicBezTo>
                  <a:cubicBezTo>
                    <a:pt x="1085" y="872"/>
                    <a:pt x="1078" y="867"/>
                    <a:pt x="1073" y="876"/>
                  </a:cubicBezTo>
                  <a:cubicBezTo>
                    <a:pt x="1068" y="885"/>
                    <a:pt x="1055" y="885"/>
                    <a:pt x="1055" y="879"/>
                  </a:cubicBezTo>
                  <a:cubicBezTo>
                    <a:pt x="1055" y="872"/>
                    <a:pt x="1058" y="870"/>
                    <a:pt x="1045" y="869"/>
                  </a:cubicBezTo>
                  <a:cubicBezTo>
                    <a:pt x="1031" y="867"/>
                    <a:pt x="1009" y="864"/>
                    <a:pt x="998" y="870"/>
                  </a:cubicBezTo>
                  <a:cubicBezTo>
                    <a:pt x="986" y="876"/>
                    <a:pt x="964" y="877"/>
                    <a:pt x="964" y="867"/>
                  </a:cubicBezTo>
                  <a:cubicBezTo>
                    <a:pt x="963" y="857"/>
                    <a:pt x="981" y="864"/>
                    <a:pt x="976" y="852"/>
                  </a:cubicBezTo>
                  <a:cubicBezTo>
                    <a:pt x="972" y="841"/>
                    <a:pt x="969" y="836"/>
                    <a:pt x="975" y="832"/>
                  </a:cubicBezTo>
                  <a:cubicBezTo>
                    <a:pt x="981" y="829"/>
                    <a:pt x="992" y="832"/>
                    <a:pt x="997" y="839"/>
                  </a:cubicBezTo>
                  <a:cubicBezTo>
                    <a:pt x="1002" y="847"/>
                    <a:pt x="1016" y="858"/>
                    <a:pt x="1032" y="858"/>
                  </a:cubicBezTo>
                  <a:cubicBezTo>
                    <a:pt x="1047" y="858"/>
                    <a:pt x="1072" y="857"/>
                    <a:pt x="1088" y="859"/>
                  </a:cubicBezTo>
                  <a:cubicBezTo>
                    <a:pt x="1105" y="860"/>
                    <a:pt x="1127" y="862"/>
                    <a:pt x="1141" y="857"/>
                  </a:cubicBezTo>
                  <a:cubicBezTo>
                    <a:pt x="1154" y="853"/>
                    <a:pt x="1182" y="853"/>
                    <a:pt x="1189" y="844"/>
                  </a:cubicBezTo>
                  <a:cubicBezTo>
                    <a:pt x="1196" y="836"/>
                    <a:pt x="1203" y="836"/>
                    <a:pt x="1207" y="827"/>
                  </a:cubicBezTo>
                  <a:cubicBezTo>
                    <a:pt x="1210" y="819"/>
                    <a:pt x="1226" y="824"/>
                    <a:pt x="1217" y="811"/>
                  </a:cubicBezTo>
                  <a:cubicBezTo>
                    <a:pt x="1209" y="797"/>
                    <a:pt x="1207" y="789"/>
                    <a:pt x="1199" y="784"/>
                  </a:cubicBezTo>
                  <a:cubicBezTo>
                    <a:pt x="1192" y="780"/>
                    <a:pt x="1185" y="776"/>
                    <a:pt x="1185" y="771"/>
                  </a:cubicBezTo>
                  <a:cubicBezTo>
                    <a:pt x="1185" y="765"/>
                    <a:pt x="1204" y="759"/>
                    <a:pt x="1210" y="770"/>
                  </a:cubicBezTo>
                  <a:cubicBezTo>
                    <a:pt x="1216" y="781"/>
                    <a:pt x="1229" y="777"/>
                    <a:pt x="1247" y="776"/>
                  </a:cubicBezTo>
                  <a:cubicBezTo>
                    <a:pt x="1265" y="774"/>
                    <a:pt x="1296" y="782"/>
                    <a:pt x="1300" y="770"/>
                  </a:cubicBezTo>
                  <a:cubicBezTo>
                    <a:pt x="1303" y="758"/>
                    <a:pt x="1350" y="773"/>
                    <a:pt x="1351" y="759"/>
                  </a:cubicBezTo>
                  <a:cubicBezTo>
                    <a:pt x="1351" y="746"/>
                    <a:pt x="1348" y="740"/>
                    <a:pt x="1330" y="740"/>
                  </a:cubicBezTo>
                  <a:cubicBezTo>
                    <a:pt x="1313" y="741"/>
                    <a:pt x="1295" y="745"/>
                    <a:pt x="1291" y="738"/>
                  </a:cubicBezTo>
                  <a:cubicBezTo>
                    <a:pt x="1287" y="732"/>
                    <a:pt x="1275" y="728"/>
                    <a:pt x="1300" y="728"/>
                  </a:cubicBezTo>
                  <a:cubicBezTo>
                    <a:pt x="1324" y="728"/>
                    <a:pt x="1365" y="738"/>
                    <a:pt x="1368" y="728"/>
                  </a:cubicBezTo>
                  <a:cubicBezTo>
                    <a:pt x="1372" y="718"/>
                    <a:pt x="1380" y="722"/>
                    <a:pt x="1381" y="716"/>
                  </a:cubicBezTo>
                  <a:cubicBezTo>
                    <a:pt x="1383" y="710"/>
                    <a:pt x="1374" y="705"/>
                    <a:pt x="1365" y="706"/>
                  </a:cubicBezTo>
                  <a:cubicBezTo>
                    <a:pt x="1356" y="707"/>
                    <a:pt x="1343" y="704"/>
                    <a:pt x="1333" y="701"/>
                  </a:cubicBezTo>
                  <a:cubicBezTo>
                    <a:pt x="1322" y="698"/>
                    <a:pt x="1323" y="692"/>
                    <a:pt x="1313" y="694"/>
                  </a:cubicBezTo>
                  <a:cubicBezTo>
                    <a:pt x="1302" y="696"/>
                    <a:pt x="1294" y="699"/>
                    <a:pt x="1295" y="691"/>
                  </a:cubicBezTo>
                  <a:cubicBezTo>
                    <a:pt x="1297" y="683"/>
                    <a:pt x="1313" y="683"/>
                    <a:pt x="1326" y="685"/>
                  </a:cubicBezTo>
                  <a:cubicBezTo>
                    <a:pt x="1339" y="686"/>
                    <a:pt x="1386" y="694"/>
                    <a:pt x="1396" y="688"/>
                  </a:cubicBezTo>
                  <a:cubicBezTo>
                    <a:pt x="1405" y="682"/>
                    <a:pt x="1410" y="671"/>
                    <a:pt x="1406" y="666"/>
                  </a:cubicBezTo>
                  <a:cubicBezTo>
                    <a:pt x="1401" y="661"/>
                    <a:pt x="1414" y="654"/>
                    <a:pt x="1405" y="647"/>
                  </a:cubicBezTo>
                  <a:cubicBezTo>
                    <a:pt x="1396" y="640"/>
                    <a:pt x="1396" y="637"/>
                    <a:pt x="1384" y="639"/>
                  </a:cubicBezTo>
                  <a:cubicBezTo>
                    <a:pt x="1371" y="642"/>
                    <a:pt x="1363" y="639"/>
                    <a:pt x="1348" y="641"/>
                  </a:cubicBezTo>
                  <a:cubicBezTo>
                    <a:pt x="1333" y="642"/>
                    <a:pt x="1310" y="645"/>
                    <a:pt x="1309" y="642"/>
                  </a:cubicBezTo>
                  <a:cubicBezTo>
                    <a:pt x="1308" y="639"/>
                    <a:pt x="1335" y="636"/>
                    <a:pt x="1336" y="631"/>
                  </a:cubicBezTo>
                  <a:cubicBezTo>
                    <a:pt x="1336" y="626"/>
                    <a:pt x="1336" y="622"/>
                    <a:pt x="1313" y="619"/>
                  </a:cubicBezTo>
                  <a:cubicBezTo>
                    <a:pt x="1291" y="617"/>
                    <a:pt x="1281" y="606"/>
                    <a:pt x="1269" y="613"/>
                  </a:cubicBezTo>
                  <a:cubicBezTo>
                    <a:pt x="1257" y="619"/>
                    <a:pt x="1244" y="624"/>
                    <a:pt x="1235" y="625"/>
                  </a:cubicBezTo>
                  <a:cubicBezTo>
                    <a:pt x="1227" y="627"/>
                    <a:pt x="1227" y="629"/>
                    <a:pt x="1218" y="635"/>
                  </a:cubicBezTo>
                  <a:cubicBezTo>
                    <a:pt x="1209" y="642"/>
                    <a:pt x="1187" y="669"/>
                    <a:pt x="1182" y="659"/>
                  </a:cubicBezTo>
                  <a:cubicBezTo>
                    <a:pt x="1177" y="649"/>
                    <a:pt x="1188" y="644"/>
                    <a:pt x="1197" y="637"/>
                  </a:cubicBezTo>
                  <a:cubicBezTo>
                    <a:pt x="1207" y="631"/>
                    <a:pt x="1224" y="631"/>
                    <a:pt x="1214" y="622"/>
                  </a:cubicBezTo>
                  <a:cubicBezTo>
                    <a:pt x="1203" y="612"/>
                    <a:pt x="1194" y="622"/>
                    <a:pt x="1178" y="623"/>
                  </a:cubicBezTo>
                  <a:cubicBezTo>
                    <a:pt x="1162" y="624"/>
                    <a:pt x="1123" y="627"/>
                    <a:pt x="1129" y="617"/>
                  </a:cubicBezTo>
                  <a:cubicBezTo>
                    <a:pt x="1135" y="606"/>
                    <a:pt x="1147" y="607"/>
                    <a:pt x="1166" y="609"/>
                  </a:cubicBezTo>
                  <a:cubicBezTo>
                    <a:pt x="1184" y="610"/>
                    <a:pt x="1233" y="621"/>
                    <a:pt x="1242" y="614"/>
                  </a:cubicBezTo>
                  <a:cubicBezTo>
                    <a:pt x="1252" y="606"/>
                    <a:pt x="1280" y="609"/>
                    <a:pt x="1264" y="604"/>
                  </a:cubicBezTo>
                  <a:cubicBezTo>
                    <a:pt x="1247" y="598"/>
                    <a:pt x="1233" y="611"/>
                    <a:pt x="1235" y="598"/>
                  </a:cubicBezTo>
                  <a:cubicBezTo>
                    <a:pt x="1237" y="584"/>
                    <a:pt x="1249" y="586"/>
                    <a:pt x="1242" y="581"/>
                  </a:cubicBezTo>
                  <a:cubicBezTo>
                    <a:pt x="1236" y="577"/>
                    <a:pt x="1236" y="573"/>
                    <a:pt x="1246" y="569"/>
                  </a:cubicBezTo>
                  <a:cubicBezTo>
                    <a:pt x="1256" y="566"/>
                    <a:pt x="1273" y="578"/>
                    <a:pt x="1282" y="584"/>
                  </a:cubicBezTo>
                  <a:cubicBezTo>
                    <a:pt x="1292" y="589"/>
                    <a:pt x="1303" y="586"/>
                    <a:pt x="1315" y="590"/>
                  </a:cubicBezTo>
                  <a:cubicBezTo>
                    <a:pt x="1326" y="594"/>
                    <a:pt x="1337" y="609"/>
                    <a:pt x="1353" y="615"/>
                  </a:cubicBezTo>
                  <a:cubicBezTo>
                    <a:pt x="1368" y="622"/>
                    <a:pt x="1390" y="621"/>
                    <a:pt x="1404" y="619"/>
                  </a:cubicBezTo>
                  <a:cubicBezTo>
                    <a:pt x="1417" y="618"/>
                    <a:pt x="1424" y="624"/>
                    <a:pt x="1425" y="614"/>
                  </a:cubicBezTo>
                  <a:cubicBezTo>
                    <a:pt x="1426" y="605"/>
                    <a:pt x="1418" y="610"/>
                    <a:pt x="1418" y="599"/>
                  </a:cubicBezTo>
                  <a:cubicBezTo>
                    <a:pt x="1418" y="589"/>
                    <a:pt x="1398" y="587"/>
                    <a:pt x="1391" y="587"/>
                  </a:cubicBezTo>
                  <a:cubicBezTo>
                    <a:pt x="1385" y="587"/>
                    <a:pt x="1333" y="594"/>
                    <a:pt x="1325" y="584"/>
                  </a:cubicBezTo>
                  <a:cubicBezTo>
                    <a:pt x="1316" y="573"/>
                    <a:pt x="1306" y="572"/>
                    <a:pt x="1298" y="572"/>
                  </a:cubicBezTo>
                  <a:cubicBezTo>
                    <a:pt x="1290" y="572"/>
                    <a:pt x="1279" y="568"/>
                    <a:pt x="1272" y="564"/>
                  </a:cubicBezTo>
                  <a:cubicBezTo>
                    <a:pt x="1265" y="561"/>
                    <a:pt x="1258" y="554"/>
                    <a:pt x="1272" y="552"/>
                  </a:cubicBezTo>
                  <a:cubicBezTo>
                    <a:pt x="1287" y="550"/>
                    <a:pt x="1318" y="552"/>
                    <a:pt x="1323" y="559"/>
                  </a:cubicBezTo>
                  <a:cubicBezTo>
                    <a:pt x="1327" y="566"/>
                    <a:pt x="1337" y="571"/>
                    <a:pt x="1340" y="567"/>
                  </a:cubicBezTo>
                  <a:cubicBezTo>
                    <a:pt x="1343" y="563"/>
                    <a:pt x="1356" y="563"/>
                    <a:pt x="1361" y="568"/>
                  </a:cubicBezTo>
                  <a:cubicBezTo>
                    <a:pt x="1367" y="573"/>
                    <a:pt x="1396" y="572"/>
                    <a:pt x="1401" y="567"/>
                  </a:cubicBezTo>
                  <a:cubicBezTo>
                    <a:pt x="1405" y="562"/>
                    <a:pt x="1408" y="561"/>
                    <a:pt x="1423" y="561"/>
                  </a:cubicBezTo>
                  <a:cubicBezTo>
                    <a:pt x="1438" y="561"/>
                    <a:pt x="1455" y="562"/>
                    <a:pt x="1458" y="555"/>
                  </a:cubicBezTo>
                  <a:cubicBezTo>
                    <a:pt x="1461" y="548"/>
                    <a:pt x="1467" y="547"/>
                    <a:pt x="1483" y="548"/>
                  </a:cubicBezTo>
                  <a:cubicBezTo>
                    <a:pt x="1499" y="550"/>
                    <a:pt x="1512" y="551"/>
                    <a:pt x="1513" y="546"/>
                  </a:cubicBezTo>
                  <a:cubicBezTo>
                    <a:pt x="1513" y="541"/>
                    <a:pt x="1527" y="534"/>
                    <a:pt x="1510" y="527"/>
                  </a:cubicBezTo>
                  <a:cubicBezTo>
                    <a:pt x="1494" y="520"/>
                    <a:pt x="1479" y="513"/>
                    <a:pt x="1452" y="512"/>
                  </a:cubicBezTo>
                  <a:cubicBezTo>
                    <a:pt x="1424" y="511"/>
                    <a:pt x="1411" y="520"/>
                    <a:pt x="1409" y="510"/>
                  </a:cubicBezTo>
                  <a:cubicBezTo>
                    <a:pt x="1407" y="501"/>
                    <a:pt x="1401" y="498"/>
                    <a:pt x="1424" y="499"/>
                  </a:cubicBezTo>
                  <a:cubicBezTo>
                    <a:pt x="1448" y="500"/>
                    <a:pt x="1479" y="501"/>
                    <a:pt x="1493" y="501"/>
                  </a:cubicBezTo>
                  <a:cubicBezTo>
                    <a:pt x="1508" y="501"/>
                    <a:pt x="1520" y="500"/>
                    <a:pt x="1525" y="511"/>
                  </a:cubicBezTo>
                  <a:cubicBezTo>
                    <a:pt x="1531" y="522"/>
                    <a:pt x="1525" y="525"/>
                    <a:pt x="1556" y="526"/>
                  </a:cubicBezTo>
                  <a:cubicBezTo>
                    <a:pt x="1586" y="527"/>
                    <a:pt x="1602" y="535"/>
                    <a:pt x="1616" y="523"/>
                  </a:cubicBezTo>
                  <a:cubicBezTo>
                    <a:pt x="1629" y="510"/>
                    <a:pt x="1626" y="507"/>
                    <a:pt x="1642" y="506"/>
                  </a:cubicBezTo>
                  <a:cubicBezTo>
                    <a:pt x="1658" y="505"/>
                    <a:pt x="1657" y="488"/>
                    <a:pt x="1647" y="490"/>
                  </a:cubicBezTo>
                  <a:cubicBezTo>
                    <a:pt x="1638" y="493"/>
                    <a:pt x="1615" y="508"/>
                    <a:pt x="1616" y="497"/>
                  </a:cubicBezTo>
                  <a:cubicBezTo>
                    <a:pt x="1618" y="485"/>
                    <a:pt x="1629" y="485"/>
                    <a:pt x="1638" y="483"/>
                  </a:cubicBezTo>
                  <a:cubicBezTo>
                    <a:pt x="1647" y="481"/>
                    <a:pt x="1667" y="485"/>
                    <a:pt x="1669" y="477"/>
                  </a:cubicBezTo>
                  <a:cubicBezTo>
                    <a:pt x="1671" y="470"/>
                    <a:pt x="1663" y="460"/>
                    <a:pt x="1654" y="460"/>
                  </a:cubicBezTo>
                  <a:cubicBezTo>
                    <a:pt x="1646" y="460"/>
                    <a:pt x="1632" y="470"/>
                    <a:pt x="1619" y="470"/>
                  </a:cubicBezTo>
                  <a:cubicBezTo>
                    <a:pt x="1606" y="470"/>
                    <a:pt x="1576" y="480"/>
                    <a:pt x="1570" y="472"/>
                  </a:cubicBezTo>
                  <a:cubicBezTo>
                    <a:pt x="1563" y="465"/>
                    <a:pt x="1564" y="462"/>
                    <a:pt x="1553" y="457"/>
                  </a:cubicBezTo>
                  <a:cubicBezTo>
                    <a:pt x="1543" y="453"/>
                    <a:pt x="1537" y="444"/>
                    <a:pt x="1553" y="444"/>
                  </a:cubicBezTo>
                  <a:cubicBezTo>
                    <a:pt x="1568" y="444"/>
                    <a:pt x="1579" y="451"/>
                    <a:pt x="1585" y="458"/>
                  </a:cubicBezTo>
                  <a:cubicBezTo>
                    <a:pt x="1591" y="465"/>
                    <a:pt x="1614" y="463"/>
                    <a:pt x="1622" y="459"/>
                  </a:cubicBezTo>
                  <a:cubicBezTo>
                    <a:pt x="1630" y="455"/>
                    <a:pt x="1641" y="446"/>
                    <a:pt x="1657" y="447"/>
                  </a:cubicBezTo>
                  <a:cubicBezTo>
                    <a:pt x="1674" y="447"/>
                    <a:pt x="1702" y="457"/>
                    <a:pt x="1705" y="447"/>
                  </a:cubicBezTo>
                  <a:cubicBezTo>
                    <a:pt x="1708" y="437"/>
                    <a:pt x="1705" y="439"/>
                    <a:pt x="1692" y="433"/>
                  </a:cubicBezTo>
                  <a:cubicBezTo>
                    <a:pt x="1680" y="427"/>
                    <a:pt x="1688" y="421"/>
                    <a:pt x="1676" y="417"/>
                  </a:cubicBezTo>
                  <a:cubicBezTo>
                    <a:pt x="1664" y="412"/>
                    <a:pt x="1669" y="398"/>
                    <a:pt x="1682" y="402"/>
                  </a:cubicBezTo>
                  <a:cubicBezTo>
                    <a:pt x="1694" y="407"/>
                    <a:pt x="1690" y="423"/>
                    <a:pt x="1700" y="425"/>
                  </a:cubicBezTo>
                  <a:cubicBezTo>
                    <a:pt x="1711" y="427"/>
                    <a:pt x="1742" y="439"/>
                    <a:pt x="1752" y="423"/>
                  </a:cubicBezTo>
                  <a:cubicBezTo>
                    <a:pt x="1762" y="407"/>
                    <a:pt x="1788" y="389"/>
                    <a:pt x="1809" y="379"/>
                  </a:cubicBezTo>
                  <a:cubicBezTo>
                    <a:pt x="1831" y="368"/>
                    <a:pt x="1857" y="361"/>
                    <a:pt x="1882" y="346"/>
                  </a:cubicBezTo>
                  <a:cubicBezTo>
                    <a:pt x="1907" y="331"/>
                    <a:pt x="1930" y="321"/>
                    <a:pt x="1953" y="311"/>
                  </a:cubicBezTo>
                  <a:cubicBezTo>
                    <a:pt x="1975" y="301"/>
                    <a:pt x="1982" y="300"/>
                    <a:pt x="2008" y="294"/>
                  </a:cubicBezTo>
                  <a:cubicBezTo>
                    <a:pt x="2035" y="288"/>
                    <a:pt x="2029" y="283"/>
                    <a:pt x="2051" y="275"/>
                  </a:cubicBezTo>
                  <a:cubicBezTo>
                    <a:pt x="2072" y="266"/>
                    <a:pt x="2065" y="265"/>
                    <a:pt x="2062" y="256"/>
                  </a:cubicBezTo>
                  <a:cubicBezTo>
                    <a:pt x="2059" y="247"/>
                    <a:pt x="2051" y="252"/>
                    <a:pt x="2028" y="252"/>
                  </a:cubicBezTo>
                  <a:cubicBezTo>
                    <a:pt x="2004" y="253"/>
                    <a:pt x="1993" y="253"/>
                    <a:pt x="1981" y="259"/>
                  </a:cubicBezTo>
                  <a:cubicBezTo>
                    <a:pt x="1970" y="265"/>
                    <a:pt x="1948" y="268"/>
                    <a:pt x="1930" y="270"/>
                  </a:cubicBezTo>
                  <a:cubicBezTo>
                    <a:pt x="1912" y="273"/>
                    <a:pt x="1892" y="275"/>
                    <a:pt x="1877" y="281"/>
                  </a:cubicBezTo>
                  <a:cubicBezTo>
                    <a:pt x="1862" y="288"/>
                    <a:pt x="1857" y="291"/>
                    <a:pt x="1835" y="293"/>
                  </a:cubicBezTo>
                  <a:cubicBezTo>
                    <a:pt x="1814" y="295"/>
                    <a:pt x="1781" y="303"/>
                    <a:pt x="1763" y="310"/>
                  </a:cubicBezTo>
                  <a:cubicBezTo>
                    <a:pt x="1744" y="317"/>
                    <a:pt x="1743" y="317"/>
                    <a:pt x="1728" y="319"/>
                  </a:cubicBezTo>
                  <a:cubicBezTo>
                    <a:pt x="1712" y="321"/>
                    <a:pt x="1696" y="328"/>
                    <a:pt x="1702" y="314"/>
                  </a:cubicBezTo>
                  <a:cubicBezTo>
                    <a:pt x="1709" y="300"/>
                    <a:pt x="1723" y="301"/>
                    <a:pt x="1743" y="297"/>
                  </a:cubicBezTo>
                  <a:cubicBezTo>
                    <a:pt x="1764" y="293"/>
                    <a:pt x="1767" y="293"/>
                    <a:pt x="1792" y="289"/>
                  </a:cubicBezTo>
                  <a:cubicBezTo>
                    <a:pt x="1817" y="285"/>
                    <a:pt x="1824" y="287"/>
                    <a:pt x="1841" y="279"/>
                  </a:cubicBezTo>
                  <a:cubicBezTo>
                    <a:pt x="1857" y="271"/>
                    <a:pt x="1863" y="269"/>
                    <a:pt x="1880" y="267"/>
                  </a:cubicBezTo>
                  <a:cubicBezTo>
                    <a:pt x="1897" y="265"/>
                    <a:pt x="1910" y="263"/>
                    <a:pt x="1915" y="257"/>
                  </a:cubicBezTo>
                  <a:cubicBezTo>
                    <a:pt x="1920" y="252"/>
                    <a:pt x="1905" y="245"/>
                    <a:pt x="1884" y="247"/>
                  </a:cubicBezTo>
                  <a:cubicBezTo>
                    <a:pt x="1863" y="250"/>
                    <a:pt x="1850" y="254"/>
                    <a:pt x="1832" y="255"/>
                  </a:cubicBezTo>
                  <a:cubicBezTo>
                    <a:pt x="1814" y="257"/>
                    <a:pt x="1810" y="264"/>
                    <a:pt x="1793" y="252"/>
                  </a:cubicBezTo>
                  <a:cubicBezTo>
                    <a:pt x="1777" y="240"/>
                    <a:pt x="1779" y="237"/>
                    <a:pt x="1766" y="233"/>
                  </a:cubicBezTo>
                  <a:cubicBezTo>
                    <a:pt x="1753" y="230"/>
                    <a:pt x="1757" y="219"/>
                    <a:pt x="1774" y="223"/>
                  </a:cubicBezTo>
                  <a:cubicBezTo>
                    <a:pt x="1791" y="227"/>
                    <a:pt x="1788" y="242"/>
                    <a:pt x="1806" y="243"/>
                  </a:cubicBezTo>
                  <a:cubicBezTo>
                    <a:pt x="1824" y="244"/>
                    <a:pt x="1831" y="241"/>
                    <a:pt x="1853" y="239"/>
                  </a:cubicBezTo>
                  <a:cubicBezTo>
                    <a:pt x="1874" y="237"/>
                    <a:pt x="1897" y="232"/>
                    <a:pt x="1909" y="235"/>
                  </a:cubicBezTo>
                  <a:cubicBezTo>
                    <a:pt x="1921" y="237"/>
                    <a:pt x="1968" y="240"/>
                    <a:pt x="1981" y="233"/>
                  </a:cubicBezTo>
                  <a:cubicBezTo>
                    <a:pt x="1995" y="227"/>
                    <a:pt x="2003" y="222"/>
                    <a:pt x="2022" y="222"/>
                  </a:cubicBezTo>
                  <a:cubicBezTo>
                    <a:pt x="2041" y="223"/>
                    <a:pt x="2053" y="218"/>
                    <a:pt x="2069" y="222"/>
                  </a:cubicBezTo>
                  <a:cubicBezTo>
                    <a:pt x="2086" y="225"/>
                    <a:pt x="2096" y="217"/>
                    <a:pt x="2110" y="211"/>
                  </a:cubicBezTo>
                  <a:cubicBezTo>
                    <a:pt x="2123" y="204"/>
                    <a:pt x="2138" y="203"/>
                    <a:pt x="2177" y="190"/>
                  </a:cubicBezTo>
                  <a:cubicBezTo>
                    <a:pt x="2216" y="177"/>
                    <a:pt x="2212" y="176"/>
                    <a:pt x="2233" y="164"/>
                  </a:cubicBezTo>
                  <a:cubicBezTo>
                    <a:pt x="2255" y="153"/>
                    <a:pt x="2273" y="152"/>
                    <a:pt x="2275" y="136"/>
                  </a:cubicBezTo>
                  <a:cubicBezTo>
                    <a:pt x="2277" y="119"/>
                    <a:pt x="2270" y="114"/>
                    <a:pt x="2261" y="109"/>
                  </a:cubicBezTo>
                  <a:cubicBezTo>
                    <a:pt x="2251" y="104"/>
                    <a:pt x="2248" y="98"/>
                    <a:pt x="2230" y="101"/>
                  </a:cubicBezTo>
                  <a:cubicBezTo>
                    <a:pt x="2212" y="104"/>
                    <a:pt x="2200" y="107"/>
                    <a:pt x="2195" y="99"/>
                  </a:cubicBezTo>
                  <a:cubicBezTo>
                    <a:pt x="2190" y="91"/>
                    <a:pt x="2180" y="89"/>
                    <a:pt x="2175" y="94"/>
                  </a:cubicBezTo>
                  <a:cubicBezTo>
                    <a:pt x="2171" y="99"/>
                    <a:pt x="2165" y="104"/>
                    <a:pt x="2157" y="104"/>
                  </a:cubicBezTo>
                  <a:cubicBezTo>
                    <a:pt x="2149" y="104"/>
                    <a:pt x="2139" y="123"/>
                    <a:pt x="2139" y="110"/>
                  </a:cubicBezTo>
                  <a:cubicBezTo>
                    <a:pt x="2139" y="97"/>
                    <a:pt x="2155" y="98"/>
                    <a:pt x="2145" y="93"/>
                  </a:cubicBezTo>
                  <a:cubicBezTo>
                    <a:pt x="2134" y="87"/>
                    <a:pt x="2124" y="84"/>
                    <a:pt x="2123" y="77"/>
                  </a:cubicBezTo>
                  <a:cubicBezTo>
                    <a:pt x="2122" y="70"/>
                    <a:pt x="2131" y="54"/>
                    <a:pt x="2126" y="50"/>
                  </a:cubicBezTo>
                  <a:cubicBezTo>
                    <a:pt x="2121" y="45"/>
                    <a:pt x="2103" y="40"/>
                    <a:pt x="2097" y="46"/>
                  </a:cubicBezTo>
                  <a:cubicBezTo>
                    <a:pt x="2090" y="52"/>
                    <a:pt x="2082" y="58"/>
                    <a:pt x="2068" y="54"/>
                  </a:cubicBezTo>
                  <a:cubicBezTo>
                    <a:pt x="2054" y="50"/>
                    <a:pt x="2051" y="51"/>
                    <a:pt x="2045" y="44"/>
                  </a:cubicBezTo>
                  <a:cubicBezTo>
                    <a:pt x="2039" y="37"/>
                    <a:pt x="2036" y="33"/>
                    <a:pt x="2027" y="37"/>
                  </a:cubicBezTo>
                  <a:cubicBezTo>
                    <a:pt x="2018" y="40"/>
                    <a:pt x="2010" y="40"/>
                    <a:pt x="2007" y="47"/>
                  </a:cubicBezTo>
                  <a:cubicBezTo>
                    <a:pt x="2004" y="55"/>
                    <a:pt x="2003" y="58"/>
                    <a:pt x="1996" y="55"/>
                  </a:cubicBezTo>
                  <a:cubicBezTo>
                    <a:pt x="1988" y="52"/>
                    <a:pt x="1983" y="45"/>
                    <a:pt x="1975" y="47"/>
                  </a:cubicBezTo>
                  <a:cubicBezTo>
                    <a:pt x="1966" y="48"/>
                    <a:pt x="1935" y="56"/>
                    <a:pt x="1929" y="60"/>
                  </a:cubicBezTo>
                  <a:cubicBezTo>
                    <a:pt x="1923" y="65"/>
                    <a:pt x="1922" y="70"/>
                    <a:pt x="1904" y="73"/>
                  </a:cubicBezTo>
                  <a:cubicBezTo>
                    <a:pt x="1886" y="75"/>
                    <a:pt x="1879" y="85"/>
                    <a:pt x="1860" y="83"/>
                  </a:cubicBezTo>
                  <a:cubicBezTo>
                    <a:pt x="1841" y="80"/>
                    <a:pt x="1817" y="75"/>
                    <a:pt x="1806" y="80"/>
                  </a:cubicBezTo>
                  <a:cubicBezTo>
                    <a:pt x="1796" y="85"/>
                    <a:pt x="1787" y="85"/>
                    <a:pt x="1791" y="78"/>
                  </a:cubicBezTo>
                  <a:cubicBezTo>
                    <a:pt x="1796" y="70"/>
                    <a:pt x="1801" y="68"/>
                    <a:pt x="1818" y="67"/>
                  </a:cubicBezTo>
                  <a:cubicBezTo>
                    <a:pt x="1835" y="65"/>
                    <a:pt x="1846" y="72"/>
                    <a:pt x="1853" y="65"/>
                  </a:cubicBezTo>
                  <a:cubicBezTo>
                    <a:pt x="1860" y="58"/>
                    <a:pt x="1866" y="62"/>
                    <a:pt x="1881" y="59"/>
                  </a:cubicBezTo>
                  <a:cubicBezTo>
                    <a:pt x="1896" y="56"/>
                    <a:pt x="1886" y="57"/>
                    <a:pt x="1901" y="52"/>
                  </a:cubicBezTo>
                  <a:cubicBezTo>
                    <a:pt x="1916" y="47"/>
                    <a:pt x="1928" y="47"/>
                    <a:pt x="1936" y="43"/>
                  </a:cubicBezTo>
                  <a:cubicBezTo>
                    <a:pt x="1944" y="39"/>
                    <a:pt x="1944" y="30"/>
                    <a:pt x="1914" y="31"/>
                  </a:cubicBezTo>
                  <a:cubicBezTo>
                    <a:pt x="1884" y="32"/>
                    <a:pt x="1883" y="26"/>
                    <a:pt x="1864" y="27"/>
                  </a:cubicBezTo>
                  <a:cubicBezTo>
                    <a:pt x="1844" y="27"/>
                    <a:pt x="1836" y="32"/>
                    <a:pt x="1826" y="27"/>
                  </a:cubicBezTo>
                  <a:cubicBezTo>
                    <a:pt x="1816" y="22"/>
                    <a:pt x="1801" y="16"/>
                    <a:pt x="1795" y="22"/>
                  </a:cubicBezTo>
                  <a:cubicBezTo>
                    <a:pt x="1789" y="29"/>
                    <a:pt x="1788" y="32"/>
                    <a:pt x="1778" y="26"/>
                  </a:cubicBezTo>
                  <a:cubicBezTo>
                    <a:pt x="1768" y="20"/>
                    <a:pt x="1776" y="18"/>
                    <a:pt x="1754" y="20"/>
                  </a:cubicBezTo>
                  <a:cubicBezTo>
                    <a:pt x="1732" y="22"/>
                    <a:pt x="1734" y="22"/>
                    <a:pt x="1725" y="15"/>
                  </a:cubicBezTo>
                  <a:cubicBezTo>
                    <a:pt x="1717" y="8"/>
                    <a:pt x="1720" y="3"/>
                    <a:pt x="1700" y="3"/>
                  </a:cubicBezTo>
                  <a:cubicBezTo>
                    <a:pt x="1680" y="3"/>
                    <a:pt x="1667" y="3"/>
                    <a:pt x="1647" y="4"/>
                  </a:cubicBezTo>
                  <a:cubicBezTo>
                    <a:pt x="1626" y="6"/>
                    <a:pt x="1611" y="17"/>
                    <a:pt x="1626" y="23"/>
                  </a:cubicBezTo>
                  <a:cubicBezTo>
                    <a:pt x="1642" y="30"/>
                    <a:pt x="1666" y="33"/>
                    <a:pt x="1649" y="38"/>
                  </a:cubicBezTo>
                  <a:cubicBezTo>
                    <a:pt x="1633" y="43"/>
                    <a:pt x="1625" y="50"/>
                    <a:pt x="1616" y="37"/>
                  </a:cubicBezTo>
                  <a:cubicBezTo>
                    <a:pt x="1606" y="25"/>
                    <a:pt x="1613" y="6"/>
                    <a:pt x="1596" y="3"/>
                  </a:cubicBezTo>
                  <a:cubicBezTo>
                    <a:pt x="1580" y="0"/>
                    <a:pt x="1569" y="8"/>
                    <a:pt x="1544" y="11"/>
                  </a:cubicBezTo>
                  <a:cubicBezTo>
                    <a:pt x="1519" y="14"/>
                    <a:pt x="1526" y="18"/>
                    <a:pt x="1504" y="17"/>
                  </a:cubicBezTo>
                  <a:cubicBezTo>
                    <a:pt x="1482" y="17"/>
                    <a:pt x="1476" y="35"/>
                    <a:pt x="1487" y="42"/>
                  </a:cubicBezTo>
                  <a:cubicBezTo>
                    <a:pt x="1499" y="49"/>
                    <a:pt x="1531" y="52"/>
                    <a:pt x="1533" y="61"/>
                  </a:cubicBezTo>
                  <a:cubicBezTo>
                    <a:pt x="1534" y="70"/>
                    <a:pt x="1517" y="66"/>
                    <a:pt x="1497" y="61"/>
                  </a:cubicBezTo>
                  <a:cubicBezTo>
                    <a:pt x="1478" y="56"/>
                    <a:pt x="1471" y="58"/>
                    <a:pt x="1462" y="43"/>
                  </a:cubicBezTo>
                  <a:cubicBezTo>
                    <a:pt x="1454" y="28"/>
                    <a:pt x="1441" y="25"/>
                    <a:pt x="1426" y="22"/>
                  </a:cubicBezTo>
                  <a:cubicBezTo>
                    <a:pt x="1411" y="18"/>
                    <a:pt x="1376" y="16"/>
                    <a:pt x="1365" y="18"/>
                  </a:cubicBezTo>
                  <a:cubicBezTo>
                    <a:pt x="1354" y="20"/>
                    <a:pt x="1354" y="20"/>
                    <a:pt x="1336" y="15"/>
                  </a:cubicBezTo>
                  <a:cubicBezTo>
                    <a:pt x="1318" y="11"/>
                    <a:pt x="1319" y="7"/>
                    <a:pt x="1302" y="12"/>
                  </a:cubicBezTo>
                  <a:cubicBezTo>
                    <a:pt x="1285" y="18"/>
                    <a:pt x="1282" y="22"/>
                    <a:pt x="1264" y="20"/>
                  </a:cubicBezTo>
                  <a:cubicBezTo>
                    <a:pt x="1246" y="18"/>
                    <a:pt x="1229" y="32"/>
                    <a:pt x="1249" y="35"/>
                  </a:cubicBezTo>
                  <a:cubicBezTo>
                    <a:pt x="1269" y="38"/>
                    <a:pt x="1274" y="46"/>
                    <a:pt x="1281" y="51"/>
                  </a:cubicBezTo>
                  <a:cubicBezTo>
                    <a:pt x="1288" y="56"/>
                    <a:pt x="1303" y="50"/>
                    <a:pt x="1305" y="60"/>
                  </a:cubicBezTo>
                  <a:cubicBezTo>
                    <a:pt x="1307" y="70"/>
                    <a:pt x="1308" y="76"/>
                    <a:pt x="1317" y="76"/>
                  </a:cubicBezTo>
                  <a:cubicBezTo>
                    <a:pt x="1325" y="76"/>
                    <a:pt x="1344" y="70"/>
                    <a:pt x="1347" y="78"/>
                  </a:cubicBezTo>
                  <a:cubicBezTo>
                    <a:pt x="1350" y="85"/>
                    <a:pt x="1346" y="87"/>
                    <a:pt x="1336" y="88"/>
                  </a:cubicBezTo>
                  <a:cubicBezTo>
                    <a:pt x="1325" y="88"/>
                    <a:pt x="1324" y="100"/>
                    <a:pt x="1318" y="107"/>
                  </a:cubicBezTo>
                  <a:cubicBezTo>
                    <a:pt x="1311" y="114"/>
                    <a:pt x="1292" y="120"/>
                    <a:pt x="1300" y="110"/>
                  </a:cubicBezTo>
                  <a:cubicBezTo>
                    <a:pt x="1309" y="100"/>
                    <a:pt x="1322" y="97"/>
                    <a:pt x="1307" y="88"/>
                  </a:cubicBezTo>
                  <a:cubicBezTo>
                    <a:pt x="1292" y="78"/>
                    <a:pt x="1287" y="90"/>
                    <a:pt x="1279" y="78"/>
                  </a:cubicBezTo>
                  <a:cubicBezTo>
                    <a:pt x="1271" y="67"/>
                    <a:pt x="1281" y="57"/>
                    <a:pt x="1251" y="52"/>
                  </a:cubicBezTo>
                  <a:cubicBezTo>
                    <a:pt x="1221" y="47"/>
                    <a:pt x="1225" y="44"/>
                    <a:pt x="1217" y="40"/>
                  </a:cubicBezTo>
                  <a:cubicBezTo>
                    <a:pt x="1208" y="35"/>
                    <a:pt x="1207" y="32"/>
                    <a:pt x="1200" y="37"/>
                  </a:cubicBezTo>
                  <a:cubicBezTo>
                    <a:pt x="1193" y="43"/>
                    <a:pt x="1187" y="51"/>
                    <a:pt x="1179" y="42"/>
                  </a:cubicBezTo>
                  <a:cubicBezTo>
                    <a:pt x="1170" y="32"/>
                    <a:pt x="1169" y="41"/>
                    <a:pt x="1163" y="32"/>
                  </a:cubicBezTo>
                  <a:cubicBezTo>
                    <a:pt x="1157" y="24"/>
                    <a:pt x="1156" y="40"/>
                    <a:pt x="1136" y="37"/>
                  </a:cubicBezTo>
                  <a:cubicBezTo>
                    <a:pt x="1115" y="33"/>
                    <a:pt x="1134" y="25"/>
                    <a:pt x="1110" y="26"/>
                  </a:cubicBezTo>
                  <a:cubicBezTo>
                    <a:pt x="1087" y="27"/>
                    <a:pt x="1090" y="28"/>
                    <a:pt x="1077" y="32"/>
                  </a:cubicBezTo>
                  <a:cubicBezTo>
                    <a:pt x="1064" y="37"/>
                    <a:pt x="1062" y="37"/>
                    <a:pt x="1062" y="42"/>
                  </a:cubicBezTo>
                  <a:cubicBezTo>
                    <a:pt x="1062" y="47"/>
                    <a:pt x="1066" y="44"/>
                    <a:pt x="1074" y="51"/>
                  </a:cubicBezTo>
                  <a:cubicBezTo>
                    <a:pt x="1082" y="58"/>
                    <a:pt x="1095" y="63"/>
                    <a:pt x="1100" y="63"/>
                  </a:cubicBezTo>
                  <a:cubicBezTo>
                    <a:pt x="1106" y="63"/>
                    <a:pt x="1100" y="73"/>
                    <a:pt x="1120" y="69"/>
                  </a:cubicBezTo>
                  <a:cubicBezTo>
                    <a:pt x="1139" y="65"/>
                    <a:pt x="1176" y="65"/>
                    <a:pt x="1175" y="71"/>
                  </a:cubicBezTo>
                  <a:cubicBezTo>
                    <a:pt x="1174" y="77"/>
                    <a:pt x="1160" y="81"/>
                    <a:pt x="1143" y="79"/>
                  </a:cubicBezTo>
                  <a:cubicBezTo>
                    <a:pt x="1126" y="77"/>
                    <a:pt x="1114" y="78"/>
                    <a:pt x="1101" y="78"/>
                  </a:cubicBezTo>
                  <a:cubicBezTo>
                    <a:pt x="1088" y="78"/>
                    <a:pt x="1073" y="78"/>
                    <a:pt x="1061" y="68"/>
                  </a:cubicBezTo>
                  <a:cubicBezTo>
                    <a:pt x="1049" y="59"/>
                    <a:pt x="1053" y="52"/>
                    <a:pt x="1037" y="52"/>
                  </a:cubicBezTo>
                  <a:cubicBezTo>
                    <a:pt x="1022" y="52"/>
                    <a:pt x="997" y="48"/>
                    <a:pt x="991" y="53"/>
                  </a:cubicBezTo>
                  <a:cubicBezTo>
                    <a:pt x="985" y="58"/>
                    <a:pt x="980" y="65"/>
                    <a:pt x="995" y="70"/>
                  </a:cubicBezTo>
                  <a:cubicBezTo>
                    <a:pt x="1010" y="75"/>
                    <a:pt x="1033" y="85"/>
                    <a:pt x="1024" y="90"/>
                  </a:cubicBezTo>
                  <a:cubicBezTo>
                    <a:pt x="1014" y="95"/>
                    <a:pt x="1016" y="95"/>
                    <a:pt x="993" y="86"/>
                  </a:cubicBezTo>
                  <a:cubicBezTo>
                    <a:pt x="970" y="78"/>
                    <a:pt x="964" y="78"/>
                    <a:pt x="951" y="77"/>
                  </a:cubicBezTo>
                  <a:cubicBezTo>
                    <a:pt x="937" y="76"/>
                    <a:pt x="924" y="81"/>
                    <a:pt x="932" y="87"/>
                  </a:cubicBezTo>
                  <a:cubicBezTo>
                    <a:pt x="940" y="93"/>
                    <a:pt x="955" y="100"/>
                    <a:pt x="941" y="101"/>
                  </a:cubicBezTo>
                  <a:cubicBezTo>
                    <a:pt x="926" y="101"/>
                    <a:pt x="913" y="106"/>
                    <a:pt x="908" y="113"/>
                  </a:cubicBezTo>
                  <a:cubicBezTo>
                    <a:pt x="904" y="121"/>
                    <a:pt x="907" y="133"/>
                    <a:pt x="931" y="136"/>
                  </a:cubicBezTo>
                  <a:cubicBezTo>
                    <a:pt x="954" y="138"/>
                    <a:pt x="977" y="153"/>
                    <a:pt x="997" y="154"/>
                  </a:cubicBezTo>
                  <a:cubicBezTo>
                    <a:pt x="1017" y="156"/>
                    <a:pt x="1033" y="169"/>
                    <a:pt x="1049" y="172"/>
                  </a:cubicBezTo>
                  <a:cubicBezTo>
                    <a:pt x="1065" y="175"/>
                    <a:pt x="1093" y="181"/>
                    <a:pt x="1102" y="190"/>
                  </a:cubicBezTo>
                  <a:cubicBezTo>
                    <a:pt x="1110" y="199"/>
                    <a:pt x="1133" y="221"/>
                    <a:pt x="1110" y="210"/>
                  </a:cubicBezTo>
                  <a:cubicBezTo>
                    <a:pt x="1087" y="199"/>
                    <a:pt x="1053" y="181"/>
                    <a:pt x="1038" y="179"/>
                  </a:cubicBezTo>
                  <a:cubicBezTo>
                    <a:pt x="1023" y="176"/>
                    <a:pt x="1004" y="172"/>
                    <a:pt x="987" y="168"/>
                  </a:cubicBezTo>
                  <a:cubicBezTo>
                    <a:pt x="970" y="164"/>
                    <a:pt x="955" y="155"/>
                    <a:pt x="940" y="152"/>
                  </a:cubicBezTo>
                  <a:cubicBezTo>
                    <a:pt x="925" y="149"/>
                    <a:pt x="906" y="149"/>
                    <a:pt x="906" y="159"/>
                  </a:cubicBezTo>
                  <a:cubicBezTo>
                    <a:pt x="906" y="169"/>
                    <a:pt x="910" y="174"/>
                    <a:pt x="895" y="170"/>
                  </a:cubicBezTo>
                  <a:cubicBezTo>
                    <a:pt x="880" y="166"/>
                    <a:pt x="867" y="152"/>
                    <a:pt x="859" y="143"/>
                  </a:cubicBezTo>
                  <a:cubicBezTo>
                    <a:pt x="851" y="133"/>
                    <a:pt x="845" y="126"/>
                    <a:pt x="834" y="124"/>
                  </a:cubicBezTo>
                  <a:cubicBezTo>
                    <a:pt x="822" y="122"/>
                    <a:pt x="814" y="117"/>
                    <a:pt x="802" y="118"/>
                  </a:cubicBezTo>
                  <a:cubicBezTo>
                    <a:pt x="790" y="118"/>
                    <a:pt x="782" y="125"/>
                    <a:pt x="779" y="116"/>
                  </a:cubicBezTo>
                  <a:cubicBezTo>
                    <a:pt x="775" y="108"/>
                    <a:pt x="782" y="106"/>
                    <a:pt x="764" y="105"/>
                  </a:cubicBezTo>
                  <a:cubicBezTo>
                    <a:pt x="746" y="104"/>
                    <a:pt x="752" y="106"/>
                    <a:pt x="735" y="106"/>
                  </a:cubicBezTo>
                  <a:cubicBezTo>
                    <a:pt x="718" y="106"/>
                    <a:pt x="708" y="103"/>
                    <a:pt x="708" y="114"/>
                  </a:cubicBezTo>
                  <a:cubicBezTo>
                    <a:pt x="709" y="125"/>
                    <a:pt x="713" y="125"/>
                    <a:pt x="721" y="125"/>
                  </a:cubicBezTo>
                  <a:cubicBezTo>
                    <a:pt x="728" y="125"/>
                    <a:pt x="738" y="131"/>
                    <a:pt x="723" y="136"/>
                  </a:cubicBezTo>
                  <a:cubicBezTo>
                    <a:pt x="709" y="141"/>
                    <a:pt x="697" y="143"/>
                    <a:pt x="683" y="143"/>
                  </a:cubicBezTo>
                  <a:cubicBezTo>
                    <a:pt x="670" y="143"/>
                    <a:pt x="657" y="143"/>
                    <a:pt x="651" y="147"/>
                  </a:cubicBezTo>
                  <a:cubicBezTo>
                    <a:pt x="645" y="151"/>
                    <a:pt x="628" y="151"/>
                    <a:pt x="640" y="156"/>
                  </a:cubicBezTo>
                  <a:cubicBezTo>
                    <a:pt x="653" y="160"/>
                    <a:pt x="650" y="170"/>
                    <a:pt x="667" y="169"/>
                  </a:cubicBezTo>
                  <a:cubicBezTo>
                    <a:pt x="683" y="167"/>
                    <a:pt x="703" y="166"/>
                    <a:pt x="716" y="170"/>
                  </a:cubicBezTo>
                  <a:cubicBezTo>
                    <a:pt x="729" y="174"/>
                    <a:pt x="735" y="176"/>
                    <a:pt x="730" y="183"/>
                  </a:cubicBezTo>
                  <a:cubicBezTo>
                    <a:pt x="725" y="190"/>
                    <a:pt x="726" y="196"/>
                    <a:pt x="711" y="190"/>
                  </a:cubicBezTo>
                  <a:cubicBezTo>
                    <a:pt x="696" y="184"/>
                    <a:pt x="680" y="176"/>
                    <a:pt x="671" y="178"/>
                  </a:cubicBezTo>
                  <a:cubicBezTo>
                    <a:pt x="662" y="179"/>
                    <a:pt x="651" y="174"/>
                    <a:pt x="645" y="180"/>
                  </a:cubicBezTo>
                  <a:cubicBezTo>
                    <a:pt x="640" y="187"/>
                    <a:pt x="640" y="187"/>
                    <a:pt x="627" y="184"/>
                  </a:cubicBezTo>
                  <a:cubicBezTo>
                    <a:pt x="615" y="181"/>
                    <a:pt x="607" y="184"/>
                    <a:pt x="605" y="177"/>
                  </a:cubicBezTo>
                  <a:cubicBezTo>
                    <a:pt x="603" y="171"/>
                    <a:pt x="594" y="164"/>
                    <a:pt x="581" y="164"/>
                  </a:cubicBezTo>
                  <a:cubicBezTo>
                    <a:pt x="568" y="164"/>
                    <a:pt x="537" y="168"/>
                    <a:pt x="528" y="171"/>
                  </a:cubicBezTo>
                  <a:cubicBezTo>
                    <a:pt x="519" y="175"/>
                    <a:pt x="501" y="173"/>
                    <a:pt x="497" y="181"/>
                  </a:cubicBezTo>
                  <a:cubicBezTo>
                    <a:pt x="493" y="189"/>
                    <a:pt x="486" y="192"/>
                    <a:pt x="478" y="194"/>
                  </a:cubicBezTo>
                  <a:cubicBezTo>
                    <a:pt x="470" y="195"/>
                    <a:pt x="466" y="203"/>
                    <a:pt x="457" y="197"/>
                  </a:cubicBezTo>
                  <a:cubicBezTo>
                    <a:pt x="448" y="190"/>
                    <a:pt x="434" y="194"/>
                    <a:pt x="425" y="194"/>
                  </a:cubicBezTo>
                  <a:cubicBezTo>
                    <a:pt x="417" y="194"/>
                    <a:pt x="397" y="193"/>
                    <a:pt x="389" y="201"/>
                  </a:cubicBezTo>
                  <a:cubicBezTo>
                    <a:pt x="380" y="209"/>
                    <a:pt x="371" y="214"/>
                    <a:pt x="357" y="215"/>
                  </a:cubicBezTo>
                  <a:cubicBezTo>
                    <a:pt x="344" y="216"/>
                    <a:pt x="335" y="219"/>
                    <a:pt x="324" y="225"/>
                  </a:cubicBezTo>
                  <a:cubicBezTo>
                    <a:pt x="312" y="232"/>
                    <a:pt x="305" y="238"/>
                    <a:pt x="316" y="240"/>
                  </a:cubicBezTo>
                  <a:cubicBezTo>
                    <a:pt x="328" y="241"/>
                    <a:pt x="330" y="247"/>
                    <a:pt x="335" y="251"/>
                  </a:cubicBezTo>
                  <a:cubicBezTo>
                    <a:pt x="340" y="255"/>
                    <a:pt x="346" y="261"/>
                    <a:pt x="358" y="255"/>
                  </a:cubicBezTo>
                  <a:cubicBezTo>
                    <a:pt x="370" y="250"/>
                    <a:pt x="382" y="254"/>
                    <a:pt x="385" y="244"/>
                  </a:cubicBezTo>
                  <a:cubicBezTo>
                    <a:pt x="389" y="234"/>
                    <a:pt x="390" y="232"/>
                    <a:pt x="407" y="232"/>
                  </a:cubicBezTo>
                  <a:cubicBezTo>
                    <a:pt x="425" y="232"/>
                    <a:pt x="443" y="232"/>
                    <a:pt x="440" y="240"/>
                  </a:cubicBezTo>
                  <a:cubicBezTo>
                    <a:pt x="436" y="249"/>
                    <a:pt x="420" y="247"/>
                    <a:pt x="411" y="252"/>
                  </a:cubicBezTo>
                  <a:cubicBezTo>
                    <a:pt x="402" y="257"/>
                    <a:pt x="387" y="253"/>
                    <a:pt x="388" y="260"/>
                  </a:cubicBezTo>
                  <a:cubicBezTo>
                    <a:pt x="389" y="267"/>
                    <a:pt x="397" y="264"/>
                    <a:pt x="403" y="272"/>
                  </a:cubicBezTo>
                  <a:cubicBezTo>
                    <a:pt x="409" y="280"/>
                    <a:pt x="425" y="283"/>
                    <a:pt x="425" y="276"/>
                  </a:cubicBezTo>
                  <a:cubicBezTo>
                    <a:pt x="426" y="270"/>
                    <a:pt x="432" y="267"/>
                    <a:pt x="440" y="267"/>
                  </a:cubicBezTo>
                  <a:cubicBezTo>
                    <a:pt x="449" y="268"/>
                    <a:pt x="453" y="263"/>
                    <a:pt x="465" y="261"/>
                  </a:cubicBezTo>
                  <a:cubicBezTo>
                    <a:pt x="477" y="259"/>
                    <a:pt x="481" y="257"/>
                    <a:pt x="496" y="254"/>
                  </a:cubicBezTo>
                  <a:cubicBezTo>
                    <a:pt x="511" y="251"/>
                    <a:pt x="526" y="245"/>
                    <a:pt x="524" y="252"/>
                  </a:cubicBezTo>
                  <a:cubicBezTo>
                    <a:pt x="523" y="260"/>
                    <a:pt x="512" y="259"/>
                    <a:pt x="496" y="263"/>
                  </a:cubicBezTo>
                  <a:cubicBezTo>
                    <a:pt x="481" y="267"/>
                    <a:pt x="482" y="277"/>
                    <a:pt x="467" y="277"/>
                  </a:cubicBezTo>
                  <a:cubicBezTo>
                    <a:pt x="452" y="277"/>
                    <a:pt x="443" y="282"/>
                    <a:pt x="448" y="285"/>
                  </a:cubicBezTo>
                  <a:cubicBezTo>
                    <a:pt x="452" y="289"/>
                    <a:pt x="438" y="295"/>
                    <a:pt x="430" y="298"/>
                  </a:cubicBezTo>
                  <a:cubicBezTo>
                    <a:pt x="421" y="300"/>
                    <a:pt x="417" y="306"/>
                    <a:pt x="420" y="313"/>
                  </a:cubicBezTo>
                  <a:cubicBezTo>
                    <a:pt x="423" y="321"/>
                    <a:pt x="428" y="330"/>
                    <a:pt x="443" y="330"/>
                  </a:cubicBezTo>
                  <a:cubicBezTo>
                    <a:pt x="458" y="330"/>
                    <a:pt x="478" y="332"/>
                    <a:pt x="497" y="333"/>
                  </a:cubicBezTo>
                  <a:cubicBezTo>
                    <a:pt x="516" y="333"/>
                    <a:pt x="506" y="334"/>
                    <a:pt x="495" y="345"/>
                  </a:cubicBezTo>
                  <a:cubicBezTo>
                    <a:pt x="484" y="356"/>
                    <a:pt x="489" y="361"/>
                    <a:pt x="508" y="366"/>
                  </a:cubicBezTo>
                  <a:cubicBezTo>
                    <a:pt x="528" y="371"/>
                    <a:pt x="526" y="376"/>
                    <a:pt x="548" y="379"/>
                  </a:cubicBezTo>
                  <a:cubicBezTo>
                    <a:pt x="570" y="381"/>
                    <a:pt x="573" y="381"/>
                    <a:pt x="579" y="385"/>
                  </a:cubicBezTo>
                  <a:cubicBezTo>
                    <a:pt x="586" y="389"/>
                    <a:pt x="604" y="395"/>
                    <a:pt x="617" y="384"/>
                  </a:cubicBezTo>
                  <a:cubicBezTo>
                    <a:pt x="630" y="372"/>
                    <a:pt x="654" y="361"/>
                    <a:pt x="663" y="353"/>
                  </a:cubicBezTo>
                  <a:cubicBezTo>
                    <a:pt x="671" y="346"/>
                    <a:pt x="696" y="330"/>
                    <a:pt x="682" y="329"/>
                  </a:cubicBezTo>
                  <a:cubicBezTo>
                    <a:pt x="668" y="328"/>
                    <a:pt x="618" y="341"/>
                    <a:pt x="613" y="333"/>
                  </a:cubicBezTo>
                  <a:cubicBezTo>
                    <a:pt x="608" y="326"/>
                    <a:pt x="617" y="321"/>
                    <a:pt x="635" y="319"/>
                  </a:cubicBezTo>
                  <a:cubicBezTo>
                    <a:pt x="654" y="317"/>
                    <a:pt x="671" y="314"/>
                    <a:pt x="684" y="307"/>
                  </a:cubicBezTo>
                  <a:cubicBezTo>
                    <a:pt x="697" y="300"/>
                    <a:pt x="706" y="301"/>
                    <a:pt x="728" y="295"/>
                  </a:cubicBezTo>
                  <a:cubicBezTo>
                    <a:pt x="749" y="288"/>
                    <a:pt x="767" y="291"/>
                    <a:pt x="742" y="301"/>
                  </a:cubicBezTo>
                  <a:cubicBezTo>
                    <a:pt x="717" y="311"/>
                    <a:pt x="686" y="337"/>
                    <a:pt x="711" y="331"/>
                  </a:cubicBezTo>
                  <a:cubicBezTo>
                    <a:pt x="736" y="324"/>
                    <a:pt x="761" y="314"/>
                    <a:pt x="778" y="314"/>
                  </a:cubicBezTo>
                  <a:cubicBezTo>
                    <a:pt x="794" y="314"/>
                    <a:pt x="825" y="318"/>
                    <a:pt x="851" y="312"/>
                  </a:cubicBezTo>
                  <a:cubicBezTo>
                    <a:pt x="877" y="306"/>
                    <a:pt x="922" y="303"/>
                    <a:pt x="910" y="308"/>
                  </a:cubicBezTo>
                  <a:cubicBezTo>
                    <a:pt x="898" y="313"/>
                    <a:pt x="882" y="321"/>
                    <a:pt x="850" y="323"/>
                  </a:cubicBezTo>
                  <a:cubicBezTo>
                    <a:pt x="819" y="326"/>
                    <a:pt x="782" y="328"/>
                    <a:pt x="754" y="334"/>
                  </a:cubicBezTo>
                  <a:cubicBezTo>
                    <a:pt x="726" y="340"/>
                    <a:pt x="708" y="336"/>
                    <a:pt x="690" y="347"/>
                  </a:cubicBezTo>
                  <a:cubicBezTo>
                    <a:pt x="672" y="359"/>
                    <a:pt x="679" y="359"/>
                    <a:pt x="667" y="368"/>
                  </a:cubicBezTo>
                  <a:cubicBezTo>
                    <a:pt x="655" y="376"/>
                    <a:pt x="648" y="396"/>
                    <a:pt x="663" y="399"/>
                  </a:cubicBezTo>
                  <a:cubicBezTo>
                    <a:pt x="678" y="402"/>
                    <a:pt x="700" y="402"/>
                    <a:pt x="714" y="401"/>
                  </a:cubicBezTo>
                  <a:cubicBezTo>
                    <a:pt x="728" y="399"/>
                    <a:pt x="837" y="402"/>
                    <a:pt x="837" y="394"/>
                  </a:cubicBezTo>
                  <a:cubicBezTo>
                    <a:pt x="837" y="385"/>
                    <a:pt x="835" y="367"/>
                    <a:pt x="847" y="367"/>
                  </a:cubicBezTo>
                  <a:cubicBezTo>
                    <a:pt x="860" y="367"/>
                    <a:pt x="856" y="379"/>
                    <a:pt x="867" y="376"/>
                  </a:cubicBezTo>
                  <a:cubicBezTo>
                    <a:pt x="878" y="373"/>
                    <a:pt x="888" y="371"/>
                    <a:pt x="900" y="371"/>
                  </a:cubicBezTo>
                  <a:cubicBezTo>
                    <a:pt x="913" y="371"/>
                    <a:pt x="945" y="357"/>
                    <a:pt x="954" y="359"/>
                  </a:cubicBezTo>
                  <a:cubicBezTo>
                    <a:pt x="962" y="360"/>
                    <a:pt x="964" y="371"/>
                    <a:pt x="946" y="373"/>
                  </a:cubicBezTo>
                  <a:cubicBezTo>
                    <a:pt x="928" y="375"/>
                    <a:pt x="915" y="380"/>
                    <a:pt x="903" y="382"/>
                  </a:cubicBezTo>
                  <a:cubicBezTo>
                    <a:pt x="890" y="384"/>
                    <a:pt x="875" y="388"/>
                    <a:pt x="875" y="394"/>
                  </a:cubicBezTo>
                  <a:cubicBezTo>
                    <a:pt x="875" y="399"/>
                    <a:pt x="881" y="404"/>
                    <a:pt x="900" y="403"/>
                  </a:cubicBezTo>
                  <a:cubicBezTo>
                    <a:pt x="920" y="402"/>
                    <a:pt x="930" y="394"/>
                    <a:pt x="951" y="394"/>
                  </a:cubicBezTo>
                  <a:cubicBezTo>
                    <a:pt x="973" y="394"/>
                    <a:pt x="980" y="381"/>
                    <a:pt x="1004" y="384"/>
                  </a:cubicBezTo>
                  <a:cubicBezTo>
                    <a:pt x="1029" y="388"/>
                    <a:pt x="1026" y="376"/>
                    <a:pt x="1042" y="376"/>
                  </a:cubicBezTo>
                  <a:cubicBezTo>
                    <a:pt x="1057" y="376"/>
                    <a:pt x="1059" y="369"/>
                    <a:pt x="1072" y="369"/>
                  </a:cubicBezTo>
                  <a:cubicBezTo>
                    <a:pt x="1085" y="369"/>
                    <a:pt x="1103" y="361"/>
                    <a:pt x="1110" y="351"/>
                  </a:cubicBezTo>
                  <a:cubicBezTo>
                    <a:pt x="1118" y="341"/>
                    <a:pt x="1124" y="333"/>
                    <a:pt x="1122" y="325"/>
                  </a:cubicBezTo>
                  <a:cubicBezTo>
                    <a:pt x="1120" y="316"/>
                    <a:pt x="1107" y="305"/>
                    <a:pt x="1116" y="308"/>
                  </a:cubicBezTo>
                  <a:cubicBezTo>
                    <a:pt x="1126" y="310"/>
                    <a:pt x="1131" y="320"/>
                    <a:pt x="1140" y="316"/>
                  </a:cubicBezTo>
                  <a:cubicBezTo>
                    <a:pt x="1149" y="311"/>
                    <a:pt x="1158" y="319"/>
                    <a:pt x="1162" y="310"/>
                  </a:cubicBezTo>
                  <a:cubicBezTo>
                    <a:pt x="1166" y="300"/>
                    <a:pt x="1170" y="301"/>
                    <a:pt x="1181" y="293"/>
                  </a:cubicBezTo>
                  <a:cubicBezTo>
                    <a:pt x="1191" y="285"/>
                    <a:pt x="1187" y="284"/>
                    <a:pt x="1208" y="280"/>
                  </a:cubicBezTo>
                  <a:cubicBezTo>
                    <a:pt x="1229" y="277"/>
                    <a:pt x="1236" y="268"/>
                    <a:pt x="1244" y="266"/>
                  </a:cubicBezTo>
                  <a:cubicBezTo>
                    <a:pt x="1253" y="264"/>
                    <a:pt x="1277" y="265"/>
                    <a:pt x="1265" y="270"/>
                  </a:cubicBezTo>
                  <a:cubicBezTo>
                    <a:pt x="1252" y="274"/>
                    <a:pt x="1228" y="284"/>
                    <a:pt x="1215" y="289"/>
                  </a:cubicBezTo>
                  <a:cubicBezTo>
                    <a:pt x="1202" y="294"/>
                    <a:pt x="1197" y="298"/>
                    <a:pt x="1189" y="305"/>
                  </a:cubicBezTo>
                  <a:cubicBezTo>
                    <a:pt x="1181" y="313"/>
                    <a:pt x="1174" y="315"/>
                    <a:pt x="1164" y="321"/>
                  </a:cubicBezTo>
                  <a:cubicBezTo>
                    <a:pt x="1153" y="326"/>
                    <a:pt x="1151" y="333"/>
                    <a:pt x="1151" y="343"/>
                  </a:cubicBezTo>
                  <a:cubicBezTo>
                    <a:pt x="1151" y="353"/>
                    <a:pt x="1161" y="353"/>
                    <a:pt x="1176" y="351"/>
                  </a:cubicBezTo>
                  <a:cubicBezTo>
                    <a:pt x="1190" y="350"/>
                    <a:pt x="1184" y="341"/>
                    <a:pt x="1201" y="342"/>
                  </a:cubicBezTo>
                  <a:cubicBezTo>
                    <a:pt x="1219" y="343"/>
                    <a:pt x="1232" y="343"/>
                    <a:pt x="1237" y="347"/>
                  </a:cubicBezTo>
                  <a:cubicBezTo>
                    <a:pt x="1242" y="351"/>
                    <a:pt x="1257" y="348"/>
                    <a:pt x="1270" y="348"/>
                  </a:cubicBezTo>
                  <a:cubicBezTo>
                    <a:pt x="1283" y="348"/>
                    <a:pt x="1299" y="352"/>
                    <a:pt x="1296" y="356"/>
                  </a:cubicBezTo>
                  <a:cubicBezTo>
                    <a:pt x="1293" y="361"/>
                    <a:pt x="1267" y="360"/>
                    <a:pt x="1250" y="360"/>
                  </a:cubicBezTo>
                  <a:cubicBezTo>
                    <a:pt x="1232" y="360"/>
                    <a:pt x="1196" y="358"/>
                    <a:pt x="1179" y="366"/>
                  </a:cubicBezTo>
                  <a:cubicBezTo>
                    <a:pt x="1162" y="374"/>
                    <a:pt x="1153" y="369"/>
                    <a:pt x="1136" y="373"/>
                  </a:cubicBezTo>
                  <a:cubicBezTo>
                    <a:pt x="1118" y="376"/>
                    <a:pt x="1105" y="376"/>
                    <a:pt x="1095" y="384"/>
                  </a:cubicBezTo>
                  <a:cubicBezTo>
                    <a:pt x="1084" y="391"/>
                    <a:pt x="1098" y="390"/>
                    <a:pt x="1127" y="389"/>
                  </a:cubicBezTo>
                  <a:cubicBezTo>
                    <a:pt x="1156" y="387"/>
                    <a:pt x="1198" y="386"/>
                    <a:pt x="1198" y="394"/>
                  </a:cubicBezTo>
                  <a:cubicBezTo>
                    <a:pt x="1198" y="401"/>
                    <a:pt x="1189" y="404"/>
                    <a:pt x="1161" y="404"/>
                  </a:cubicBezTo>
                  <a:cubicBezTo>
                    <a:pt x="1134" y="404"/>
                    <a:pt x="1101" y="399"/>
                    <a:pt x="1084" y="402"/>
                  </a:cubicBezTo>
                  <a:cubicBezTo>
                    <a:pt x="1067" y="404"/>
                    <a:pt x="1057" y="409"/>
                    <a:pt x="1045" y="412"/>
                  </a:cubicBezTo>
                  <a:cubicBezTo>
                    <a:pt x="1032" y="415"/>
                    <a:pt x="983" y="422"/>
                    <a:pt x="971" y="422"/>
                  </a:cubicBezTo>
                  <a:cubicBezTo>
                    <a:pt x="959" y="422"/>
                    <a:pt x="946" y="426"/>
                    <a:pt x="928" y="427"/>
                  </a:cubicBezTo>
                  <a:cubicBezTo>
                    <a:pt x="910" y="427"/>
                    <a:pt x="875" y="434"/>
                    <a:pt x="883" y="441"/>
                  </a:cubicBezTo>
                  <a:cubicBezTo>
                    <a:pt x="891" y="447"/>
                    <a:pt x="905" y="455"/>
                    <a:pt x="913" y="462"/>
                  </a:cubicBezTo>
                  <a:cubicBezTo>
                    <a:pt x="921" y="469"/>
                    <a:pt x="936" y="483"/>
                    <a:pt x="950" y="483"/>
                  </a:cubicBezTo>
                  <a:cubicBezTo>
                    <a:pt x="964" y="483"/>
                    <a:pt x="981" y="483"/>
                    <a:pt x="981" y="491"/>
                  </a:cubicBezTo>
                  <a:cubicBezTo>
                    <a:pt x="981" y="499"/>
                    <a:pt x="969" y="510"/>
                    <a:pt x="980" y="517"/>
                  </a:cubicBezTo>
                  <a:cubicBezTo>
                    <a:pt x="991" y="524"/>
                    <a:pt x="991" y="528"/>
                    <a:pt x="1003" y="527"/>
                  </a:cubicBezTo>
                  <a:cubicBezTo>
                    <a:pt x="1015" y="526"/>
                    <a:pt x="1033" y="531"/>
                    <a:pt x="1040" y="526"/>
                  </a:cubicBezTo>
                  <a:cubicBezTo>
                    <a:pt x="1046" y="521"/>
                    <a:pt x="1054" y="520"/>
                    <a:pt x="1065" y="520"/>
                  </a:cubicBezTo>
                  <a:cubicBezTo>
                    <a:pt x="1075" y="520"/>
                    <a:pt x="1089" y="520"/>
                    <a:pt x="1085" y="525"/>
                  </a:cubicBezTo>
                  <a:cubicBezTo>
                    <a:pt x="1080" y="531"/>
                    <a:pt x="1067" y="533"/>
                    <a:pt x="1052" y="536"/>
                  </a:cubicBezTo>
                  <a:cubicBezTo>
                    <a:pt x="1038" y="540"/>
                    <a:pt x="1017" y="541"/>
                    <a:pt x="1004" y="541"/>
                  </a:cubicBezTo>
                  <a:cubicBezTo>
                    <a:pt x="992" y="541"/>
                    <a:pt x="976" y="533"/>
                    <a:pt x="966" y="527"/>
                  </a:cubicBezTo>
                  <a:cubicBezTo>
                    <a:pt x="956" y="520"/>
                    <a:pt x="938" y="491"/>
                    <a:pt x="921" y="488"/>
                  </a:cubicBezTo>
                  <a:cubicBezTo>
                    <a:pt x="905" y="485"/>
                    <a:pt x="892" y="476"/>
                    <a:pt x="879" y="470"/>
                  </a:cubicBezTo>
                  <a:cubicBezTo>
                    <a:pt x="866" y="465"/>
                    <a:pt x="850" y="447"/>
                    <a:pt x="839" y="442"/>
                  </a:cubicBezTo>
                  <a:cubicBezTo>
                    <a:pt x="828" y="436"/>
                    <a:pt x="819" y="437"/>
                    <a:pt x="803" y="439"/>
                  </a:cubicBezTo>
                  <a:cubicBezTo>
                    <a:pt x="787" y="441"/>
                    <a:pt x="738" y="448"/>
                    <a:pt x="729" y="441"/>
                  </a:cubicBezTo>
                  <a:cubicBezTo>
                    <a:pt x="721" y="434"/>
                    <a:pt x="698" y="427"/>
                    <a:pt x="691" y="428"/>
                  </a:cubicBezTo>
                  <a:cubicBezTo>
                    <a:pt x="683" y="429"/>
                    <a:pt x="665" y="444"/>
                    <a:pt x="660" y="447"/>
                  </a:cubicBezTo>
                  <a:cubicBezTo>
                    <a:pt x="655" y="451"/>
                    <a:pt x="653" y="461"/>
                    <a:pt x="653" y="464"/>
                  </a:cubicBezTo>
                  <a:cubicBezTo>
                    <a:pt x="654" y="467"/>
                    <a:pt x="652" y="469"/>
                    <a:pt x="658" y="477"/>
                  </a:cubicBezTo>
                  <a:cubicBezTo>
                    <a:pt x="665" y="485"/>
                    <a:pt x="663" y="492"/>
                    <a:pt x="663" y="499"/>
                  </a:cubicBezTo>
                  <a:cubicBezTo>
                    <a:pt x="663" y="506"/>
                    <a:pt x="668" y="520"/>
                    <a:pt x="680" y="520"/>
                  </a:cubicBezTo>
                  <a:cubicBezTo>
                    <a:pt x="691" y="521"/>
                    <a:pt x="700" y="518"/>
                    <a:pt x="701" y="523"/>
                  </a:cubicBezTo>
                  <a:cubicBezTo>
                    <a:pt x="703" y="528"/>
                    <a:pt x="718" y="530"/>
                    <a:pt x="724" y="528"/>
                  </a:cubicBezTo>
                  <a:cubicBezTo>
                    <a:pt x="731" y="525"/>
                    <a:pt x="744" y="528"/>
                    <a:pt x="749" y="538"/>
                  </a:cubicBezTo>
                  <a:cubicBezTo>
                    <a:pt x="755" y="548"/>
                    <a:pt x="759" y="561"/>
                    <a:pt x="771" y="562"/>
                  </a:cubicBezTo>
                  <a:cubicBezTo>
                    <a:pt x="783" y="563"/>
                    <a:pt x="794" y="571"/>
                    <a:pt x="798" y="577"/>
                  </a:cubicBezTo>
                  <a:cubicBezTo>
                    <a:pt x="802" y="584"/>
                    <a:pt x="822" y="611"/>
                    <a:pt x="806" y="609"/>
                  </a:cubicBezTo>
                  <a:cubicBezTo>
                    <a:pt x="789" y="606"/>
                    <a:pt x="783" y="601"/>
                    <a:pt x="783" y="611"/>
                  </a:cubicBezTo>
                  <a:cubicBezTo>
                    <a:pt x="783" y="620"/>
                    <a:pt x="779" y="627"/>
                    <a:pt x="797" y="627"/>
                  </a:cubicBezTo>
                  <a:cubicBezTo>
                    <a:pt x="814" y="627"/>
                    <a:pt x="828" y="626"/>
                    <a:pt x="840" y="629"/>
                  </a:cubicBezTo>
                  <a:cubicBezTo>
                    <a:pt x="851" y="632"/>
                    <a:pt x="879" y="630"/>
                    <a:pt x="885" y="634"/>
                  </a:cubicBezTo>
                  <a:cubicBezTo>
                    <a:pt x="892" y="639"/>
                    <a:pt x="897" y="644"/>
                    <a:pt x="911" y="639"/>
                  </a:cubicBezTo>
                  <a:cubicBezTo>
                    <a:pt x="926" y="634"/>
                    <a:pt x="938" y="636"/>
                    <a:pt x="941" y="629"/>
                  </a:cubicBezTo>
                  <a:cubicBezTo>
                    <a:pt x="944" y="622"/>
                    <a:pt x="950" y="618"/>
                    <a:pt x="964" y="617"/>
                  </a:cubicBezTo>
                  <a:cubicBezTo>
                    <a:pt x="977" y="615"/>
                    <a:pt x="979" y="616"/>
                    <a:pt x="974" y="625"/>
                  </a:cubicBezTo>
                  <a:cubicBezTo>
                    <a:pt x="969" y="634"/>
                    <a:pt x="952" y="639"/>
                    <a:pt x="941" y="640"/>
                  </a:cubicBezTo>
                  <a:cubicBezTo>
                    <a:pt x="929" y="642"/>
                    <a:pt x="923" y="646"/>
                    <a:pt x="923" y="654"/>
                  </a:cubicBezTo>
                  <a:cubicBezTo>
                    <a:pt x="923" y="662"/>
                    <a:pt x="939" y="679"/>
                    <a:pt x="920" y="676"/>
                  </a:cubicBezTo>
                  <a:cubicBezTo>
                    <a:pt x="900" y="673"/>
                    <a:pt x="888" y="659"/>
                    <a:pt x="871" y="654"/>
                  </a:cubicBezTo>
                  <a:cubicBezTo>
                    <a:pt x="855" y="649"/>
                    <a:pt x="849" y="644"/>
                    <a:pt x="830" y="644"/>
                  </a:cubicBezTo>
                  <a:cubicBezTo>
                    <a:pt x="812" y="644"/>
                    <a:pt x="797" y="637"/>
                    <a:pt x="778" y="637"/>
                  </a:cubicBezTo>
                  <a:cubicBezTo>
                    <a:pt x="759" y="636"/>
                    <a:pt x="727" y="638"/>
                    <a:pt x="717" y="642"/>
                  </a:cubicBezTo>
                  <a:cubicBezTo>
                    <a:pt x="707" y="645"/>
                    <a:pt x="686" y="648"/>
                    <a:pt x="690" y="641"/>
                  </a:cubicBezTo>
                  <a:cubicBezTo>
                    <a:pt x="693" y="634"/>
                    <a:pt x="720" y="632"/>
                    <a:pt x="720" y="629"/>
                  </a:cubicBezTo>
                  <a:cubicBezTo>
                    <a:pt x="720" y="625"/>
                    <a:pt x="759" y="628"/>
                    <a:pt x="741" y="617"/>
                  </a:cubicBezTo>
                  <a:cubicBezTo>
                    <a:pt x="723" y="605"/>
                    <a:pt x="711" y="616"/>
                    <a:pt x="713" y="609"/>
                  </a:cubicBezTo>
                  <a:cubicBezTo>
                    <a:pt x="715" y="602"/>
                    <a:pt x="739" y="606"/>
                    <a:pt x="741" y="599"/>
                  </a:cubicBezTo>
                  <a:cubicBezTo>
                    <a:pt x="744" y="591"/>
                    <a:pt x="761" y="594"/>
                    <a:pt x="759" y="581"/>
                  </a:cubicBezTo>
                  <a:cubicBezTo>
                    <a:pt x="758" y="569"/>
                    <a:pt x="756" y="576"/>
                    <a:pt x="744" y="565"/>
                  </a:cubicBezTo>
                  <a:cubicBezTo>
                    <a:pt x="733" y="554"/>
                    <a:pt x="723" y="538"/>
                    <a:pt x="709" y="538"/>
                  </a:cubicBezTo>
                  <a:cubicBezTo>
                    <a:pt x="696" y="538"/>
                    <a:pt x="703" y="553"/>
                    <a:pt x="692" y="549"/>
                  </a:cubicBezTo>
                  <a:cubicBezTo>
                    <a:pt x="681" y="545"/>
                    <a:pt x="685" y="531"/>
                    <a:pt x="667" y="529"/>
                  </a:cubicBezTo>
                  <a:cubicBezTo>
                    <a:pt x="648" y="527"/>
                    <a:pt x="655" y="529"/>
                    <a:pt x="649" y="536"/>
                  </a:cubicBezTo>
                  <a:cubicBezTo>
                    <a:pt x="642" y="543"/>
                    <a:pt x="628" y="543"/>
                    <a:pt x="625" y="539"/>
                  </a:cubicBezTo>
                  <a:cubicBezTo>
                    <a:pt x="621" y="535"/>
                    <a:pt x="620" y="523"/>
                    <a:pt x="627" y="519"/>
                  </a:cubicBezTo>
                  <a:cubicBezTo>
                    <a:pt x="634" y="515"/>
                    <a:pt x="638" y="510"/>
                    <a:pt x="633" y="501"/>
                  </a:cubicBezTo>
                  <a:cubicBezTo>
                    <a:pt x="628" y="493"/>
                    <a:pt x="629" y="486"/>
                    <a:pt x="625" y="481"/>
                  </a:cubicBezTo>
                  <a:cubicBezTo>
                    <a:pt x="620" y="476"/>
                    <a:pt x="622" y="470"/>
                    <a:pt x="612" y="468"/>
                  </a:cubicBezTo>
                  <a:cubicBezTo>
                    <a:pt x="602" y="467"/>
                    <a:pt x="583" y="468"/>
                    <a:pt x="583" y="462"/>
                  </a:cubicBezTo>
                  <a:cubicBezTo>
                    <a:pt x="583" y="457"/>
                    <a:pt x="596" y="451"/>
                    <a:pt x="595" y="438"/>
                  </a:cubicBezTo>
                  <a:cubicBezTo>
                    <a:pt x="594" y="425"/>
                    <a:pt x="583" y="425"/>
                    <a:pt x="575" y="420"/>
                  </a:cubicBezTo>
                  <a:cubicBezTo>
                    <a:pt x="567" y="415"/>
                    <a:pt x="555" y="416"/>
                    <a:pt x="547" y="416"/>
                  </a:cubicBezTo>
                  <a:cubicBezTo>
                    <a:pt x="539" y="416"/>
                    <a:pt x="521" y="417"/>
                    <a:pt x="521" y="426"/>
                  </a:cubicBezTo>
                  <a:cubicBezTo>
                    <a:pt x="522" y="435"/>
                    <a:pt x="537" y="447"/>
                    <a:pt x="540" y="451"/>
                  </a:cubicBezTo>
                  <a:cubicBezTo>
                    <a:pt x="543" y="455"/>
                    <a:pt x="540" y="462"/>
                    <a:pt x="526" y="458"/>
                  </a:cubicBezTo>
                  <a:cubicBezTo>
                    <a:pt x="511" y="455"/>
                    <a:pt x="510" y="446"/>
                    <a:pt x="501" y="445"/>
                  </a:cubicBezTo>
                  <a:cubicBezTo>
                    <a:pt x="493" y="443"/>
                    <a:pt x="493" y="434"/>
                    <a:pt x="493" y="424"/>
                  </a:cubicBezTo>
                  <a:cubicBezTo>
                    <a:pt x="494" y="414"/>
                    <a:pt x="483" y="401"/>
                    <a:pt x="478" y="399"/>
                  </a:cubicBezTo>
                  <a:cubicBezTo>
                    <a:pt x="472" y="398"/>
                    <a:pt x="412" y="407"/>
                    <a:pt x="409" y="395"/>
                  </a:cubicBezTo>
                  <a:cubicBezTo>
                    <a:pt x="406" y="384"/>
                    <a:pt x="407" y="382"/>
                    <a:pt x="394" y="379"/>
                  </a:cubicBezTo>
                  <a:cubicBezTo>
                    <a:pt x="381" y="376"/>
                    <a:pt x="372" y="369"/>
                    <a:pt x="365" y="359"/>
                  </a:cubicBezTo>
                  <a:cubicBezTo>
                    <a:pt x="358" y="348"/>
                    <a:pt x="335" y="321"/>
                    <a:pt x="322" y="312"/>
                  </a:cubicBezTo>
                  <a:cubicBezTo>
                    <a:pt x="309" y="303"/>
                    <a:pt x="298" y="292"/>
                    <a:pt x="268" y="286"/>
                  </a:cubicBezTo>
                  <a:cubicBezTo>
                    <a:pt x="238" y="280"/>
                    <a:pt x="231" y="276"/>
                    <a:pt x="215" y="276"/>
                  </a:cubicBezTo>
                  <a:cubicBezTo>
                    <a:pt x="198" y="276"/>
                    <a:pt x="175" y="276"/>
                    <a:pt x="168" y="280"/>
                  </a:cubicBezTo>
                  <a:cubicBezTo>
                    <a:pt x="161" y="283"/>
                    <a:pt x="159" y="305"/>
                    <a:pt x="174" y="305"/>
                  </a:cubicBezTo>
                  <a:cubicBezTo>
                    <a:pt x="188" y="306"/>
                    <a:pt x="233" y="301"/>
                    <a:pt x="231" y="310"/>
                  </a:cubicBezTo>
                  <a:cubicBezTo>
                    <a:pt x="230" y="320"/>
                    <a:pt x="212" y="319"/>
                    <a:pt x="200" y="318"/>
                  </a:cubicBezTo>
                  <a:cubicBezTo>
                    <a:pt x="187" y="318"/>
                    <a:pt x="162" y="313"/>
                    <a:pt x="169" y="321"/>
                  </a:cubicBezTo>
                  <a:cubicBezTo>
                    <a:pt x="175" y="328"/>
                    <a:pt x="190" y="336"/>
                    <a:pt x="164" y="331"/>
                  </a:cubicBezTo>
                  <a:cubicBezTo>
                    <a:pt x="139" y="326"/>
                    <a:pt x="137" y="323"/>
                    <a:pt x="123" y="325"/>
                  </a:cubicBezTo>
                  <a:cubicBezTo>
                    <a:pt x="109" y="327"/>
                    <a:pt x="109" y="336"/>
                    <a:pt x="102" y="339"/>
                  </a:cubicBezTo>
                  <a:cubicBezTo>
                    <a:pt x="96" y="343"/>
                    <a:pt x="89" y="356"/>
                    <a:pt x="106" y="360"/>
                  </a:cubicBezTo>
                  <a:cubicBezTo>
                    <a:pt x="124" y="364"/>
                    <a:pt x="128" y="371"/>
                    <a:pt x="137" y="376"/>
                  </a:cubicBezTo>
                  <a:cubicBezTo>
                    <a:pt x="147" y="381"/>
                    <a:pt x="157" y="392"/>
                    <a:pt x="153" y="396"/>
                  </a:cubicBezTo>
                  <a:cubicBezTo>
                    <a:pt x="149" y="399"/>
                    <a:pt x="139" y="403"/>
                    <a:pt x="130" y="396"/>
                  </a:cubicBezTo>
                  <a:cubicBezTo>
                    <a:pt x="121" y="389"/>
                    <a:pt x="105" y="377"/>
                    <a:pt x="96" y="375"/>
                  </a:cubicBezTo>
                  <a:cubicBezTo>
                    <a:pt x="88" y="373"/>
                    <a:pt x="79" y="375"/>
                    <a:pt x="71" y="377"/>
                  </a:cubicBezTo>
                  <a:cubicBezTo>
                    <a:pt x="63" y="379"/>
                    <a:pt x="63" y="383"/>
                    <a:pt x="51" y="381"/>
                  </a:cubicBezTo>
                  <a:cubicBezTo>
                    <a:pt x="39" y="380"/>
                    <a:pt x="35" y="390"/>
                    <a:pt x="48" y="390"/>
                  </a:cubicBezTo>
                  <a:cubicBezTo>
                    <a:pt x="60" y="390"/>
                    <a:pt x="72" y="391"/>
                    <a:pt x="66" y="395"/>
                  </a:cubicBezTo>
                  <a:cubicBezTo>
                    <a:pt x="59" y="399"/>
                    <a:pt x="46" y="404"/>
                    <a:pt x="57" y="409"/>
                  </a:cubicBezTo>
                  <a:cubicBezTo>
                    <a:pt x="68" y="414"/>
                    <a:pt x="76" y="425"/>
                    <a:pt x="61" y="424"/>
                  </a:cubicBezTo>
                  <a:cubicBezTo>
                    <a:pt x="47" y="422"/>
                    <a:pt x="37" y="418"/>
                    <a:pt x="35" y="422"/>
                  </a:cubicBezTo>
                  <a:cubicBezTo>
                    <a:pt x="33" y="427"/>
                    <a:pt x="35" y="427"/>
                    <a:pt x="23" y="429"/>
                  </a:cubicBezTo>
                  <a:cubicBezTo>
                    <a:pt x="11" y="430"/>
                    <a:pt x="14" y="437"/>
                    <a:pt x="30" y="441"/>
                  </a:cubicBezTo>
                  <a:cubicBezTo>
                    <a:pt x="45" y="445"/>
                    <a:pt x="48" y="453"/>
                    <a:pt x="63" y="453"/>
                  </a:cubicBezTo>
                  <a:cubicBezTo>
                    <a:pt x="79" y="453"/>
                    <a:pt x="85" y="450"/>
                    <a:pt x="94" y="460"/>
                  </a:cubicBezTo>
                  <a:cubicBezTo>
                    <a:pt x="104" y="470"/>
                    <a:pt x="117" y="467"/>
                    <a:pt x="125" y="460"/>
                  </a:cubicBezTo>
                  <a:cubicBezTo>
                    <a:pt x="133" y="452"/>
                    <a:pt x="142" y="450"/>
                    <a:pt x="149" y="452"/>
                  </a:cubicBezTo>
                  <a:cubicBezTo>
                    <a:pt x="156" y="455"/>
                    <a:pt x="162" y="465"/>
                    <a:pt x="152" y="470"/>
                  </a:cubicBezTo>
                  <a:cubicBezTo>
                    <a:pt x="141" y="476"/>
                    <a:pt x="152" y="483"/>
                    <a:pt x="113" y="475"/>
                  </a:cubicBezTo>
                  <a:cubicBezTo>
                    <a:pt x="113" y="475"/>
                    <a:pt x="83" y="480"/>
                    <a:pt x="68" y="474"/>
                  </a:cubicBezTo>
                  <a:cubicBezTo>
                    <a:pt x="52" y="467"/>
                    <a:pt x="46" y="467"/>
                    <a:pt x="33" y="462"/>
                  </a:cubicBezTo>
                  <a:cubicBezTo>
                    <a:pt x="21" y="457"/>
                    <a:pt x="0" y="461"/>
                    <a:pt x="10" y="472"/>
                  </a:cubicBezTo>
                  <a:cubicBezTo>
                    <a:pt x="20" y="484"/>
                    <a:pt x="28" y="483"/>
                    <a:pt x="30" y="493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461" name="Freeform 25639"/>
            <p:cNvSpPr>
              <a:spLocks/>
            </p:cNvSpPr>
            <p:nvPr/>
          </p:nvSpPr>
          <p:spPr bwMode="auto">
            <a:xfrm>
              <a:off x="2122258" y="1445506"/>
              <a:ext cx="42457" cy="34408"/>
            </a:xfrm>
            <a:custGeom>
              <a:avLst/>
              <a:gdLst>
                <a:gd name="T0" fmla="*/ 15 w 114"/>
                <a:gd name="T1" fmla="*/ 82 h 92"/>
                <a:gd name="T2" fmla="*/ 43 w 114"/>
                <a:gd name="T3" fmla="*/ 78 h 92"/>
                <a:gd name="T4" fmla="*/ 51 w 114"/>
                <a:gd name="T5" fmla="*/ 66 h 92"/>
                <a:gd name="T6" fmla="*/ 92 w 114"/>
                <a:gd name="T7" fmla="*/ 70 h 92"/>
                <a:gd name="T8" fmla="*/ 114 w 114"/>
                <a:gd name="T9" fmla="*/ 52 h 92"/>
                <a:gd name="T10" fmla="*/ 101 w 114"/>
                <a:gd name="T11" fmla="*/ 28 h 92"/>
                <a:gd name="T12" fmla="*/ 55 w 114"/>
                <a:gd name="T13" fmla="*/ 12 h 92"/>
                <a:gd name="T14" fmla="*/ 30 w 114"/>
                <a:gd name="T15" fmla="*/ 8 h 92"/>
                <a:gd name="T16" fmla="*/ 13 w 114"/>
                <a:gd name="T17" fmla="*/ 35 h 92"/>
                <a:gd name="T18" fmla="*/ 25 w 114"/>
                <a:gd name="T19" fmla="*/ 63 h 92"/>
                <a:gd name="T20" fmla="*/ 15 w 114"/>
                <a:gd name="T21" fmla="*/ 8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4" h="92">
                  <a:moveTo>
                    <a:pt x="15" y="82"/>
                  </a:moveTo>
                  <a:cubicBezTo>
                    <a:pt x="30" y="86"/>
                    <a:pt x="46" y="92"/>
                    <a:pt x="43" y="78"/>
                  </a:cubicBezTo>
                  <a:cubicBezTo>
                    <a:pt x="40" y="65"/>
                    <a:pt x="42" y="58"/>
                    <a:pt x="51" y="66"/>
                  </a:cubicBezTo>
                  <a:cubicBezTo>
                    <a:pt x="60" y="73"/>
                    <a:pt x="85" y="75"/>
                    <a:pt x="92" y="70"/>
                  </a:cubicBezTo>
                  <a:cubicBezTo>
                    <a:pt x="98" y="65"/>
                    <a:pt x="114" y="65"/>
                    <a:pt x="114" y="52"/>
                  </a:cubicBezTo>
                  <a:cubicBezTo>
                    <a:pt x="113" y="39"/>
                    <a:pt x="112" y="33"/>
                    <a:pt x="101" y="28"/>
                  </a:cubicBezTo>
                  <a:cubicBezTo>
                    <a:pt x="90" y="22"/>
                    <a:pt x="75" y="10"/>
                    <a:pt x="55" y="12"/>
                  </a:cubicBezTo>
                  <a:cubicBezTo>
                    <a:pt x="55" y="12"/>
                    <a:pt x="35" y="0"/>
                    <a:pt x="30" y="8"/>
                  </a:cubicBezTo>
                  <a:cubicBezTo>
                    <a:pt x="24" y="16"/>
                    <a:pt x="4" y="22"/>
                    <a:pt x="13" y="35"/>
                  </a:cubicBezTo>
                  <a:cubicBezTo>
                    <a:pt x="21" y="48"/>
                    <a:pt x="29" y="58"/>
                    <a:pt x="25" y="63"/>
                  </a:cubicBezTo>
                  <a:cubicBezTo>
                    <a:pt x="21" y="68"/>
                    <a:pt x="0" y="78"/>
                    <a:pt x="15" y="82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462" name="Freeform 25640"/>
            <p:cNvSpPr>
              <a:spLocks/>
            </p:cNvSpPr>
            <p:nvPr/>
          </p:nvSpPr>
          <p:spPr bwMode="auto">
            <a:xfrm>
              <a:off x="2766537" y="2612846"/>
              <a:ext cx="59661" cy="34723"/>
            </a:xfrm>
            <a:custGeom>
              <a:avLst/>
              <a:gdLst>
                <a:gd name="T0" fmla="*/ 103 w 160"/>
                <a:gd name="T1" fmla="*/ 90 h 93"/>
                <a:gd name="T2" fmla="*/ 128 w 160"/>
                <a:gd name="T3" fmla="*/ 86 h 93"/>
                <a:gd name="T4" fmla="*/ 135 w 160"/>
                <a:gd name="T5" fmla="*/ 71 h 93"/>
                <a:gd name="T6" fmla="*/ 149 w 160"/>
                <a:gd name="T7" fmla="*/ 57 h 93"/>
                <a:gd name="T8" fmla="*/ 160 w 160"/>
                <a:gd name="T9" fmla="*/ 49 h 93"/>
                <a:gd name="T10" fmla="*/ 144 w 160"/>
                <a:gd name="T11" fmla="*/ 46 h 93"/>
                <a:gd name="T12" fmla="*/ 113 w 160"/>
                <a:gd name="T13" fmla="*/ 47 h 93"/>
                <a:gd name="T14" fmla="*/ 73 w 160"/>
                <a:gd name="T15" fmla="*/ 47 h 93"/>
                <a:gd name="T16" fmla="*/ 63 w 160"/>
                <a:gd name="T17" fmla="*/ 40 h 93"/>
                <a:gd name="T18" fmla="*/ 45 w 160"/>
                <a:gd name="T19" fmla="*/ 43 h 93"/>
                <a:gd name="T20" fmla="*/ 36 w 160"/>
                <a:gd name="T21" fmla="*/ 47 h 93"/>
                <a:gd name="T22" fmla="*/ 30 w 160"/>
                <a:gd name="T23" fmla="*/ 31 h 93"/>
                <a:gd name="T24" fmla="*/ 27 w 160"/>
                <a:gd name="T25" fmla="*/ 17 h 93"/>
                <a:gd name="T26" fmla="*/ 16 w 160"/>
                <a:gd name="T27" fmla="*/ 9 h 93"/>
                <a:gd name="T28" fmla="*/ 7 w 160"/>
                <a:gd name="T29" fmla="*/ 24 h 93"/>
                <a:gd name="T30" fmla="*/ 7 w 160"/>
                <a:gd name="T31" fmla="*/ 40 h 93"/>
                <a:gd name="T32" fmla="*/ 19 w 160"/>
                <a:gd name="T33" fmla="*/ 53 h 93"/>
                <a:gd name="T34" fmla="*/ 40 w 160"/>
                <a:gd name="T35" fmla="*/ 64 h 93"/>
                <a:gd name="T36" fmla="*/ 53 w 160"/>
                <a:gd name="T37" fmla="*/ 75 h 93"/>
                <a:gd name="T38" fmla="*/ 62 w 160"/>
                <a:gd name="T39" fmla="*/ 79 h 93"/>
                <a:gd name="T40" fmla="*/ 77 w 160"/>
                <a:gd name="T41" fmla="*/ 80 h 93"/>
                <a:gd name="T42" fmla="*/ 83 w 160"/>
                <a:gd name="T43" fmla="*/ 73 h 93"/>
                <a:gd name="T44" fmla="*/ 95 w 160"/>
                <a:gd name="T45" fmla="*/ 81 h 93"/>
                <a:gd name="T46" fmla="*/ 103 w 160"/>
                <a:gd name="T47" fmla="*/ 9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60" h="93">
                  <a:moveTo>
                    <a:pt x="103" y="90"/>
                  </a:moveTo>
                  <a:cubicBezTo>
                    <a:pt x="109" y="90"/>
                    <a:pt x="127" y="93"/>
                    <a:pt x="128" y="86"/>
                  </a:cubicBezTo>
                  <a:cubicBezTo>
                    <a:pt x="128" y="78"/>
                    <a:pt x="130" y="73"/>
                    <a:pt x="135" y="71"/>
                  </a:cubicBezTo>
                  <a:cubicBezTo>
                    <a:pt x="140" y="69"/>
                    <a:pt x="142" y="57"/>
                    <a:pt x="149" y="57"/>
                  </a:cubicBezTo>
                  <a:cubicBezTo>
                    <a:pt x="157" y="57"/>
                    <a:pt x="160" y="55"/>
                    <a:pt x="160" y="49"/>
                  </a:cubicBezTo>
                  <a:cubicBezTo>
                    <a:pt x="159" y="43"/>
                    <a:pt x="155" y="47"/>
                    <a:pt x="144" y="46"/>
                  </a:cubicBezTo>
                  <a:cubicBezTo>
                    <a:pt x="132" y="45"/>
                    <a:pt x="128" y="50"/>
                    <a:pt x="113" y="47"/>
                  </a:cubicBezTo>
                  <a:cubicBezTo>
                    <a:pt x="99" y="45"/>
                    <a:pt x="76" y="52"/>
                    <a:pt x="73" y="47"/>
                  </a:cubicBezTo>
                  <a:cubicBezTo>
                    <a:pt x="69" y="41"/>
                    <a:pt x="71" y="40"/>
                    <a:pt x="63" y="40"/>
                  </a:cubicBezTo>
                  <a:cubicBezTo>
                    <a:pt x="55" y="39"/>
                    <a:pt x="46" y="35"/>
                    <a:pt x="45" y="43"/>
                  </a:cubicBezTo>
                  <a:cubicBezTo>
                    <a:pt x="45" y="50"/>
                    <a:pt x="38" y="52"/>
                    <a:pt x="36" y="47"/>
                  </a:cubicBezTo>
                  <a:cubicBezTo>
                    <a:pt x="34" y="42"/>
                    <a:pt x="34" y="33"/>
                    <a:pt x="30" y="31"/>
                  </a:cubicBezTo>
                  <a:cubicBezTo>
                    <a:pt x="26" y="29"/>
                    <a:pt x="24" y="21"/>
                    <a:pt x="27" y="17"/>
                  </a:cubicBezTo>
                  <a:cubicBezTo>
                    <a:pt x="30" y="12"/>
                    <a:pt x="22" y="0"/>
                    <a:pt x="16" y="9"/>
                  </a:cubicBezTo>
                  <a:cubicBezTo>
                    <a:pt x="16" y="9"/>
                    <a:pt x="14" y="24"/>
                    <a:pt x="7" y="24"/>
                  </a:cubicBezTo>
                  <a:cubicBezTo>
                    <a:pt x="0" y="23"/>
                    <a:pt x="1" y="37"/>
                    <a:pt x="7" y="40"/>
                  </a:cubicBezTo>
                  <a:cubicBezTo>
                    <a:pt x="13" y="43"/>
                    <a:pt x="11" y="51"/>
                    <a:pt x="19" y="53"/>
                  </a:cubicBezTo>
                  <a:cubicBezTo>
                    <a:pt x="27" y="55"/>
                    <a:pt x="36" y="59"/>
                    <a:pt x="40" y="64"/>
                  </a:cubicBezTo>
                  <a:cubicBezTo>
                    <a:pt x="43" y="69"/>
                    <a:pt x="48" y="75"/>
                    <a:pt x="53" y="75"/>
                  </a:cubicBezTo>
                  <a:cubicBezTo>
                    <a:pt x="59" y="75"/>
                    <a:pt x="61" y="76"/>
                    <a:pt x="62" y="79"/>
                  </a:cubicBezTo>
                  <a:cubicBezTo>
                    <a:pt x="63" y="81"/>
                    <a:pt x="77" y="86"/>
                    <a:pt x="77" y="80"/>
                  </a:cubicBezTo>
                  <a:cubicBezTo>
                    <a:pt x="77" y="74"/>
                    <a:pt x="79" y="73"/>
                    <a:pt x="83" y="73"/>
                  </a:cubicBezTo>
                  <a:cubicBezTo>
                    <a:pt x="88" y="73"/>
                    <a:pt x="96" y="73"/>
                    <a:pt x="95" y="81"/>
                  </a:cubicBezTo>
                  <a:cubicBezTo>
                    <a:pt x="94" y="89"/>
                    <a:pt x="97" y="89"/>
                    <a:pt x="103" y="9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rnd">
              <a:solidFill>
                <a:schemeClr val="bg1">
                  <a:lumMod val="9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463" name="Freeform 25641"/>
            <p:cNvSpPr>
              <a:spLocks/>
            </p:cNvSpPr>
            <p:nvPr/>
          </p:nvSpPr>
          <p:spPr bwMode="auto">
            <a:xfrm>
              <a:off x="2821779" y="2593432"/>
              <a:ext cx="21624" cy="13416"/>
            </a:xfrm>
            <a:custGeom>
              <a:avLst/>
              <a:gdLst>
                <a:gd name="T0" fmla="*/ 31 w 58"/>
                <a:gd name="T1" fmla="*/ 25 h 36"/>
                <a:gd name="T2" fmla="*/ 50 w 58"/>
                <a:gd name="T3" fmla="*/ 9 h 36"/>
                <a:gd name="T4" fmla="*/ 58 w 58"/>
                <a:gd name="T5" fmla="*/ 4 h 36"/>
                <a:gd name="T6" fmla="*/ 49 w 58"/>
                <a:gd name="T7" fmla="*/ 0 h 36"/>
                <a:gd name="T8" fmla="*/ 30 w 58"/>
                <a:gd name="T9" fmla="*/ 9 h 36"/>
                <a:gd name="T10" fmla="*/ 11 w 58"/>
                <a:gd name="T11" fmla="*/ 22 h 36"/>
                <a:gd name="T12" fmla="*/ 9 w 58"/>
                <a:gd name="T13" fmla="*/ 33 h 36"/>
                <a:gd name="T14" fmla="*/ 31 w 58"/>
                <a:gd name="T15" fmla="*/ 25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8" h="36">
                  <a:moveTo>
                    <a:pt x="31" y="25"/>
                  </a:moveTo>
                  <a:cubicBezTo>
                    <a:pt x="36" y="17"/>
                    <a:pt x="44" y="9"/>
                    <a:pt x="50" y="9"/>
                  </a:cubicBezTo>
                  <a:cubicBezTo>
                    <a:pt x="56" y="9"/>
                    <a:pt x="58" y="6"/>
                    <a:pt x="58" y="4"/>
                  </a:cubicBezTo>
                  <a:cubicBezTo>
                    <a:pt x="58" y="1"/>
                    <a:pt x="55" y="0"/>
                    <a:pt x="49" y="0"/>
                  </a:cubicBezTo>
                  <a:cubicBezTo>
                    <a:pt x="43" y="1"/>
                    <a:pt x="38" y="0"/>
                    <a:pt x="30" y="9"/>
                  </a:cubicBezTo>
                  <a:cubicBezTo>
                    <a:pt x="30" y="9"/>
                    <a:pt x="19" y="19"/>
                    <a:pt x="11" y="22"/>
                  </a:cubicBezTo>
                  <a:cubicBezTo>
                    <a:pt x="3" y="25"/>
                    <a:pt x="0" y="29"/>
                    <a:pt x="9" y="33"/>
                  </a:cubicBezTo>
                  <a:cubicBezTo>
                    <a:pt x="18" y="36"/>
                    <a:pt x="26" y="33"/>
                    <a:pt x="31" y="2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rnd">
              <a:solidFill>
                <a:schemeClr val="bg1">
                  <a:lumMod val="9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464" name="Freeform 25642"/>
            <p:cNvSpPr>
              <a:spLocks/>
            </p:cNvSpPr>
            <p:nvPr/>
          </p:nvSpPr>
          <p:spPr bwMode="auto">
            <a:xfrm>
              <a:off x="2759119" y="2522250"/>
              <a:ext cx="74971" cy="32829"/>
            </a:xfrm>
            <a:custGeom>
              <a:avLst/>
              <a:gdLst>
                <a:gd name="T0" fmla="*/ 90 w 201"/>
                <a:gd name="T1" fmla="*/ 64 h 88"/>
                <a:gd name="T2" fmla="*/ 124 w 201"/>
                <a:gd name="T3" fmla="*/ 76 h 88"/>
                <a:gd name="T4" fmla="*/ 148 w 201"/>
                <a:gd name="T5" fmla="*/ 81 h 88"/>
                <a:gd name="T6" fmla="*/ 172 w 201"/>
                <a:gd name="T7" fmla="*/ 86 h 88"/>
                <a:gd name="T8" fmla="*/ 191 w 201"/>
                <a:gd name="T9" fmla="*/ 81 h 88"/>
                <a:gd name="T10" fmla="*/ 188 w 201"/>
                <a:gd name="T11" fmla="*/ 61 h 88"/>
                <a:gd name="T12" fmla="*/ 168 w 201"/>
                <a:gd name="T13" fmla="*/ 51 h 88"/>
                <a:gd name="T14" fmla="*/ 139 w 201"/>
                <a:gd name="T15" fmla="*/ 36 h 88"/>
                <a:gd name="T16" fmla="*/ 122 w 201"/>
                <a:gd name="T17" fmla="*/ 25 h 88"/>
                <a:gd name="T18" fmla="*/ 99 w 201"/>
                <a:gd name="T19" fmla="*/ 18 h 88"/>
                <a:gd name="T20" fmla="*/ 70 w 201"/>
                <a:gd name="T21" fmla="*/ 10 h 88"/>
                <a:gd name="T22" fmla="*/ 37 w 201"/>
                <a:gd name="T23" fmla="*/ 4 h 88"/>
                <a:gd name="T24" fmla="*/ 26 w 201"/>
                <a:gd name="T25" fmla="*/ 6 h 88"/>
                <a:gd name="T26" fmla="*/ 12 w 201"/>
                <a:gd name="T27" fmla="*/ 18 h 88"/>
                <a:gd name="T28" fmla="*/ 41 w 201"/>
                <a:gd name="T29" fmla="*/ 31 h 88"/>
                <a:gd name="T30" fmla="*/ 69 w 201"/>
                <a:gd name="T31" fmla="*/ 48 h 88"/>
                <a:gd name="T32" fmla="*/ 90 w 201"/>
                <a:gd name="T33" fmla="*/ 64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01" h="88">
                  <a:moveTo>
                    <a:pt x="90" y="64"/>
                  </a:moveTo>
                  <a:cubicBezTo>
                    <a:pt x="100" y="68"/>
                    <a:pt x="113" y="74"/>
                    <a:pt x="124" y="76"/>
                  </a:cubicBezTo>
                  <a:cubicBezTo>
                    <a:pt x="135" y="79"/>
                    <a:pt x="141" y="76"/>
                    <a:pt x="148" y="81"/>
                  </a:cubicBezTo>
                  <a:cubicBezTo>
                    <a:pt x="155" y="86"/>
                    <a:pt x="166" y="86"/>
                    <a:pt x="172" y="86"/>
                  </a:cubicBezTo>
                  <a:cubicBezTo>
                    <a:pt x="179" y="86"/>
                    <a:pt x="191" y="88"/>
                    <a:pt x="191" y="81"/>
                  </a:cubicBezTo>
                  <a:cubicBezTo>
                    <a:pt x="191" y="74"/>
                    <a:pt x="201" y="65"/>
                    <a:pt x="188" y="61"/>
                  </a:cubicBezTo>
                  <a:cubicBezTo>
                    <a:pt x="174" y="57"/>
                    <a:pt x="178" y="54"/>
                    <a:pt x="168" y="51"/>
                  </a:cubicBezTo>
                  <a:cubicBezTo>
                    <a:pt x="157" y="47"/>
                    <a:pt x="150" y="37"/>
                    <a:pt x="139" y="36"/>
                  </a:cubicBezTo>
                  <a:cubicBezTo>
                    <a:pt x="128" y="34"/>
                    <a:pt x="132" y="28"/>
                    <a:pt x="122" y="25"/>
                  </a:cubicBezTo>
                  <a:cubicBezTo>
                    <a:pt x="111" y="22"/>
                    <a:pt x="110" y="19"/>
                    <a:pt x="99" y="18"/>
                  </a:cubicBezTo>
                  <a:cubicBezTo>
                    <a:pt x="88" y="16"/>
                    <a:pt x="89" y="11"/>
                    <a:pt x="70" y="10"/>
                  </a:cubicBezTo>
                  <a:cubicBezTo>
                    <a:pt x="51" y="10"/>
                    <a:pt x="54" y="11"/>
                    <a:pt x="37" y="4"/>
                  </a:cubicBezTo>
                  <a:cubicBezTo>
                    <a:pt x="37" y="4"/>
                    <a:pt x="31" y="0"/>
                    <a:pt x="26" y="6"/>
                  </a:cubicBezTo>
                  <a:cubicBezTo>
                    <a:pt x="21" y="12"/>
                    <a:pt x="0" y="11"/>
                    <a:pt x="12" y="18"/>
                  </a:cubicBezTo>
                  <a:cubicBezTo>
                    <a:pt x="24" y="24"/>
                    <a:pt x="33" y="31"/>
                    <a:pt x="41" y="31"/>
                  </a:cubicBezTo>
                  <a:cubicBezTo>
                    <a:pt x="49" y="31"/>
                    <a:pt x="63" y="44"/>
                    <a:pt x="69" y="48"/>
                  </a:cubicBezTo>
                  <a:cubicBezTo>
                    <a:pt x="74" y="53"/>
                    <a:pt x="79" y="60"/>
                    <a:pt x="90" y="64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rnd">
              <a:solidFill>
                <a:schemeClr val="bg1">
                  <a:lumMod val="9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465" name="Freeform 25643"/>
            <p:cNvSpPr>
              <a:spLocks/>
            </p:cNvSpPr>
            <p:nvPr/>
          </p:nvSpPr>
          <p:spPr bwMode="auto">
            <a:xfrm>
              <a:off x="2043184" y="1414255"/>
              <a:ext cx="13101" cy="10417"/>
            </a:xfrm>
            <a:custGeom>
              <a:avLst/>
              <a:gdLst>
                <a:gd name="T0" fmla="*/ 15 w 35"/>
                <a:gd name="T1" fmla="*/ 18 h 28"/>
                <a:gd name="T2" fmla="*/ 29 w 35"/>
                <a:gd name="T3" fmla="*/ 21 h 28"/>
                <a:gd name="T4" fmla="*/ 24 w 35"/>
                <a:gd name="T5" fmla="*/ 6 h 28"/>
                <a:gd name="T6" fmla="*/ 6 w 35"/>
                <a:gd name="T7" fmla="*/ 4 h 28"/>
                <a:gd name="T8" fmla="*/ 15 w 35"/>
                <a:gd name="T9" fmla="*/ 1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8">
                  <a:moveTo>
                    <a:pt x="15" y="18"/>
                  </a:moveTo>
                  <a:cubicBezTo>
                    <a:pt x="19" y="22"/>
                    <a:pt x="24" y="28"/>
                    <a:pt x="29" y="21"/>
                  </a:cubicBezTo>
                  <a:cubicBezTo>
                    <a:pt x="34" y="14"/>
                    <a:pt x="35" y="13"/>
                    <a:pt x="24" y="6"/>
                  </a:cubicBezTo>
                  <a:cubicBezTo>
                    <a:pt x="24" y="6"/>
                    <a:pt x="12" y="0"/>
                    <a:pt x="6" y="4"/>
                  </a:cubicBezTo>
                  <a:cubicBezTo>
                    <a:pt x="0" y="8"/>
                    <a:pt x="12" y="14"/>
                    <a:pt x="15" y="18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rnd">
              <a:solidFill>
                <a:schemeClr val="bg1">
                  <a:lumMod val="9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466" name="Freeform 25644"/>
            <p:cNvSpPr>
              <a:spLocks/>
            </p:cNvSpPr>
            <p:nvPr/>
          </p:nvSpPr>
          <p:spPr bwMode="auto">
            <a:xfrm>
              <a:off x="2141198" y="1485437"/>
              <a:ext cx="23991" cy="23201"/>
            </a:xfrm>
            <a:custGeom>
              <a:avLst/>
              <a:gdLst>
                <a:gd name="T0" fmla="*/ 55 w 64"/>
                <a:gd name="T1" fmla="*/ 21 h 62"/>
                <a:gd name="T2" fmla="*/ 47 w 64"/>
                <a:gd name="T3" fmla="*/ 11 h 62"/>
                <a:gd name="T4" fmla="*/ 33 w 64"/>
                <a:gd name="T5" fmla="*/ 5 h 62"/>
                <a:gd name="T6" fmla="*/ 14 w 64"/>
                <a:gd name="T7" fmla="*/ 15 h 62"/>
                <a:gd name="T8" fmla="*/ 5 w 64"/>
                <a:gd name="T9" fmla="*/ 36 h 62"/>
                <a:gd name="T10" fmla="*/ 20 w 64"/>
                <a:gd name="T11" fmla="*/ 49 h 62"/>
                <a:gd name="T12" fmla="*/ 45 w 64"/>
                <a:gd name="T13" fmla="*/ 59 h 62"/>
                <a:gd name="T14" fmla="*/ 55 w 64"/>
                <a:gd name="T15" fmla="*/ 51 h 62"/>
                <a:gd name="T16" fmla="*/ 59 w 64"/>
                <a:gd name="T17" fmla="*/ 35 h 62"/>
                <a:gd name="T18" fmla="*/ 63 w 64"/>
                <a:gd name="T19" fmla="*/ 28 h 62"/>
                <a:gd name="T20" fmla="*/ 55 w 64"/>
                <a:gd name="T21" fmla="*/ 21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4" h="62">
                  <a:moveTo>
                    <a:pt x="55" y="21"/>
                  </a:moveTo>
                  <a:cubicBezTo>
                    <a:pt x="55" y="17"/>
                    <a:pt x="52" y="16"/>
                    <a:pt x="47" y="11"/>
                  </a:cubicBezTo>
                  <a:cubicBezTo>
                    <a:pt x="47" y="11"/>
                    <a:pt x="39" y="0"/>
                    <a:pt x="33" y="5"/>
                  </a:cubicBezTo>
                  <a:cubicBezTo>
                    <a:pt x="28" y="10"/>
                    <a:pt x="23" y="14"/>
                    <a:pt x="14" y="15"/>
                  </a:cubicBezTo>
                  <a:cubicBezTo>
                    <a:pt x="6" y="16"/>
                    <a:pt x="0" y="29"/>
                    <a:pt x="5" y="36"/>
                  </a:cubicBezTo>
                  <a:cubicBezTo>
                    <a:pt x="11" y="42"/>
                    <a:pt x="17" y="45"/>
                    <a:pt x="20" y="49"/>
                  </a:cubicBezTo>
                  <a:cubicBezTo>
                    <a:pt x="23" y="52"/>
                    <a:pt x="42" y="60"/>
                    <a:pt x="45" y="59"/>
                  </a:cubicBezTo>
                  <a:cubicBezTo>
                    <a:pt x="49" y="59"/>
                    <a:pt x="53" y="62"/>
                    <a:pt x="55" y="51"/>
                  </a:cubicBezTo>
                  <a:cubicBezTo>
                    <a:pt x="56" y="40"/>
                    <a:pt x="54" y="37"/>
                    <a:pt x="59" y="35"/>
                  </a:cubicBezTo>
                  <a:cubicBezTo>
                    <a:pt x="64" y="33"/>
                    <a:pt x="64" y="32"/>
                    <a:pt x="63" y="28"/>
                  </a:cubicBezTo>
                  <a:cubicBezTo>
                    <a:pt x="63" y="25"/>
                    <a:pt x="55" y="25"/>
                    <a:pt x="55" y="21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rnd">
              <a:solidFill>
                <a:schemeClr val="bg1">
                  <a:lumMod val="9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467" name="Freeform 25646"/>
            <p:cNvSpPr>
              <a:spLocks/>
            </p:cNvSpPr>
            <p:nvPr/>
          </p:nvSpPr>
          <p:spPr bwMode="auto">
            <a:xfrm>
              <a:off x="943238" y="1617861"/>
              <a:ext cx="2031798" cy="1147453"/>
            </a:xfrm>
            <a:custGeom>
              <a:avLst/>
              <a:gdLst>
                <a:gd name="T0" fmla="*/ 5210 w 5449"/>
                <a:gd name="T1" fmla="*/ 2125 h 3077"/>
                <a:gd name="T2" fmla="*/ 5195 w 5449"/>
                <a:gd name="T3" fmla="*/ 1984 h 3077"/>
                <a:gd name="T4" fmla="*/ 5071 w 5449"/>
                <a:gd name="T5" fmla="*/ 1801 h 3077"/>
                <a:gd name="T6" fmla="*/ 4830 w 5449"/>
                <a:gd name="T7" fmla="*/ 1552 h 3077"/>
                <a:gd name="T8" fmla="*/ 4640 w 5449"/>
                <a:gd name="T9" fmla="*/ 1667 h 3077"/>
                <a:gd name="T10" fmla="*/ 4547 w 5449"/>
                <a:gd name="T11" fmla="*/ 1442 h 3077"/>
                <a:gd name="T12" fmla="*/ 4231 w 5449"/>
                <a:gd name="T13" fmla="*/ 1322 h 3077"/>
                <a:gd name="T14" fmla="*/ 4045 w 5449"/>
                <a:gd name="T15" fmla="*/ 1511 h 3077"/>
                <a:gd name="T16" fmla="*/ 3989 w 5449"/>
                <a:gd name="T17" fmla="*/ 1998 h 3077"/>
                <a:gd name="T18" fmla="*/ 3960 w 5449"/>
                <a:gd name="T19" fmla="*/ 2307 h 3077"/>
                <a:gd name="T20" fmla="*/ 3781 w 5449"/>
                <a:gd name="T21" fmla="*/ 2209 h 3077"/>
                <a:gd name="T22" fmla="*/ 3563 w 5449"/>
                <a:gd name="T23" fmla="*/ 1970 h 3077"/>
                <a:gd name="T24" fmla="*/ 3082 w 5449"/>
                <a:gd name="T25" fmla="*/ 1730 h 3077"/>
                <a:gd name="T26" fmla="*/ 3098 w 5449"/>
                <a:gd name="T27" fmla="*/ 1323 h 3077"/>
                <a:gd name="T28" fmla="*/ 3069 w 5449"/>
                <a:gd name="T29" fmla="*/ 1152 h 3077"/>
                <a:gd name="T30" fmla="*/ 3298 w 5449"/>
                <a:gd name="T31" fmla="*/ 995 h 3077"/>
                <a:gd name="T32" fmla="*/ 3609 w 5449"/>
                <a:gd name="T33" fmla="*/ 930 h 3077"/>
                <a:gd name="T34" fmla="*/ 3691 w 5449"/>
                <a:gd name="T35" fmla="*/ 895 h 3077"/>
                <a:gd name="T36" fmla="*/ 3804 w 5449"/>
                <a:gd name="T37" fmla="*/ 607 h 3077"/>
                <a:gd name="T38" fmla="*/ 3569 w 5449"/>
                <a:gd name="T39" fmla="*/ 620 h 3077"/>
                <a:gd name="T40" fmla="*/ 3421 w 5449"/>
                <a:gd name="T41" fmla="*/ 802 h 3077"/>
                <a:gd name="T42" fmla="*/ 3225 w 5449"/>
                <a:gd name="T43" fmla="*/ 663 h 3077"/>
                <a:gd name="T44" fmla="*/ 3086 w 5449"/>
                <a:gd name="T45" fmla="*/ 417 h 3077"/>
                <a:gd name="T46" fmla="*/ 3138 w 5449"/>
                <a:gd name="T47" fmla="*/ 169 h 3077"/>
                <a:gd name="T48" fmla="*/ 2888 w 5449"/>
                <a:gd name="T49" fmla="*/ 63 h 3077"/>
                <a:gd name="T50" fmla="*/ 2838 w 5449"/>
                <a:gd name="T51" fmla="*/ 373 h 3077"/>
                <a:gd name="T52" fmla="*/ 2959 w 5449"/>
                <a:gd name="T53" fmla="*/ 627 h 3077"/>
                <a:gd name="T54" fmla="*/ 2903 w 5449"/>
                <a:gd name="T55" fmla="*/ 809 h 3077"/>
                <a:gd name="T56" fmla="*/ 2928 w 5449"/>
                <a:gd name="T57" fmla="*/ 664 h 3077"/>
                <a:gd name="T58" fmla="*/ 2746 w 5449"/>
                <a:gd name="T59" fmla="*/ 513 h 3077"/>
                <a:gd name="T60" fmla="*/ 2703 w 5449"/>
                <a:gd name="T61" fmla="*/ 747 h 3077"/>
                <a:gd name="T62" fmla="*/ 2259 w 5449"/>
                <a:gd name="T63" fmla="*/ 628 h 3077"/>
                <a:gd name="T64" fmla="*/ 2227 w 5449"/>
                <a:gd name="T65" fmla="*/ 658 h 3077"/>
                <a:gd name="T66" fmla="*/ 2111 w 5449"/>
                <a:gd name="T67" fmla="*/ 822 h 3077"/>
                <a:gd name="T68" fmla="*/ 1901 w 5449"/>
                <a:gd name="T69" fmla="*/ 751 h 3077"/>
                <a:gd name="T70" fmla="*/ 1582 w 5449"/>
                <a:gd name="T71" fmla="*/ 620 h 3077"/>
                <a:gd name="T72" fmla="*/ 1069 w 5449"/>
                <a:gd name="T73" fmla="*/ 534 h 3077"/>
                <a:gd name="T74" fmla="*/ 821 w 5449"/>
                <a:gd name="T75" fmla="*/ 453 h 3077"/>
                <a:gd name="T76" fmla="*/ 546 w 5449"/>
                <a:gd name="T77" fmla="*/ 598 h 3077"/>
                <a:gd name="T78" fmla="*/ 642 w 5449"/>
                <a:gd name="T79" fmla="*/ 500 h 3077"/>
                <a:gd name="T80" fmla="*/ 344 w 5449"/>
                <a:gd name="T81" fmla="*/ 622 h 3077"/>
                <a:gd name="T82" fmla="*/ 27 w 5449"/>
                <a:gd name="T83" fmla="*/ 1526 h 3077"/>
                <a:gd name="T84" fmla="*/ 459 w 5449"/>
                <a:gd name="T85" fmla="*/ 1665 h 3077"/>
                <a:gd name="T86" fmla="*/ 675 w 5449"/>
                <a:gd name="T87" fmla="*/ 2129 h 3077"/>
                <a:gd name="T88" fmla="*/ 851 w 5449"/>
                <a:gd name="T89" fmla="*/ 2240 h 3077"/>
                <a:gd name="T90" fmla="*/ 826 w 5449"/>
                <a:gd name="T91" fmla="*/ 2390 h 3077"/>
                <a:gd name="T92" fmla="*/ 1100 w 5449"/>
                <a:gd name="T93" fmla="*/ 2581 h 3077"/>
                <a:gd name="T94" fmla="*/ 1008 w 5449"/>
                <a:gd name="T95" fmla="*/ 2420 h 3077"/>
                <a:gd name="T96" fmla="*/ 1161 w 5449"/>
                <a:gd name="T97" fmla="*/ 2522 h 3077"/>
                <a:gd name="T98" fmla="*/ 3249 w 5449"/>
                <a:gd name="T99" fmla="*/ 2590 h 3077"/>
                <a:gd name="T100" fmla="*/ 3525 w 5449"/>
                <a:gd name="T101" fmla="*/ 2609 h 3077"/>
                <a:gd name="T102" fmla="*/ 3702 w 5449"/>
                <a:gd name="T103" fmla="*/ 2744 h 3077"/>
                <a:gd name="T104" fmla="*/ 3815 w 5449"/>
                <a:gd name="T105" fmla="*/ 2861 h 3077"/>
                <a:gd name="T106" fmla="*/ 3847 w 5449"/>
                <a:gd name="T107" fmla="*/ 3021 h 3077"/>
                <a:gd name="T108" fmla="*/ 4077 w 5449"/>
                <a:gd name="T109" fmla="*/ 2921 h 3077"/>
                <a:gd name="T110" fmla="*/ 4682 w 5449"/>
                <a:gd name="T111" fmla="*/ 2789 h 3077"/>
                <a:gd name="T112" fmla="*/ 4795 w 5449"/>
                <a:gd name="T113" fmla="*/ 2863 h 3077"/>
                <a:gd name="T114" fmla="*/ 5107 w 5449"/>
                <a:gd name="T115" fmla="*/ 2792 h 3077"/>
                <a:gd name="T116" fmla="*/ 4979 w 5449"/>
                <a:gd name="T117" fmla="*/ 2766 h 3077"/>
                <a:gd name="T118" fmla="*/ 4909 w 5449"/>
                <a:gd name="T119" fmla="*/ 2550 h 3077"/>
                <a:gd name="T120" fmla="*/ 4635 w 5449"/>
                <a:gd name="T121" fmla="*/ 2507 h 3077"/>
                <a:gd name="T122" fmla="*/ 5435 w 5449"/>
                <a:gd name="T123" fmla="*/ 2225 h 30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449" h="3077">
                  <a:moveTo>
                    <a:pt x="5435" y="2225"/>
                  </a:moveTo>
                  <a:cubicBezTo>
                    <a:pt x="5423" y="2219"/>
                    <a:pt x="5421" y="2208"/>
                    <a:pt x="5430" y="2201"/>
                  </a:cubicBezTo>
                  <a:cubicBezTo>
                    <a:pt x="5438" y="2194"/>
                    <a:pt x="5435" y="2186"/>
                    <a:pt x="5435" y="2174"/>
                  </a:cubicBezTo>
                  <a:cubicBezTo>
                    <a:pt x="5435" y="2162"/>
                    <a:pt x="5441" y="2143"/>
                    <a:pt x="5431" y="2137"/>
                  </a:cubicBezTo>
                  <a:cubicBezTo>
                    <a:pt x="5421" y="2130"/>
                    <a:pt x="5396" y="2131"/>
                    <a:pt x="5396" y="2120"/>
                  </a:cubicBezTo>
                  <a:cubicBezTo>
                    <a:pt x="5396" y="2108"/>
                    <a:pt x="5397" y="2107"/>
                    <a:pt x="5405" y="2103"/>
                  </a:cubicBezTo>
                  <a:cubicBezTo>
                    <a:pt x="5413" y="2099"/>
                    <a:pt x="5413" y="2095"/>
                    <a:pt x="5403" y="2097"/>
                  </a:cubicBezTo>
                  <a:cubicBezTo>
                    <a:pt x="5393" y="2098"/>
                    <a:pt x="5392" y="2107"/>
                    <a:pt x="5379" y="2106"/>
                  </a:cubicBezTo>
                  <a:cubicBezTo>
                    <a:pt x="5366" y="2105"/>
                    <a:pt x="5364" y="2107"/>
                    <a:pt x="5359" y="2115"/>
                  </a:cubicBezTo>
                  <a:cubicBezTo>
                    <a:pt x="5353" y="2123"/>
                    <a:pt x="5340" y="2139"/>
                    <a:pt x="5336" y="2129"/>
                  </a:cubicBezTo>
                  <a:cubicBezTo>
                    <a:pt x="5333" y="2119"/>
                    <a:pt x="5339" y="2112"/>
                    <a:pt x="5344" y="2107"/>
                  </a:cubicBezTo>
                  <a:cubicBezTo>
                    <a:pt x="5350" y="2101"/>
                    <a:pt x="5358" y="2102"/>
                    <a:pt x="5354" y="2096"/>
                  </a:cubicBezTo>
                  <a:cubicBezTo>
                    <a:pt x="5349" y="2089"/>
                    <a:pt x="5349" y="2095"/>
                    <a:pt x="5345" y="2084"/>
                  </a:cubicBezTo>
                  <a:cubicBezTo>
                    <a:pt x="5341" y="2072"/>
                    <a:pt x="5328" y="2069"/>
                    <a:pt x="5316" y="2069"/>
                  </a:cubicBezTo>
                  <a:cubicBezTo>
                    <a:pt x="5303" y="2069"/>
                    <a:pt x="5291" y="2074"/>
                    <a:pt x="5278" y="2082"/>
                  </a:cubicBezTo>
                  <a:cubicBezTo>
                    <a:pt x="5266" y="2090"/>
                    <a:pt x="5248" y="2092"/>
                    <a:pt x="5233" y="2102"/>
                  </a:cubicBezTo>
                  <a:cubicBezTo>
                    <a:pt x="5219" y="2112"/>
                    <a:pt x="5220" y="2125"/>
                    <a:pt x="5210" y="2125"/>
                  </a:cubicBezTo>
                  <a:cubicBezTo>
                    <a:pt x="5200" y="2125"/>
                    <a:pt x="5182" y="2132"/>
                    <a:pt x="5177" y="2135"/>
                  </a:cubicBezTo>
                  <a:cubicBezTo>
                    <a:pt x="5172" y="2139"/>
                    <a:pt x="5158" y="2145"/>
                    <a:pt x="5158" y="2134"/>
                  </a:cubicBezTo>
                  <a:cubicBezTo>
                    <a:pt x="5158" y="2123"/>
                    <a:pt x="5164" y="2117"/>
                    <a:pt x="5177" y="2112"/>
                  </a:cubicBezTo>
                  <a:cubicBezTo>
                    <a:pt x="5191" y="2108"/>
                    <a:pt x="5200" y="2105"/>
                    <a:pt x="5204" y="2099"/>
                  </a:cubicBezTo>
                  <a:cubicBezTo>
                    <a:pt x="5208" y="2094"/>
                    <a:pt x="5214" y="2091"/>
                    <a:pt x="5226" y="2090"/>
                  </a:cubicBezTo>
                  <a:cubicBezTo>
                    <a:pt x="5238" y="2089"/>
                    <a:pt x="5257" y="2087"/>
                    <a:pt x="5263" y="2077"/>
                  </a:cubicBezTo>
                  <a:cubicBezTo>
                    <a:pt x="5270" y="2068"/>
                    <a:pt x="5289" y="2065"/>
                    <a:pt x="5291" y="2060"/>
                  </a:cubicBezTo>
                  <a:cubicBezTo>
                    <a:pt x="5292" y="2055"/>
                    <a:pt x="5297" y="2056"/>
                    <a:pt x="5310" y="2055"/>
                  </a:cubicBezTo>
                  <a:cubicBezTo>
                    <a:pt x="5323" y="2054"/>
                    <a:pt x="5330" y="2054"/>
                    <a:pt x="5333" y="2046"/>
                  </a:cubicBezTo>
                  <a:cubicBezTo>
                    <a:pt x="5336" y="2039"/>
                    <a:pt x="5338" y="2035"/>
                    <a:pt x="5323" y="2029"/>
                  </a:cubicBezTo>
                  <a:cubicBezTo>
                    <a:pt x="5308" y="2024"/>
                    <a:pt x="5307" y="2021"/>
                    <a:pt x="5306" y="2013"/>
                  </a:cubicBezTo>
                  <a:cubicBezTo>
                    <a:pt x="5304" y="2004"/>
                    <a:pt x="5292" y="2007"/>
                    <a:pt x="5288" y="2011"/>
                  </a:cubicBezTo>
                  <a:cubicBezTo>
                    <a:pt x="5285" y="2014"/>
                    <a:pt x="5257" y="2019"/>
                    <a:pt x="5250" y="2014"/>
                  </a:cubicBezTo>
                  <a:cubicBezTo>
                    <a:pt x="5244" y="2009"/>
                    <a:pt x="5249" y="2000"/>
                    <a:pt x="5238" y="1996"/>
                  </a:cubicBezTo>
                  <a:cubicBezTo>
                    <a:pt x="5228" y="1991"/>
                    <a:pt x="5229" y="1983"/>
                    <a:pt x="5228" y="1975"/>
                  </a:cubicBezTo>
                  <a:cubicBezTo>
                    <a:pt x="5228" y="1968"/>
                    <a:pt x="5217" y="1976"/>
                    <a:pt x="5211" y="1983"/>
                  </a:cubicBezTo>
                  <a:cubicBezTo>
                    <a:pt x="5205" y="1989"/>
                    <a:pt x="5203" y="1994"/>
                    <a:pt x="5195" y="1984"/>
                  </a:cubicBezTo>
                  <a:cubicBezTo>
                    <a:pt x="5186" y="1974"/>
                    <a:pt x="5185" y="1963"/>
                    <a:pt x="5172" y="1969"/>
                  </a:cubicBezTo>
                  <a:cubicBezTo>
                    <a:pt x="5160" y="1975"/>
                    <a:pt x="5148" y="1993"/>
                    <a:pt x="5148" y="1978"/>
                  </a:cubicBezTo>
                  <a:cubicBezTo>
                    <a:pt x="5148" y="1963"/>
                    <a:pt x="5143" y="1961"/>
                    <a:pt x="5148" y="1956"/>
                  </a:cubicBezTo>
                  <a:cubicBezTo>
                    <a:pt x="5153" y="1951"/>
                    <a:pt x="5155" y="1949"/>
                    <a:pt x="5148" y="1947"/>
                  </a:cubicBezTo>
                  <a:cubicBezTo>
                    <a:pt x="5141" y="1945"/>
                    <a:pt x="5138" y="1940"/>
                    <a:pt x="5146" y="1934"/>
                  </a:cubicBezTo>
                  <a:cubicBezTo>
                    <a:pt x="5154" y="1928"/>
                    <a:pt x="5147" y="1920"/>
                    <a:pt x="5138" y="1925"/>
                  </a:cubicBezTo>
                  <a:cubicBezTo>
                    <a:pt x="5129" y="1931"/>
                    <a:pt x="5132" y="1941"/>
                    <a:pt x="5119" y="1929"/>
                  </a:cubicBezTo>
                  <a:cubicBezTo>
                    <a:pt x="5105" y="1917"/>
                    <a:pt x="5106" y="1913"/>
                    <a:pt x="5109" y="1906"/>
                  </a:cubicBezTo>
                  <a:cubicBezTo>
                    <a:pt x="5113" y="1899"/>
                    <a:pt x="5111" y="1892"/>
                    <a:pt x="5102" y="1892"/>
                  </a:cubicBezTo>
                  <a:cubicBezTo>
                    <a:pt x="5093" y="1892"/>
                    <a:pt x="5092" y="1915"/>
                    <a:pt x="5081" y="1899"/>
                  </a:cubicBezTo>
                  <a:cubicBezTo>
                    <a:pt x="5069" y="1883"/>
                    <a:pt x="5066" y="1878"/>
                    <a:pt x="5055" y="1874"/>
                  </a:cubicBezTo>
                  <a:cubicBezTo>
                    <a:pt x="5044" y="1869"/>
                    <a:pt x="5038" y="1862"/>
                    <a:pt x="5045" y="1857"/>
                  </a:cubicBezTo>
                  <a:cubicBezTo>
                    <a:pt x="5053" y="1852"/>
                    <a:pt x="5070" y="1846"/>
                    <a:pt x="5069" y="1855"/>
                  </a:cubicBezTo>
                  <a:cubicBezTo>
                    <a:pt x="5068" y="1864"/>
                    <a:pt x="5076" y="1869"/>
                    <a:pt x="5083" y="1869"/>
                  </a:cubicBezTo>
                  <a:cubicBezTo>
                    <a:pt x="5090" y="1869"/>
                    <a:pt x="5086" y="1869"/>
                    <a:pt x="5083" y="1855"/>
                  </a:cubicBezTo>
                  <a:cubicBezTo>
                    <a:pt x="5081" y="1841"/>
                    <a:pt x="5078" y="1827"/>
                    <a:pt x="5081" y="1821"/>
                  </a:cubicBezTo>
                  <a:cubicBezTo>
                    <a:pt x="5083" y="1816"/>
                    <a:pt x="5083" y="1808"/>
                    <a:pt x="5071" y="1801"/>
                  </a:cubicBezTo>
                  <a:cubicBezTo>
                    <a:pt x="5060" y="1795"/>
                    <a:pt x="5059" y="1796"/>
                    <a:pt x="5059" y="1786"/>
                  </a:cubicBezTo>
                  <a:cubicBezTo>
                    <a:pt x="5059" y="1776"/>
                    <a:pt x="5041" y="1776"/>
                    <a:pt x="5044" y="1761"/>
                  </a:cubicBezTo>
                  <a:cubicBezTo>
                    <a:pt x="5047" y="1746"/>
                    <a:pt x="5049" y="1744"/>
                    <a:pt x="5040" y="1741"/>
                  </a:cubicBezTo>
                  <a:cubicBezTo>
                    <a:pt x="5032" y="1738"/>
                    <a:pt x="5033" y="1736"/>
                    <a:pt x="5026" y="1723"/>
                  </a:cubicBezTo>
                  <a:cubicBezTo>
                    <a:pt x="5020" y="1710"/>
                    <a:pt x="5010" y="1719"/>
                    <a:pt x="5007" y="1702"/>
                  </a:cubicBezTo>
                  <a:cubicBezTo>
                    <a:pt x="5003" y="1685"/>
                    <a:pt x="5006" y="1682"/>
                    <a:pt x="4995" y="1681"/>
                  </a:cubicBezTo>
                  <a:cubicBezTo>
                    <a:pt x="4983" y="1680"/>
                    <a:pt x="4978" y="1674"/>
                    <a:pt x="4979" y="1662"/>
                  </a:cubicBezTo>
                  <a:cubicBezTo>
                    <a:pt x="4980" y="1649"/>
                    <a:pt x="4983" y="1649"/>
                    <a:pt x="4974" y="1642"/>
                  </a:cubicBezTo>
                  <a:cubicBezTo>
                    <a:pt x="4965" y="1636"/>
                    <a:pt x="4968" y="1631"/>
                    <a:pt x="4960" y="1619"/>
                  </a:cubicBezTo>
                  <a:cubicBezTo>
                    <a:pt x="4952" y="1606"/>
                    <a:pt x="4946" y="1606"/>
                    <a:pt x="4938" y="1596"/>
                  </a:cubicBezTo>
                  <a:cubicBezTo>
                    <a:pt x="4930" y="1585"/>
                    <a:pt x="4926" y="1576"/>
                    <a:pt x="4920" y="1567"/>
                  </a:cubicBezTo>
                  <a:cubicBezTo>
                    <a:pt x="4914" y="1558"/>
                    <a:pt x="4915" y="1538"/>
                    <a:pt x="4903" y="1538"/>
                  </a:cubicBezTo>
                  <a:cubicBezTo>
                    <a:pt x="4891" y="1537"/>
                    <a:pt x="4885" y="1526"/>
                    <a:pt x="4886" y="1518"/>
                  </a:cubicBezTo>
                  <a:cubicBezTo>
                    <a:pt x="4888" y="1510"/>
                    <a:pt x="4894" y="1499"/>
                    <a:pt x="4884" y="1494"/>
                  </a:cubicBezTo>
                  <a:cubicBezTo>
                    <a:pt x="4874" y="1489"/>
                    <a:pt x="4864" y="1492"/>
                    <a:pt x="4857" y="1506"/>
                  </a:cubicBezTo>
                  <a:cubicBezTo>
                    <a:pt x="4850" y="1520"/>
                    <a:pt x="4840" y="1528"/>
                    <a:pt x="4840" y="1540"/>
                  </a:cubicBezTo>
                  <a:cubicBezTo>
                    <a:pt x="4840" y="1551"/>
                    <a:pt x="4838" y="1551"/>
                    <a:pt x="4830" y="1552"/>
                  </a:cubicBezTo>
                  <a:cubicBezTo>
                    <a:pt x="4821" y="1553"/>
                    <a:pt x="4825" y="1562"/>
                    <a:pt x="4818" y="1566"/>
                  </a:cubicBezTo>
                  <a:cubicBezTo>
                    <a:pt x="4810" y="1571"/>
                    <a:pt x="4805" y="1573"/>
                    <a:pt x="4818" y="1580"/>
                  </a:cubicBezTo>
                  <a:cubicBezTo>
                    <a:pt x="4832" y="1586"/>
                    <a:pt x="4832" y="1591"/>
                    <a:pt x="4822" y="1596"/>
                  </a:cubicBezTo>
                  <a:cubicBezTo>
                    <a:pt x="4812" y="1602"/>
                    <a:pt x="4798" y="1614"/>
                    <a:pt x="4806" y="1619"/>
                  </a:cubicBezTo>
                  <a:cubicBezTo>
                    <a:pt x="4814" y="1623"/>
                    <a:pt x="4815" y="1631"/>
                    <a:pt x="4805" y="1634"/>
                  </a:cubicBezTo>
                  <a:cubicBezTo>
                    <a:pt x="4795" y="1636"/>
                    <a:pt x="4798" y="1639"/>
                    <a:pt x="4791" y="1646"/>
                  </a:cubicBezTo>
                  <a:cubicBezTo>
                    <a:pt x="4785" y="1653"/>
                    <a:pt x="4781" y="1650"/>
                    <a:pt x="4768" y="1650"/>
                  </a:cubicBezTo>
                  <a:cubicBezTo>
                    <a:pt x="4755" y="1650"/>
                    <a:pt x="4753" y="1656"/>
                    <a:pt x="4750" y="1667"/>
                  </a:cubicBezTo>
                  <a:cubicBezTo>
                    <a:pt x="4747" y="1679"/>
                    <a:pt x="4743" y="1685"/>
                    <a:pt x="4730" y="1687"/>
                  </a:cubicBezTo>
                  <a:cubicBezTo>
                    <a:pt x="4717" y="1690"/>
                    <a:pt x="4711" y="1690"/>
                    <a:pt x="4704" y="1696"/>
                  </a:cubicBezTo>
                  <a:cubicBezTo>
                    <a:pt x="4696" y="1702"/>
                    <a:pt x="4689" y="1710"/>
                    <a:pt x="4681" y="1705"/>
                  </a:cubicBezTo>
                  <a:cubicBezTo>
                    <a:pt x="4673" y="1701"/>
                    <a:pt x="4675" y="1695"/>
                    <a:pt x="4671" y="1689"/>
                  </a:cubicBezTo>
                  <a:cubicBezTo>
                    <a:pt x="4666" y="1683"/>
                    <a:pt x="4664" y="1695"/>
                    <a:pt x="4661" y="1703"/>
                  </a:cubicBezTo>
                  <a:cubicBezTo>
                    <a:pt x="4657" y="1712"/>
                    <a:pt x="4652" y="1716"/>
                    <a:pt x="4643" y="1717"/>
                  </a:cubicBezTo>
                  <a:cubicBezTo>
                    <a:pt x="4633" y="1719"/>
                    <a:pt x="4628" y="1712"/>
                    <a:pt x="4640" y="1702"/>
                  </a:cubicBezTo>
                  <a:cubicBezTo>
                    <a:pt x="4651" y="1692"/>
                    <a:pt x="4657" y="1692"/>
                    <a:pt x="4653" y="1683"/>
                  </a:cubicBezTo>
                  <a:cubicBezTo>
                    <a:pt x="4648" y="1674"/>
                    <a:pt x="4640" y="1684"/>
                    <a:pt x="4640" y="1667"/>
                  </a:cubicBezTo>
                  <a:cubicBezTo>
                    <a:pt x="4640" y="1649"/>
                    <a:pt x="4639" y="1645"/>
                    <a:pt x="4626" y="1645"/>
                  </a:cubicBezTo>
                  <a:cubicBezTo>
                    <a:pt x="4613" y="1645"/>
                    <a:pt x="4588" y="1642"/>
                    <a:pt x="4580" y="1644"/>
                  </a:cubicBezTo>
                  <a:cubicBezTo>
                    <a:pt x="4572" y="1645"/>
                    <a:pt x="4564" y="1644"/>
                    <a:pt x="4559" y="1655"/>
                  </a:cubicBezTo>
                  <a:cubicBezTo>
                    <a:pt x="4554" y="1667"/>
                    <a:pt x="4547" y="1667"/>
                    <a:pt x="4538" y="1663"/>
                  </a:cubicBezTo>
                  <a:cubicBezTo>
                    <a:pt x="4529" y="1659"/>
                    <a:pt x="4514" y="1657"/>
                    <a:pt x="4528" y="1650"/>
                  </a:cubicBezTo>
                  <a:cubicBezTo>
                    <a:pt x="4542" y="1644"/>
                    <a:pt x="4542" y="1639"/>
                    <a:pt x="4552" y="1638"/>
                  </a:cubicBezTo>
                  <a:cubicBezTo>
                    <a:pt x="4562" y="1637"/>
                    <a:pt x="4567" y="1640"/>
                    <a:pt x="4567" y="1632"/>
                  </a:cubicBezTo>
                  <a:cubicBezTo>
                    <a:pt x="4567" y="1624"/>
                    <a:pt x="4590" y="1630"/>
                    <a:pt x="4583" y="1621"/>
                  </a:cubicBezTo>
                  <a:cubicBezTo>
                    <a:pt x="4576" y="1611"/>
                    <a:pt x="4578" y="1594"/>
                    <a:pt x="4568" y="1594"/>
                  </a:cubicBezTo>
                  <a:cubicBezTo>
                    <a:pt x="4559" y="1594"/>
                    <a:pt x="4552" y="1591"/>
                    <a:pt x="4552" y="1586"/>
                  </a:cubicBezTo>
                  <a:cubicBezTo>
                    <a:pt x="4552" y="1581"/>
                    <a:pt x="4570" y="1586"/>
                    <a:pt x="4567" y="1570"/>
                  </a:cubicBezTo>
                  <a:cubicBezTo>
                    <a:pt x="4565" y="1554"/>
                    <a:pt x="4557" y="1557"/>
                    <a:pt x="4557" y="1545"/>
                  </a:cubicBezTo>
                  <a:cubicBezTo>
                    <a:pt x="4557" y="1534"/>
                    <a:pt x="4571" y="1526"/>
                    <a:pt x="4560" y="1515"/>
                  </a:cubicBezTo>
                  <a:cubicBezTo>
                    <a:pt x="4548" y="1505"/>
                    <a:pt x="4543" y="1497"/>
                    <a:pt x="4549" y="1485"/>
                  </a:cubicBezTo>
                  <a:cubicBezTo>
                    <a:pt x="4555" y="1474"/>
                    <a:pt x="4566" y="1468"/>
                    <a:pt x="4571" y="1462"/>
                  </a:cubicBezTo>
                  <a:cubicBezTo>
                    <a:pt x="4576" y="1455"/>
                    <a:pt x="4581" y="1452"/>
                    <a:pt x="4570" y="1445"/>
                  </a:cubicBezTo>
                  <a:cubicBezTo>
                    <a:pt x="4560" y="1439"/>
                    <a:pt x="4553" y="1430"/>
                    <a:pt x="4547" y="1442"/>
                  </a:cubicBezTo>
                  <a:cubicBezTo>
                    <a:pt x="4542" y="1454"/>
                    <a:pt x="4538" y="1462"/>
                    <a:pt x="4529" y="1451"/>
                  </a:cubicBezTo>
                  <a:cubicBezTo>
                    <a:pt x="4521" y="1439"/>
                    <a:pt x="4510" y="1434"/>
                    <a:pt x="4498" y="1435"/>
                  </a:cubicBezTo>
                  <a:cubicBezTo>
                    <a:pt x="4486" y="1437"/>
                    <a:pt x="4487" y="1430"/>
                    <a:pt x="4471" y="1429"/>
                  </a:cubicBezTo>
                  <a:cubicBezTo>
                    <a:pt x="4454" y="1427"/>
                    <a:pt x="4432" y="1414"/>
                    <a:pt x="4431" y="1408"/>
                  </a:cubicBezTo>
                  <a:cubicBezTo>
                    <a:pt x="4429" y="1401"/>
                    <a:pt x="4422" y="1394"/>
                    <a:pt x="4424" y="1389"/>
                  </a:cubicBezTo>
                  <a:cubicBezTo>
                    <a:pt x="4426" y="1383"/>
                    <a:pt x="4435" y="1378"/>
                    <a:pt x="4427" y="1376"/>
                  </a:cubicBezTo>
                  <a:cubicBezTo>
                    <a:pt x="4419" y="1373"/>
                    <a:pt x="4416" y="1377"/>
                    <a:pt x="4409" y="1379"/>
                  </a:cubicBezTo>
                  <a:cubicBezTo>
                    <a:pt x="4403" y="1380"/>
                    <a:pt x="4398" y="1378"/>
                    <a:pt x="4396" y="1368"/>
                  </a:cubicBezTo>
                  <a:cubicBezTo>
                    <a:pt x="4394" y="1358"/>
                    <a:pt x="4393" y="1356"/>
                    <a:pt x="4384" y="1356"/>
                  </a:cubicBezTo>
                  <a:cubicBezTo>
                    <a:pt x="4375" y="1356"/>
                    <a:pt x="4365" y="1353"/>
                    <a:pt x="4365" y="1345"/>
                  </a:cubicBezTo>
                  <a:cubicBezTo>
                    <a:pt x="4365" y="1336"/>
                    <a:pt x="4357" y="1329"/>
                    <a:pt x="4350" y="1329"/>
                  </a:cubicBezTo>
                  <a:cubicBezTo>
                    <a:pt x="4343" y="1329"/>
                    <a:pt x="4340" y="1318"/>
                    <a:pt x="4328" y="1315"/>
                  </a:cubicBezTo>
                  <a:cubicBezTo>
                    <a:pt x="4316" y="1312"/>
                    <a:pt x="4325" y="1305"/>
                    <a:pt x="4311" y="1303"/>
                  </a:cubicBezTo>
                  <a:cubicBezTo>
                    <a:pt x="4297" y="1301"/>
                    <a:pt x="4298" y="1294"/>
                    <a:pt x="4288" y="1296"/>
                  </a:cubicBezTo>
                  <a:cubicBezTo>
                    <a:pt x="4278" y="1298"/>
                    <a:pt x="4278" y="1305"/>
                    <a:pt x="4267" y="1305"/>
                  </a:cubicBezTo>
                  <a:cubicBezTo>
                    <a:pt x="4256" y="1305"/>
                    <a:pt x="4264" y="1315"/>
                    <a:pt x="4252" y="1315"/>
                  </a:cubicBezTo>
                  <a:cubicBezTo>
                    <a:pt x="4240" y="1315"/>
                    <a:pt x="4244" y="1323"/>
                    <a:pt x="4231" y="1322"/>
                  </a:cubicBezTo>
                  <a:cubicBezTo>
                    <a:pt x="4219" y="1321"/>
                    <a:pt x="4208" y="1310"/>
                    <a:pt x="4198" y="1310"/>
                  </a:cubicBezTo>
                  <a:cubicBezTo>
                    <a:pt x="4187" y="1311"/>
                    <a:pt x="4175" y="1320"/>
                    <a:pt x="4167" y="1314"/>
                  </a:cubicBezTo>
                  <a:cubicBezTo>
                    <a:pt x="4159" y="1308"/>
                    <a:pt x="4145" y="1302"/>
                    <a:pt x="4137" y="1302"/>
                  </a:cubicBezTo>
                  <a:cubicBezTo>
                    <a:pt x="4130" y="1302"/>
                    <a:pt x="4129" y="1294"/>
                    <a:pt x="4118" y="1295"/>
                  </a:cubicBezTo>
                  <a:cubicBezTo>
                    <a:pt x="4107" y="1295"/>
                    <a:pt x="4109" y="1288"/>
                    <a:pt x="4092" y="1288"/>
                  </a:cubicBezTo>
                  <a:cubicBezTo>
                    <a:pt x="4074" y="1288"/>
                    <a:pt x="4046" y="1281"/>
                    <a:pt x="4039" y="1290"/>
                  </a:cubicBezTo>
                  <a:cubicBezTo>
                    <a:pt x="4031" y="1300"/>
                    <a:pt x="4030" y="1303"/>
                    <a:pt x="4019" y="1305"/>
                  </a:cubicBezTo>
                  <a:cubicBezTo>
                    <a:pt x="4008" y="1308"/>
                    <a:pt x="4009" y="1320"/>
                    <a:pt x="4011" y="1333"/>
                  </a:cubicBezTo>
                  <a:cubicBezTo>
                    <a:pt x="4012" y="1345"/>
                    <a:pt x="4012" y="1361"/>
                    <a:pt x="4019" y="1366"/>
                  </a:cubicBezTo>
                  <a:cubicBezTo>
                    <a:pt x="4025" y="1371"/>
                    <a:pt x="4023" y="1380"/>
                    <a:pt x="4031" y="1381"/>
                  </a:cubicBezTo>
                  <a:cubicBezTo>
                    <a:pt x="4039" y="1381"/>
                    <a:pt x="4046" y="1383"/>
                    <a:pt x="4046" y="1391"/>
                  </a:cubicBezTo>
                  <a:cubicBezTo>
                    <a:pt x="4046" y="1399"/>
                    <a:pt x="4034" y="1394"/>
                    <a:pt x="4036" y="1406"/>
                  </a:cubicBezTo>
                  <a:cubicBezTo>
                    <a:pt x="4038" y="1418"/>
                    <a:pt x="4039" y="1427"/>
                    <a:pt x="4031" y="1434"/>
                  </a:cubicBezTo>
                  <a:cubicBezTo>
                    <a:pt x="4023" y="1441"/>
                    <a:pt x="4019" y="1444"/>
                    <a:pt x="4019" y="1452"/>
                  </a:cubicBezTo>
                  <a:cubicBezTo>
                    <a:pt x="4019" y="1459"/>
                    <a:pt x="4025" y="1462"/>
                    <a:pt x="4030" y="1467"/>
                  </a:cubicBezTo>
                  <a:cubicBezTo>
                    <a:pt x="4035" y="1472"/>
                    <a:pt x="4041" y="1477"/>
                    <a:pt x="4041" y="1485"/>
                  </a:cubicBezTo>
                  <a:cubicBezTo>
                    <a:pt x="4041" y="1494"/>
                    <a:pt x="4036" y="1507"/>
                    <a:pt x="4045" y="1511"/>
                  </a:cubicBezTo>
                  <a:cubicBezTo>
                    <a:pt x="4054" y="1515"/>
                    <a:pt x="4056" y="1518"/>
                    <a:pt x="4056" y="1526"/>
                  </a:cubicBezTo>
                  <a:cubicBezTo>
                    <a:pt x="4057" y="1535"/>
                    <a:pt x="4059" y="1538"/>
                    <a:pt x="4064" y="1543"/>
                  </a:cubicBezTo>
                  <a:cubicBezTo>
                    <a:pt x="4070" y="1549"/>
                    <a:pt x="4061" y="1565"/>
                    <a:pt x="4046" y="1565"/>
                  </a:cubicBezTo>
                  <a:cubicBezTo>
                    <a:pt x="4031" y="1565"/>
                    <a:pt x="4048" y="1573"/>
                    <a:pt x="4036" y="1580"/>
                  </a:cubicBezTo>
                  <a:cubicBezTo>
                    <a:pt x="4024" y="1586"/>
                    <a:pt x="4028" y="1592"/>
                    <a:pt x="4031" y="1597"/>
                  </a:cubicBezTo>
                  <a:cubicBezTo>
                    <a:pt x="4035" y="1602"/>
                    <a:pt x="4036" y="1605"/>
                    <a:pt x="4024" y="1613"/>
                  </a:cubicBezTo>
                  <a:cubicBezTo>
                    <a:pt x="4012" y="1621"/>
                    <a:pt x="4008" y="1627"/>
                    <a:pt x="4001" y="1634"/>
                  </a:cubicBezTo>
                  <a:cubicBezTo>
                    <a:pt x="3994" y="1640"/>
                    <a:pt x="3986" y="1638"/>
                    <a:pt x="3985" y="1651"/>
                  </a:cubicBezTo>
                  <a:cubicBezTo>
                    <a:pt x="3983" y="1664"/>
                    <a:pt x="3974" y="1671"/>
                    <a:pt x="3989" y="1675"/>
                  </a:cubicBezTo>
                  <a:cubicBezTo>
                    <a:pt x="4004" y="1680"/>
                    <a:pt x="4034" y="1702"/>
                    <a:pt x="4044" y="1705"/>
                  </a:cubicBezTo>
                  <a:cubicBezTo>
                    <a:pt x="4055" y="1707"/>
                    <a:pt x="4085" y="1728"/>
                    <a:pt x="4091" y="1745"/>
                  </a:cubicBezTo>
                  <a:cubicBezTo>
                    <a:pt x="4097" y="1763"/>
                    <a:pt x="4114" y="1781"/>
                    <a:pt x="4116" y="1801"/>
                  </a:cubicBezTo>
                  <a:cubicBezTo>
                    <a:pt x="4118" y="1820"/>
                    <a:pt x="4119" y="1847"/>
                    <a:pt x="4118" y="1863"/>
                  </a:cubicBezTo>
                  <a:cubicBezTo>
                    <a:pt x="4117" y="1879"/>
                    <a:pt x="4120" y="1899"/>
                    <a:pt x="4108" y="1906"/>
                  </a:cubicBezTo>
                  <a:cubicBezTo>
                    <a:pt x="4096" y="1913"/>
                    <a:pt x="4084" y="1927"/>
                    <a:pt x="4073" y="1938"/>
                  </a:cubicBezTo>
                  <a:cubicBezTo>
                    <a:pt x="4062" y="1949"/>
                    <a:pt x="4046" y="1962"/>
                    <a:pt x="4036" y="1971"/>
                  </a:cubicBezTo>
                  <a:cubicBezTo>
                    <a:pt x="4025" y="1981"/>
                    <a:pt x="4004" y="1996"/>
                    <a:pt x="3989" y="1998"/>
                  </a:cubicBezTo>
                  <a:cubicBezTo>
                    <a:pt x="3974" y="2001"/>
                    <a:pt x="3968" y="2011"/>
                    <a:pt x="3963" y="2006"/>
                  </a:cubicBezTo>
                  <a:cubicBezTo>
                    <a:pt x="3958" y="2001"/>
                    <a:pt x="3950" y="1999"/>
                    <a:pt x="3946" y="2001"/>
                  </a:cubicBezTo>
                  <a:cubicBezTo>
                    <a:pt x="3942" y="2003"/>
                    <a:pt x="3942" y="2007"/>
                    <a:pt x="3928" y="2007"/>
                  </a:cubicBezTo>
                  <a:cubicBezTo>
                    <a:pt x="3915" y="2007"/>
                    <a:pt x="3909" y="2011"/>
                    <a:pt x="3914" y="2021"/>
                  </a:cubicBezTo>
                  <a:cubicBezTo>
                    <a:pt x="3919" y="2032"/>
                    <a:pt x="3921" y="2035"/>
                    <a:pt x="3926" y="2046"/>
                  </a:cubicBezTo>
                  <a:cubicBezTo>
                    <a:pt x="3931" y="2058"/>
                    <a:pt x="3938" y="2069"/>
                    <a:pt x="3946" y="2076"/>
                  </a:cubicBezTo>
                  <a:cubicBezTo>
                    <a:pt x="3955" y="2082"/>
                    <a:pt x="3956" y="2089"/>
                    <a:pt x="3956" y="2099"/>
                  </a:cubicBezTo>
                  <a:cubicBezTo>
                    <a:pt x="3956" y="2110"/>
                    <a:pt x="3953" y="2125"/>
                    <a:pt x="3958" y="2131"/>
                  </a:cubicBezTo>
                  <a:cubicBezTo>
                    <a:pt x="3962" y="2137"/>
                    <a:pt x="3961" y="2148"/>
                    <a:pt x="3962" y="2155"/>
                  </a:cubicBezTo>
                  <a:cubicBezTo>
                    <a:pt x="3963" y="2162"/>
                    <a:pt x="3973" y="2172"/>
                    <a:pt x="3971" y="2185"/>
                  </a:cubicBezTo>
                  <a:cubicBezTo>
                    <a:pt x="3969" y="2198"/>
                    <a:pt x="3969" y="2203"/>
                    <a:pt x="3978" y="2208"/>
                  </a:cubicBezTo>
                  <a:cubicBezTo>
                    <a:pt x="3986" y="2213"/>
                    <a:pt x="3985" y="2228"/>
                    <a:pt x="3990" y="2231"/>
                  </a:cubicBezTo>
                  <a:cubicBezTo>
                    <a:pt x="3995" y="2233"/>
                    <a:pt x="4006" y="2240"/>
                    <a:pt x="3998" y="2244"/>
                  </a:cubicBezTo>
                  <a:cubicBezTo>
                    <a:pt x="3990" y="2249"/>
                    <a:pt x="3974" y="2269"/>
                    <a:pt x="3968" y="2274"/>
                  </a:cubicBezTo>
                  <a:cubicBezTo>
                    <a:pt x="3963" y="2280"/>
                    <a:pt x="3966" y="2287"/>
                    <a:pt x="3973" y="2294"/>
                  </a:cubicBezTo>
                  <a:cubicBezTo>
                    <a:pt x="3979" y="2300"/>
                    <a:pt x="3983" y="2309"/>
                    <a:pt x="3979" y="2312"/>
                  </a:cubicBezTo>
                  <a:cubicBezTo>
                    <a:pt x="3975" y="2315"/>
                    <a:pt x="3968" y="2316"/>
                    <a:pt x="3960" y="2307"/>
                  </a:cubicBezTo>
                  <a:cubicBezTo>
                    <a:pt x="3952" y="2297"/>
                    <a:pt x="3945" y="2291"/>
                    <a:pt x="3935" y="2296"/>
                  </a:cubicBezTo>
                  <a:cubicBezTo>
                    <a:pt x="3925" y="2301"/>
                    <a:pt x="3916" y="2313"/>
                    <a:pt x="3917" y="2321"/>
                  </a:cubicBezTo>
                  <a:cubicBezTo>
                    <a:pt x="3917" y="2329"/>
                    <a:pt x="3919" y="2335"/>
                    <a:pt x="3925" y="2340"/>
                  </a:cubicBezTo>
                  <a:cubicBezTo>
                    <a:pt x="3932" y="2345"/>
                    <a:pt x="3940" y="2355"/>
                    <a:pt x="3935" y="2356"/>
                  </a:cubicBezTo>
                  <a:cubicBezTo>
                    <a:pt x="3930" y="2357"/>
                    <a:pt x="3930" y="2356"/>
                    <a:pt x="3921" y="2348"/>
                  </a:cubicBezTo>
                  <a:cubicBezTo>
                    <a:pt x="3912" y="2340"/>
                    <a:pt x="3909" y="2327"/>
                    <a:pt x="3899" y="2325"/>
                  </a:cubicBezTo>
                  <a:cubicBezTo>
                    <a:pt x="3889" y="2322"/>
                    <a:pt x="3878" y="2318"/>
                    <a:pt x="3872" y="2321"/>
                  </a:cubicBezTo>
                  <a:cubicBezTo>
                    <a:pt x="3867" y="2324"/>
                    <a:pt x="3854" y="2330"/>
                    <a:pt x="3849" y="2338"/>
                  </a:cubicBezTo>
                  <a:cubicBezTo>
                    <a:pt x="3844" y="2346"/>
                    <a:pt x="3829" y="2347"/>
                    <a:pt x="3831" y="2341"/>
                  </a:cubicBezTo>
                  <a:cubicBezTo>
                    <a:pt x="3832" y="2335"/>
                    <a:pt x="3848" y="2330"/>
                    <a:pt x="3851" y="2322"/>
                  </a:cubicBezTo>
                  <a:cubicBezTo>
                    <a:pt x="3854" y="2313"/>
                    <a:pt x="3867" y="2316"/>
                    <a:pt x="3867" y="2305"/>
                  </a:cubicBezTo>
                  <a:cubicBezTo>
                    <a:pt x="3866" y="2294"/>
                    <a:pt x="3859" y="2288"/>
                    <a:pt x="3854" y="2282"/>
                  </a:cubicBezTo>
                  <a:cubicBezTo>
                    <a:pt x="3848" y="2275"/>
                    <a:pt x="3837" y="2266"/>
                    <a:pt x="3831" y="2259"/>
                  </a:cubicBezTo>
                  <a:cubicBezTo>
                    <a:pt x="3826" y="2253"/>
                    <a:pt x="3817" y="2245"/>
                    <a:pt x="3806" y="2245"/>
                  </a:cubicBezTo>
                  <a:cubicBezTo>
                    <a:pt x="3796" y="2245"/>
                    <a:pt x="3782" y="2249"/>
                    <a:pt x="3785" y="2244"/>
                  </a:cubicBezTo>
                  <a:cubicBezTo>
                    <a:pt x="3788" y="2238"/>
                    <a:pt x="3801" y="2234"/>
                    <a:pt x="3800" y="2224"/>
                  </a:cubicBezTo>
                  <a:cubicBezTo>
                    <a:pt x="3799" y="2214"/>
                    <a:pt x="3789" y="2217"/>
                    <a:pt x="3781" y="2209"/>
                  </a:cubicBezTo>
                  <a:cubicBezTo>
                    <a:pt x="3773" y="2201"/>
                    <a:pt x="3768" y="2188"/>
                    <a:pt x="3761" y="2183"/>
                  </a:cubicBezTo>
                  <a:cubicBezTo>
                    <a:pt x="3753" y="2178"/>
                    <a:pt x="3750" y="2173"/>
                    <a:pt x="3750" y="2165"/>
                  </a:cubicBezTo>
                  <a:cubicBezTo>
                    <a:pt x="3750" y="2158"/>
                    <a:pt x="3763" y="2159"/>
                    <a:pt x="3760" y="2141"/>
                  </a:cubicBezTo>
                  <a:cubicBezTo>
                    <a:pt x="3757" y="2123"/>
                    <a:pt x="3763" y="2094"/>
                    <a:pt x="3758" y="2084"/>
                  </a:cubicBezTo>
                  <a:cubicBezTo>
                    <a:pt x="3752" y="2073"/>
                    <a:pt x="3741" y="2072"/>
                    <a:pt x="3742" y="2061"/>
                  </a:cubicBezTo>
                  <a:cubicBezTo>
                    <a:pt x="3743" y="2049"/>
                    <a:pt x="3745" y="2051"/>
                    <a:pt x="3750" y="2037"/>
                  </a:cubicBezTo>
                  <a:cubicBezTo>
                    <a:pt x="3755" y="2023"/>
                    <a:pt x="3761" y="2027"/>
                    <a:pt x="3763" y="2018"/>
                  </a:cubicBezTo>
                  <a:cubicBezTo>
                    <a:pt x="3764" y="2008"/>
                    <a:pt x="3755" y="2011"/>
                    <a:pt x="3755" y="2001"/>
                  </a:cubicBezTo>
                  <a:cubicBezTo>
                    <a:pt x="3755" y="1990"/>
                    <a:pt x="3754" y="1981"/>
                    <a:pt x="3741" y="1982"/>
                  </a:cubicBezTo>
                  <a:cubicBezTo>
                    <a:pt x="3728" y="1983"/>
                    <a:pt x="3699" y="1988"/>
                    <a:pt x="3696" y="1981"/>
                  </a:cubicBezTo>
                  <a:cubicBezTo>
                    <a:pt x="3693" y="1973"/>
                    <a:pt x="3677" y="1973"/>
                    <a:pt x="3667" y="1973"/>
                  </a:cubicBezTo>
                  <a:cubicBezTo>
                    <a:pt x="3657" y="1973"/>
                    <a:pt x="3652" y="1965"/>
                    <a:pt x="3639" y="1966"/>
                  </a:cubicBezTo>
                  <a:cubicBezTo>
                    <a:pt x="3626" y="1967"/>
                    <a:pt x="3624" y="1971"/>
                    <a:pt x="3609" y="1973"/>
                  </a:cubicBezTo>
                  <a:cubicBezTo>
                    <a:pt x="3594" y="1975"/>
                    <a:pt x="3577" y="1968"/>
                    <a:pt x="3571" y="1976"/>
                  </a:cubicBezTo>
                  <a:cubicBezTo>
                    <a:pt x="3566" y="1984"/>
                    <a:pt x="3563" y="1992"/>
                    <a:pt x="3558" y="1998"/>
                  </a:cubicBezTo>
                  <a:cubicBezTo>
                    <a:pt x="3553" y="2005"/>
                    <a:pt x="3546" y="2005"/>
                    <a:pt x="3549" y="1994"/>
                  </a:cubicBezTo>
                  <a:cubicBezTo>
                    <a:pt x="3553" y="1983"/>
                    <a:pt x="3564" y="1981"/>
                    <a:pt x="3563" y="1970"/>
                  </a:cubicBezTo>
                  <a:cubicBezTo>
                    <a:pt x="3563" y="1960"/>
                    <a:pt x="3559" y="1965"/>
                    <a:pt x="3543" y="1953"/>
                  </a:cubicBezTo>
                  <a:cubicBezTo>
                    <a:pt x="3528" y="1941"/>
                    <a:pt x="3541" y="1945"/>
                    <a:pt x="3521" y="1939"/>
                  </a:cubicBezTo>
                  <a:cubicBezTo>
                    <a:pt x="3501" y="1933"/>
                    <a:pt x="3500" y="1925"/>
                    <a:pt x="3482" y="1923"/>
                  </a:cubicBezTo>
                  <a:cubicBezTo>
                    <a:pt x="3465" y="1922"/>
                    <a:pt x="3477" y="1915"/>
                    <a:pt x="3455" y="1915"/>
                  </a:cubicBezTo>
                  <a:cubicBezTo>
                    <a:pt x="3434" y="1915"/>
                    <a:pt x="3435" y="1904"/>
                    <a:pt x="3419" y="1905"/>
                  </a:cubicBezTo>
                  <a:cubicBezTo>
                    <a:pt x="3404" y="1905"/>
                    <a:pt x="3411" y="1889"/>
                    <a:pt x="3400" y="1879"/>
                  </a:cubicBezTo>
                  <a:cubicBezTo>
                    <a:pt x="3389" y="1868"/>
                    <a:pt x="3374" y="1860"/>
                    <a:pt x="3356" y="1850"/>
                  </a:cubicBezTo>
                  <a:cubicBezTo>
                    <a:pt x="3339" y="1840"/>
                    <a:pt x="3324" y="1822"/>
                    <a:pt x="3305" y="1822"/>
                  </a:cubicBezTo>
                  <a:cubicBezTo>
                    <a:pt x="3285" y="1822"/>
                    <a:pt x="3285" y="1827"/>
                    <a:pt x="3269" y="1819"/>
                  </a:cubicBezTo>
                  <a:cubicBezTo>
                    <a:pt x="3252" y="1810"/>
                    <a:pt x="3254" y="1816"/>
                    <a:pt x="3239" y="1805"/>
                  </a:cubicBezTo>
                  <a:cubicBezTo>
                    <a:pt x="3225" y="1794"/>
                    <a:pt x="3217" y="1787"/>
                    <a:pt x="3201" y="1791"/>
                  </a:cubicBezTo>
                  <a:cubicBezTo>
                    <a:pt x="3185" y="1794"/>
                    <a:pt x="3181" y="1799"/>
                    <a:pt x="3166" y="1803"/>
                  </a:cubicBezTo>
                  <a:cubicBezTo>
                    <a:pt x="3152" y="1806"/>
                    <a:pt x="3143" y="1806"/>
                    <a:pt x="3136" y="1814"/>
                  </a:cubicBezTo>
                  <a:cubicBezTo>
                    <a:pt x="3128" y="1821"/>
                    <a:pt x="3118" y="1820"/>
                    <a:pt x="3107" y="1818"/>
                  </a:cubicBezTo>
                  <a:cubicBezTo>
                    <a:pt x="3096" y="1816"/>
                    <a:pt x="3098" y="1811"/>
                    <a:pt x="3100" y="1797"/>
                  </a:cubicBezTo>
                  <a:cubicBezTo>
                    <a:pt x="3101" y="1783"/>
                    <a:pt x="3108" y="1774"/>
                    <a:pt x="3098" y="1764"/>
                  </a:cubicBezTo>
                  <a:cubicBezTo>
                    <a:pt x="3088" y="1754"/>
                    <a:pt x="3091" y="1749"/>
                    <a:pt x="3082" y="1730"/>
                  </a:cubicBezTo>
                  <a:cubicBezTo>
                    <a:pt x="3073" y="1710"/>
                    <a:pt x="3065" y="1690"/>
                    <a:pt x="3062" y="1679"/>
                  </a:cubicBezTo>
                  <a:cubicBezTo>
                    <a:pt x="3059" y="1668"/>
                    <a:pt x="3060" y="1654"/>
                    <a:pt x="3048" y="1654"/>
                  </a:cubicBezTo>
                  <a:cubicBezTo>
                    <a:pt x="3036" y="1654"/>
                    <a:pt x="3015" y="1654"/>
                    <a:pt x="3003" y="1655"/>
                  </a:cubicBezTo>
                  <a:cubicBezTo>
                    <a:pt x="2991" y="1656"/>
                    <a:pt x="2982" y="1664"/>
                    <a:pt x="2978" y="1655"/>
                  </a:cubicBezTo>
                  <a:cubicBezTo>
                    <a:pt x="2974" y="1647"/>
                    <a:pt x="2966" y="1639"/>
                    <a:pt x="2961" y="1636"/>
                  </a:cubicBezTo>
                  <a:cubicBezTo>
                    <a:pt x="2957" y="1633"/>
                    <a:pt x="2949" y="1625"/>
                    <a:pt x="2954" y="1616"/>
                  </a:cubicBezTo>
                  <a:cubicBezTo>
                    <a:pt x="2959" y="1606"/>
                    <a:pt x="2961" y="1601"/>
                    <a:pt x="2957" y="1594"/>
                  </a:cubicBezTo>
                  <a:cubicBezTo>
                    <a:pt x="2953" y="1586"/>
                    <a:pt x="2949" y="1579"/>
                    <a:pt x="2951" y="1558"/>
                  </a:cubicBezTo>
                  <a:cubicBezTo>
                    <a:pt x="2953" y="1538"/>
                    <a:pt x="2956" y="1536"/>
                    <a:pt x="2958" y="1516"/>
                  </a:cubicBezTo>
                  <a:cubicBezTo>
                    <a:pt x="2959" y="1496"/>
                    <a:pt x="2967" y="1501"/>
                    <a:pt x="2975" y="1484"/>
                  </a:cubicBezTo>
                  <a:cubicBezTo>
                    <a:pt x="2983" y="1467"/>
                    <a:pt x="3006" y="1441"/>
                    <a:pt x="3008" y="1421"/>
                  </a:cubicBezTo>
                  <a:cubicBezTo>
                    <a:pt x="3010" y="1401"/>
                    <a:pt x="3014" y="1392"/>
                    <a:pt x="3025" y="1385"/>
                  </a:cubicBezTo>
                  <a:cubicBezTo>
                    <a:pt x="3037" y="1378"/>
                    <a:pt x="3058" y="1381"/>
                    <a:pt x="3053" y="1366"/>
                  </a:cubicBezTo>
                  <a:cubicBezTo>
                    <a:pt x="3048" y="1352"/>
                    <a:pt x="3039" y="1347"/>
                    <a:pt x="3050" y="1343"/>
                  </a:cubicBezTo>
                  <a:cubicBezTo>
                    <a:pt x="3060" y="1340"/>
                    <a:pt x="3073" y="1347"/>
                    <a:pt x="3076" y="1335"/>
                  </a:cubicBezTo>
                  <a:cubicBezTo>
                    <a:pt x="3080" y="1323"/>
                    <a:pt x="3077" y="1318"/>
                    <a:pt x="3083" y="1325"/>
                  </a:cubicBezTo>
                  <a:cubicBezTo>
                    <a:pt x="3090" y="1331"/>
                    <a:pt x="3103" y="1335"/>
                    <a:pt x="3098" y="1323"/>
                  </a:cubicBezTo>
                  <a:cubicBezTo>
                    <a:pt x="3093" y="1310"/>
                    <a:pt x="3090" y="1301"/>
                    <a:pt x="3094" y="1296"/>
                  </a:cubicBezTo>
                  <a:cubicBezTo>
                    <a:pt x="3098" y="1291"/>
                    <a:pt x="3098" y="1290"/>
                    <a:pt x="3108" y="1293"/>
                  </a:cubicBezTo>
                  <a:cubicBezTo>
                    <a:pt x="3118" y="1295"/>
                    <a:pt x="3129" y="1298"/>
                    <a:pt x="3131" y="1291"/>
                  </a:cubicBezTo>
                  <a:cubicBezTo>
                    <a:pt x="3132" y="1285"/>
                    <a:pt x="3138" y="1285"/>
                    <a:pt x="3122" y="1280"/>
                  </a:cubicBezTo>
                  <a:cubicBezTo>
                    <a:pt x="3105" y="1275"/>
                    <a:pt x="3104" y="1272"/>
                    <a:pt x="3109" y="1265"/>
                  </a:cubicBezTo>
                  <a:cubicBezTo>
                    <a:pt x="3114" y="1258"/>
                    <a:pt x="3129" y="1260"/>
                    <a:pt x="3143" y="1265"/>
                  </a:cubicBezTo>
                  <a:cubicBezTo>
                    <a:pt x="3158" y="1270"/>
                    <a:pt x="3169" y="1277"/>
                    <a:pt x="3174" y="1271"/>
                  </a:cubicBezTo>
                  <a:cubicBezTo>
                    <a:pt x="3179" y="1265"/>
                    <a:pt x="3187" y="1260"/>
                    <a:pt x="3197" y="1259"/>
                  </a:cubicBezTo>
                  <a:cubicBezTo>
                    <a:pt x="3207" y="1257"/>
                    <a:pt x="3213" y="1260"/>
                    <a:pt x="3213" y="1244"/>
                  </a:cubicBezTo>
                  <a:cubicBezTo>
                    <a:pt x="3213" y="1229"/>
                    <a:pt x="3236" y="1222"/>
                    <a:pt x="3212" y="1215"/>
                  </a:cubicBezTo>
                  <a:cubicBezTo>
                    <a:pt x="3189" y="1209"/>
                    <a:pt x="3189" y="1209"/>
                    <a:pt x="3171" y="1196"/>
                  </a:cubicBezTo>
                  <a:cubicBezTo>
                    <a:pt x="3152" y="1184"/>
                    <a:pt x="3154" y="1183"/>
                    <a:pt x="3141" y="1184"/>
                  </a:cubicBezTo>
                  <a:cubicBezTo>
                    <a:pt x="3127" y="1184"/>
                    <a:pt x="3113" y="1191"/>
                    <a:pt x="3105" y="1179"/>
                  </a:cubicBezTo>
                  <a:cubicBezTo>
                    <a:pt x="3096" y="1168"/>
                    <a:pt x="3105" y="1159"/>
                    <a:pt x="3079" y="1166"/>
                  </a:cubicBezTo>
                  <a:cubicBezTo>
                    <a:pt x="3053" y="1172"/>
                    <a:pt x="3027" y="1171"/>
                    <a:pt x="3022" y="1159"/>
                  </a:cubicBezTo>
                  <a:cubicBezTo>
                    <a:pt x="3017" y="1147"/>
                    <a:pt x="3019" y="1136"/>
                    <a:pt x="3032" y="1140"/>
                  </a:cubicBezTo>
                  <a:cubicBezTo>
                    <a:pt x="3046" y="1143"/>
                    <a:pt x="3057" y="1154"/>
                    <a:pt x="3069" y="1152"/>
                  </a:cubicBezTo>
                  <a:cubicBezTo>
                    <a:pt x="3080" y="1150"/>
                    <a:pt x="3100" y="1151"/>
                    <a:pt x="3105" y="1161"/>
                  </a:cubicBezTo>
                  <a:cubicBezTo>
                    <a:pt x="3109" y="1170"/>
                    <a:pt x="3110" y="1172"/>
                    <a:pt x="3123" y="1172"/>
                  </a:cubicBezTo>
                  <a:cubicBezTo>
                    <a:pt x="3135" y="1172"/>
                    <a:pt x="3154" y="1166"/>
                    <a:pt x="3166" y="1172"/>
                  </a:cubicBezTo>
                  <a:cubicBezTo>
                    <a:pt x="3177" y="1179"/>
                    <a:pt x="3203" y="1196"/>
                    <a:pt x="3209" y="1191"/>
                  </a:cubicBezTo>
                  <a:cubicBezTo>
                    <a:pt x="3216" y="1186"/>
                    <a:pt x="3225" y="1182"/>
                    <a:pt x="3235" y="1181"/>
                  </a:cubicBezTo>
                  <a:cubicBezTo>
                    <a:pt x="3245" y="1181"/>
                    <a:pt x="3259" y="1180"/>
                    <a:pt x="3256" y="1164"/>
                  </a:cubicBezTo>
                  <a:cubicBezTo>
                    <a:pt x="3253" y="1148"/>
                    <a:pt x="3257" y="1135"/>
                    <a:pt x="3267" y="1134"/>
                  </a:cubicBezTo>
                  <a:cubicBezTo>
                    <a:pt x="3278" y="1133"/>
                    <a:pt x="3282" y="1141"/>
                    <a:pt x="3285" y="1147"/>
                  </a:cubicBezTo>
                  <a:cubicBezTo>
                    <a:pt x="3288" y="1153"/>
                    <a:pt x="3295" y="1157"/>
                    <a:pt x="3300" y="1151"/>
                  </a:cubicBezTo>
                  <a:cubicBezTo>
                    <a:pt x="3306" y="1146"/>
                    <a:pt x="3313" y="1146"/>
                    <a:pt x="3328" y="1147"/>
                  </a:cubicBezTo>
                  <a:cubicBezTo>
                    <a:pt x="3343" y="1148"/>
                    <a:pt x="3387" y="1135"/>
                    <a:pt x="3390" y="1121"/>
                  </a:cubicBezTo>
                  <a:cubicBezTo>
                    <a:pt x="3393" y="1106"/>
                    <a:pt x="3400" y="1097"/>
                    <a:pt x="3417" y="1081"/>
                  </a:cubicBezTo>
                  <a:cubicBezTo>
                    <a:pt x="3433" y="1065"/>
                    <a:pt x="3437" y="1060"/>
                    <a:pt x="3442" y="1050"/>
                  </a:cubicBezTo>
                  <a:cubicBezTo>
                    <a:pt x="3447" y="1039"/>
                    <a:pt x="3457" y="1023"/>
                    <a:pt x="3441" y="1020"/>
                  </a:cubicBezTo>
                  <a:cubicBezTo>
                    <a:pt x="3424" y="1017"/>
                    <a:pt x="3419" y="1011"/>
                    <a:pt x="3399" y="1014"/>
                  </a:cubicBezTo>
                  <a:cubicBezTo>
                    <a:pt x="3379" y="1018"/>
                    <a:pt x="3369" y="1009"/>
                    <a:pt x="3348" y="1009"/>
                  </a:cubicBezTo>
                  <a:cubicBezTo>
                    <a:pt x="3328" y="1009"/>
                    <a:pt x="3309" y="1005"/>
                    <a:pt x="3298" y="995"/>
                  </a:cubicBezTo>
                  <a:cubicBezTo>
                    <a:pt x="3288" y="985"/>
                    <a:pt x="3282" y="969"/>
                    <a:pt x="3270" y="964"/>
                  </a:cubicBezTo>
                  <a:cubicBezTo>
                    <a:pt x="3257" y="959"/>
                    <a:pt x="3245" y="958"/>
                    <a:pt x="3260" y="949"/>
                  </a:cubicBezTo>
                  <a:cubicBezTo>
                    <a:pt x="3275" y="941"/>
                    <a:pt x="3277" y="942"/>
                    <a:pt x="3285" y="948"/>
                  </a:cubicBezTo>
                  <a:cubicBezTo>
                    <a:pt x="3293" y="954"/>
                    <a:pt x="3295" y="961"/>
                    <a:pt x="3304" y="964"/>
                  </a:cubicBezTo>
                  <a:cubicBezTo>
                    <a:pt x="3313" y="966"/>
                    <a:pt x="3336" y="971"/>
                    <a:pt x="3348" y="980"/>
                  </a:cubicBezTo>
                  <a:cubicBezTo>
                    <a:pt x="3359" y="989"/>
                    <a:pt x="3368" y="999"/>
                    <a:pt x="3384" y="1003"/>
                  </a:cubicBezTo>
                  <a:cubicBezTo>
                    <a:pt x="3401" y="1007"/>
                    <a:pt x="3429" y="1012"/>
                    <a:pt x="3438" y="1000"/>
                  </a:cubicBezTo>
                  <a:cubicBezTo>
                    <a:pt x="3447" y="988"/>
                    <a:pt x="3466" y="977"/>
                    <a:pt x="3476" y="975"/>
                  </a:cubicBezTo>
                  <a:cubicBezTo>
                    <a:pt x="3486" y="973"/>
                    <a:pt x="3487" y="954"/>
                    <a:pt x="3498" y="945"/>
                  </a:cubicBezTo>
                  <a:cubicBezTo>
                    <a:pt x="3510" y="936"/>
                    <a:pt x="3516" y="932"/>
                    <a:pt x="3515" y="924"/>
                  </a:cubicBezTo>
                  <a:cubicBezTo>
                    <a:pt x="3513" y="916"/>
                    <a:pt x="3507" y="918"/>
                    <a:pt x="3505" y="913"/>
                  </a:cubicBezTo>
                  <a:cubicBezTo>
                    <a:pt x="3503" y="908"/>
                    <a:pt x="3494" y="904"/>
                    <a:pt x="3487" y="902"/>
                  </a:cubicBezTo>
                  <a:cubicBezTo>
                    <a:pt x="3480" y="900"/>
                    <a:pt x="3468" y="894"/>
                    <a:pt x="3475" y="887"/>
                  </a:cubicBezTo>
                  <a:cubicBezTo>
                    <a:pt x="3481" y="880"/>
                    <a:pt x="3492" y="888"/>
                    <a:pt x="3505" y="886"/>
                  </a:cubicBezTo>
                  <a:cubicBezTo>
                    <a:pt x="3519" y="885"/>
                    <a:pt x="3544" y="875"/>
                    <a:pt x="3550" y="887"/>
                  </a:cubicBezTo>
                  <a:cubicBezTo>
                    <a:pt x="3556" y="899"/>
                    <a:pt x="3564" y="913"/>
                    <a:pt x="3578" y="913"/>
                  </a:cubicBezTo>
                  <a:cubicBezTo>
                    <a:pt x="3591" y="914"/>
                    <a:pt x="3602" y="918"/>
                    <a:pt x="3609" y="930"/>
                  </a:cubicBezTo>
                  <a:cubicBezTo>
                    <a:pt x="3615" y="941"/>
                    <a:pt x="3627" y="948"/>
                    <a:pt x="3634" y="960"/>
                  </a:cubicBezTo>
                  <a:cubicBezTo>
                    <a:pt x="3642" y="972"/>
                    <a:pt x="3649" y="966"/>
                    <a:pt x="3661" y="966"/>
                  </a:cubicBezTo>
                  <a:cubicBezTo>
                    <a:pt x="3672" y="966"/>
                    <a:pt x="3681" y="966"/>
                    <a:pt x="3680" y="960"/>
                  </a:cubicBezTo>
                  <a:cubicBezTo>
                    <a:pt x="3680" y="954"/>
                    <a:pt x="3680" y="949"/>
                    <a:pt x="3671" y="949"/>
                  </a:cubicBezTo>
                  <a:cubicBezTo>
                    <a:pt x="3662" y="949"/>
                    <a:pt x="3659" y="941"/>
                    <a:pt x="3647" y="935"/>
                  </a:cubicBezTo>
                  <a:cubicBezTo>
                    <a:pt x="3636" y="929"/>
                    <a:pt x="3637" y="931"/>
                    <a:pt x="3626" y="926"/>
                  </a:cubicBezTo>
                  <a:cubicBezTo>
                    <a:pt x="3614" y="921"/>
                    <a:pt x="3605" y="906"/>
                    <a:pt x="3612" y="906"/>
                  </a:cubicBezTo>
                  <a:cubicBezTo>
                    <a:pt x="3619" y="906"/>
                    <a:pt x="3629" y="904"/>
                    <a:pt x="3632" y="910"/>
                  </a:cubicBezTo>
                  <a:cubicBezTo>
                    <a:pt x="3635" y="916"/>
                    <a:pt x="3654" y="922"/>
                    <a:pt x="3654" y="916"/>
                  </a:cubicBezTo>
                  <a:cubicBezTo>
                    <a:pt x="3654" y="909"/>
                    <a:pt x="3659" y="897"/>
                    <a:pt x="3647" y="889"/>
                  </a:cubicBezTo>
                  <a:cubicBezTo>
                    <a:pt x="3634" y="881"/>
                    <a:pt x="3629" y="863"/>
                    <a:pt x="3619" y="860"/>
                  </a:cubicBezTo>
                  <a:cubicBezTo>
                    <a:pt x="3610" y="856"/>
                    <a:pt x="3603" y="849"/>
                    <a:pt x="3594" y="849"/>
                  </a:cubicBezTo>
                  <a:cubicBezTo>
                    <a:pt x="3586" y="849"/>
                    <a:pt x="3572" y="840"/>
                    <a:pt x="3580" y="835"/>
                  </a:cubicBezTo>
                  <a:cubicBezTo>
                    <a:pt x="3588" y="830"/>
                    <a:pt x="3606" y="827"/>
                    <a:pt x="3614" y="840"/>
                  </a:cubicBezTo>
                  <a:cubicBezTo>
                    <a:pt x="3623" y="853"/>
                    <a:pt x="3635" y="866"/>
                    <a:pt x="3648" y="870"/>
                  </a:cubicBezTo>
                  <a:cubicBezTo>
                    <a:pt x="3661" y="873"/>
                    <a:pt x="3661" y="892"/>
                    <a:pt x="3670" y="896"/>
                  </a:cubicBezTo>
                  <a:cubicBezTo>
                    <a:pt x="3680" y="900"/>
                    <a:pt x="3684" y="903"/>
                    <a:pt x="3691" y="895"/>
                  </a:cubicBezTo>
                  <a:cubicBezTo>
                    <a:pt x="3698" y="888"/>
                    <a:pt x="3717" y="882"/>
                    <a:pt x="3724" y="880"/>
                  </a:cubicBezTo>
                  <a:cubicBezTo>
                    <a:pt x="3731" y="879"/>
                    <a:pt x="3735" y="865"/>
                    <a:pt x="3748" y="864"/>
                  </a:cubicBezTo>
                  <a:cubicBezTo>
                    <a:pt x="3761" y="863"/>
                    <a:pt x="3761" y="863"/>
                    <a:pt x="3766" y="850"/>
                  </a:cubicBezTo>
                  <a:cubicBezTo>
                    <a:pt x="3771" y="836"/>
                    <a:pt x="3784" y="835"/>
                    <a:pt x="3794" y="832"/>
                  </a:cubicBezTo>
                  <a:cubicBezTo>
                    <a:pt x="3804" y="829"/>
                    <a:pt x="3810" y="819"/>
                    <a:pt x="3811" y="809"/>
                  </a:cubicBezTo>
                  <a:cubicBezTo>
                    <a:pt x="3811" y="799"/>
                    <a:pt x="3814" y="769"/>
                    <a:pt x="3805" y="764"/>
                  </a:cubicBezTo>
                  <a:cubicBezTo>
                    <a:pt x="3796" y="759"/>
                    <a:pt x="3786" y="756"/>
                    <a:pt x="3780" y="745"/>
                  </a:cubicBezTo>
                  <a:cubicBezTo>
                    <a:pt x="3774" y="734"/>
                    <a:pt x="3760" y="740"/>
                    <a:pt x="3759" y="724"/>
                  </a:cubicBezTo>
                  <a:cubicBezTo>
                    <a:pt x="3758" y="708"/>
                    <a:pt x="3762" y="708"/>
                    <a:pt x="3753" y="700"/>
                  </a:cubicBezTo>
                  <a:cubicBezTo>
                    <a:pt x="3743" y="692"/>
                    <a:pt x="3734" y="691"/>
                    <a:pt x="3734" y="680"/>
                  </a:cubicBezTo>
                  <a:cubicBezTo>
                    <a:pt x="3734" y="670"/>
                    <a:pt x="3736" y="668"/>
                    <a:pt x="3746" y="670"/>
                  </a:cubicBezTo>
                  <a:cubicBezTo>
                    <a:pt x="3756" y="673"/>
                    <a:pt x="3766" y="691"/>
                    <a:pt x="3771" y="680"/>
                  </a:cubicBezTo>
                  <a:cubicBezTo>
                    <a:pt x="3777" y="670"/>
                    <a:pt x="3775" y="667"/>
                    <a:pt x="3786" y="666"/>
                  </a:cubicBezTo>
                  <a:cubicBezTo>
                    <a:pt x="3798" y="665"/>
                    <a:pt x="3806" y="666"/>
                    <a:pt x="3807" y="657"/>
                  </a:cubicBezTo>
                  <a:cubicBezTo>
                    <a:pt x="3809" y="648"/>
                    <a:pt x="3814" y="631"/>
                    <a:pt x="3809" y="630"/>
                  </a:cubicBezTo>
                  <a:cubicBezTo>
                    <a:pt x="3803" y="630"/>
                    <a:pt x="3790" y="633"/>
                    <a:pt x="3790" y="621"/>
                  </a:cubicBezTo>
                  <a:cubicBezTo>
                    <a:pt x="3790" y="609"/>
                    <a:pt x="3795" y="614"/>
                    <a:pt x="3804" y="607"/>
                  </a:cubicBezTo>
                  <a:cubicBezTo>
                    <a:pt x="3812" y="601"/>
                    <a:pt x="3816" y="590"/>
                    <a:pt x="3806" y="587"/>
                  </a:cubicBezTo>
                  <a:cubicBezTo>
                    <a:pt x="3795" y="584"/>
                    <a:pt x="3796" y="579"/>
                    <a:pt x="3785" y="579"/>
                  </a:cubicBezTo>
                  <a:cubicBezTo>
                    <a:pt x="3773" y="580"/>
                    <a:pt x="3756" y="587"/>
                    <a:pt x="3752" y="579"/>
                  </a:cubicBezTo>
                  <a:cubicBezTo>
                    <a:pt x="3748" y="570"/>
                    <a:pt x="3738" y="559"/>
                    <a:pt x="3725" y="551"/>
                  </a:cubicBezTo>
                  <a:cubicBezTo>
                    <a:pt x="3712" y="544"/>
                    <a:pt x="3733" y="542"/>
                    <a:pt x="3743" y="542"/>
                  </a:cubicBezTo>
                  <a:cubicBezTo>
                    <a:pt x="3753" y="542"/>
                    <a:pt x="3748" y="536"/>
                    <a:pt x="3740" y="535"/>
                  </a:cubicBezTo>
                  <a:cubicBezTo>
                    <a:pt x="3733" y="534"/>
                    <a:pt x="3735" y="526"/>
                    <a:pt x="3720" y="528"/>
                  </a:cubicBezTo>
                  <a:cubicBezTo>
                    <a:pt x="3705" y="529"/>
                    <a:pt x="3675" y="531"/>
                    <a:pt x="3662" y="526"/>
                  </a:cubicBezTo>
                  <a:cubicBezTo>
                    <a:pt x="3650" y="521"/>
                    <a:pt x="3641" y="530"/>
                    <a:pt x="3628" y="521"/>
                  </a:cubicBezTo>
                  <a:cubicBezTo>
                    <a:pt x="3615" y="511"/>
                    <a:pt x="3601" y="513"/>
                    <a:pt x="3591" y="513"/>
                  </a:cubicBezTo>
                  <a:cubicBezTo>
                    <a:pt x="3580" y="513"/>
                    <a:pt x="3576" y="519"/>
                    <a:pt x="3566" y="519"/>
                  </a:cubicBezTo>
                  <a:cubicBezTo>
                    <a:pt x="3556" y="519"/>
                    <a:pt x="3541" y="510"/>
                    <a:pt x="3539" y="515"/>
                  </a:cubicBezTo>
                  <a:cubicBezTo>
                    <a:pt x="3537" y="520"/>
                    <a:pt x="3544" y="520"/>
                    <a:pt x="3543" y="529"/>
                  </a:cubicBezTo>
                  <a:cubicBezTo>
                    <a:pt x="3541" y="539"/>
                    <a:pt x="3537" y="578"/>
                    <a:pt x="3548" y="584"/>
                  </a:cubicBezTo>
                  <a:cubicBezTo>
                    <a:pt x="3558" y="589"/>
                    <a:pt x="3551" y="594"/>
                    <a:pt x="3563" y="594"/>
                  </a:cubicBezTo>
                  <a:cubicBezTo>
                    <a:pt x="3574" y="595"/>
                    <a:pt x="3578" y="598"/>
                    <a:pt x="3578" y="607"/>
                  </a:cubicBezTo>
                  <a:cubicBezTo>
                    <a:pt x="3578" y="615"/>
                    <a:pt x="3576" y="622"/>
                    <a:pt x="3569" y="620"/>
                  </a:cubicBezTo>
                  <a:cubicBezTo>
                    <a:pt x="3562" y="619"/>
                    <a:pt x="3556" y="622"/>
                    <a:pt x="3560" y="625"/>
                  </a:cubicBezTo>
                  <a:cubicBezTo>
                    <a:pt x="3564" y="628"/>
                    <a:pt x="3568" y="630"/>
                    <a:pt x="3558" y="632"/>
                  </a:cubicBezTo>
                  <a:cubicBezTo>
                    <a:pt x="3547" y="633"/>
                    <a:pt x="3532" y="637"/>
                    <a:pt x="3530" y="648"/>
                  </a:cubicBezTo>
                  <a:cubicBezTo>
                    <a:pt x="3528" y="660"/>
                    <a:pt x="3523" y="666"/>
                    <a:pt x="3523" y="678"/>
                  </a:cubicBezTo>
                  <a:cubicBezTo>
                    <a:pt x="3523" y="689"/>
                    <a:pt x="3521" y="698"/>
                    <a:pt x="3517" y="703"/>
                  </a:cubicBezTo>
                  <a:cubicBezTo>
                    <a:pt x="3513" y="707"/>
                    <a:pt x="3515" y="723"/>
                    <a:pt x="3504" y="725"/>
                  </a:cubicBezTo>
                  <a:cubicBezTo>
                    <a:pt x="3493" y="726"/>
                    <a:pt x="3495" y="726"/>
                    <a:pt x="3491" y="713"/>
                  </a:cubicBezTo>
                  <a:cubicBezTo>
                    <a:pt x="3487" y="699"/>
                    <a:pt x="3479" y="703"/>
                    <a:pt x="3477" y="694"/>
                  </a:cubicBezTo>
                  <a:cubicBezTo>
                    <a:pt x="3476" y="685"/>
                    <a:pt x="3467" y="685"/>
                    <a:pt x="3464" y="687"/>
                  </a:cubicBezTo>
                  <a:cubicBezTo>
                    <a:pt x="3461" y="688"/>
                    <a:pt x="3458" y="694"/>
                    <a:pt x="3452" y="699"/>
                  </a:cubicBezTo>
                  <a:cubicBezTo>
                    <a:pt x="3445" y="704"/>
                    <a:pt x="3452" y="718"/>
                    <a:pt x="3449" y="731"/>
                  </a:cubicBezTo>
                  <a:cubicBezTo>
                    <a:pt x="3447" y="744"/>
                    <a:pt x="3454" y="751"/>
                    <a:pt x="3464" y="754"/>
                  </a:cubicBezTo>
                  <a:cubicBezTo>
                    <a:pt x="3474" y="757"/>
                    <a:pt x="3484" y="758"/>
                    <a:pt x="3482" y="768"/>
                  </a:cubicBezTo>
                  <a:cubicBezTo>
                    <a:pt x="3481" y="778"/>
                    <a:pt x="3477" y="790"/>
                    <a:pt x="3465" y="788"/>
                  </a:cubicBezTo>
                  <a:cubicBezTo>
                    <a:pt x="3454" y="786"/>
                    <a:pt x="3449" y="784"/>
                    <a:pt x="3447" y="793"/>
                  </a:cubicBezTo>
                  <a:cubicBezTo>
                    <a:pt x="3444" y="802"/>
                    <a:pt x="3432" y="799"/>
                    <a:pt x="3432" y="806"/>
                  </a:cubicBezTo>
                  <a:cubicBezTo>
                    <a:pt x="3432" y="812"/>
                    <a:pt x="3421" y="809"/>
                    <a:pt x="3421" y="802"/>
                  </a:cubicBezTo>
                  <a:cubicBezTo>
                    <a:pt x="3421" y="794"/>
                    <a:pt x="3419" y="793"/>
                    <a:pt x="3412" y="786"/>
                  </a:cubicBezTo>
                  <a:cubicBezTo>
                    <a:pt x="3406" y="779"/>
                    <a:pt x="3375" y="757"/>
                    <a:pt x="3369" y="738"/>
                  </a:cubicBezTo>
                  <a:cubicBezTo>
                    <a:pt x="3363" y="718"/>
                    <a:pt x="3358" y="696"/>
                    <a:pt x="3364" y="694"/>
                  </a:cubicBezTo>
                  <a:cubicBezTo>
                    <a:pt x="3371" y="692"/>
                    <a:pt x="3367" y="696"/>
                    <a:pt x="3376" y="698"/>
                  </a:cubicBezTo>
                  <a:cubicBezTo>
                    <a:pt x="3384" y="700"/>
                    <a:pt x="3391" y="703"/>
                    <a:pt x="3393" y="696"/>
                  </a:cubicBezTo>
                  <a:cubicBezTo>
                    <a:pt x="3394" y="689"/>
                    <a:pt x="3399" y="696"/>
                    <a:pt x="3399" y="681"/>
                  </a:cubicBezTo>
                  <a:cubicBezTo>
                    <a:pt x="3399" y="667"/>
                    <a:pt x="3392" y="677"/>
                    <a:pt x="3392" y="662"/>
                  </a:cubicBezTo>
                  <a:cubicBezTo>
                    <a:pt x="3392" y="647"/>
                    <a:pt x="3394" y="637"/>
                    <a:pt x="3386" y="632"/>
                  </a:cubicBezTo>
                  <a:cubicBezTo>
                    <a:pt x="3378" y="627"/>
                    <a:pt x="3363" y="615"/>
                    <a:pt x="3348" y="608"/>
                  </a:cubicBezTo>
                  <a:cubicBezTo>
                    <a:pt x="3333" y="601"/>
                    <a:pt x="3323" y="589"/>
                    <a:pt x="3319" y="584"/>
                  </a:cubicBezTo>
                  <a:cubicBezTo>
                    <a:pt x="3315" y="579"/>
                    <a:pt x="3298" y="582"/>
                    <a:pt x="3291" y="588"/>
                  </a:cubicBezTo>
                  <a:cubicBezTo>
                    <a:pt x="3284" y="594"/>
                    <a:pt x="3280" y="609"/>
                    <a:pt x="3275" y="610"/>
                  </a:cubicBezTo>
                  <a:cubicBezTo>
                    <a:pt x="3270" y="610"/>
                    <a:pt x="3256" y="622"/>
                    <a:pt x="3260" y="631"/>
                  </a:cubicBezTo>
                  <a:cubicBezTo>
                    <a:pt x="3265" y="640"/>
                    <a:pt x="3267" y="651"/>
                    <a:pt x="3258" y="655"/>
                  </a:cubicBezTo>
                  <a:cubicBezTo>
                    <a:pt x="3250" y="660"/>
                    <a:pt x="3245" y="658"/>
                    <a:pt x="3245" y="668"/>
                  </a:cubicBezTo>
                  <a:cubicBezTo>
                    <a:pt x="3245" y="677"/>
                    <a:pt x="3245" y="693"/>
                    <a:pt x="3236" y="686"/>
                  </a:cubicBezTo>
                  <a:cubicBezTo>
                    <a:pt x="3227" y="678"/>
                    <a:pt x="3230" y="681"/>
                    <a:pt x="3225" y="663"/>
                  </a:cubicBezTo>
                  <a:cubicBezTo>
                    <a:pt x="3220" y="644"/>
                    <a:pt x="3227" y="629"/>
                    <a:pt x="3219" y="615"/>
                  </a:cubicBezTo>
                  <a:cubicBezTo>
                    <a:pt x="3210" y="602"/>
                    <a:pt x="3202" y="596"/>
                    <a:pt x="3202" y="586"/>
                  </a:cubicBezTo>
                  <a:cubicBezTo>
                    <a:pt x="3202" y="576"/>
                    <a:pt x="3209" y="577"/>
                    <a:pt x="3215" y="582"/>
                  </a:cubicBezTo>
                  <a:cubicBezTo>
                    <a:pt x="3221" y="587"/>
                    <a:pt x="3250" y="589"/>
                    <a:pt x="3245" y="574"/>
                  </a:cubicBezTo>
                  <a:cubicBezTo>
                    <a:pt x="3240" y="560"/>
                    <a:pt x="3222" y="564"/>
                    <a:pt x="3218" y="555"/>
                  </a:cubicBezTo>
                  <a:cubicBezTo>
                    <a:pt x="3214" y="546"/>
                    <a:pt x="3204" y="546"/>
                    <a:pt x="3199" y="549"/>
                  </a:cubicBezTo>
                  <a:cubicBezTo>
                    <a:pt x="3194" y="553"/>
                    <a:pt x="3187" y="551"/>
                    <a:pt x="3186" y="544"/>
                  </a:cubicBezTo>
                  <a:cubicBezTo>
                    <a:pt x="3186" y="538"/>
                    <a:pt x="3171" y="536"/>
                    <a:pt x="3164" y="536"/>
                  </a:cubicBezTo>
                  <a:cubicBezTo>
                    <a:pt x="3156" y="536"/>
                    <a:pt x="3148" y="540"/>
                    <a:pt x="3143" y="549"/>
                  </a:cubicBezTo>
                  <a:cubicBezTo>
                    <a:pt x="3138" y="557"/>
                    <a:pt x="3130" y="556"/>
                    <a:pt x="3118" y="545"/>
                  </a:cubicBezTo>
                  <a:cubicBezTo>
                    <a:pt x="3105" y="534"/>
                    <a:pt x="3098" y="537"/>
                    <a:pt x="3098" y="529"/>
                  </a:cubicBezTo>
                  <a:cubicBezTo>
                    <a:pt x="3097" y="520"/>
                    <a:pt x="3098" y="522"/>
                    <a:pt x="3107" y="519"/>
                  </a:cubicBezTo>
                  <a:cubicBezTo>
                    <a:pt x="3116" y="515"/>
                    <a:pt x="3124" y="503"/>
                    <a:pt x="3131" y="496"/>
                  </a:cubicBezTo>
                  <a:cubicBezTo>
                    <a:pt x="3138" y="488"/>
                    <a:pt x="3161" y="492"/>
                    <a:pt x="3157" y="478"/>
                  </a:cubicBezTo>
                  <a:cubicBezTo>
                    <a:pt x="3153" y="465"/>
                    <a:pt x="3141" y="449"/>
                    <a:pt x="3133" y="441"/>
                  </a:cubicBezTo>
                  <a:cubicBezTo>
                    <a:pt x="3124" y="433"/>
                    <a:pt x="3125" y="419"/>
                    <a:pt x="3110" y="419"/>
                  </a:cubicBezTo>
                  <a:cubicBezTo>
                    <a:pt x="3095" y="419"/>
                    <a:pt x="3088" y="429"/>
                    <a:pt x="3086" y="417"/>
                  </a:cubicBezTo>
                  <a:cubicBezTo>
                    <a:pt x="3085" y="405"/>
                    <a:pt x="3071" y="409"/>
                    <a:pt x="3071" y="392"/>
                  </a:cubicBezTo>
                  <a:cubicBezTo>
                    <a:pt x="3071" y="376"/>
                    <a:pt x="3085" y="367"/>
                    <a:pt x="3073" y="356"/>
                  </a:cubicBezTo>
                  <a:cubicBezTo>
                    <a:pt x="3061" y="345"/>
                    <a:pt x="3068" y="349"/>
                    <a:pt x="3057" y="339"/>
                  </a:cubicBezTo>
                  <a:cubicBezTo>
                    <a:pt x="3045" y="330"/>
                    <a:pt x="3045" y="326"/>
                    <a:pt x="3036" y="318"/>
                  </a:cubicBezTo>
                  <a:cubicBezTo>
                    <a:pt x="3027" y="310"/>
                    <a:pt x="3019" y="317"/>
                    <a:pt x="3017" y="308"/>
                  </a:cubicBezTo>
                  <a:cubicBezTo>
                    <a:pt x="3014" y="299"/>
                    <a:pt x="3013" y="297"/>
                    <a:pt x="3003" y="296"/>
                  </a:cubicBezTo>
                  <a:cubicBezTo>
                    <a:pt x="2993" y="296"/>
                    <a:pt x="2982" y="301"/>
                    <a:pt x="2980" y="295"/>
                  </a:cubicBezTo>
                  <a:cubicBezTo>
                    <a:pt x="2978" y="288"/>
                    <a:pt x="2969" y="296"/>
                    <a:pt x="2968" y="285"/>
                  </a:cubicBezTo>
                  <a:cubicBezTo>
                    <a:pt x="2967" y="274"/>
                    <a:pt x="2963" y="268"/>
                    <a:pt x="2976" y="267"/>
                  </a:cubicBezTo>
                  <a:cubicBezTo>
                    <a:pt x="2990" y="266"/>
                    <a:pt x="2997" y="268"/>
                    <a:pt x="3002" y="252"/>
                  </a:cubicBezTo>
                  <a:cubicBezTo>
                    <a:pt x="3007" y="236"/>
                    <a:pt x="3015" y="233"/>
                    <a:pt x="3024" y="228"/>
                  </a:cubicBezTo>
                  <a:cubicBezTo>
                    <a:pt x="3032" y="222"/>
                    <a:pt x="3040" y="216"/>
                    <a:pt x="3035" y="205"/>
                  </a:cubicBezTo>
                  <a:cubicBezTo>
                    <a:pt x="3029" y="193"/>
                    <a:pt x="3025" y="192"/>
                    <a:pt x="3016" y="187"/>
                  </a:cubicBezTo>
                  <a:cubicBezTo>
                    <a:pt x="3007" y="181"/>
                    <a:pt x="3008" y="174"/>
                    <a:pt x="3023" y="173"/>
                  </a:cubicBezTo>
                  <a:cubicBezTo>
                    <a:pt x="3038" y="172"/>
                    <a:pt x="3057" y="170"/>
                    <a:pt x="3064" y="178"/>
                  </a:cubicBezTo>
                  <a:cubicBezTo>
                    <a:pt x="3071" y="186"/>
                    <a:pt x="3082" y="182"/>
                    <a:pt x="3096" y="182"/>
                  </a:cubicBezTo>
                  <a:cubicBezTo>
                    <a:pt x="3110" y="182"/>
                    <a:pt x="3132" y="182"/>
                    <a:pt x="3138" y="169"/>
                  </a:cubicBezTo>
                  <a:cubicBezTo>
                    <a:pt x="3145" y="156"/>
                    <a:pt x="3159" y="127"/>
                    <a:pt x="3172" y="116"/>
                  </a:cubicBezTo>
                  <a:cubicBezTo>
                    <a:pt x="3185" y="106"/>
                    <a:pt x="3191" y="93"/>
                    <a:pt x="3207" y="84"/>
                  </a:cubicBezTo>
                  <a:cubicBezTo>
                    <a:pt x="3222" y="76"/>
                    <a:pt x="3217" y="71"/>
                    <a:pt x="3225" y="57"/>
                  </a:cubicBezTo>
                  <a:cubicBezTo>
                    <a:pt x="3233" y="43"/>
                    <a:pt x="3242" y="43"/>
                    <a:pt x="3231" y="37"/>
                  </a:cubicBezTo>
                  <a:cubicBezTo>
                    <a:pt x="3219" y="30"/>
                    <a:pt x="3219" y="25"/>
                    <a:pt x="3209" y="25"/>
                  </a:cubicBezTo>
                  <a:cubicBezTo>
                    <a:pt x="3199" y="24"/>
                    <a:pt x="3193" y="24"/>
                    <a:pt x="3185" y="20"/>
                  </a:cubicBezTo>
                  <a:cubicBezTo>
                    <a:pt x="3177" y="15"/>
                    <a:pt x="3174" y="15"/>
                    <a:pt x="3163" y="15"/>
                  </a:cubicBezTo>
                  <a:cubicBezTo>
                    <a:pt x="3151" y="15"/>
                    <a:pt x="3133" y="15"/>
                    <a:pt x="3129" y="19"/>
                  </a:cubicBezTo>
                  <a:cubicBezTo>
                    <a:pt x="3126" y="23"/>
                    <a:pt x="3117" y="29"/>
                    <a:pt x="3108" y="23"/>
                  </a:cubicBezTo>
                  <a:cubicBezTo>
                    <a:pt x="3100" y="18"/>
                    <a:pt x="3093" y="9"/>
                    <a:pt x="3084" y="9"/>
                  </a:cubicBezTo>
                  <a:cubicBezTo>
                    <a:pt x="3075" y="9"/>
                    <a:pt x="3078" y="0"/>
                    <a:pt x="3057" y="0"/>
                  </a:cubicBezTo>
                  <a:cubicBezTo>
                    <a:pt x="3037" y="1"/>
                    <a:pt x="2979" y="1"/>
                    <a:pt x="2968" y="4"/>
                  </a:cubicBezTo>
                  <a:cubicBezTo>
                    <a:pt x="2956" y="7"/>
                    <a:pt x="2954" y="7"/>
                    <a:pt x="2943" y="13"/>
                  </a:cubicBezTo>
                  <a:cubicBezTo>
                    <a:pt x="2931" y="18"/>
                    <a:pt x="2931" y="18"/>
                    <a:pt x="2921" y="17"/>
                  </a:cubicBezTo>
                  <a:cubicBezTo>
                    <a:pt x="2912" y="16"/>
                    <a:pt x="2909" y="29"/>
                    <a:pt x="2915" y="36"/>
                  </a:cubicBezTo>
                  <a:cubicBezTo>
                    <a:pt x="2921" y="43"/>
                    <a:pt x="2936" y="51"/>
                    <a:pt x="2919" y="51"/>
                  </a:cubicBezTo>
                  <a:cubicBezTo>
                    <a:pt x="2902" y="51"/>
                    <a:pt x="2889" y="56"/>
                    <a:pt x="2888" y="63"/>
                  </a:cubicBezTo>
                  <a:cubicBezTo>
                    <a:pt x="2886" y="71"/>
                    <a:pt x="2887" y="71"/>
                    <a:pt x="2889" y="76"/>
                  </a:cubicBezTo>
                  <a:cubicBezTo>
                    <a:pt x="2891" y="80"/>
                    <a:pt x="2896" y="84"/>
                    <a:pt x="2893" y="91"/>
                  </a:cubicBezTo>
                  <a:cubicBezTo>
                    <a:pt x="2889" y="98"/>
                    <a:pt x="2888" y="105"/>
                    <a:pt x="2891" y="107"/>
                  </a:cubicBezTo>
                  <a:cubicBezTo>
                    <a:pt x="2894" y="109"/>
                    <a:pt x="2894" y="111"/>
                    <a:pt x="2894" y="126"/>
                  </a:cubicBezTo>
                  <a:cubicBezTo>
                    <a:pt x="2894" y="140"/>
                    <a:pt x="2897" y="142"/>
                    <a:pt x="2890" y="146"/>
                  </a:cubicBezTo>
                  <a:cubicBezTo>
                    <a:pt x="2884" y="149"/>
                    <a:pt x="2884" y="161"/>
                    <a:pt x="2891" y="171"/>
                  </a:cubicBezTo>
                  <a:cubicBezTo>
                    <a:pt x="2898" y="181"/>
                    <a:pt x="2921" y="187"/>
                    <a:pt x="2921" y="209"/>
                  </a:cubicBezTo>
                  <a:cubicBezTo>
                    <a:pt x="2922" y="230"/>
                    <a:pt x="2920" y="262"/>
                    <a:pt x="2923" y="268"/>
                  </a:cubicBezTo>
                  <a:cubicBezTo>
                    <a:pt x="2927" y="273"/>
                    <a:pt x="2926" y="282"/>
                    <a:pt x="2913" y="290"/>
                  </a:cubicBezTo>
                  <a:cubicBezTo>
                    <a:pt x="2899" y="298"/>
                    <a:pt x="2904" y="300"/>
                    <a:pt x="2893" y="304"/>
                  </a:cubicBezTo>
                  <a:cubicBezTo>
                    <a:pt x="2883" y="307"/>
                    <a:pt x="2876" y="318"/>
                    <a:pt x="2883" y="323"/>
                  </a:cubicBezTo>
                  <a:cubicBezTo>
                    <a:pt x="2889" y="328"/>
                    <a:pt x="2901" y="329"/>
                    <a:pt x="2906" y="329"/>
                  </a:cubicBezTo>
                  <a:cubicBezTo>
                    <a:pt x="2910" y="329"/>
                    <a:pt x="2908" y="337"/>
                    <a:pt x="2906" y="344"/>
                  </a:cubicBezTo>
                  <a:cubicBezTo>
                    <a:pt x="2905" y="350"/>
                    <a:pt x="2898" y="353"/>
                    <a:pt x="2888" y="347"/>
                  </a:cubicBezTo>
                  <a:cubicBezTo>
                    <a:pt x="2878" y="342"/>
                    <a:pt x="2870" y="331"/>
                    <a:pt x="2864" y="331"/>
                  </a:cubicBezTo>
                  <a:cubicBezTo>
                    <a:pt x="2858" y="331"/>
                    <a:pt x="2860" y="343"/>
                    <a:pt x="2851" y="351"/>
                  </a:cubicBezTo>
                  <a:cubicBezTo>
                    <a:pt x="2842" y="359"/>
                    <a:pt x="2839" y="367"/>
                    <a:pt x="2838" y="373"/>
                  </a:cubicBezTo>
                  <a:cubicBezTo>
                    <a:pt x="2837" y="379"/>
                    <a:pt x="2842" y="385"/>
                    <a:pt x="2837" y="389"/>
                  </a:cubicBezTo>
                  <a:cubicBezTo>
                    <a:pt x="2831" y="393"/>
                    <a:pt x="2826" y="402"/>
                    <a:pt x="2833" y="406"/>
                  </a:cubicBezTo>
                  <a:cubicBezTo>
                    <a:pt x="2840" y="410"/>
                    <a:pt x="2842" y="423"/>
                    <a:pt x="2855" y="424"/>
                  </a:cubicBezTo>
                  <a:cubicBezTo>
                    <a:pt x="2869" y="425"/>
                    <a:pt x="2875" y="425"/>
                    <a:pt x="2874" y="429"/>
                  </a:cubicBezTo>
                  <a:cubicBezTo>
                    <a:pt x="2873" y="433"/>
                    <a:pt x="2872" y="438"/>
                    <a:pt x="2861" y="438"/>
                  </a:cubicBezTo>
                  <a:cubicBezTo>
                    <a:pt x="2850" y="438"/>
                    <a:pt x="2846" y="440"/>
                    <a:pt x="2843" y="450"/>
                  </a:cubicBezTo>
                  <a:cubicBezTo>
                    <a:pt x="2840" y="460"/>
                    <a:pt x="2836" y="460"/>
                    <a:pt x="2837" y="473"/>
                  </a:cubicBezTo>
                  <a:cubicBezTo>
                    <a:pt x="2839" y="485"/>
                    <a:pt x="2835" y="493"/>
                    <a:pt x="2844" y="497"/>
                  </a:cubicBezTo>
                  <a:cubicBezTo>
                    <a:pt x="2853" y="501"/>
                    <a:pt x="2859" y="516"/>
                    <a:pt x="2866" y="519"/>
                  </a:cubicBezTo>
                  <a:cubicBezTo>
                    <a:pt x="2873" y="521"/>
                    <a:pt x="2890" y="531"/>
                    <a:pt x="2900" y="532"/>
                  </a:cubicBezTo>
                  <a:cubicBezTo>
                    <a:pt x="2910" y="534"/>
                    <a:pt x="2913" y="544"/>
                    <a:pt x="2923" y="543"/>
                  </a:cubicBezTo>
                  <a:cubicBezTo>
                    <a:pt x="2933" y="542"/>
                    <a:pt x="2962" y="544"/>
                    <a:pt x="2966" y="554"/>
                  </a:cubicBezTo>
                  <a:cubicBezTo>
                    <a:pt x="2971" y="563"/>
                    <a:pt x="2987" y="558"/>
                    <a:pt x="2987" y="569"/>
                  </a:cubicBezTo>
                  <a:cubicBezTo>
                    <a:pt x="2987" y="581"/>
                    <a:pt x="2976" y="576"/>
                    <a:pt x="2981" y="584"/>
                  </a:cubicBezTo>
                  <a:cubicBezTo>
                    <a:pt x="2987" y="593"/>
                    <a:pt x="2994" y="600"/>
                    <a:pt x="2987" y="607"/>
                  </a:cubicBezTo>
                  <a:cubicBezTo>
                    <a:pt x="2980" y="613"/>
                    <a:pt x="2972" y="613"/>
                    <a:pt x="2969" y="620"/>
                  </a:cubicBezTo>
                  <a:cubicBezTo>
                    <a:pt x="2965" y="626"/>
                    <a:pt x="2959" y="620"/>
                    <a:pt x="2959" y="627"/>
                  </a:cubicBezTo>
                  <a:cubicBezTo>
                    <a:pt x="2959" y="635"/>
                    <a:pt x="2959" y="642"/>
                    <a:pt x="2970" y="642"/>
                  </a:cubicBezTo>
                  <a:cubicBezTo>
                    <a:pt x="2981" y="642"/>
                    <a:pt x="2996" y="651"/>
                    <a:pt x="2998" y="640"/>
                  </a:cubicBezTo>
                  <a:cubicBezTo>
                    <a:pt x="3000" y="630"/>
                    <a:pt x="3009" y="632"/>
                    <a:pt x="3009" y="621"/>
                  </a:cubicBezTo>
                  <a:cubicBezTo>
                    <a:pt x="3009" y="610"/>
                    <a:pt x="3009" y="607"/>
                    <a:pt x="3016" y="607"/>
                  </a:cubicBezTo>
                  <a:cubicBezTo>
                    <a:pt x="3022" y="607"/>
                    <a:pt x="3019" y="616"/>
                    <a:pt x="3019" y="626"/>
                  </a:cubicBezTo>
                  <a:cubicBezTo>
                    <a:pt x="3019" y="636"/>
                    <a:pt x="3027" y="655"/>
                    <a:pt x="3017" y="661"/>
                  </a:cubicBezTo>
                  <a:cubicBezTo>
                    <a:pt x="3008" y="668"/>
                    <a:pt x="2997" y="670"/>
                    <a:pt x="2990" y="680"/>
                  </a:cubicBezTo>
                  <a:cubicBezTo>
                    <a:pt x="2984" y="691"/>
                    <a:pt x="2982" y="695"/>
                    <a:pt x="2972" y="697"/>
                  </a:cubicBezTo>
                  <a:cubicBezTo>
                    <a:pt x="2962" y="699"/>
                    <a:pt x="2959" y="703"/>
                    <a:pt x="2956" y="710"/>
                  </a:cubicBezTo>
                  <a:cubicBezTo>
                    <a:pt x="2953" y="716"/>
                    <a:pt x="2946" y="720"/>
                    <a:pt x="2941" y="716"/>
                  </a:cubicBezTo>
                  <a:cubicBezTo>
                    <a:pt x="2935" y="713"/>
                    <a:pt x="2936" y="708"/>
                    <a:pt x="2923" y="711"/>
                  </a:cubicBezTo>
                  <a:cubicBezTo>
                    <a:pt x="2910" y="714"/>
                    <a:pt x="2911" y="713"/>
                    <a:pt x="2906" y="723"/>
                  </a:cubicBezTo>
                  <a:cubicBezTo>
                    <a:pt x="2901" y="732"/>
                    <a:pt x="2889" y="742"/>
                    <a:pt x="2893" y="751"/>
                  </a:cubicBezTo>
                  <a:cubicBezTo>
                    <a:pt x="2898" y="759"/>
                    <a:pt x="2901" y="758"/>
                    <a:pt x="2908" y="769"/>
                  </a:cubicBezTo>
                  <a:cubicBezTo>
                    <a:pt x="2914" y="779"/>
                    <a:pt x="2912" y="792"/>
                    <a:pt x="2916" y="793"/>
                  </a:cubicBezTo>
                  <a:cubicBezTo>
                    <a:pt x="2921" y="794"/>
                    <a:pt x="2931" y="800"/>
                    <a:pt x="2921" y="807"/>
                  </a:cubicBezTo>
                  <a:cubicBezTo>
                    <a:pt x="2911" y="813"/>
                    <a:pt x="2910" y="821"/>
                    <a:pt x="2903" y="809"/>
                  </a:cubicBezTo>
                  <a:cubicBezTo>
                    <a:pt x="2895" y="798"/>
                    <a:pt x="2899" y="793"/>
                    <a:pt x="2890" y="792"/>
                  </a:cubicBezTo>
                  <a:cubicBezTo>
                    <a:pt x="2882" y="792"/>
                    <a:pt x="2880" y="796"/>
                    <a:pt x="2879" y="801"/>
                  </a:cubicBezTo>
                  <a:cubicBezTo>
                    <a:pt x="2878" y="806"/>
                    <a:pt x="2869" y="813"/>
                    <a:pt x="2867" y="802"/>
                  </a:cubicBezTo>
                  <a:cubicBezTo>
                    <a:pt x="2865" y="792"/>
                    <a:pt x="2870" y="787"/>
                    <a:pt x="2860" y="784"/>
                  </a:cubicBezTo>
                  <a:cubicBezTo>
                    <a:pt x="2851" y="780"/>
                    <a:pt x="2844" y="771"/>
                    <a:pt x="2850" y="762"/>
                  </a:cubicBezTo>
                  <a:cubicBezTo>
                    <a:pt x="2857" y="754"/>
                    <a:pt x="2860" y="748"/>
                    <a:pt x="2860" y="736"/>
                  </a:cubicBezTo>
                  <a:cubicBezTo>
                    <a:pt x="2861" y="723"/>
                    <a:pt x="2867" y="729"/>
                    <a:pt x="2868" y="717"/>
                  </a:cubicBezTo>
                  <a:cubicBezTo>
                    <a:pt x="2870" y="705"/>
                    <a:pt x="2890" y="703"/>
                    <a:pt x="2876" y="697"/>
                  </a:cubicBezTo>
                  <a:cubicBezTo>
                    <a:pt x="2862" y="691"/>
                    <a:pt x="2857" y="695"/>
                    <a:pt x="2852" y="702"/>
                  </a:cubicBezTo>
                  <a:cubicBezTo>
                    <a:pt x="2847" y="709"/>
                    <a:pt x="2842" y="724"/>
                    <a:pt x="2839" y="717"/>
                  </a:cubicBezTo>
                  <a:cubicBezTo>
                    <a:pt x="2835" y="710"/>
                    <a:pt x="2840" y="699"/>
                    <a:pt x="2830" y="698"/>
                  </a:cubicBezTo>
                  <a:cubicBezTo>
                    <a:pt x="2820" y="698"/>
                    <a:pt x="2809" y="699"/>
                    <a:pt x="2802" y="691"/>
                  </a:cubicBezTo>
                  <a:cubicBezTo>
                    <a:pt x="2796" y="682"/>
                    <a:pt x="2789" y="664"/>
                    <a:pt x="2802" y="665"/>
                  </a:cubicBezTo>
                  <a:cubicBezTo>
                    <a:pt x="2815" y="667"/>
                    <a:pt x="2829" y="680"/>
                    <a:pt x="2836" y="675"/>
                  </a:cubicBezTo>
                  <a:cubicBezTo>
                    <a:pt x="2843" y="670"/>
                    <a:pt x="2856" y="669"/>
                    <a:pt x="2865" y="669"/>
                  </a:cubicBezTo>
                  <a:cubicBezTo>
                    <a:pt x="2873" y="669"/>
                    <a:pt x="2883" y="678"/>
                    <a:pt x="2892" y="673"/>
                  </a:cubicBezTo>
                  <a:cubicBezTo>
                    <a:pt x="2901" y="669"/>
                    <a:pt x="2923" y="677"/>
                    <a:pt x="2928" y="664"/>
                  </a:cubicBezTo>
                  <a:cubicBezTo>
                    <a:pt x="2933" y="651"/>
                    <a:pt x="2944" y="643"/>
                    <a:pt x="2936" y="635"/>
                  </a:cubicBezTo>
                  <a:cubicBezTo>
                    <a:pt x="2928" y="627"/>
                    <a:pt x="2930" y="625"/>
                    <a:pt x="2925" y="617"/>
                  </a:cubicBezTo>
                  <a:cubicBezTo>
                    <a:pt x="2920" y="610"/>
                    <a:pt x="2909" y="602"/>
                    <a:pt x="2901" y="602"/>
                  </a:cubicBezTo>
                  <a:cubicBezTo>
                    <a:pt x="2892" y="602"/>
                    <a:pt x="2875" y="601"/>
                    <a:pt x="2876" y="594"/>
                  </a:cubicBezTo>
                  <a:cubicBezTo>
                    <a:pt x="2877" y="587"/>
                    <a:pt x="2870" y="586"/>
                    <a:pt x="2865" y="586"/>
                  </a:cubicBezTo>
                  <a:cubicBezTo>
                    <a:pt x="2860" y="586"/>
                    <a:pt x="2852" y="582"/>
                    <a:pt x="2859" y="573"/>
                  </a:cubicBezTo>
                  <a:cubicBezTo>
                    <a:pt x="2866" y="564"/>
                    <a:pt x="2876" y="557"/>
                    <a:pt x="2881" y="567"/>
                  </a:cubicBezTo>
                  <a:cubicBezTo>
                    <a:pt x="2886" y="576"/>
                    <a:pt x="2889" y="578"/>
                    <a:pt x="2896" y="577"/>
                  </a:cubicBezTo>
                  <a:cubicBezTo>
                    <a:pt x="2903" y="577"/>
                    <a:pt x="2917" y="582"/>
                    <a:pt x="2920" y="577"/>
                  </a:cubicBezTo>
                  <a:cubicBezTo>
                    <a:pt x="2923" y="572"/>
                    <a:pt x="2924" y="562"/>
                    <a:pt x="2917" y="562"/>
                  </a:cubicBezTo>
                  <a:cubicBezTo>
                    <a:pt x="2910" y="562"/>
                    <a:pt x="2913" y="547"/>
                    <a:pt x="2902" y="547"/>
                  </a:cubicBezTo>
                  <a:cubicBezTo>
                    <a:pt x="2891" y="547"/>
                    <a:pt x="2888" y="542"/>
                    <a:pt x="2880" y="547"/>
                  </a:cubicBezTo>
                  <a:cubicBezTo>
                    <a:pt x="2872" y="552"/>
                    <a:pt x="2868" y="554"/>
                    <a:pt x="2857" y="550"/>
                  </a:cubicBezTo>
                  <a:cubicBezTo>
                    <a:pt x="2845" y="546"/>
                    <a:pt x="2828" y="543"/>
                    <a:pt x="2823" y="549"/>
                  </a:cubicBezTo>
                  <a:cubicBezTo>
                    <a:pt x="2818" y="554"/>
                    <a:pt x="2815" y="553"/>
                    <a:pt x="2804" y="546"/>
                  </a:cubicBezTo>
                  <a:cubicBezTo>
                    <a:pt x="2794" y="539"/>
                    <a:pt x="2792" y="536"/>
                    <a:pt x="2780" y="526"/>
                  </a:cubicBezTo>
                  <a:cubicBezTo>
                    <a:pt x="2769" y="517"/>
                    <a:pt x="2757" y="509"/>
                    <a:pt x="2746" y="513"/>
                  </a:cubicBezTo>
                  <a:cubicBezTo>
                    <a:pt x="2736" y="516"/>
                    <a:pt x="2731" y="522"/>
                    <a:pt x="2724" y="533"/>
                  </a:cubicBezTo>
                  <a:cubicBezTo>
                    <a:pt x="2718" y="544"/>
                    <a:pt x="2713" y="573"/>
                    <a:pt x="2703" y="579"/>
                  </a:cubicBezTo>
                  <a:cubicBezTo>
                    <a:pt x="2693" y="584"/>
                    <a:pt x="2692" y="594"/>
                    <a:pt x="2675" y="594"/>
                  </a:cubicBezTo>
                  <a:cubicBezTo>
                    <a:pt x="2658" y="594"/>
                    <a:pt x="2648" y="597"/>
                    <a:pt x="2648" y="606"/>
                  </a:cubicBezTo>
                  <a:cubicBezTo>
                    <a:pt x="2648" y="615"/>
                    <a:pt x="2654" y="636"/>
                    <a:pt x="2665" y="633"/>
                  </a:cubicBezTo>
                  <a:cubicBezTo>
                    <a:pt x="2675" y="630"/>
                    <a:pt x="2685" y="621"/>
                    <a:pt x="2692" y="631"/>
                  </a:cubicBezTo>
                  <a:cubicBezTo>
                    <a:pt x="2699" y="641"/>
                    <a:pt x="2703" y="642"/>
                    <a:pt x="2714" y="642"/>
                  </a:cubicBezTo>
                  <a:cubicBezTo>
                    <a:pt x="2725" y="642"/>
                    <a:pt x="2730" y="650"/>
                    <a:pt x="2743" y="650"/>
                  </a:cubicBezTo>
                  <a:cubicBezTo>
                    <a:pt x="2756" y="651"/>
                    <a:pt x="2770" y="650"/>
                    <a:pt x="2770" y="655"/>
                  </a:cubicBezTo>
                  <a:cubicBezTo>
                    <a:pt x="2770" y="661"/>
                    <a:pt x="2749" y="658"/>
                    <a:pt x="2749" y="666"/>
                  </a:cubicBezTo>
                  <a:cubicBezTo>
                    <a:pt x="2749" y="675"/>
                    <a:pt x="2749" y="681"/>
                    <a:pt x="2739" y="680"/>
                  </a:cubicBezTo>
                  <a:cubicBezTo>
                    <a:pt x="2728" y="680"/>
                    <a:pt x="2722" y="680"/>
                    <a:pt x="2713" y="678"/>
                  </a:cubicBezTo>
                  <a:cubicBezTo>
                    <a:pt x="2705" y="675"/>
                    <a:pt x="2697" y="677"/>
                    <a:pt x="2702" y="689"/>
                  </a:cubicBezTo>
                  <a:cubicBezTo>
                    <a:pt x="2707" y="701"/>
                    <a:pt x="2715" y="695"/>
                    <a:pt x="2715" y="704"/>
                  </a:cubicBezTo>
                  <a:cubicBezTo>
                    <a:pt x="2715" y="713"/>
                    <a:pt x="2701" y="713"/>
                    <a:pt x="2701" y="722"/>
                  </a:cubicBezTo>
                  <a:cubicBezTo>
                    <a:pt x="2701" y="731"/>
                    <a:pt x="2698" y="736"/>
                    <a:pt x="2703" y="736"/>
                  </a:cubicBezTo>
                  <a:cubicBezTo>
                    <a:pt x="2708" y="736"/>
                    <a:pt x="2712" y="745"/>
                    <a:pt x="2703" y="747"/>
                  </a:cubicBezTo>
                  <a:cubicBezTo>
                    <a:pt x="2695" y="749"/>
                    <a:pt x="2698" y="758"/>
                    <a:pt x="2676" y="752"/>
                  </a:cubicBezTo>
                  <a:cubicBezTo>
                    <a:pt x="2654" y="746"/>
                    <a:pt x="2660" y="744"/>
                    <a:pt x="2643" y="745"/>
                  </a:cubicBezTo>
                  <a:cubicBezTo>
                    <a:pt x="2627" y="746"/>
                    <a:pt x="2624" y="749"/>
                    <a:pt x="2619" y="742"/>
                  </a:cubicBezTo>
                  <a:cubicBezTo>
                    <a:pt x="2614" y="736"/>
                    <a:pt x="2606" y="733"/>
                    <a:pt x="2599" y="733"/>
                  </a:cubicBezTo>
                  <a:cubicBezTo>
                    <a:pt x="2593" y="733"/>
                    <a:pt x="2599" y="743"/>
                    <a:pt x="2582" y="744"/>
                  </a:cubicBezTo>
                  <a:cubicBezTo>
                    <a:pt x="2564" y="744"/>
                    <a:pt x="2552" y="740"/>
                    <a:pt x="2543" y="745"/>
                  </a:cubicBezTo>
                  <a:cubicBezTo>
                    <a:pt x="2534" y="750"/>
                    <a:pt x="2532" y="751"/>
                    <a:pt x="2506" y="753"/>
                  </a:cubicBezTo>
                  <a:cubicBezTo>
                    <a:pt x="2481" y="754"/>
                    <a:pt x="2474" y="754"/>
                    <a:pt x="2465" y="749"/>
                  </a:cubicBezTo>
                  <a:cubicBezTo>
                    <a:pt x="2455" y="743"/>
                    <a:pt x="2453" y="744"/>
                    <a:pt x="2443" y="739"/>
                  </a:cubicBezTo>
                  <a:cubicBezTo>
                    <a:pt x="2434" y="733"/>
                    <a:pt x="2424" y="734"/>
                    <a:pt x="2419" y="725"/>
                  </a:cubicBezTo>
                  <a:cubicBezTo>
                    <a:pt x="2414" y="716"/>
                    <a:pt x="2412" y="709"/>
                    <a:pt x="2403" y="711"/>
                  </a:cubicBezTo>
                  <a:cubicBezTo>
                    <a:pt x="2394" y="712"/>
                    <a:pt x="2403" y="713"/>
                    <a:pt x="2389" y="716"/>
                  </a:cubicBezTo>
                  <a:cubicBezTo>
                    <a:pt x="2374" y="718"/>
                    <a:pt x="2347" y="722"/>
                    <a:pt x="2343" y="716"/>
                  </a:cubicBezTo>
                  <a:cubicBezTo>
                    <a:pt x="2339" y="709"/>
                    <a:pt x="2333" y="694"/>
                    <a:pt x="2319" y="694"/>
                  </a:cubicBezTo>
                  <a:cubicBezTo>
                    <a:pt x="2304" y="694"/>
                    <a:pt x="2304" y="684"/>
                    <a:pt x="2293" y="683"/>
                  </a:cubicBezTo>
                  <a:cubicBezTo>
                    <a:pt x="2283" y="683"/>
                    <a:pt x="2280" y="683"/>
                    <a:pt x="2276" y="671"/>
                  </a:cubicBezTo>
                  <a:cubicBezTo>
                    <a:pt x="2273" y="659"/>
                    <a:pt x="2271" y="633"/>
                    <a:pt x="2259" y="628"/>
                  </a:cubicBezTo>
                  <a:cubicBezTo>
                    <a:pt x="2247" y="623"/>
                    <a:pt x="2249" y="627"/>
                    <a:pt x="2243" y="621"/>
                  </a:cubicBezTo>
                  <a:cubicBezTo>
                    <a:pt x="2236" y="615"/>
                    <a:pt x="2232" y="620"/>
                    <a:pt x="2216" y="620"/>
                  </a:cubicBezTo>
                  <a:cubicBezTo>
                    <a:pt x="2200" y="620"/>
                    <a:pt x="2203" y="632"/>
                    <a:pt x="2185" y="630"/>
                  </a:cubicBezTo>
                  <a:cubicBezTo>
                    <a:pt x="2167" y="629"/>
                    <a:pt x="2172" y="640"/>
                    <a:pt x="2157" y="642"/>
                  </a:cubicBezTo>
                  <a:cubicBezTo>
                    <a:pt x="2143" y="644"/>
                    <a:pt x="2125" y="650"/>
                    <a:pt x="2109" y="650"/>
                  </a:cubicBezTo>
                  <a:cubicBezTo>
                    <a:pt x="2094" y="650"/>
                    <a:pt x="2082" y="653"/>
                    <a:pt x="2079" y="660"/>
                  </a:cubicBezTo>
                  <a:cubicBezTo>
                    <a:pt x="2076" y="668"/>
                    <a:pt x="2078" y="673"/>
                    <a:pt x="2068" y="680"/>
                  </a:cubicBezTo>
                  <a:cubicBezTo>
                    <a:pt x="2059" y="688"/>
                    <a:pt x="2046" y="701"/>
                    <a:pt x="2058" y="701"/>
                  </a:cubicBezTo>
                  <a:cubicBezTo>
                    <a:pt x="2071" y="701"/>
                    <a:pt x="2085" y="696"/>
                    <a:pt x="2089" y="701"/>
                  </a:cubicBezTo>
                  <a:cubicBezTo>
                    <a:pt x="2094" y="706"/>
                    <a:pt x="2101" y="711"/>
                    <a:pt x="2109" y="709"/>
                  </a:cubicBezTo>
                  <a:cubicBezTo>
                    <a:pt x="2116" y="707"/>
                    <a:pt x="2118" y="709"/>
                    <a:pt x="2120" y="700"/>
                  </a:cubicBezTo>
                  <a:cubicBezTo>
                    <a:pt x="2122" y="691"/>
                    <a:pt x="2129" y="691"/>
                    <a:pt x="2137" y="691"/>
                  </a:cubicBezTo>
                  <a:cubicBezTo>
                    <a:pt x="2146" y="692"/>
                    <a:pt x="2147" y="703"/>
                    <a:pt x="2156" y="700"/>
                  </a:cubicBezTo>
                  <a:cubicBezTo>
                    <a:pt x="2165" y="696"/>
                    <a:pt x="2162" y="693"/>
                    <a:pt x="2172" y="690"/>
                  </a:cubicBezTo>
                  <a:cubicBezTo>
                    <a:pt x="2183" y="686"/>
                    <a:pt x="2195" y="688"/>
                    <a:pt x="2197" y="680"/>
                  </a:cubicBezTo>
                  <a:cubicBezTo>
                    <a:pt x="2200" y="673"/>
                    <a:pt x="2203" y="670"/>
                    <a:pt x="2210" y="668"/>
                  </a:cubicBezTo>
                  <a:cubicBezTo>
                    <a:pt x="2216" y="667"/>
                    <a:pt x="2219" y="658"/>
                    <a:pt x="2227" y="658"/>
                  </a:cubicBezTo>
                  <a:cubicBezTo>
                    <a:pt x="2235" y="658"/>
                    <a:pt x="2250" y="660"/>
                    <a:pt x="2249" y="666"/>
                  </a:cubicBezTo>
                  <a:cubicBezTo>
                    <a:pt x="2248" y="672"/>
                    <a:pt x="2239" y="679"/>
                    <a:pt x="2226" y="678"/>
                  </a:cubicBezTo>
                  <a:cubicBezTo>
                    <a:pt x="2213" y="676"/>
                    <a:pt x="2223" y="690"/>
                    <a:pt x="2203" y="696"/>
                  </a:cubicBezTo>
                  <a:cubicBezTo>
                    <a:pt x="2183" y="703"/>
                    <a:pt x="2179" y="712"/>
                    <a:pt x="2163" y="712"/>
                  </a:cubicBezTo>
                  <a:cubicBezTo>
                    <a:pt x="2147" y="712"/>
                    <a:pt x="2147" y="721"/>
                    <a:pt x="2135" y="721"/>
                  </a:cubicBezTo>
                  <a:cubicBezTo>
                    <a:pt x="2124" y="721"/>
                    <a:pt x="2109" y="717"/>
                    <a:pt x="2113" y="723"/>
                  </a:cubicBezTo>
                  <a:cubicBezTo>
                    <a:pt x="2116" y="730"/>
                    <a:pt x="2121" y="736"/>
                    <a:pt x="2117" y="742"/>
                  </a:cubicBezTo>
                  <a:cubicBezTo>
                    <a:pt x="2114" y="748"/>
                    <a:pt x="2094" y="766"/>
                    <a:pt x="2106" y="769"/>
                  </a:cubicBezTo>
                  <a:cubicBezTo>
                    <a:pt x="2119" y="772"/>
                    <a:pt x="2124" y="761"/>
                    <a:pt x="2128" y="777"/>
                  </a:cubicBezTo>
                  <a:cubicBezTo>
                    <a:pt x="2132" y="793"/>
                    <a:pt x="2134" y="818"/>
                    <a:pt x="2144" y="821"/>
                  </a:cubicBezTo>
                  <a:cubicBezTo>
                    <a:pt x="2154" y="824"/>
                    <a:pt x="2156" y="831"/>
                    <a:pt x="2154" y="835"/>
                  </a:cubicBezTo>
                  <a:cubicBezTo>
                    <a:pt x="2153" y="840"/>
                    <a:pt x="2145" y="847"/>
                    <a:pt x="2140" y="842"/>
                  </a:cubicBezTo>
                  <a:cubicBezTo>
                    <a:pt x="2135" y="836"/>
                    <a:pt x="2139" y="835"/>
                    <a:pt x="2129" y="835"/>
                  </a:cubicBezTo>
                  <a:cubicBezTo>
                    <a:pt x="2120" y="835"/>
                    <a:pt x="2114" y="834"/>
                    <a:pt x="2114" y="842"/>
                  </a:cubicBezTo>
                  <a:cubicBezTo>
                    <a:pt x="2114" y="851"/>
                    <a:pt x="2110" y="855"/>
                    <a:pt x="2103" y="852"/>
                  </a:cubicBezTo>
                  <a:cubicBezTo>
                    <a:pt x="2096" y="850"/>
                    <a:pt x="2098" y="837"/>
                    <a:pt x="2106" y="835"/>
                  </a:cubicBezTo>
                  <a:cubicBezTo>
                    <a:pt x="2114" y="834"/>
                    <a:pt x="2105" y="824"/>
                    <a:pt x="2111" y="822"/>
                  </a:cubicBezTo>
                  <a:cubicBezTo>
                    <a:pt x="2116" y="821"/>
                    <a:pt x="2123" y="821"/>
                    <a:pt x="2119" y="813"/>
                  </a:cubicBezTo>
                  <a:cubicBezTo>
                    <a:pt x="2114" y="805"/>
                    <a:pt x="2106" y="807"/>
                    <a:pt x="2109" y="797"/>
                  </a:cubicBezTo>
                  <a:cubicBezTo>
                    <a:pt x="2113" y="787"/>
                    <a:pt x="2130" y="786"/>
                    <a:pt x="2119" y="781"/>
                  </a:cubicBezTo>
                  <a:cubicBezTo>
                    <a:pt x="2107" y="776"/>
                    <a:pt x="2099" y="778"/>
                    <a:pt x="2094" y="773"/>
                  </a:cubicBezTo>
                  <a:cubicBezTo>
                    <a:pt x="2090" y="768"/>
                    <a:pt x="2096" y="783"/>
                    <a:pt x="2094" y="787"/>
                  </a:cubicBezTo>
                  <a:cubicBezTo>
                    <a:pt x="2091" y="792"/>
                    <a:pt x="2086" y="791"/>
                    <a:pt x="2085" y="782"/>
                  </a:cubicBezTo>
                  <a:cubicBezTo>
                    <a:pt x="2083" y="774"/>
                    <a:pt x="2081" y="772"/>
                    <a:pt x="2072" y="770"/>
                  </a:cubicBezTo>
                  <a:cubicBezTo>
                    <a:pt x="2063" y="768"/>
                    <a:pt x="2058" y="787"/>
                    <a:pt x="2053" y="781"/>
                  </a:cubicBezTo>
                  <a:cubicBezTo>
                    <a:pt x="2048" y="775"/>
                    <a:pt x="2046" y="779"/>
                    <a:pt x="2044" y="768"/>
                  </a:cubicBezTo>
                  <a:cubicBezTo>
                    <a:pt x="2043" y="757"/>
                    <a:pt x="2042" y="753"/>
                    <a:pt x="2031" y="752"/>
                  </a:cubicBezTo>
                  <a:cubicBezTo>
                    <a:pt x="2020" y="751"/>
                    <a:pt x="2007" y="755"/>
                    <a:pt x="2002" y="746"/>
                  </a:cubicBezTo>
                  <a:cubicBezTo>
                    <a:pt x="1997" y="736"/>
                    <a:pt x="1993" y="736"/>
                    <a:pt x="1988" y="734"/>
                  </a:cubicBezTo>
                  <a:cubicBezTo>
                    <a:pt x="1983" y="731"/>
                    <a:pt x="1981" y="723"/>
                    <a:pt x="1982" y="716"/>
                  </a:cubicBezTo>
                  <a:cubicBezTo>
                    <a:pt x="1982" y="709"/>
                    <a:pt x="1972" y="706"/>
                    <a:pt x="1970" y="713"/>
                  </a:cubicBezTo>
                  <a:cubicBezTo>
                    <a:pt x="1969" y="719"/>
                    <a:pt x="1973" y="727"/>
                    <a:pt x="1956" y="726"/>
                  </a:cubicBezTo>
                  <a:cubicBezTo>
                    <a:pt x="1939" y="726"/>
                    <a:pt x="1921" y="728"/>
                    <a:pt x="1919" y="736"/>
                  </a:cubicBezTo>
                  <a:cubicBezTo>
                    <a:pt x="1918" y="744"/>
                    <a:pt x="1921" y="751"/>
                    <a:pt x="1901" y="751"/>
                  </a:cubicBezTo>
                  <a:cubicBezTo>
                    <a:pt x="1881" y="750"/>
                    <a:pt x="1880" y="752"/>
                    <a:pt x="1863" y="750"/>
                  </a:cubicBezTo>
                  <a:cubicBezTo>
                    <a:pt x="1846" y="748"/>
                    <a:pt x="1833" y="745"/>
                    <a:pt x="1824" y="751"/>
                  </a:cubicBezTo>
                  <a:cubicBezTo>
                    <a:pt x="1815" y="756"/>
                    <a:pt x="1815" y="759"/>
                    <a:pt x="1795" y="760"/>
                  </a:cubicBezTo>
                  <a:cubicBezTo>
                    <a:pt x="1774" y="761"/>
                    <a:pt x="1752" y="758"/>
                    <a:pt x="1739" y="756"/>
                  </a:cubicBezTo>
                  <a:cubicBezTo>
                    <a:pt x="1727" y="755"/>
                    <a:pt x="1703" y="755"/>
                    <a:pt x="1699" y="749"/>
                  </a:cubicBezTo>
                  <a:cubicBezTo>
                    <a:pt x="1696" y="744"/>
                    <a:pt x="1695" y="743"/>
                    <a:pt x="1685" y="743"/>
                  </a:cubicBezTo>
                  <a:cubicBezTo>
                    <a:pt x="1675" y="743"/>
                    <a:pt x="1648" y="746"/>
                    <a:pt x="1648" y="738"/>
                  </a:cubicBezTo>
                  <a:cubicBezTo>
                    <a:pt x="1648" y="729"/>
                    <a:pt x="1658" y="729"/>
                    <a:pt x="1657" y="722"/>
                  </a:cubicBezTo>
                  <a:cubicBezTo>
                    <a:pt x="1656" y="716"/>
                    <a:pt x="1661" y="708"/>
                    <a:pt x="1671" y="708"/>
                  </a:cubicBezTo>
                  <a:cubicBezTo>
                    <a:pt x="1680" y="708"/>
                    <a:pt x="1679" y="699"/>
                    <a:pt x="1692" y="700"/>
                  </a:cubicBezTo>
                  <a:cubicBezTo>
                    <a:pt x="1706" y="701"/>
                    <a:pt x="1727" y="698"/>
                    <a:pt x="1727" y="693"/>
                  </a:cubicBezTo>
                  <a:cubicBezTo>
                    <a:pt x="1727" y="688"/>
                    <a:pt x="1738" y="683"/>
                    <a:pt x="1721" y="673"/>
                  </a:cubicBezTo>
                  <a:cubicBezTo>
                    <a:pt x="1704" y="663"/>
                    <a:pt x="1692" y="645"/>
                    <a:pt x="1686" y="639"/>
                  </a:cubicBezTo>
                  <a:cubicBezTo>
                    <a:pt x="1679" y="633"/>
                    <a:pt x="1672" y="629"/>
                    <a:pt x="1663" y="627"/>
                  </a:cubicBezTo>
                  <a:cubicBezTo>
                    <a:pt x="1653" y="626"/>
                    <a:pt x="1633" y="619"/>
                    <a:pt x="1629" y="618"/>
                  </a:cubicBezTo>
                  <a:cubicBezTo>
                    <a:pt x="1625" y="617"/>
                    <a:pt x="1621" y="610"/>
                    <a:pt x="1610" y="610"/>
                  </a:cubicBezTo>
                  <a:cubicBezTo>
                    <a:pt x="1598" y="610"/>
                    <a:pt x="1582" y="614"/>
                    <a:pt x="1582" y="620"/>
                  </a:cubicBezTo>
                  <a:cubicBezTo>
                    <a:pt x="1582" y="625"/>
                    <a:pt x="1576" y="629"/>
                    <a:pt x="1565" y="629"/>
                  </a:cubicBezTo>
                  <a:cubicBezTo>
                    <a:pt x="1555" y="629"/>
                    <a:pt x="1551" y="632"/>
                    <a:pt x="1550" y="625"/>
                  </a:cubicBezTo>
                  <a:cubicBezTo>
                    <a:pt x="1548" y="618"/>
                    <a:pt x="1550" y="619"/>
                    <a:pt x="1535" y="619"/>
                  </a:cubicBezTo>
                  <a:cubicBezTo>
                    <a:pt x="1521" y="619"/>
                    <a:pt x="1509" y="622"/>
                    <a:pt x="1497" y="617"/>
                  </a:cubicBezTo>
                  <a:cubicBezTo>
                    <a:pt x="1485" y="613"/>
                    <a:pt x="1481" y="617"/>
                    <a:pt x="1468" y="610"/>
                  </a:cubicBezTo>
                  <a:cubicBezTo>
                    <a:pt x="1455" y="602"/>
                    <a:pt x="1447" y="600"/>
                    <a:pt x="1438" y="593"/>
                  </a:cubicBezTo>
                  <a:cubicBezTo>
                    <a:pt x="1428" y="587"/>
                    <a:pt x="1422" y="580"/>
                    <a:pt x="1403" y="580"/>
                  </a:cubicBezTo>
                  <a:cubicBezTo>
                    <a:pt x="1385" y="580"/>
                    <a:pt x="1358" y="580"/>
                    <a:pt x="1342" y="574"/>
                  </a:cubicBezTo>
                  <a:cubicBezTo>
                    <a:pt x="1327" y="567"/>
                    <a:pt x="1326" y="565"/>
                    <a:pt x="1309" y="558"/>
                  </a:cubicBezTo>
                  <a:cubicBezTo>
                    <a:pt x="1293" y="551"/>
                    <a:pt x="1279" y="539"/>
                    <a:pt x="1269" y="533"/>
                  </a:cubicBezTo>
                  <a:cubicBezTo>
                    <a:pt x="1259" y="527"/>
                    <a:pt x="1247" y="520"/>
                    <a:pt x="1228" y="520"/>
                  </a:cubicBezTo>
                  <a:cubicBezTo>
                    <a:pt x="1208" y="520"/>
                    <a:pt x="1152" y="518"/>
                    <a:pt x="1148" y="523"/>
                  </a:cubicBezTo>
                  <a:cubicBezTo>
                    <a:pt x="1143" y="528"/>
                    <a:pt x="1136" y="546"/>
                    <a:pt x="1130" y="557"/>
                  </a:cubicBezTo>
                  <a:cubicBezTo>
                    <a:pt x="1123" y="567"/>
                    <a:pt x="1122" y="572"/>
                    <a:pt x="1105" y="570"/>
                  </a:cubicBezTo>
                  <a:cubicBezTo>
                    <a:pt x="1088" y="568"/>
                    <a:pt x="1050" y="573"/>
                    <a:pt x="1063" y="562"/>
                  </a:cubicBezTo>
                  <a:cubicBezTo>
                    <a:pt x="1076" y="551"/>
                    <a:pt x="1087" y="554"/>
                    <a:pt x="1084" y="544"/>
                  </a:cubicBezTo>
                  <a:cubicBezTo>
                    <a:pt x="1082" y="535"/>
                    <a:pt x="1077" y="529"/>
                    <a:pt x="1069" y="534"/>
                  </a:cubicBezTo>
                  <a:cubicBezTo>
                    <a:pt x="1062" y="538"/>
                    <a:pt x="1058" y="526"/>
                    <a:pt x="1060" y="519"/>
                  </a:cubicBezTo>
                  <a:cubicBezTo>
                    <a:pt x="1062" y="511"/>
                    <a:pt x="1071" y="506"/>
                    <a:pt x="1067" y="497"/>
                  </a:cubicBezTo>
                  <a:cubicBezTo>
                    <a:pt x="1064" y="488"/>
                    <a:pt x="1057" y="484"/>
                    <a:pt x="1049" y="487"/>
                  </a:cubicBezTo>
                  <a:cubicBezTo>
                    <a:pt x="1041" y="490"/>
                    <a:pt x="1036" y="495"/>
                    <a:pt x="1024" y="494"/>
                  </a:cubicBezTo>
                  <a:cubicBezTo>
                    <a:pt x="1011" y="493"/>
                    <a:pt x="1008" y="492"/>
                    <a:pt x="1008" y="498"/>
                  </a:cubicBezTo>
                  <a:cubicBezTo>
                    <a:pt x="1008" y="505"/>
                    <a:pt x="1005" y="507"/>
                    <a:pt x="1013" y="508"/>
                  </a:cubicBezTo>
                  <a:cubicBezTo>
                    <a:pt x="1021" y="510"/>
                    <a:pt x="1024" y="516"/>
                    <a:pt x="1021" y="523"/>
                  </a:cubicBezTo>
                  <a:cubicBezTo>
                    <a:pt x="1019" y="530"/>
                    <a:pt x="1004" y="519"/>
                    <a:pt x="1003" y="531"/>
                  </a:cubicBezTo>
                  <a:cubicBezTo>
                    <a:pt x="1003" y="542"/>
                    <a:pt x="1003" y="572"/>
                    <a:pt x="989" y="570"/>
                  </a:cubicBezTo>
                  <a:cubicBezTo>
                    <a:pt x="976" y="569"/>
                    <a:pt x="945" y="562"/>
                    <a:pt x="933" y="541"/>
                  </a:cubicBezTo>
                  <a:cubicBezTo>
                    <a:pt x="922" y="520"/>
                    <a:pt x="911" y="521"/>
                    <a:pt x="906" y="505"/>
                  </a:cubicBezTo>
                  <a:cubicBezTo>
                    <a:pt x="901" y="489"/>
                    <a:pt x="899" y="478"/>
                    <a:pt x="887" y="468"/>
                  </a:cubicBezTo>
                  <a:cubicBezTo>
                    <a:pt x="876" y="458"/>
                    <a:pt x="864" y="448"/>
                    <a:pt x="856" y="445"/>
                  </a:cubicBezTo>
                  <a:cubicBezTo>
                    <a:pt x="847" y="443"/>
                    <a:pt x="844" y="440"/>
                    <a:pt x="836" y="435"/>
                  </a:cubicBezTo>
                  <a:cubicBezTo>
                    <a:pt x="829" y="430"/>
                    <a:pt x="821" y="420"/>
                    <a:pt x="816" y="428"/>
                  </a:cubicBezTo>
                  <a:cubicBezTo>
                    <a:pt x="810" y="437"/>
                    <a:pt x="807" y="441"/>
                    <a:pt x="814" y="442"/>
                  </a:cubicBezTo>
                  <a:cubicBezTo>
                    <a:pt x="820" y="443"/>
                    <a:pt x="821" y="443"/>
                    <a:pt x="821" y="453"/>
                  </a:cubicBezTo>
                  <a:cubicBezTo>
                    <a:pt x="821" y="462"/>
                    <a:pt x="835" y="462"/>
                    <a:pt x="834" y="471"/>
                  </a:cubicBezTo>
                  <a:cubicBezTo>
                    <a:pt x="832" y="481"/>
                    <a:pt x="825" y="478"/>
                    <a:pt x="816" y="478"/>
                  </a:cubicBezTo>
                  <a:cubicBezTo>
                    <a:pt x="808" y="478"/>
                    <a:pt x="809" y="478"/>
                    <a:pt x="807" y="488"/>
                  </a:cubicBezTo>
                  <a:cubicBezTo>
                    <a:pt x="805" y="499"/>
                    <a:pt x="804" y="512"/>
                    <a:pt x="795" y="515"/>
                  </a:cubicBezTo>
                  <a:cubicBezTo>
                    <a:pt x="786" y="518"/>
                    <a:pt x="778" y="529"/>
                    <a:pt x="773" y="534"/>
                  </a:cubicBezTo>
                  <a:cubicBezTo>
                    <a:pt x="768" y="540"/>
                    <a:pt x="762" y="536"/>
                    <a:pt x="762" y="527"/>
                  </a:cubicBezTo>
                  <a:cubicBezTo>
                    <a:pt x="762" y="519"/>
                    <a:pt x="771" y="511"/>
                    <a:pt x="762" y="511"/>
                  </a:cubicBezTo>
                  <a:cubicBezTo>
                    <a:pt x="753" y="511"/>
                    <a:pt x="753" y="524"/>
                    <a:pt x="739" y="522"/>
                  </a:cubicBezTo>
                  <a:cubicBezTo>
                    <a:pt x="725" y="521"/>
                    <a:pt x="721" y="530"/>
                    <a:pt x="710" y="529"/>
                  </a:cubicBezTo>
                  <a:cubicBezTo>
                    <a:pt x="698" y="529"/>
                    <a:pt x="695" y="530"/>
                    <a:pt x="688" y="538"/>
                  </a:cubicBezTo>
                  <a:cubicBezTo>
                    <a:pt x="681" y="546"/>
                    <a:pt x="675" y="552"/>
                    <a:pt x="670" y="559"/>
                  </a:cubicBezTo>
                  <a:cubicBezTo>
                    <a:pt x="665" y="565"/>
                    <a:pt x="666" y="568"/>
                    <a:pt x="652" y="569"/>
                  </a:cubicBezTo>
                  <a:cubicBezTo>
                    <a:pt x="639" y="571"/>
                    <a:pt x="629" y="573"/>
                    <a:pt x="624" y="570"/>
                  </a:cubicBezTo>
                  <a:cubicBezTo>
                    <a:pt x="619" y="567"/>
                    <a:pt x="609" y="564"/>
                    <a:pt x="601" y="564"/>
                  </a:cubicBezTo>
                  <a:cubicBezTo>
                    <a:pt x="594" y="564"/>
                    <a:pt x="587" y="564"/>
                    <a:pt x="586" y="573"/>
                  </a:cubicBezTo>
                  <a:cubicBezTo>
                    <a:pt x="586" y="582"/>
                    <a:pt x="586" y="591"/>
                    <a:pt x="574" y="591"/>
                  </a:cubicBezTo>
                  <a:cubicBezTo>
                    <a:pt x="563" y="591"/>
                    <a:pt x="553" y="596"/>
                    <a:pt x="546" y="598"/>
                  </a:cubicBezTo>
                  <a:cubicBezTo>
                    <a:pt x="539" y="600"/>
                    <a:pt x="538" y="602"/>
                    <a:pt x="533" y="607"/>
                  </a:cubicBezTo>
                  <a:cubicBezTo>
                    <a:pt x="529" y="611"/>
                    <a:pt x="520" y="620"/>
                    <a:pt x="528" y="624"/>
                  </a:cubicBezTo>
                  <a:cubicBezTo>
                    <a:pt x="535" y="628"/>
                    <a:pt x="537" y="633"/>
                    <a:pt x="527" y="634"/>
                  </a:cubicBezTo>
                  <a:cubicBezTo>
                    <a:pt x="517" y="635"/>
                    <a:pt x="494" y="644"/>
                    <a:pt x="495" y="632"/>
                  </a:cubicBezTo>
                  <a:cubicBezTo>
                    <a:pt x="495" y="621"/>
                    <a:pt x="510" y="622"/>
                    <a:pt x="511" y="612"/>
                  </a:cubicBezTo>
                  <a:cubicBezTo>
                    <a:pt x="513" y="603"/>
                    <a:pt x="526" y="605"/>
                    <a:pt x="528" y="596"/>
                  </a:cubicBezTo>
                  <a:cubicBezTo>
                    <a:pt x="530" y="587"/>
                    <a:pt x="557" y="590"/>
                    <a:pt x="561" y="581"/>
                  </a:cubicBezTo>
                  <a:cubicBezTo>
                    <a:pt x="564" y="572"/>
                    <a:pt x="575" y="572"/>
                    <a:pt x="579" y="563"/>
                  </a:cubicBezTo>
                  <a:cubicBezTo>
                    <a:pt x="584" y="554"/>
                    <a:pt x="601" y="553"/>
                    <a:pt x="612" y="553"/>
                  </a:cubicBezTo>
                  <a:cubicBezTo>
                    <a:pt x="624" y="553"/>
                    <a:pt x="647" y="558"/>
                    <a:pt x="654" y="548"/>
                  </a:cubicBezTo>
                  <a:cubicBezTo>
                    <a:pt x="660" y="538"/>
                    <a:pt x="674" y="524"/>
                    <a:pt x="689" y="521"/>
                  </a:cubicBezTo>
                  <a:cubicBezTo>
                    <a:pt x="704" y="519"/>
                    <a:pt x="715" y="511"/>
                    <a:pt x="725" y="508"/>
                  </a:cubicBezTo>
                  <a:cubicBezTo>
                    <a:pt x="734" y="506"/>
                    <a:pt x="739" y="497"/>
                    <a:pt x="738" y="490"/>
                  </a:cubicBezTo>
                  <a:cubicBezTo>
                    <a:pt x="738" y="483"/>
                    <a:pt x="740" y="481"/>
                    <a:pt x="728" y="477"/>
                  </a:cubicBezTo>
                  <a:cubicBezTo>
                    <a:pt x="717" y="473"/>
                    <a:pt x="725" y="484"/>
                    <a:pt x="711" y="486"/>
                  </a:cubicBezTo>
                  <a:cubicBezTo>
                    <a:pt x="697" y="488"/>
                    <a:pt x="685" y="488"/>
                    <a:pt x="670" y="487"/>
                  </a:cubicBezTo>
                  <a:cubicBezTo>
                    <a:pt x="655" y="486"/>
                    <a:pt x="644" y="492"/>
                    <a:pt x="642" y="500"/>
                  </a:cubicBezTo>
                  <a:cubicBezTo>
                    <a:pt x="641" y="508"/>
                    <a:pt x="643" y="511"/>
                    <a:pt x="629" y="511"/>
                  </a:cubicBezTo>
                  <a:cubicBezTo>
                    <a:pt x="616" y="510"/>
                    <a:pt x="614" y="505"/>
                    <a:pt x="602" y="514"/>
                  </a:cubicBezTo>
                  <a:cubicBezTo>
                    <a:pt x="591" y="522"/>
                    <a:pt x="591" y="527"/>
                    <a:pt x="574" y="527"/>
                  </a:cubicBezTo>
                  <a:cubicBezTo>
                    <a:pt x="558" y="527"/>
                    <a:pt x="547" y="532"/>
                    <a:pt x="538" y="536"/>
                  </a:cubicBezTo>
                  <a:cubicBezTo>
                    <a:pt x="530" y="539"/>
                    <a:pt x="516" y="534"/>
                    <a:pt x="515" y="545"/>
                  </a:cubicBezTo>
                  <a:cubicBezTo>
                    <a:pt x="513" y="557"/>
                    <a:pt x="510" y="564"/>
                    <a:pt x="495" y="567"/>
                  </a:cubicBezTo>
                  <a:cubicBezTo>
                    <a:pt x="480" y="570"/>
                    <a:pt x="472" y="570"/>
                    <a:pt x="471" y="577"/>
                  </a:cubicBezTo>
                  <a:cubicBezTo>
                    <a:pt x="470" y="583"/>
                    <a:pt x="462" y="584"/>
                    <a:pt x="457" y="579"/>
                  </a:cubicBezTo>
                  <a:cubicBezTo>
                    <a:pt x="452" y="574"/>
                    <a:pt x="455" y="569"/>
                    <a:pt x="462" y="562"/>
                  </a:cubicBezTo>
                  <a:cubicBezTo>
                    <a:pt x="470" y="554"/>
                    <a:pt x="475" y="546"/>
                    <a:pt x="462" y="547"/>
                  </a:cubicBezTo>
                  <a:cubicBezTo>
                    <a:pt x="450" y="548"/>
                    <a:pt x="448" y="551"/>
                    <a:pt x="443" y="544"/>
                  </a:cubicBezTo>
                  <a:cubicBezTo>
                    <a:pt x="438" y="537"/>
                    <a:pt x="427" y="524"/>
                    <a:pt x="424" y="533"/>
                  </a:cubicBezTo>
                  <a:cubicBezTo>
                    <a:pt x="422" y="541"/>
                    <a:pt x="427" y="557"/>
                    <a:pt x="410" y="559"/>
                  </a:cubicBezTo>
                  <a:cubicBezTo>
                    <a:pt x="394" y="562"/>
                    <a:pt x="373" y="559"/>
                    <a:pt x="366" y="565"/>
                  </a:cubicBezTo>
                  <a:cubicBezTo>
                    <a:pt x="358" y="572"/>
                    <a:pt x="353" y="581"/>
                    <a:pt x="342" y="581"/>
                  </a:cubicBezTo>
                  <a:cubicBezTo>
                    <a:pt x="331" y="581"/>
                    <a:pt x="322" y="594"/>
                    <a:pt x="328" y="599"/>
                  </a:cubicBezTo>
                  <a:cubicBezTo>
                    <a:pt x="335" y="604"/>
                    <a:pt x="333" y="620"/>
                    <a:pt x="344" y="622"/>
                  </a:cubicBezTo>
                  <a:cubicBezTo>
                    <a:pt x="355" y="624"/>
                    <a:pt x="361" y="625"/>
                    <a:pt x="361" y="632"/>
                  </a:cubicBezTo>
                  <a:cubicBezTo>
                    <a:pt x="361" y="640"/>
                    <a:pt x="366" y="650"/>
                    <a:pt x="348" y="643"/>
                  </a:cubicBezTo>
                  <a:cubicBezTo>
                    <a:pt x="330" y="635"/>
                    <a:pt x="334" y="629"/>
                    <a:pt x="326" y="628"/>
                  </a:cubicBezTo>
                  <a:cubicBezTo>
                    <a:pt x="317" y="627"/>
                    <a:pt x="312" y="633"/>
                    <a:pt x="293" y="632"/>
                  </a:cubicBezTo>
                  <a:cubicBezTo>
                    <a:pt x="293" y="632"/>
                    <a:pt x="268" y="625"/>
                    <a:pt x="252" y="621"/>
                  </a:cubicBezTo>
                  <a:cubicBezTo>
                    <a:pt x="236" y="616"/>
                    <a:pt x="222" y="616"/>
                    <a:pt x="208" y="607"/>
                  </a:cubicBezTo>
                  <a:cubicBezTo>
                    <a:pt x="193" y="597"/>
                    <a:pt x="160" y="585"/>
                    <a:pt x="146" y="578"/>
                  </a:cubicBezTo>
                  <a:cubicBezTo>
                    <a:pt x="132" y="571"/>
                    <a:pt x="121" y="562"/>
                    <a:pt x="128" y="557"/>
                  </a:cubicBezTo>
                  <a:cubicBezTo>
                    <a:pt x="134" y="553"/>
                    <a:pt x="139" y="546"/>
                    <a:pt x="134" y="543"/>
                  </a:cubicBezTo>
                  <a:cubicBezTo>
                    <a:pt x="128" y="540"/>
                    <a:pt x="119" y="537"/>
                    <a:pt x="116" y="543"/>
                  </a:cubicBezTo>
                  <a:cubicBezTo>
                    <a:pt x="112" y="550"/>
                    <a:pt x="106" y="557"/>
                    <a:pt x="94" y="553"/>
                  </a:cubicBezTo>
                  <a:cubicBezTo>
                    <a:pt x="81" y="548"/>
                    <a:pt x="81" y="549"/>
                    <a:pt x="58" y="547"/>
                  </a:cubicBezTo>
                  <a:cubicBezTo>
                    <a:pt x="34" y="545"/>
                    <a:pt x="17" y="543"/>
                    <a:pt x="4" y="541"/>
                  </a:cubicBezTo>
                  <a:cubicBezTo>
                    <a:pt x="3" y="541"/>
                    <a:pt x="1" y="540"/>
                    <a:pt x="0" y="540"/>
                  </a:cubicBezTo>
                  <a:cubicBezTo>
                    <a:pt x="2" y="1504"/>
                    <a:pt x="2" y="1504"/>
                    <a:pt x="2" y="1504"/>
                  </a:cubicBezTo>
                  <a:cubicBezTo>
                    <a:pt x="2" y="1504"/>
                    <a:pt x="9" y="1511"/>
                    <a:pt x="12" y="1516"/>
                  </a:cubicBezTo>
                  <a:cubicBezTo>
                    <a:pt x="15" y="1522"/>
                    <a:pt x="21" y="1526"/>
                    <a:pt x="27" y="1526"/>
                  </a:cubicBezTo>
                  <a:cubicBezTo>
                    <a:pt x="32" y="1526"/>
                    <a:pt x="41" y="1512"/>
                    <a:pt x="49" y="1519"/>
                  </a:cubicBezTo>
                  <a:cubicBezTo>
                    <a:pt x="57" y="1526"/>
                    <a:pt x="64" y="1528"/>
                    <a:pt x="72" y="1525"/>
                  </a:cubicBezTo>
                  <a:cubicBezTo>
                    <a:pt x="80" y="1522"/>
                    <a:pt x="80" y="1512"/>
                    <a:pt x="97" y="1513"/>
                  </a:cubicBezTo>
                  <a:cubicBezTo>
                    <a:pt x="114" y="1514"/>
                    <a:pt x="123" y="1511"/>
                    <a:pt x="122" y="1525"/>
                  </a:cubicBezTo>
                  <a:cubicBezTo>
                    <a:pt x="122" y="1539"/>
                    <a:pt x="128" y="1553"/>
                    <a:pt x="139" y="1553"/>
                  </a:cubicBezTo>
                  <a:cubicBezTo>
                    <a:pt x="151" y="1553"/>
                    <a:pt x="162" y="1571"/>
                    <a:pt x="174" y="1579"/>
                  </a:cubicBezTo>
                  <a:cubicBezTo>
                    <a:pt x="185" y="1588"/>
                    <a:pt x="211" y="1599"/>
                    <a:pt x="219" y="1615"/>
                  </a:cubicBezTo>
                  <a:cubicBezTo>
                    <a:pt x="227" y="1630"/>
                    <a:pt x="232" y="1645"/>
                    <a:pt x="238" y="1647"/>
                  </a:cubicBezTo>
                  <a:cubicBezTo>
                    <a:pt x="244" y="1648"/>
                    <a:pt x="247" y="1645"/>
                    <a:pt x="250" y="1639"/>
                  </a:cubicBezTo>
                  <a:cubicBezTo>
                    <a:pt x="253" y="1633"/>
                    <a:pt x="259" y="1628"/>
                    <a:pt x="269" y="1627"/>
                  </a:cubicBezTo>
                  <a:cubicBezTo>
                    <a:pt x="280" y="1627"/>
                    <a:pt x="298" y="1619"/>
                    <a:pt x="298" y="1611"/>
                  </a:cubicBezTo>
                  <a:cubicBezTo>
                    <a:pt x="298" y="1603"/>
                    <a:pt x="298" y="1581"/>
                    <a:pt x="314" y="1580"/>
                  </a:cubicBezTo>
                  <a:cubicBezTo>
                    <a:pt x="330" y="1579"/>
                    <a:pt x="337" y="1575"/>
                    <a:pt x="343" y="1571"/>
                  </a:cubicBezTo>
                  <a:cubicBezTo>
                    <a:pt x="349" y="1566"/>
                    <a:pt x="375" y="1565"/>
                    <a:pt x="381" y="1581"/>
                  </a:cubicBezTo>
                  <a:cubicBezTo>
                    <a:pt x="387" y="1596"/>
                    <a:pt x="387" y="1611"/>
                    <a:pt x="396" y="1615"/>
                  </a:cubicBezTo>
                  <a:cubicBezTo>
                    <a:pt x="405" y="1619"/>
                    <a:pt x="423" y="1625"/>
                    <a:pt x="425" y="1639"/>
                  </a:cubicBezTo>
                  <a:cubicBezTo>
                    <a:pt x="426" y="1653"/>
                    <a:pt x="443" y="1661"/>
                    <a:pt x="459" y="1665"/>
                  </a:cubicBezTo>
                  <a:cubicBezTo>
                    <a:pt x="474" y="1669"/>
                    <a:pt x="491" y="1691"/>
                    <a:pt x="501" y="1708"/>
                  </a:cubicBezTo>
                  <a:cubicBezTo>
                    <a:pt x="510" y="1725"/>
                    <a:pt x="533" y="1766"/>
                    <a:pt x="545" y="1777"/>
                  </a:cubicBezTo>
                  <a:cubicBezTo>
                    <a:pt x="557" y="1787"/>
                    <a:pt x="564" y="1797"/>
                    <a:pt x="566" y="1813"/>
                  </a:cubicBezTo>
                  <a:cubicBezTo>
                    <a:pt x="568" y="1829"/>
                    <a:pt x="589" y="1856"/>
                    <a:pt x="602" y="1864"/>
                  </a:cubicBezTo>
                  <a:cubicBezTo>
                    <a:pt x="615" y="1872"/>
                    <a:pt x="643" y="1881"/>
                    <a:pt x="661" y="1889"/>
                  </a:cubicBezTo>
                  <a:cubicBezTo>
                    <a:pt x="679" y="1897"/>
                    <a:pt x="707" y="1903"/>
                    <a:pt x="705" y="1932"/>
                  </a:cubicBezTo>
                  <a:cubicBezTo>
                    <a:pt x="705" y="1946"/>
                    <a:pt x="704" y="1952"/>
                    <a:pt x="703" y="1956"/>
                  </a:cubicBezTo>
                  <a:cubicBezTo>
                    <a:pt x="708" y="1957"/>
                    <a:pt x="713" y="1961"/>
                    <a:pt x="713" y="1972"/>
                  </a:cubicBezTo>
                  <a:cubicBezTo>
                    <a:pt x="713" y="1984"/>
                    <a:pt x="711" y="2000"/>
                    <a:pt x="702" y="2006"/>
                  </a:cubicBezTo>
                  <a:cubicBezTo>
                    <a:pt x="693" y="2012"/>
                    <a:pt x="682" y="2033"/>
                    <a:pt x="679" y="2038"/>
                  </a:cubicBezTo>
                  <a:cubicBezTo>
                    <a:pt x="675" y="2042"/>
                    <a:pt x="676" y="2045"/>
                    <a:pt x="685" y="2055"/>
                  </a:cubicBezTo>
                  <a:cubicBezTo>
                    <a:pt x="693" y="2065"/>
                    <a:pt x="697" y="2069"/>
                    <a:pt x="697" y="2079"/>
                  </a:cubicBezTo>
                  <a:cubicBezTo>
                    <a:pt x="698" y="2088"/>
                    <a:pt x="708" y="2101"/>
                    <a:pt x="699" y="2096"/>
                  </a:cubicBezTo>
                  <a:cubicBezTo>
                    <a:pt x="690" y="2092"/>
                    <a:pt x="691" y="2083"/>
                    <a:pt x="684" y="2083"/>
                  </a:cubicBezTo>
                  <a:cubicBezTo>
                    <a:pt x="677" y="2083"/>
                    <a:pt x="660" y="2092"/>
                    <a:pt x="672" y="2099"/>
                  </a:cubicBezTo>
                  <a:cubicBezTo>
                    <a:pt x="683" y="2105"/>
                    <a:pt x="692" y="2108"/>
                    <a:pt x="689" y="2115"/>
                  </a:cubicBezTo>
                  <a:cubicBezTo>
                    <a:pt x="687" y="2123"/>
                    <a:pt x="667" y="2115"/>
                    <a:pt x="675" y="2129"/>
                  </a:cubicBezTo>
                  <a:cubicBezTo>
                    <a:pt x="683" y="2143"/>
                    <a:pt x="690" y="2138"/>
                    <a:pt x="698" y="2152"/>
                  </a:cubicBezTo>
                  <a:cubicBezTo>
                    <a:pt x="706" y="2166"/>
                    <a:pt x="727" y="2172"/>
                    <a:pt x="728" y="2163"/>
                  </a:cubicBezTo>
                  <a:cubicBezTo>
                    <a:pt x="729" y="2155"/>
                    <a:pt x="742" y="2156"/>
                    <a:pt x="744" y="2148"/>
                  </a:cubicBezTo>
                  <a:cubicBezTo>
                    <a:pt x="747" y="2141"/>
                    <a:pt x="757" y="2135"/>
                    <a:pt x="757" y="2143"/>
                  </a:cubicBezTo>
                  <a:cubicBezTo>
                    <a:pt x="758" y="2151"/>
                    <a:pt x="754" y="2159"/>
                    <a:pt x="762" y="2160"/>
                  </a:cubicBezTo>
                  <a:cubicBezTo>
                    <a:pt x="770" y="2162"/>
                    <a:pt x="769" y="2167"/>
                    <a:pt x="765" y="2179"/>
                  </a:cubicBezTo>
                  <a:cubicBezTo>
                    <a:pt x="761" y="2191"/>
                    <a:pt x="752" y="2201"/>
                    <a:pt x="758" y="2207"/>
                  </a:cubicBezTo>
                  <a:cubicBezTo>
                    <a:pt x="764" y="2213"/>
                    <a:pt x="776" y="2227"/>
                    <a:pt x="778" y="2218"/>
                  </a:cubicBezTo>
                  <a:cubicBezTo>
                    <a:pt x="779" y="2209"/>
                    <a:pt x="781" y="2204"/>
                    <a:pt x="788" y="2204"/>
                  </a:cubicBezTo>
                  <a:cubicBezTo>
                    <a:pt x="795" y="2205"/>
                    <a:pt x="797" y="2202"/>
                    <a:pt x="800" y="2199"/>
                  </a:cubicBezTo>
                  <a:cubicBezTo>
                    <a:pt x="803" y="2196"/>
                    <a:pt x="811" y="2193"/>
                    <a:pt x="806" y="2202"/>
                  </a:cubicBezTo>
                  <a:cubicBezTo>
                    <a:pt x="801" y="2211"/>
                    <a:pt x="800" y="2219"/>
                    <a:pt x="793" y="2221"/>
                  </a:cubicBezTo>
                  <a:cubicBezTo>
                    <a:pt x="786" y="2224"/>
                    <a:pt x="786" y="2227"/>
                    <a:pt x="790" y="2234"/>
                  </a:cubicBezTo>
                  <a:cubicBezTo>
                    <a:pt x="794" y="2241"/>
                    <a:pt x="800" y="2236"/>
                    <a:pt x="804" y="2229"/>
                  </a:cubicBezTo>
                  <a:cubicBezTo>
                    <a:pt x="809" y="2222"/>
                    <a:pt x="815" y="2214"/>
                    <a:pt x="821" y="2220"/>
                  </a:cubicBezTo>
                  <a:cubicBezTo>
                    <a:pt x="826" y="2227"/>
                    <a:pt x="820" y="2234"/>
                    <a:pt x="829" y="2235"/>
                  </a:cubicBezTo>
                  <a:cubicBezTo>
                    <a:pt x="837" y="2237"/>
                    <a:pt x="842" y="2245"/>
                    <a:pt x="851" y="2240"/>
                  </a:cubicBezTo>
                  <a:cubicBezTo>
                    <a:pt x="859" y="2235"/>
                    <a:pt x="866" y="2233"/>
                    <a:pt x="866" y="2239"/>
                  </a:cubicBezTo>
                  <a:cubicBezTo>
                    <a:pt x="866" y="2246"/>
                    <a:pt x="855" y="2253"/>
                    <a:pt x="847" y="2253"/>
                  </a:cubicBezTo>
                  <a:cubicBezTo>
                    <a:pt x="839" y="2253"/>
                    <a:pt x="845" y="2259"/>
                    <a:pt x="836" y="2261"/>
                  </a:cubicBezTo>
                  <a:cubicBezTo>
                    <a:pt x="827" y="2263"/>
                    <a:pt x="816" y="2271"/>
                    <a:pt x="823" y="2278"/>
                  </a:cubicBezTo>
                  <a:cubicBezTo>
                    <a:pt x="830" y="2284"/>
                    <a:pt x="829" y="2286"/>
                    <a:pt x="831" y="2298"/>
                  </a:cubicBezTo>
                  <a:cubicBezTo>
                    <a:pt x="833" y="2311"/>
                    <a:pt x="840" y="2320"/>
                    <a:pt x="845" y="2315"/>
                  </a:cubicBezTo>
                  <a:cubicBezTo>
                    <a:pt x="850" y="2310"/>
                    <a:pt x="862" y="2297"/>
                    <a:pt x="859" y="2314"/>
                  </a:cubicBezTo>
                  <a:cubicBezTo>
                    <a:pt x="857" y="2332"/>
                    <a:pt x="852" y="2345"/>
                    <a:pt x="865" y="2345"/>
                  </a:cubicBezTo>
                  <a:cubicBezTo>
                    <a:pt x="877" y="2345"/>
                    <a:pt x="872" y="2360"/>
                    <a:pt x="883" y="2360"/>
                  </a:cubicBezTo>
                  <a:cubicBezTo>
                    <a:pt x="894" y="2360"/>
                    <a:pt x="910" y="2359"/>
                    <a:pt x="921" y="2362"/>
                  </a:cubicBezTo>
                  <a:cubicBezTo>
                    <a:pt x="931" y="2365"/>
                    <a:pt x="940" y="2364"/>
                    <a:pt x="942" y="2370"/>
                  </a:cubicBezTo>
                  <a:cubicBezTo>
                    <a:pt x="944" y="2376"/>
                    <a:pt x="958" y="2387"/>
                    <a:pt x="935" y="2386"/>
                  </a:cubicBezTo>
                  <a:cubicBezTo>
                    <a:pt x="911" y="2385"/>
                    <a:pt x="900" y="2384"/>
                    <a:pt x="890" y="2380"/>
                  </a:cubicBezTo>
                  <a:cubicBezTo>
                    <a:pt x="880" y="2375"/>
                    <a:pt x="868" y="2363"/>
                    <a:pt x="860" y="2362"/>
                  </a:cubicBezTo>
                  <a:cubicBezTo>
                    <a:pt x="851" y="2361"/>
                    <a:pt x="844" y="2361"/>
                    <a:pt x="830" y="2361"/>
                  </a:cubicBezTo>
                  <a:cubicBezTo>
                    <a:pt x="817" y="2361"/>
                    <a:pt x="815" y="2370"/>
                    <a:pt x="817" y="2377"/>
                  </a:cubicBezTo>
                  <a:cubicBezTo>
                    <a:pt x="818" y="2384"/>
                    <a:pt x="818" y="2387"/>
                    <a:pt x="826" y="2390"/>
                  </a:cubicBezTo>
                  <a:cubicBezTo>
                    <a:pt x="834" y="2392"/>
                    <a:pt x="835" y="2396"/>
                    <a:pt x="840" y="2405"/>
                  </a:cubicBezTo>
                  <a:cubicBezTo>
                    <a:pt x="846" y="2414"/>
                    <a:pt x="850" y="2410"/>
                    <a:pt x="850" y="2419"/>
                  </a:cubicBezTo>
                  <a:cubicBezTo>
                    <a:pt x="849" y="2428"/>
                    <a:pt x="858" y="2430"/>
                    <a:pt x="863" y="2430"/>
                  </a:cubicBezTo>
                  <a:cubicBezTo>
                    <a:pt x="868" y="2430"/>
                    <a:pt x="872" y="2428"/>
                    <a:pt x="877" y="2434"/>
                  </a:cubicBezTo>
                  <a:cubicBezTo>
                    <a:pt x="882" y="2439"/>
                    <a:pt x="887" y="2436"/>
                    <a:pt x="892" y="2444"/>
                  </a:cubicBezTo>
                  <a:cubicBezTo>
                    <a:pt x="897" y="2452"/>
                    <a:pt x="904" y="2449"/>
                    <a:pt x="907" y="2456"/>
                  </a:cubicBezTo>
                  <a:cubicBezTo>
                    <a:pt x="909" y="2463"/>
                    <a:pt x="914" y="2468"/>
                    <a:pt x="921" y="2468"/>
                  </a:cubicBezTo>
                  <a:cubicBezTo>
                    <a:pt x="927" y="2468"/>
                    <a:pt x="929" y="2471"/>
                    <a:pt x="929" y="2476"/>
                  </a:cubicBezTo>
                  <a:cubicBezTo>
                    <a:pt x="929" y="2481"/>
                    <a:pt x="929" y="2485"/>
                    <a:pt x="940" y="2486"/>
                  </a:cubicBezTo>
                  <a:cubicBezTo>
                    <a:pt x="952" y="2488"/>
                    <a:pt x="957" y="2482"/>
                    <a:pt x="966" y="2489"/>
                  </a:cubicBezTo>
                  <a:cubicBezTo>
                    <a:pt x="974" y="2496"/>
                    <a:pt x="984" y="2494"/>
                    <a:pt x="979" y="2503"/>
                  </a:cubicBezTo>
                  <a:cubicBezTo>
                    <a:pt x="973" y="2511"/>
                    <a:pt x="976" y="2518"/>
                    <a:pt x="989" y="2521"/>
                  </a:cubicBezTo>
                  <a:cubicBezTo>
                    <a:pt x="1003" y="2524"/>
                    <a:pt x="1021" y="2527"/>
                    <a:pt x="1023" y="2533"/>
                  </a:cubicBezTo>
                  <a:cubicBezTo>
                    <a:pt x="1025" y="2540"/>
                    <a:pt x="1033" y="2549"/>
                    <a:pt x="1039" y="2551"/>
                  </a:cubicBezTo>
                  <a:cubicBezTo>
                    <a:pt x="1043" y="2552"/>
                    <a:pt x="1043" y="2556"/>
                    <a:pt x="1044" y="2561"/>
                  </a:cubicBezTo>
                  <a:cubicBezTo>
                    <a:pt x="1049" y="2562"/>
                    <a:pt x="1056" y="2563"/>
                    <a:pt x="1062" y="2567"/>
                  </a:cubicBezTo>
                  <a:cubicBezTo>
                    <a:pt x="1075" y="2575"/>
                    <a:pt x="1090" y="2580"/>
                    <a:pt x="1100" y="2581"/>
                  </a:cubicBezTo>
                  <a:cubicBezTo>
                    <a:pt x="1110" y="2582"/>
                    <a:pt x="1135" y="2585"/>
                    <a:pt x="1140" y="2575"/>
                  </a:cubicBezTo>
                  <a:cubicBezTo>
                    <a:pt x="1145" y="2565"/>
                    <a:pt x="1145" y="2560"/>
                    <a:pt x="1138" y="2554"/>
                  </a:cubicBezTo>
                  <a:cubicBezTo>
                    <a:pt x="1135" y="2551"/>
                    <a:pt x="1135" y="2549"/>
                    <a:pt x="1137" y="2548"/>
                  </a:cubicBezTo>
                  <a:cubicBezTo>
                    <a:pt x="1135" y="2547"/>
                    <a:pt x="1133" y="2545"/>
                    <a:pt x="1130" y="2544"/>
                  </a:cubicBezTo>
                  <a:cubicBezTo>
                    <a:pt x="1125" y="2542"/>
                    <a:pt x="1123" y="2534"/>
                    <a:pt x="1120" y="2531"/>
                  </a:cubicBezTo>
                  <a:cubicBezTo>
                    <a:pt x="1119" y="2530"/>
                    <a:pt x="1118" y="2528"/>
                    <a:pt x="1118" y="2526"/>
                  </a:cubicBezTo>
                  <a:cubicBezTo>
                    <a:pt x="1118" y="2525"/>
                    <a:pt x="1118" y="2522"/>
                    <a:pt x="1118" y="2521"/>
                  </a:cubicBezTo>
                  <a:cubicBezTo>
                    <a:pt x="1117" y="2521"/>
                    <a:pt x="1116" y="2521"/>
                    <a:pt x="1115" y="2521"/>
                  </a:cubicBezTo>
                  <a:cubicBezTo>
                    <a:pt x="1114" y="2520"/>
                    <a:pt x="1112" y="2520"/>
                    <a:pt x="1110" y="2520"/>
                  </a:cubicBezTo>
                  <a:cubicBezTo>
                    <a:pt x="1101" y="2519"/>
                    <a:pt x="1104" y="2518"/>
                    <a:pt x="1103" y="2511"/>
                  </a:cubicBezTo>
                  <a:cubicBezTo>
                    <a:pt x="1103" y="2504"/>
                    <a:pt x="1095" y="2501"/>
                    <a:pt x="1091" y="2494"/>
                  </a:cubicBezTo>
                  <a:cubicBezTo>
                    <a:pt x="1086" y="2487"/>
                    <a:pt x="1076" y="2484"/>
                    <a:pt x="1064" y="2482"/>
                  </a:cubicBezTo>
                  <a:cubicBezTo>
                    <a:pt x="1052" y="2480"/>
                    <a:pt x="1058" y="2482"/>
                    <a:pt x="1048" y="2473"/>
                  </a:cubicBezTo>
                  <a:cubicBezTo>
                    <a:pt x="1038" y="2464"/>
                    <a:pt x="1039" y="2470"/>
                    <a:pt x="1038" y="2458"/>
                  </a:cubicBezTo>
                  <a:cubicBezTo>
                    <a:pt x="1036" y="2447"/>
                    <a:pt x="1029" y="2450"/>
                    <a:pt x="1028" y="2441"/>
                  </a:cubicBezTo>
                  <a:cubicBezTo>
                    <a:pt x="1026" y="2433"/>
                    <a:pt x="1019" y="2434"/>
                    <a:pt x="1019" y="2427"/>
                  </a:cubicBezTo>
                  <a:cubicBezTo>
                    <a:pt x="1019" y="2420"/>
                    <a:pt x="1014" y="2420"/>
                    <a:pt x="1008" y="2420"/>
                  </a:cubicBezTo>
                  <a:cubicBezTo>
                    <a:pt x="1002" y="2421"/>
                    <a:pt x="997" y="2410"/>
                    <a:pt x="1001" y="2403"/>
                  </a:cubicBezTo>
                  <a:cubicBezTo>
                    <a:pt x="1005" y="2396"/>
                    <a:pt x="1012" y="2403"/>
                    <a:pt x="1018" y="2405"/>
                  </a:cubicBezTo>
                  <a:cubicBezTo>
                    <a:pt x="1024" y="2408"/>
                    <a:pt x="1027" y="2413"/>
                    <a:pt x="1027" y="2417"/>
                  </a:cubicBezTo>
                  <a:cubicBezTo>
                    <a:pt x="1027" y="2422"/>
                    <a:pt x="1026" y="2425"/>
                    <a:pt x="1036" y="2428"/>
                  </a:cubicBezTo>
                  <a:cubicBezTo>
                    <a:pt x="1045" y="2431"/>
                    <a:pt x="1045" y="2438"/>
                    <a:pt x="1045" y="2438"/>
                  </a:cubicBezTo>
                  <a:cubicBezTo>
                    <a:pt x="1049" y="2451"/>
                    <a:pt x="1055" y="2454"/>
                    <a:pt x="1062" y="2463"/>
                  </a:cubicBezTo>
                  <a:cubicBezTo>
                    <a:pt x="1069" y="2471"/>
                    <a:pt x="1069" y="2471"/>
                    <a:pt x="1084" y="2473"/>
                  </a:cubicBezTo>
                  <a:cubicBezTo>
                    <a:pt x="1098" y="2475"/>
                    <a:pt x="1094" y="2480"/>
                    <a:pt x="1107" y="2484"/>
                  </a:cubicBezTo>
                  <a:cubicBezTo>
                    <a:pt x="1120" y="2488"/>
                    <a:pt x="1127" y="2485"/>
                    <a:pt x="1129" y="2478"/>
                  </a:cubicBezTo>
                  <a:cubicBezTo>
                    <a:pt x="1132" y="2472"/>
                    <a:pt x="1139" y="2476"/>
                    <a:pt x="1141" y="2480"/>
                  </a:cubicBezTo>
                  <a:cubicBezTo>
                    <a:pt x="1143" y="2483"/>
                    <a:pt x="1146" y="2485"/>
                    <a:pt x="1144" y="2490"/>
                  </a:cubicBezTo>
                  <a:cubicBezTo>
                    <a:pt x="1144" y="2491"/>
                    <a:pt x="1144" y="2493"/>
                    <a:pt x="1145" y="2494"/>
                  </a:cubicBezTo>
                  <a:cubicBezTo>
                    <a:pt x="1146" y="2496"/>
                    <a:pt x="1149" y="2498"/>
                    <a:pt x="1150" y="2501"/>
                  </a:cubicBezTo>
                  <a:cubicBezTo>
                    <a:pt x="1153" y="2504"/>
                    <a:pt x="1153" y="2508"/>
                    <a:pt x="1155" y="2511"/>
                  </a:cubicBezTo>
                  <a:cubicBezTo>
                    <a:pt x="1155" y="2513"/>
                    <a:pt x="1156" y="2514"/>
                    <a:pt x="1157" y="2515"/>
                  </a:cubicBezTo>
                  <a:cubicBezTo>
                    <a:pt x="1158" y="2516"/>
                    <a:pt x="1158" y="2518"/>
                    <a:pt x="1159" y="2519"/>
                  </a:cubicBezTo>
                  <a:cubicBezTo>
                    <a:pt x="1160" y="2520"/>
                    <a:pt x="1160" y="2521"/>
                    <a:pt x="1161" y="2522"/>
                  </a:cubicBezTo>
                  <a:cubicBezTo>
                    <a:pt x="1189" y="2521"/>
                    <a:pt x="2910" y="2519"/>
                    <a:pt x="2910" y="2519"/>
                  </a:cubicBezTo>
                  <a:cubicBezTo>
                    <a:pt x="2910" y="2519"/>
                    <a:pt x="2928" y="2512"/>
                    <a:pt x="2928" y="2505"/>
                  </a:cubicBezTo>
                  <a:cubicBezTo>
                    <a:pt x="2928" y="2497"/>
                    <a:pt x="2927" y="2485"/>
                    <a:pt x="2935" y="2486"/>
                  </a:cubicBezTo>
                  <a:cubicBezTo>
                    <a:pt x="2942" y="2487"/>
                    <a:pt x="2953" y="2497"/>
                    <a:pt x="2953" y="2503"/>
                  </a:cubicBezTo>
                  <a:cubicBezTo>
                    <a:pt x="2953" y="2510"/>
                    <a:pt x="2958" y="2516"/>
                    <a:pt x="2960" y="2524"/>
                  </a:cubicBezTo>
                  <a:cubicBezTo>
                    <a:pt x="2963" y="2533"/>
                    <a:pt x="2965" y="2538"/>
                    <a:pt x="2974" y="2541"/>
                  </a:cubicBezTo>
                  <a:cubicBezTo>
                    <a:pt x="2982" y="2544"/>
                    <a:pt x="3006" y="2541"/>
                    <a:pt x="3011" y="2551"/>
                  </a:cubicBezTo>
                  <a:cubicBezTo>
                    <a:pt x="3016" y="2561"/>
                    <a:pt x="3030" y="2561"/>
                    <a:pt x="3040" y="2553"/>
                  </a:cubicBezTo>
                  <a:cubicBezTo>
                    <a:pt x="3050" y="2545"/>
                    <a:pt x="3061" y="2547"/>
                    <a:pt x="3070" y="2550"/>
                  </a:cubicBezTo>
                  <a:cubicBezTo>
                    <a:pt x="3080" y="2553"/>
                    <a:pt x="3088" y="2557"/>
                    <a:pt x="3092" y="2565"/>
                  </a:cubicBezTo>
                  <a:cubicBezTo>
                    <a:pt x="3096" y="2574"/>
                    <a:pt x="3116" y="2580"/>
                    <a:pt x="3120" y="2575"/>
                  </a:cubicBezTo>
                  <a:cubicBezTo>
                    <a:pt x="3124" y="2569"/>
                    <a:pt x="3135" y="2571"/>
                    <a:pt x="3138" y="2579"/>
                  </a:cubicBezTo>
                  <a:cubicBezTo>
                    <a:pt x="3142" y="2588"/>
                    <a:pt x="3153" y="2589"/>
                    <a:pt x="3162" y="2594"/>
                  </a:cubicBezTo>
                  <a:cubicBezTo>
                    <a:pt x="3170" y="2599"/>
                    <a:pt x="3178" y="2596"/>
                    <a:pt x="3182" y="2591"/>
                  </a:cubicBezTo>
                  <a:cubicBezTo>
                    <a:pt x="3186" y="2586"/>
                    <a:pt x="3194" y="2578"/>
                    <a:pt x="3201" y="2580"/>
                  </a:cubicBezTo>
                  <a:cubicBezTo>
                    <a:pt x="3209" y="2582"/>
                    <a:pt x="3213" y="2588"/>
                    <a:pt x="3219" y="2588"/>
                  </a:cubicBezTo>
                  <a:cubicBezTo>
                    <a:pt x="3225" y="2588"/>
                    <a:pt x="3238" y="2583"/>
                    <a:pt x="3249" y="2590"/>
                  </a:cubicBezTo>
                  <a:cubicBezTo>
                    <a:pt x="3261" y="2598"/>
                    <a:pt x="3264" y="2595"/>
                    <a:pt x="3275" y="2596"/>
                  </a:cubicBezTo>
                  <a:cubicBezTo>
                    <a:pt x="3286" y="2597"/>
                    <a:pt x="3294" y="2601"/>
                    <a:pt x="3305" y="2598"/>
                  </a:cubicBezTo>
                  <a:cubicBezTo>
                    <a:pt x="3305" y="2595"/>
                    <a:pt x="3304" y="2591"/>
                    <a:pt x="3305" y="2588"/>
                  </a:cubicBezTo>
                  <a:cubicBezTo>
                    <a:pt x="3309" y="2581"/>
                    <a:pt x="3311" y="2575"/>
                    <a:pt x="3313" y="2566"/>
                  </a:cubicBezTo>
                  <a:cubicBezTo>
                    <a:pt x="3316" y="2557"/>
                    <a:pt x="3327" y="2559"/>
                    <a:pt x="3336" y="2559"/>
                  </a:cubicBezTo>
                  <a:cubicBezTo>
                    <a:pt x="3345" y="2560"/>
                    <a:pt x="3356" y="2560"/>
                    <a:pt x="3361" y="2553"/>
                  </a:cubicBezTo>
                  <a:cubicBezTo>
                    <a:pt x="3365" y="2546"/>
                    <a:pt x="3371" y="2545"/>
                    <a:pt x="3379" y="2542"/>
                  </a:cubicBezTo>
                  <a:cubicBezTo>
                    <a:pt x="3386" y="2540"/>
                    <a:pt x="3381" y="2519"/>
                    <a:pt x="3385" y="2519"/>
                  </a:cubicBezTo>
                  <a:cubicBezTo>
                    <a:pt x="3389" y="2519"/>
                    <a:pt x="3393" y="2527"/>
                    <a:pt x="3394" y="2532"/>
                  </a:cubicBezTo>
                  <a:cubicBezTo>
                    <a:pt x="3394" y="2537"/>
                    <a:pt x="3406" y="2534"/>
                    <a:pt x="3413" y="2534"/>
                  </a:cubicBezTo>
                  <a:cubicBezTo>
                    <a:pt x="3419" y="2534"/>
                    <a:pt x="3441" y="2534"/>
                    <a:pt x="3451" y="2534"/>
                  </a:cubicBezTo>
                  <a:cubicBezTo>
                    <a:pt x="3461" y="2534"/>
                    <a:pt x="3470" y="2535"/>
                    <a:pt x="3478" y="2540"/>
                  </a:cubicBezTo>
                  <a:cubicBezTo>
                    <a:pt x="3485" y="2545"/>
                    <a:pt x="3485" y="2548"/>
                    <a:pt x="3494" y="2550"/>
                  </a:cubicBezTo>
                  <a:cubicBezTo>
                    <a:pt x="3504" y="2552"/>
                    <a:pt x="3493" y="2556"/>
                    <a:pt x="3492" y="2564"/>
                  </a:cubicBezTo>
                  <a:cubicBezTo>
                    <a:pt x="3492" y="2571"/>
                    <a:pt x="3504" y="2580"/>
                    <a:pt x="3512" y="2586"/>
                  </a:cubicBezTo>
                  <a:cubicBezTo>
                    <a:pt x="3520" y="2593"/>
                    <a:pt x="3520" y="2598"/>
                    <a:pt x="3527" y="2602"/>
                  </a:cubicBezTo>
                  <a:cubicBezTo>
                    <a:pt x="3533" y="2605"/>
                    <a:pt x="3528" y="2607"/>
                    <a:pt x="3525" y="2609"/>
                  </a:cubicBezTo>
                  <a:cubicBezTo>
                    <a:pt x="3522" y="2612"/>
                    <a:pt x="3526" y="2618"/>
                    <a:pt x="3529" y="2618"/>
                  </a:cubicBezTo>
                  <a:cubicBezTo>
                    <a:pt x="3533" y="2618"/>
                    <a:pt x="3540" y="2617"/>
                    <a:pt x="3542" y="2610"/>
                  </a:cubicBezTo>
                  <a:cubicBezTo>
                    <a:pt x="3545" y="2604"/>
                    <a:pt x="3559" y="2604"/>
                    <a:pt x="3566" y="2603"/>
                  </a:cubicBezTo>
                  <a:cubicBezTo>
                    <a:pt x="3574" y="2601"/>
                    <a:pt x="3580" y="2606"/>
                    <a:pt x="3580" y="2612"/>
                  </a:cubicBezTo>
                  <a:cubicBezTo>
                    <a:pt x="3580" y="2617"/>
                    <a:pt x="3579" y="2617"/>
                    <a:pt x="3574" y="2618"/>
                  </a:cubicBezTo>
                  <a:cubicBezTo>
                    <a:pt x="3569" y="2620"/>
                    <a:pt x="3580" y="2625"/>
                    <a:pt x="3581" y="2631"/>
                  </a:cubicBezTo>
                  <a:cubicBezTo>
                    <a:pt x="3582" y="2638"/>
                    <a:pt x="3586" y="2641"/>
                    <a:pt x="3594" y="2642"/>
                  </a:cubicBezTo>
                  <a:cubicBezTo>
                    <a:pt x="3603" y="2643"/>
                    <a:pt x="3600" y="2647"/>
                    <a:pt x="3600" y="2659"/>
                  </a:cubicBezTo>
                  <a:cubicBezTo>
                    <a:pt x="3599" y="2671"/>
                    <a:pt x="3593" y="2669"/>
                    <a:pt x="3594" y="2676"/>
                  </a:cubicBezTo>
                  <a:cubicBezTo>
                    <a:pt x="3595" y="2683"/>
                    <a:pt x="3608" y="2682"/>
                    <a:pt x="3608" y="2689"/>
                  </a:cubicBezTo>
                  <a:cubicBezTo>
                    <a:pt x="3608" y="2696"/>
                    <a:pt x="3614" y="2700"/>
                    <a:pt x="3614" y="2708"/>
                  </a:cubicBezTo>
                  <a:cubicBezTo>
                    <a:pt x="3614" y="2711"/>
                    <a:pt x="3614" y="2713"/>
                    <a:pt x="3613" y="2714"/>
                  </a:cubicBezTo>
                  <a:cubicBezTo>
                    <a:pt x="3622" y="2715"/>
                    <a:pt x="3629" y="2716"/>
                    <a:pt x="3631" y="2724"/>
                  </a:cubicBezTo>
                  <a:cubicBezTo>
                    <a:pt x="3632" y="2735"/>
                    <a:pt x="3639" y="2742"/>
                    <a:pt x="3650" y="2744"/>
                  </a:cubicBezTo>
                  <a:cubicBezTo>
                    <a:pt x="3656" y="2744"/>
                    <a:pt x="3662" y="2745"/>
                    <a:pt x="3667" y="2748"/>
                  </a:cubicBezTo>
                  <a:cubicBezTo>
                    <a:pt x="3670" y="2745"/>
                    <a:pt x="3673" y="2742"/>
                    <a:pt x="3675" y="2740"/>
                  </a:cubicBezTo>
                  <a:cubicBezTo>
                    <a:pt x="3681" y="2735"/>
                    <a:pt x="3693" y="2742"/>
                    <a:pt x="3702" y="2744"/>
                  </a:cubicBezTo>
                  <a:cubicBezTo>
                    <a:pt x="3711" y="2746"/>
                    <a:pt x="3721" y="2747"/>
                    <a:pt x="3727" y="2747"/>
                  </a:cubicBezTo>
                  <a:cubicBezTo>
                    <a:pt x="3732" y="2747"/>
                    <a:pt x="3751" y="2749"/>
                    <a:pt x="3775" y="2749"/>
                  </a:cubicBezTo>
                  <a:cubicBezTo>
                    <a:pt x="3800" y="2749"/>
                    <a:pt x="3803" y="2757"/>
                    <a:pt x="3808" y="2761"/>
                  </a:cubicBezTo>
                  <a:cubicBezTo>
                    <a:pt x="3813" y="2765"/>
                    <a:pt x="3829" y="2764"/>
                    <a:pt x="3839" y="2764"/>
                  </a:cubicBezTo>
                  <a:cubicBezTo>
                    <a:pt x="3848" y="2764"/>
                    <a:pt x="3852" y="2765"/>
                    <a:pt x="3855" y="2773"/>
                  </a:cubicBezTo>
                  <a:cubicBezTo>
                    <a:pt x="3857" y="2781"/>
                    <a:pt x="3863" y="2787"/>
                    <a:pt x="3868" y="2795"/>
                  </a:cubicBezTo>
                  <a:cubicBezTo>
                    <a:pt x="3873" y="2804"/>
                    <a:pt x="3880" y="2809"/>
                    <a:pt x="3893" y="2814"/>
                  </a:cubicBezTo>
                  <a:cubicBezTo>
                    <a:pt x="3905" y="2819"/>
                    <a:pt x="3899" y="2836"/>
                    <a:pt x="3901" y="2849"/>
                  </a:cubicBezTo>
                  <a:cubicBezTo>
                    <a:pt x="3903" y="2861"/>
                    <a:pt x="3900" y="2870"/>
                    <a:pt x="3892" y="2873"/>
                  </a:cubicBezTo>
                  <a:cubicBezTo>
                    <a:pt x="3884" y="2875"/>
                    <a:pt x="3873" y="2869"/>
                    <a:pt x="3867" y="2863"/>
                  </a:cubicBezTo>
                  <a:cubicBezTo>
                    <a:pt x="3862" y="2858"/>
                    <a:pt x="3852" y="2857"/>
                    <a:pt x="3847" y="2847"/>
                  </a:cubicBezTo>
                  <a:cubicBezTo>
                    <a:pt x="3841" y="2838"/>
                    <a:pt x="3829" y="2834"/>
                    <a:pt x="3823" y="2828"/>
                  </a:cubicBezTo>
                  <a:cubicBezTo>
                    <a:pt x="3817" y="2822"/>
                    <a:pt x="3815" y="2815"/>
                    <a:pt x="3804" y="2815"/>
                  </a:cubicBezTo>
                  <a:cubicBezTo>
                    <a:pt x="3793" y="2815"/>
                    <a:pt x="3787" y="2810"/>
                    <a:pt x="3787" y="2815"/>
                  </a:cubicBezTo>
                  <a:cubicBezTo>
                    <a:pt x="3787" y="2821"/>
                    <a:pt x="3787" y="2821"/>
                    <a:pt x="3796" y="2821"/>
                  </a:cubicBezTo>
                  <a:cubicBezTo>
                    <a:pt x="3805" y="2822"/>
                    <a:pt x="3800" y="2833"/>
                    <a:pt x="3807" y="2837"/>
                  </a:cubicBezTo>
                  <a:cubicBezTo>
                    <a:pt x="3815" y="2841"/>
                    <a:pt x="3815" y="2850"/>
                    <a:pt x="3815" y="2861"/>
                  </a:cubicBezTo>
                  <a:cubicBezTo>
                    <a:pt x="3815" y="2871"/>
                    <a:pt x="3811" y="2879"/>
                    <a:pt x="3798" y="2887"/>
                  </a:cubicBezTo>
                  <a:cubicBezTo>
                    <a:pt x="3785" y="2896"/>
                    <a:pt x="3791" y="2925"/>
                    <a:pt x="3793" y="2937"/>
                  </a:cubicBezTo>
                  <a:cubicBezTo>
                    <a:pt x="3794" y="2949"/>
                    <a:pt x="3794" y="2962"/>
                    <a:pt x="3782" y="2965"/>
                  </a:cubicBezTo>
                  <a:cubicBezTo>
                    <a:pt x="3770" y="2969"/>
                    <a:pt x="3770" y="2985"/>
                    <a:pt x="3763" y="2987"/>
                  </a:cubicBezTo>
                  <a:cubicBezTo>
                    <a:pt x="3755" y="2988"/>
                    <a:pt x="3753" y="2981"/>
                    <a:pt x="3752" y="2971"/>
                  </a:cubicBezTo>
                  <a:cubicBezTo>
                    <a:pt x="3752" y="2970"/>
                    <a:pt x="3752" y="2969"/>
                    <a:pt x="3752" y="2968"/>
                  </a:cubicBezTo>
                  <a:cubicBezTo>
                    <a:pt x="3749" y="2972"/>
                    <a:pt x="3748" y="2976"/>
                    <a:pt x="3748" y="2980"/>
                  </a:cubicBezTo>
                  <a:cubicBezTo>
                    <a:pt x="3749" y="2989"/>
                    <a:pt x="3748" y="3015"/>
                    <a:pt x="3733" y="3024"/>
                  </a:cubicBezTo>
                  <a:cubicBezTo>
                    <a:pt x="3718" y="3033"/>
                    <a:pt x="3710" y="3046"/>
                    <a:pt x="3704" y="3051"/>
                  </a:cubicBezTo>
                  <a:cubicBezTo>
                    <a:pt x="3698" y="3055"/>
                    <a:pt x="3693" y="3068"/>
                    <a:pt x="3699" y="3077"/>
                  </a:cubicBezTo>
                  <a:cubicBezTo>
                    <a:pt x="3700" y="3076"/>
                    <a:pt x="3702" y="3075"/>
                    <a:pt x="3704" y="3074"/>
                  </a:cubicBezTo>
                  <a:cubicBezTo>
                    <a:pt x="3715" y="3070"/>
                    <a:pt x="3713" y="3075"/>
                    <a:pt x="3732" y="3074"/>
                  </a:cubicBezTo>
                  <a:cubicBezTo>
                    <a:pt x="3751" y="3073"/>
                    <a:pt x="3758" y="3051"/>
                    <a:pt x="3758" y="3051"/>
                  </a:cubicBezTo>
                  <a:cubicBezTo>
                    <a:pt x="3759" y="3046"/>
                    <a:pt x="3762" y="3054"/>
                    <a:pt x="3770" y="3054"/>
                  </a:cubicBezTo>
                  <a:cubicBezTo>
                    <a:pt x="3778" y="3054"/>
                    <a:pt x="3780" y="3047"/>
                    <a:pt x="3784" y="3042"/>
                  </a:cubicBezTo>
                  <a:cubicBezTo>
                    <a:pt x="3788" y="3037"/>
                    <a:pt x="3803" y="3030"/>
                    <a:pt x="3811" y="3024"/>
                  </a:cubicBezTo>
                  <a:cubicBezTo>
                    <a:pt x="3819" y="3018"/>
                    <a:pt x="3830" y="3020"/>
                    <a:pt x="3847" y="3021"/>
                  </a:cubicBezTo>
                  <a:cubicBezTo>
                    <a:pt x="3863" y="3021"/>
                    <a:pt x="3852" y="3026"/>
                    <a:pt x="3864" y="3029"/>
                  </a:cubicBezTo>
                  <a:cubicBezTo>
                    <a:pt x="3876" y="3031"/>
                    <a:pt x="3879" y="3024"/>
                    <a:pt x="3884" y="3017"/>
                  </a:cubicBezTo>
                  <a:cubicBezTo>
                    <a:pt x="3889" y="3009"/>
                    <a:pt x="3896" y="3012"/>
                    <a:pt x="3905" y="3007"/>
                  </a:cubicBezTo>
                  <a:cubicBezTo>
                    <a:pt x="3915" y="3001"/>
                    <a:pt x="3933" y="3003"/>
                    <a:pt x="3946" y="3003"/>
                  </a:cubicBezTo>
                  <a:cubicBezTo>
                    <a:pt x="3952" y="3003"/>
                    <a:pt x="3957" y="3006"/>
                    <a:pt x="3959" y="3009"/>
                  </a:cubicBezTo>
                  <a:cubicBezTo>
                    <a:pt x="3962" y="3005"/>
                    <a:pt x="3964" y="3000"/>
                    <a:pt x="3962" y="2994"/>
                  </a:cubicBezTo>
                  <a:cubicBezTo>
                    <a:pt x="3959" y="2988"/>
                    <a:pt x="3956" y="2982"/>
                    <a:pt x="3954" y="2977"/>
                  </a:cubicBezTo>
                  <a:cubicBezTo>
                    <a:pt x="3948" y="2978"/>
                    <a:pt x="3940" y="2976"/>
                    <a:pt x="3933" y="2976"/>
                  </a:cubicBezTo>
                  <a:cubicBezTo>
                    <a:pt x="3923" y="2976"/>
                    <a:pt x="3921" y="2974"/>
                    <a:pt x="3921" y="2967"/>
                  </a:cubicBezTo>
                  <a:cubicBezTo>
                    <a:pt x="3921" y="2961"/>
                    <a:pt x="3924" y="2953"/>
                    <a:pt x="3931" y="2953"/>
                  </a:cubicBezTo>
                  <a:cubicBezTo>
                    <a:pt x="3939" y="2953"/>
                    <a:pt x="3944" y="2943"/>
                    <a:pt x="3950" y="2939"/>
                  </a:cubicBezTo>
                  <a:cubicBezTo>
                    <a:pt x="3956" y="2935"/>
                    <a:pt x="3958" y="2929"/>
                    <a:pt x="3970" y="2929"/>
                  </a:cubicBezTo>
                  <a:cubicBezTo>
                    <a:pt x="3982" y="2929"/>
                    <a:pt x="3990" y="2919"/>
                    <a:pt x="3990" y="2919"/>
                  </a:cubicBezTo>
                  <a:cubicBezTo>
                    <a:pt x="4006" y="2919"/>
                    <a:pt x="4003" y="2921"/>
                    <a:pt x="4018" y="2921"/>
                  </a:cubicBezTo>
                  <a:cubicBezTo>
                    <a:pt x="4033" y="2921"/>
                    <a:pt x="4030" y="2915"/>
                    <a:pt x="4035" y="2913"/>
                  </a:cubicBezTo>
                  <a:cubicBezTo>
                    <a:pt x="4041" y="2912"/>
                    <a:pt x="4051" y="2911"/>
                    <a:pt x="4055" y="2917"/>
                  </a:cubicBezTo>
                  <a:cubicBezTo>
                    <a:pt x="4059" y="2923"/>
                    <a:pt x="4064" y="2921"/>
                    <a:pt x="4077" y="2921"/>
                  </a:cubicBezTo>
                  <a:cubicBezTo>
                    <a:pt x="4089" y="2921"/>
                    <a:pt x="4097" y="2915"/>
                    <a:pt x="4102" y="2908"/>
                  </a:cubicBezTo>
                  <a:cubicBezTo>
                    <a:pt x="4107" y="2901"/>
                    <a:pt x="4111" y="2897"/>
                    <a:pt x="4119" y="2897"/>
                  </a:cubicBezTo>
                  <a:cubicBezTo>
                    <a:pt x="4125" y="2896"/>
                    <a:pt x="4132" y="2895"/>
                    <a:pt x="4138" y="2896"/>
                  </a:cubicBezTo>
                  <a:cubicBezTo>
                    <a:pt x="4145" y="2888"/>
                    <a:pt x="4154" y="2881"/>
                    <a:pt x="4166" y="2878"/>
                  </a:cubicBezTo>
                  <a:cubicBezTo>
                    <a:pt x="4197" y="2869"/>
                    <a:pt x="4182" y="2837"/>
                    <a:pt x="4239" y="2837"/>
                  </a:cubicBezTo>
                  <a:cubicBezTo>
                    <a:pt x="4295" y="2837"/>
                    <a:pt x="4427" y="2836"/>
                    <a:pt x="4430" y="2836"/>
                  </a:cubicBezTo>
                  <a:cubicBezTo>
                    <a:pt x="4432" y="2836"/>
                    <a:pt x="4442" y="2818"/>
                    <a:pt x="4459" y="2817"/>
                  </a:cubicBezTo>
                  <a:cubicBezTo>
                    <a:pt x="4476" y="2817"/>
                    <a:pt x="4482" y="2807"/>
                    <a:pt x="4497" y="2787"/>
                  </a:cubicBezTo>
                  <a:cubicBezTo>
                    <a:pt x="4511" y="2766"/>
                    <a:pt x="4515" y="2754"/>
                    <a:pt x="4516" y="2740"/>
                  </a:cubicBezTo>
                  <a:cubicBezTo>
                    <a:pt x="4517" y="2726"/>
                    <a:pt x="4526" y="2713"/>
                    <a:pt x="4536" y="2700"/>
                  </a:cubicBezTo>
                  <a:cubicBezTo>
                    <a:pt x="4546" y="2687"/>
                    <a:pt x="4557" y="2669"/>
                    <a:pt x="4569" y="2659"/>
                  </a:cubicBezTo>
                  <a:cubicBezTo>
                    <a:pt x="4580" y="2648"/>
                    <a:pt x="4588" y="2639"/>
                    <a:pt x="4597" y="2654"/>
                  </a:cubicBezTo>
                  <a:cubicBezTo>
                    <a:pt x="4605" y="2669"/>
                    <a:pt x="4611" y="2670"/>
                    <a:pt x="4618" y="2659"/>
                  </a:cubicBezTo>
                  <a:cubicBezTo>
                    <a:pt x="4626" y="2648"/>
                    <a:pt x="4639" y="2640"/>
                    <a:pt x="4654" y="2651"/>
                  </a:cubicBezTo>
                  <a:cubicBezTo>
                    <a:pt x="4669" y="2662"/>
                    <a:pt x="4666" y="2669"/>
                    <a:pt x="4671" y="2675"/>
                  </a:cubicBezTo>
                  <a:cubicBezTo>
                    <a:pt x="4676" y="2682"/>
                    <a:pt x="4674" y="2692"/>
                    <a:pt x="4674" y="2708"/>
                  </a:cubicBezTo>
                  <a:cubicBezTo>
                    <a:pt x="4674" y="2723"/>
                    <a:pt x="4673" y="2788"/>
                    <a:pt x="4682" y="2789"/>
                  </a:cubicBezTo>
                  <a:cubicBezTo>
                    <a:pt x="4691" y="2789"/>
                    <a:pt x="4697" y="2800"/>
                    <a:pt x="4697" y="2807"/>
                  </a:cubicBezTo>
                  <a:cubicBezTo>
                    <a:pt x="4697" y="2814"/>
                    <a:pt x="4701" y="2817"/>
                    <a:pt x="4707" y="2820"/>
                  </a:cubicBezTo>
                  <a:cubicBezTo>
                    <a:pt x="4714" y="2822"/>
                    <a:pt x="4720" y="2828"/>
                    <a:pt x="4722" y="2835"/>
                  </a:cubicBezTo>
                  <a:cubicBezTo>
                    <a:pt x="4723" y="2841"/>
                    <a:pt x="4730" y="2853"/>
                    <a:pt x="4730" y="2870"/>
                  </a:cubicBezTo>
                  <a:cubicBezTo>
                    <a:pt x="4734" y="2869"/>
                    <a:pt x="4737" y="2867"/>
                    <a:pt x="4738" y="2863"/>
                  </a:cubicBezTo>
                  <a:cubicBezTo>
                    <a:pt x="4741" y="2856"/>
                    <a:pt x="4744" y="2850"/>
                    <a:pt x="4739" y="2847"/>
                  </a:cubicBezTo>
                  <a:cubicBezTo>
                    <a:pt x="4735" y="2844"/>
                    <a:pt x="4733" y="2836"/>
                    <a:pt x="4744" y="2834"/>
                  </a:cubicBezTo>
                  <a:cubicBezTo>
                    <a:pt x="4755" y="2832"/>
                    <a:pt x="4766" y="2833"/>
                    <a:pt x="4770" y="2827"/>
                  </a:cubicBezTo>
                  <a:cubicBezTo>
                    <a:pt x="4773" y="2820"/>
                    <a:pt x="4780" y="2820"/>
                    <a:pt x="4788" y="2820"/>
                  </a:cubicBezTo>
                  <a:cubicBezTo>
                    <a:pt x="4796" y="2820"/>
                    <a:pt x="4815" y="2818"/>
                    <a:pt x="4818" y="2815"/>
                  </a:cubicBezTo>
                  <a:cubicBezTo>
                    <a:pt x="4820" y="2813"/>
                    <a:pt x="4828" y="2813"/>
                    <a:pt x="4833" y="2806"/>
                  </a:cubicBezTo>
                  <a:cubicBezTo>
                    <a:pt x="4838" y="2799"/>
                    <a:pt x="4847" y="2793"/>
                    <a:pt x="4855" y="2792"/>
                  </a:cubicBezTo>
                  <a:cubicBezTo>
                    <a:pt x="4863" y="2790"/>
                    <a:pt x="4857" y="2801"/>
                    <a:pt x="4863" y="2804"/>
                  </a:cubicBezTo>
                  <a:cubicBezTo>
                    <a:pt x="4868" y="2807"/>
                    <a:pt x="4871" y="2821"/>
                    <a:pt x="4860" y="2823"/>
                  </a:cubicBezTo>
                  <a:cubicBezTo>
                    <a:pt x="4849" y="2824"/>
                    <a:pt x="4856" y="2833"/>
                    <a:pt x="4839" y="2835"/>
                  </a:cubicBezTo>
                  <a:cubicBezTo>
                    <a:pt x="4823" y="2838"/>
                    <a:pt x="4833" y="2846"/>
                    <a:pt x="4820" y="2850"/>
                  </a:cubicBezTo>
                  <a:cubicBezTo>
                    <a:pt x="4808" y="2854"/>
                    <a:pt x="4801" y="2856"/>
                    <a:pt x="4795" y="2863"/>
                  </a:cubicBezTo>
                  <a:cubicBezTo>
                    <a:pt x="4788" y="2871"/>
                    <a:pt x="4775" y="2879"/>
                    <a:pt x="4777" y="2891"/>
                  </a:cubicBezTo>
                  <a:cubicBezTo>
                    <a:pt x="4779" y="2902"/>
                    <a:pt x="4775" y="2933"/>
                    <a:pt x="4787" y="2934"/>
                  </a:cubicBezTo>
                  <a:cubicBezTo>
                    <a:pt x="4800" y="2936"/>
                    <a:pt x="4806" y="2941"/>
                    <a:pt x="4810" y="2946"/>
                  </a:cubicBezTo>
                  <a:cubicBezTo>
                    <a:pt x="4813" y="2951"/>
                    <a:pt x="4825" y="2954"/>
                    <a:pt x="4833" y="2951"/>
                  </a:cubicBezTo>
                  <a:cubicBezTo>
                    <a:pt x="4840" y="2947"/>
                    <a:pt x="4834" y="2938"/>
                    <a:pt x="4848" y="2937"/>
                  </a:cubicBezTo>
                  <a:cubicBezTo>
                    <a:pt x="4861" y="2937"/>
                    <a:pt x="4863" y="2936"/>
                    <a:pt x="4869" y="2922"/>
                  </a:cubicBezTo>
                  <a:cubicBezTo>
                    <a:pt x="4876" y="2909"/>
                    <a:pt x="4896" y="2903"/>
                    <a:pt x="4899" y="2890"/>
                  </a:cubicBezTo>
                  <a:cubicBezTo>
                    <a:pt x="4901" y="2877"/>
                    <a:pt x="4907" y="2873"/>
                    <a:pt x="4915" y="2875"/>
                  </a:cubicBezTo>
                  <a:cubicBezTo>
                    <a:pt x="4923" y="2877"/>
                    <a:pt x="4924" y="2884"/>
                    <a:pt x="4934" y="2882"/>
                  </a:cubicBezTo>
                  <a:cubicBezTo>
                    <a:pt x="4943" y="2881"/>
                    <a:pt x="4952" y="2873"/>
                    <a:pt x="4954" y="2870"/>
                  </a:cubicBezTo>
                  <a:cubicBezTo>
                    <a:pt x="4957" y="2867"/>
                    <a:pt x="4967" y="2863"/>
                    <a:pt x="4974" y="2863"/>
                  </a:cubicBezTo>
                  <a:cubicBezTo>
                    <a:pt x="4980" y="2863"/>
                    <a:pt x="4993" y="2863"/>
                    <a:pt x="4995" y="2856"/>
                  </a:cubicBezTo>
                  <a:cubicBezTo>
                    <a:pt x="4997" y="2849"/>
                    <a:pt x="5010" y="2852"/>
                    <a:pt x="5021" y="2850"/>
                  </a:cubicBezTo>
                  <a:cubicBezTo>
                    <a:pt x="5033" y="2848"/>
                    <a:pt x="5031" y="2838"/>
                    <a:pt x="5041" y="2838"/>
                  </a:cubicBezTo>
                  <a:cubicBezTo>
                    <a:pt x="5051" y="2838"/>
                    <a:pt x="5086" y="2836"/>
                    <a:pt x="5092" y="2826"/>
                  </a:cubicBezTo>
                  <a:cubicBezTo>
                    <a:pt x="5099" y="2816"/>
                    <a:pt x="5104" y="2810"/>
                    <a:pt x="5098" y="2805"/>
                  </a:cubicBezTo>
                  <a:cubicBezTo>
                    <a:pt x="5091" y="2800"/>
                    <a:pt x="5091" y="2792"/>
                    <a:pt x="5107" y="2792"/>
                  </a:cubicBezTo>
                  <a:cubicBezTo>
                    <a:pt x="5123" y="2792"/>
                    <a:pt x="5153" y="2793"/>
                    <a:pt x="5154" y="2787"/>
                  </a:cubicBezTo>
                  <a:cubicBezTo>
                    <a:pt x="5154" y="2780"/>
                    <a:pt x="5177" y="2783"/>
                    <a:pt x="5177" y="2775"/>
                  </a:cubicBezTo>
                  <a:cubicBezTo>
                    <a:pt x="5177" y="2766"/>
                    <a:pt x="5180" y="2766"/>
                    <a:pt x="5185" y="2765"/>
                  </a:cubicBezTo>
                  <a:cubicBezTo>
                    <a:pt x="5190" y="2763"/>
                    <a:pt x="5195" y="2758"/>
                    <a:pt x="5191" y="2751"/>
                  </a:cubicBezTo>
                  <a:cubicBezTo>
                    <a:pt x="5187" y="2744"/>
                    <a:pt x="5182" y="2744"/>
                    <a:pt x="5172" y="2741"/>
                  </a:cubicBezTo>
                  <a:cubicBezTo>
                    <a:pt x="5161" y="2737"/>
                    <a:pt x="5164" y="2732"/>
                    <a:pt x="5157" y="2727"/>
                  </a:cubicBezTo>
                  <a:cubicBezTo>
                    <a:pt x="5149" y="2723"/>
                    <a:pt x="5145" y="2720"/>
                    <a:pt x="5148" y="2709"/>
                  </a:cubicBezTo>
                  <a:cubicBezTo>
                    <a:pt x="5151" y="2699"/>
                    <a:pt x="5158" y="2699"/>
                    <a:pt x="5157" y="2691"/>
                  </a:cubicBezTo>
                  <a:cubicBezTo>
                    <a:pt x="5157" y="2682"/>
                    <a:pt x="5147" y="2679"/>
                    <a:pt x="5137" y="2677"/>
                  </a:cubicBezTo>
                  <a:cubicBezTo>
                    <a:pt x="5126" y="2675"/>
                    <a:pt x="5117" y="2684"/>
                    <a:pt x="5114" y="2693"/>
                  </a:cubicBezTo>
                  <a:cubicBezTo>
                    <a:pt x="5111" y="2702"/>
                    <a:pt x="5099" y="2720"/>
                    <a:pt x="5091" y="2729"/>
                  </a:cubicBezTo>
                  <a:cubicBezTo>
                    <a:pt x="5083" y="2737"/>
                    <a:pt x="5068" y="2751"/>
                    <a:pt x="5073" y="2758"/>
                  </a:cubicBezTo>
                  <a:cubicBezTo>
                    <a:pt x="5078" y="2765"/>
                    <a:pt x="5078" y="2779"/>
                    <a:pt x="5071" y="2782"/>
                  </a:cubicBezTo>
                  <a:cubicBezTo>
                    <a:pt x="5063" y="2785"/>
                    <a:pt x="5063" y="2780"/>
                    <a:pt x="5059" y="2773"/>
                  </a:cubicBezTo>
                  <a:cubicBezTo>
                    <a:pt x="5056" y="2766"/>
                    <a:pt x="5048" y="2758"/>
                    <a:pt x="5042" y="2765"/>
                  </a:cubicBezTo>
                  <a:cubicBezTo>
                    <a:pt x="5036" y="2771"/>
                    <a:pt x="5029" y="2779"/>
                    <a:pt x="5017" y="2779"/>
                  </a:cubicBezTo>
                  <a:cubicBezTo>
                    <a:pt x="5005" y="2779"/>
                    <a:pt x="4989" y="2766"/>
                    <a:pt x="4979" y="2766"/>
                  </a:cubicBezTo>
                  <a:cubicBezTo>
                    <a:pt x="4969" y="2766"/>
                    <a:pt x="4934" y="2768"/>
                    <a:pt x="4930" y="2760"/>
                  </a:cubicBezTo>
                  <a:cubicBezTo>
                    <a:pt x="4926" y="2752"/>
                    <a:pt x="4924" y="2752"/>
                    <a:pt x="4926" y="2746"/>
                  </a:cubicBezTo>
                  <a:cubicBezTo>
                    <a:pt x="4928" y="2740"/>
                    <a:pt x="4922" y="2735"/>
                    <a:pt x="4912" y="2732"/>
                  </a:cubicBezTo>
                  <a:cubicBezTo>
                    <a:pt x="4902" y="2729"/>
                    <a:pt x="4887" y="2736"/>
                    <a:pt x="4884" y="2729"/>
                  </a:cubicBezTo>
                  <a:cubicBezTo>
                    <a:pt x="4880" y="2723"/>
                    <a:pt x="4879" y="2704"/>
                    <a:pt x="4873" y="2700"/>
                  </a:cubicBezTo>
                  <a:cubicBezTo>
                    <a:pt x="4868" y="2696"/>
                    <a:pt x="4870" y="2684"/>
                    <a:pt x="4866" y="2674"/>
                  </a:cubicBezTo>
                  <a:cubicBezTo>
                    <a:pt x="4861" y="2663"/>
                    <a:pt x="4853" y="2659"/>
                    <a:pt x="4861" y="2648"/>
                  </a:cubicBezTo>
                  <a:cubicBezTo>
                    <a:pt x="4868" y="2638"/>
                    <a:pt x="4869" y="2633"/>
                    <a:pt x="4868" y="2625"/>
                  </a:cubicBezTo>
                  <a:cubicBezTo>
                    <a:pt x="4866" y="2616"/>
                    <a:pt x="4867" y="2604"/>
                    <a:pt x="4858" y="2602"/>
                  </a:cubicBezTo>
                  <a:cubicBezTo>
                    <a:pt x="4850" y="2600"/>
                    <a:pt x="4841" y="2589"/>
                    <a:pt x="4835" y="2598"/>
                  </a:cubicBezTo>
                  <a:cubicBezTo>
                    <a:pt x="4829" y="2606"/>
                    <a:pt x="4823" y="2623"/>
                    <a:pt x="4816" y="2619"/>
                  </a:cubicBezTo>
                  <a:cubicBezTo>
                    <a:pt x="4810" y="2615"/>
                    <a:pt x="4813" y="2610"/>
                    <a:pt x="4806" y="2604"/>
                  </a:cubicBezTo>
                  <a:cubicBezTo>
                    <a:pt x="4800" y="2598"/>
                    <a:pt x="4793" y="2598"/>
                    <a:pt x="4795" y="2589"/>
                  </a:cubicBezTo>
                  <a:cubicBezTo>
                    <a:pt x="4796" y="2580"/>
                    <a:pt x="4808" y="2583"/>
                    <a:pt x="4815" y="2586"/>
                  </a:cubicBezTo>
                  <a:cubicBezTo>
                    <a:pt x="4821" y="2590"/>
                    <a:pt x="4845" y="2589"/>
                    <a:pt x="4852" y="2583"/>
                  </a:cubicBezTo>
                  <a:cubicBezTo>
                    <a:pt x="4859" y="2577"/>
                    <a:pt x="4866" y="2575"/>
                    <a:pt x="4879" y="2568"/>
                  </a:cubicBezTo>
                  <a:cubicBezTo>
                    <a:pt x="4892" y="2562"/>
                    <a:pt x="4906" y="2560"/>
                    <a:pt x="4909" y="2550"/>
                  </a:cubicBezTo>
                  <a:cubicBezTo>
                    <a:pt x="4911" y="2539"/>
                    <a:pt x="4899" y="2537"/>
                    <a:pt x="4899" y="2528"/>
                  </a:cubicBezTo>
                  <a:cubicBezTo>
                    <a:pt x="4900" y="2519"/>
                    <a:pt x="4907" y="2517"/>
                    <a:pt x="4895" y="2509"/>
                  </a:cubicBezTo>
                  <a:cubicBezTo>
                    <a:pt x="4883" y="2500"/>
                    <a:pt x="4874" y="2493"/>
                    <a:pt x="4865" y="2492"/>
                  </a:cubicBezTo>
                  <a:cubicBezTo>
                    <a:pt x="4856" y="2491"/>
                    <a:pt x="4840" y="2486"/>
                    <a:pt x="4826" y="2486"/>
                  </a:cubicBezTo>
                  <a:cubicBezTo>
                    <a:pt x="4813" y="2486"/>
                    <a:pt x="4789" y="2491"/>
                    <a:pt x="4774" y="2491"/>
                  </a:cubicBezTo>
                  <a:cubicBezTo>
                    <a:pt x="4759" y="2491"/>
                    <a:pt x="4760" y="2498"/>
                    <a:pt x="4737" y="2504"/>
                  </a:cubicBezTo>
                  <a:cubicBezTo>
                    <a:pt x="4715" y="2509"/>
                    <a:pt x="4708" y="2517"/>
                    <a:pt x="4684" y="2524"/>
                  </a:cubicBezTo>
                  <a:cubicBezTo>
                    <a:pt x="4661" y="2532"/>
                    <a:pt x="4641" y="2551"/>
                    <a:pt x="4624" y="2557"/>
                  </a:cubicBezTo>
                  <a:cubicBezTo>
                    <a:pt x="4607" y="2562"/>
                    <a:pt x="4603" y="2567"/>
                    <a:pt x="4590" y="2580"/>
                  </a:cubicBezTo>
                  <a:cubicBezTo>
                    <a:pt x="4577" y="2593"/>
                    <a:pt x="4552" y="2620"/>
                    <a:pt x="4539" y="2633"/>
                  </a:cubicBezTo>
                  <a:cubicBezTo>
                    <a:pt x="4525" y="2645"/>
                    <a:pt x="4515" y="2670"/>
                    <a:pt x="4505" y="2674"/>
                  </a:cubicBezTo>
                  <a:cubicBezTo>
                    <a:pt x="4495" y="2679"/>
                    <a:pt x="4469" y="2683"/>
                    <a:pt x="4480" y="2671"/>
                  </a:cubicBezTo>
                  <a:cubicBezTo>
                    <a:pt x="4492" y="2658"/>
                    <a:pt x="4510" y="2653"/>
                    <a:pt x="4518" y="2638"/>
                  </a:cubicBezTo>
                  <a:cubicBezTo>
                    <a:pt x="4526" y="2623"/>
                    <a:pt x="4543" y="2624"/>
                    <a:pt x="4549" y="2604"/>
                  </a:cubicBezTo>
                  <a:cubicBezTo>
                    <a:pt x="4555" y="2584"/>
                    <a:pt x="4562" y="2575"/>
                    <a:pt x="4572" y="2567"/>
                  </a:cubicBezTo>
                  <a:cubicBezTo>
                    <a:pt x="4582" y="2560"/>
                    <a:pt x="4598" y="2552"/>
                    <a:pt x="4603" y="2539"/>
                  </a:cubicBezTo>
                  <a:cubicBezTo>
                    <a:pt x="4608" y="2526"/>
                    <a:pt x="4621" y="2519"/>
                    <a:pt x="4635" y="2507"/>
                  </a:cubicBezTo>
                  <a:cubicBezTo>
                    <a:pt x="4648" y="2495"/>
                    <a:pt x="4649" y="2493"/>
                    <a:pt x="4671" y="2491"/>
                  </a:cubicBezTo>
                  <a:cubicBezTo>
                    <a:pt x="4692" y="2490"/>
                    <a:pt x="4708" y="2489"/>
                    <a:pt x="4713" y="2473"/>
                  </a:cubicBezTo>
                  <a:cubicBezTo>
                    <a:pt x="4718" y="2456"/>
                    <a:pt x="4726" y="2432"/>
                    <a:pt x="4745" y="2425"/>
                  </a:cubicBezTo>
                  <a:cubicBezTo>
                    <a:pt x="4765" y="2418"/>
                    <a:pt x="4778" y="2422"/>
                    <a:pt x="4787" y="2416"/>
                  </a:cubicBezTo>
                  <a:cubicBezTo>
                    <a:pt x="4795" y="2409"/>
                    <a:pt x="4798" y="2409"/>
                    <a:pt x="4828" y="2405"/>
                  </a:cubicBezTo>
                  <a:cubicBezTo>
                    <a:pt x="4857" y="2402"/>
                    <a:pt x="4872" y="2406"/>
                    <a:pt x="4902" y="2406"/>
                  </a:cubicBezTo>
                  <a:cubicBezTo>
                    <a:pt x="4932" y="2406"/>
                    <a:pt x="4949" y="2406"/>
                    <a:pt x="4966" y="2406"/>
                  </a:cubicBezTo>
                  <a:cubicBezTo>
                    <a:pt x="4982" y="2407"/>
                    <a:pt x="5022" y="2403"/>
                    <a:pt x="5035" y="2413"/>
                  </a:cubicBezTo>
                  <a:cubicBezTo>
                    <a:pt x="5049" y="2424"/>
                    <a:pt x="5058" y="2421"/>
                    <a:pt x="5086" y="2419"/>
                  </a:cubicBezTo>
                  <a:cubicBezTo>
                    <a:pt x="5114" y="2418"/>
                    <a:pt x="5167" y="2419"/>
                    <a:pt x="5180" y="2405"/>
                  </a:cubicBezTo>
                  <a:cubicBezTo>
                    <a:pt x="5192" y="2390"/>
                    <a:pt x="5195" y="2375"/>
                    <a:pt x="5217" y="2370"/>
                  </a:cubicBezTo>
                  <a:cubicBezTo>
                    <a:pt x="5240" y="2364"/>
                    <a:pt x="5233" y="2363"/>
                    <a:pt x="5246" y="2346"/>
                  </a:cubicBezTo>
                  <a:cubicBezTo>
                    <a:pt x="5259" y="2330"/>
                    <a:pt x="5257" y="2321"/>
                    <a:pt x="5281" y="2317"/>
                  </a:cubicBezTo>
                  <a:cubicBezTo>
                    <a:pt x="5304" y="2312"/>
                    <a:pt x="5315" y="2312"/>
                    <a:pt x="5331" y="2310"/>
                  </a:cubicBezTo>
                  <a:cubicBezTo>
                    <a:pt x="5348" y="2309"/>
                    <a:pt x="5377" y="2305"/>
                    <a:pt x="5401" y="2284"/>
                  </a:cubicBezTo>
                  <a:cubicBezTo>
                    <a:pt x="5425" y="2264"/>
                    <a:pt x="5440" y="2259"/>
                    <a:pt x="5445" y="2252"/>
                  </a:cubicBezTo>
                  <a:cubicBezTo>
                    <a:pt x="5449" y="2246"/>
                    <a:pt x="5446" y="2231"/>
                    <a:pt x="5435" y="222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468" name="Freeform 25647"/>
            <p:cNvSpPr>
              <a:spLocks/>
            </p:cNvSpPr>
            <p:nvPr/>
          </p:nvSpPr>
          <p:spPr bwMode="auto">
            <a:xfrm>
              <a:off x="2397363" y="2296231"/>
              <a:ext cx="7576" cy="5209"/>
            </a:xfrm>
            <a:custGeom>
              <a:avLst/>
              <a:gdLst>
                <a:gd name="T0" fmla="*/ 8 w 20"/>
                <a:gd name="T1" fmla="*/ 2 h 14"/>
                <a:gd name="T2" fmla="*/ 9 w 20"/>
                <a:gd name="T3" fmla="*/ 13 h 14"/>
                <a:gd name="T4" fmla="*/ 18 w 20"/>
                <a:gd name="T5" fmla="*/ 8 h 14"/>
                <a:gd name="T6" fmla="*/ 8 w 20"/>
                <a:gd name="T7" fmla="*/ 2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" h="14">
                  <a:moveTo>
                    <a:pt x="8" y="2"/>
                  </a:moveTo>
                  <a:cubicBezTo>
                    <a:pt x="8" y="2"/>
                    <a:pt x="0" y="11"/>
                    <a:pt x="9" y="13"/>
                  </a:cubicBezTo>
                  <a:cubicBezTo>
                    <a:pt x="18" y="14"/>
                    <a:pt x="20" y="11"/>
                    <a:pt x="18" y="8"/>
                  </a:cubicBezTo>
                  <a:cubicBezTo>
                    <a:pt x="16" y="5"/>
                    <a:pt x="13" y="0"/>
                    <a:pt x="8" y="2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rnd">
              <a:solidFill>
                <a:schemeClr val="bg1">
                  <a:lumMod val="9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469" name="Freeform 25648"/>
            <p:cNvSpPr>
              <a:spLocks/>
            </p:cNvSpPr>
            <p:nvPr/>
          </p:nvSpPr>
          <p:spPr bwMode="auto">
            <a:xfrm>
              <a:off x="2393733" y="2302860"/>
              <a:ext cx="36144" cy="33934"/>
            </a:xfrm>
            <a:custGeom>
              <a:avLst/>
              <a:gdLst>
                <a:gd name="T0" fmla="*/ 45 w 97"/>
                <a:gd name="T1" fmla="*/ 15 h 91"/>
                <a:gd name="T2" fmla="*/ 36 w 97"/>
                <a:gd name="T3" fmla="*/ 27 h 91"/>
                <a:gd name="T4" fmla="*/ 12 w 97"/>
                <a:gd name="T5" fmla="*/ 37 h 91"/>
                <a:gd name="T6" fmla="*/ 0 w 97"/>
                <a:gd name="T7" fmla="*/ 53 h 91"/>
                <a:gd name="T8" fmla="*/ 9 w 97"/>
                <a:gd name="T9" fmla="*/ 59 h 91"/>
                <a:gd name="T10" fmla="*/ 22 w 97"/>
                <a:gd name="T11" fmla="*/ 61 h 91"/>
                <a:gd name="T12" fmla="*/ 10 w 97"/>
                <a:gd name="T13" fmla="*/ 70 h 91"/>
                <a:gd name="T14" fmla="*/ 4 w 97"/>
                <a:gd name="T15" fmla="*/ 86 h 91"/>
                <a:gd name="T16" fmla="*/ 10 w 97"/>
                <a:gd name="T17" fmla="*/ 86 h 91"/>
                <a:gd name="T18" fmla="*/ 30 w 97"/>
                <a:gd name="T19" fmla="*/ 80 h 91"/>
                <a:gd name="T20" fmla="*/ 44 w 97"/>
                <a:gd name="T21" fmla="*/ 88 h 91"/>
                <a:gd name="T22" fmla="*/ 65 w 97"/>
                <a:gd name="T23" fmla="*/ 80 h 91"/>
                <a:gd name="T24" fmla="*/ 73 w 97"/>
                <a:gd name="T25" fmla="*/ 57 h 91"/>
                <a:gd name="T26" fmla="*/ 83 w 97"/>
                <a:gd name="T27" fmla="*/ 67 h 91"/>
                <a:gd name="T28" fmla="*/ 91 w 97"/>
                <a:gd name="T29" fmla="*/ 55 h 91"/>
                <a:gd name="T30" fmla="*/ 96 w 97"/>
                <a:gd name="T31" fmla="*/ 36 h 91"/>
                <a:gd name="T32" fmla="*/ 87 w 97"/>
                <a:gd name="T33" fmla="*/ 31 h 91"/>
                <a:gd name="T34" fmla="*/ 75 w 97"/>
                <a:gd name="T35" fmla="*/ 33 h 91"/>
                <a:gd name="T36" fmla="*/ 63 w 97"/>
                <a:gd name="T37" fmla="*/ 20 h 91"/>
                <a:gd name="T38" fmla="*/ 45 w 97"/>
                <a:gd name="T39" fmla="*/ 15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97" h="91">
                  <a:moveTo>
                    <a:pt x="45" y="15"/>
                  </a:moveTo>
                  <a:cubicBezTo>
                    <a:pt x="45" y="15"/>
                    <a:pt x="51" y="22"/>
                    <a:pt x="36" y="27"/>
                  </a:cubicBezTo>
                  <a:cubicBezTo>
                    <a:pt x="22" y="32"/>
                    <a:pt x="16" y="30"/>
                    <a:pt x="12" y="37"/>
                  </a:cubicBezTo>
                  <a:cubicBezTo>
                    <a:pt x="8" y="43"/>
                    <a:pt x="0" y="47"/>
                    <a:pt x="0" y="53"/>
                  </a:cubicBezTo>
                  <a:cubicBezTo>
                    <a:pt x="0" y="60"/>
                    <a:pt x="4" y="63"/>
                    <a:pt x="9" y="59"/>
                  </a:cubicBezTo>
                  <a:cubicBezTo>
                    <a:pt x="13" y="55"/>
                    <a:pt x="23" y="55"/>
                    <a:pt x="22" y="61"/>
                  </a:cubicBezTo>
                  <a:cubicBezTo>
                    <a:pt x="20" y="66"/>
                    <a:pt x="13" y="65"/>
                    <a:pt x="10" y="70"/>
                  </a:cubicBezTo>
                  <a:cubicBezTo>
                    <a:pt x="7" y="76"/>
                    <a:pt x="2" y="80"/>
                    <a:pt x="4" y="86"/>
                  </a:cubicBezTo>
                  <a:cubicBezTo>
                    <a:pt x="5" y="91"/>
                    <a:pt x="5" y="88"/>
                    <a:pt x="10" y="86"/>
                  </a:cubicBezTo>
                  <a:cubicBezTo>
                    <a:pt x="16" y="83"/>
                    <a:pt x="26" y="74"/>
                    <a:pt x="30" y="80"/>
                  </a:cubicBezTo>
                  <a:cubicBezTo>
                    <a:pt x="33" y="86"/>
                    <a:pt x="35" y="88"/>
                    <a:pt x="44" y="88"/>
                  </a:cubicBezTo>
                  <a:cubicBezTo>
                    <a:pt x="54" y="88"/>
                    <a:pt x="63" y="88"/>
                    <a:pt x="65" y="80"/>
                  </a:cubicBezTo>
                  <a:cubicBezTo>
                    <a:pt x="68" y="72"/>
                    <a:pt x="66" y="59"/>
                    <a:pt x="73" y="57"/>
                  </a:cubicBezTo>
                  <a:cubicBezTo>
                    <a:pt x="79" y="56"/>
                    <a:pt x="78" y="68"/>
                    <a:pt x="83" y="67"/>
                  </a:cubicBezTo>
                  <a:cubicBezTo>
                    <a:pt x="89" y="66"/>
                    <a:pt x="86" y="56"/>
                    <a:pt x="91" y="55"/>
                  </a:cubicBezTo>
                  <a:cubicBezTo>
                    <a:pt x="97" y="53"/>
                    <a:pt x="96" y="43"/>
                    <a:pt x="96" y="36"/>
                  </a:cubicBezTo>
                  <a:cubicBezTo>
                    <a:pt x="96" y="30"/>
                    <a:pt x="89" y="26"/>
                    <a:pt x="87" y="31"/>
                  </a:cubicBezTo>
                  <a:cubicBezTo>
                    <a:pt x="86" y="36"/>
                    <a:pt x="79" y="36"/>
                    <a:pt x="75" y="33"/>
                  </a:cubicBezTo>
                  <a:cubicBezTo>
                    <a:pt x="71" y="30"/>
                    <a:pt x="64" y="26"/>
                    <a:pt x="63" y="20"/>
                  </a:cubicBezTo>
                  <a:cubicBezTo>
                    <a:pt x="62" y="14"/>
                    <a:pt x="40" y="0"/>
                    <a:pt x="45" y="1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rnd">
              <a:solidFill>
                <a:schemeClr val="bg1">
                  <a:lumMod val="9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470" name="Freeform 25656"/>
            <p:cNvSpPr>
              <a:spLocks/>
            </p:cNvSpPr>
            <p:nvPr/>
          </p:nvSpPr>
          <p:spPr bwMode="auto">
            <a:xfrm>
              <a:off x="2348592" y="2422340"/>
              <a:ext cx="31724" cy="17520"/>
            </a:xfrm>
            <a:custGeom>
              <a:avLst/>
              <a:gdLst>
                <a:gd name="T0" fmla="*/ 52 w 85"/>
                <a:gd name="T1" fmla="*/ 1 h 47"/>
                <a:gd name="T2" fmla="*/ 21 w 85"/>
                <a:gd name="T3" fmla="*/ 2 h 47"/>
                <a:gd name="T4" fmla="*/ 7 w 85"/>
                <a:gd name="T5" fmla="*/ 6 h 47"/>
                <a:gd name="T6" fmla="*/ 7 w 85"/>
                <a:gd name="T7" fmla="*/ 18 h 47"/>
                <a:gd name="T8" fmla="*/ 26 w 85"/>
                <a:gd name="T9" fmla="*/ 27 h 47"/>
                <a:gd name="T10" fmla="*/ 46 w 85"/>
                <a:gd name="T11" fmla="*/ 35 h 47"/>
                <a:gd name="T12" fmla="*/ 64 w 85"/>
                <a:gd name="T13" fmla="*/ 44 h 47"/>
                <a:gd name="T14" fmla="*/ 79 w 85"/>
                <a:gd name="T15" fmla="*/ 45 h 47"/>
                <a:gd name="T16" fmla="*/ 82 w 85"/>
                <a:gd name="T17" fmla="*/ 30 h 47"/>
                <a:gd name="T18" fmla="*/ 69 w 85"/>
                <a:gd name="T19" fmla="*/ 15 h 47"/>
                <a:gd name="T20" fmla="*/ 52 w 85"/>
                <a:gd name="T21" fmla="*/ 1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5" h="47">
                  <a:moveTo>
                    <a:pt x="52" y="1"/>
                  </a:moveTo>
                  <a:cubicBezTo>
                    <a:pt x="52" y="1"/>
                    <a:pt x="30" y="2"/>
                    <a:pt x="21" y="2"/>
                  </a:cubicBezTo>
                  <a:cubicBezTo>
                    <a:pt x="12" y="2"/>
                    <a:pt x="12" y="3"/>
                    <a:pt x="7" y="6"/>
                  </a:cubicBezTo>
                  <a:cubicBezTo>
                    <a:pt x="2" y="9"/>
                    <a:pt x="0" y="16"/>
                    <a:pt x="7" y="18"/>
                  </a:cubicBezTo>
                  <a:cubicBezTo>
                    <a:pt x="14" y="21"/>
                    <a:pt x="17" y="26"/>
                    <a:pt x="26" y="27"/>
                  </a:cubicBezTo>
                  <a:cubicBezTo>
                    <a:pt x="34" y="28"/>
                    <a:pt x="38" y="36"/>
                    <a:pt x="46" y="35"/>
                  </a:cubicBezTo>
                  <a:cubicBezTo>
                    <a:pt x="54" y="35"/>
                    <a:pt x="61" y="40"/>
                    <a:pt x="64" y="44"/>
                  </a:cubicBezTo>
                  <a:cubicBezTo>
                    <a:pt x="67" y="47"/>
                    <a:pt x="74" y="45"/>
                    <a:pt x="79" y="45"/>
                  </a:cubicBezTo>
                  <a:cubicBezTo>
                    <a:pt x="83" y="45"/>
                    <a:pt x="85" y="37"/>
                    <a:pt x="82" y="30"/>
                  </a:cubicBezTo>
                  <a:cubicBezTo>
                    <a:pt x="79" y="23"/>
                    <a:pt x="76" y="21"/>
                    <a:pt x="69" y="15"/>
                  </a:cubicBezTo>
                  <a:cubicBezTo>
                    <a:pt x="62" y="8"/>
                    <a:pt x="65" y="0"/>
                    <a:pt x="52" y="1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471" name="Freeform 25657"/>
            <p:cNvSpPr>
              <a:spLocks/>
            </p:cNvSpPr>
            <p:nvPr/>
          </p:nvSpPr>
          <p:spPr bwMode="auto">
            <a:xfrm>
              <a:off x="2404150" y="2457695"/>
              <a:ext cx="10102" cy="7103"/>
            </a:xfrm>
            <a:custGeom>
              <a:avLst/>
              <a:gdLst>
                <a:gd name="T0" fmla="*/ 18 w 27"/>
                <a:gd name="T1" fmla="*/ 2 h 19"/>
                <a:gd name="T2" fmla="*/ 7 w 27"/>
                <a:gd name="T3" fmla="*/ 6 h 19"/>
                <a:gd name="T4" fmla="*/ 10 w 27"/>
                <a:gd name="T5" fmla="*/ 18 h 19"/>
                <a:gd name="T6" fmla="*/ 27 w 27"/>
                <a:gd name="T7" fmla="*/ 11 h 19"/>
                <a:gd name="T8" fmla="*/ 18 w 27"/>
                <a:gd name="T9" fmla="*/ 2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19">
                  <a:moveTo>
                    <a:pt x="18" y="2"/>
                  </a:moveTo>
                  <a:cubicBezTo>
                    <a:pt x="18" y="2"/>
                    <a:pt x="8" y="0"/>
                    <a:pt x="7" y="6"/>
                  </a:cubicBezTo>
                  <a:cubicBezTo>
                    <a:pt x="5" y="11"/>
                    <a:pt x="0" y="18"/>
                    <a:pt x="10" y="18"/>
                  </a:cubicBezTo>
                  <a:cubicBezTo>
                    <a:pt x="21" y="18"/>
                    <a:pt x="27" y="19"/>
                    <a:pt x="27" y="11"/>
                  </a:cubicBezTo>
                  <a:cubicBezTo>
                    <a:pt x="27" y="3"/>
                    <a:pt x="27" y="2"/>
                    <a:pt x="18" y="2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472" name="Freeform 25665"/>
            <p:cNvSpPr>
              <a:spLocks/>
            </p:cNvSpPr>
            <p:nvPr/>
          </p:nvSpPr>
          <p:spPr bwMode="auto">
            <a:xfrm>
              <a:off x="2880335" y="2470322"/>
              <a:ext cx="166988" cy="154835"/>
            </a:xfrm>
            <a:custGeom>
              <a:avLst/>
              <a:gdLst>
                <a:gd name="T0" fmla="*/ 433 w 448"/>
                <a:gd name="T1" fmla="*/ 297 h 415"/>
                <a:gd name="T2" fmla="*/ 420 w 448"/>
                <a:gd name="T3" fmla="*/ 251 h 415"/>
                <a:gd name="T4" fmla="*/ 384 w 448"/>
                <a:gd name="T5" fmla="*/ 259 h 415"/>
                <a:gd name="T6" fmla="*/ 376 w 448"/>
                <a:gd name="T7" fmla="*/ 227 h 415"/>
                <a:gd name="T8" fmla="*/ 388 w 448"/>
                <a:gd name="T9" fmla="*/ 193 h 415"/>
                <a:gd name="T10" fmla="*/ 353 w 448"/>
                <a:gd name="T11" fmla="*/ 170 h 415"/>
                <a:gd name="T12" fmla="*/ 331 w 448"/>
                <a:gd name="T13" fmla="*/ 173 h 415"/>
                <a:gd name="T14" fmla="*/ 301 w 448"/>
                <a:gd name="T15" fmla="*/ 189 h 415"/>
                <a:gd name="T16" fmla="*/ 278 w 448"/>
                <a:gd name="T17" fmla="*/ 177 h 415"/>
                <a:gd name="T18" fmla="*/ 249 w 448"/>
                <a:gd name="T19" fmla="*/ 182 h 415"/>
                <a:gd name="T20" fmla="*/ 263 w 448"/>
                <a:gd name="T21" fmla="*/ 146 h 415"/>
                <a:gd name="T22" fmla="*/ 230 w 448"/>
                <a:gd name="T23" fmla="*/ 135 h 415"/>
                <a:gd name="T24" fmla="*/ 215 w 448"/>
                <a:gd name="T25" fmla="*/ 104 h 415"/>
                <a:gd name="T26" fmla="*/ 250 w 448"/>
                <a:gd name="T27" fmla="*/ 54 h 415"/>
                <a:gd name="T28" fmla="*/ 267 w 448"/>
                <a:gd name="T29" fmla="*/ 17 h 415"/>
                <a:gd name="T30" fmla="*/ 235 w 448"/>
                <a:gd name="T31" fmla="*/ 5 h 415"/>
                <a:gd name="T32" fmla="*/ 183 w 448"/>
                <a:gd name="T33" fmla="*/ 66 h 415"/>
                <a:gd name="T34" fmla="*/ 112 w 448"/>
                <a:gd name="T35" fmla="*/ 149 h 415"/>
                <a:gd name="T36" fmla="*/ 88 w 448"/>
                <a:gd name="T37" fmla="*/ 196 h 415"/>
                <a:gd name="T38" fmla="*/ 69 w 448"/>
                <a:gd name="T39" fmla="*/ 224 h 415"/>
                <a:gd name="T40" fmla="*/ 35 w 448"/>
                <a:gd name="T41" fmla="*/ 253 h 415"/>
                <a:gd name="T42" fmla="*/ 8 w 448"/>
                <a:gd name="T43" fmla="*/ 324 h 415"/>
                <a:gd name="T44" fmla="*/ 38 w 448"/>
                <a:gd name="T45" fmla="*/ 350 h 415"/>
                <a:gd name="T46" fmla="*/ 92 w 448"/>
                <a:gd name="T47" fmla="*/ 340 h 415"/>
                <a:gd name="T48" fmla="*/ 154 w 448"/>
                <a:gd name="T49" fmla="*/ 347 h 415"/>
                <a:gd name="T50" fmla="*/ 214 w 448"/>
                <a:gd name="T51" fmla="*/ 342 h 415"/>
                <a:gd name="T52" fmla="*/ 239 w 448"/>
                <a:gd name="T53" fmla="*/ 350 h 415"/>
                <a:gd name="T54" fmla="*/ 281 w 448"/>
                <a:gd name="T55" fmla="*/ 349 h 415"/>
                <a:gd name="T56" fmla="*/ 241 w 448"/>
                <a:gd name="T57" fmla="*/ 388 h 415"/>
                <a:gd name="T58" fmla="*/ 297 w 448"/>
                <a:gd name="T59" fmla="*/ 375 h 415"/>
                <a:gd name="T60" fmla="*/ 333 w 448"/>
                <a:gd name="T61" fmla="*/ 361 h 415"/>
                <a:gd name="T62" fmla="*/ 356 w 448"/>
                <a:gd name="T63" fmla="*/ 365 h 415"/>
                <a:gd name="T64" fmla="*/ 357 w 448"/>
                <a:gd name="T65" fmla="*/ 402 h 415"/>
                <a:gd name="T66" fmla="*/ 377 w 448"/>
                <a:gd name="T67" fmla="*/ 404 h 415"/>
                <a:gd name="T68" fmla="*/ 414 w 448"/>
                <a:gd name="T69" fmla="*/ 414 h 415"/>
                <a:gd name="T70" fmla="*/ 437 w 448"/>
                <a:gd name="T71" fmla="*/ 374 h 415"/>
                <a:gd name="T72" fmla="*/ 442 w 448"/>
                <a:gd name="T73" fmla="*/ 323 h 4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48" h="415">
                  <a:moveTo>
                    <a:pt x="442" y="323"/>
                  </a:moveTo>
                  <a:cubicBezTo>
                    <a:pt x="436" y="317"/>
                    <a:pt x="440" y="302"/>
                    <a:pt x="433" y="297"/>
                  </a:cubicBezTo>
                  <a:cubicBezTo>
                    <a:pt x="426" y="293"/>
                    <a:pt x="427" y="284"/>
                    <a:pt x="427" y="273"/>
                  </a:cubicBezTo>
                  <a:cubicBezTo>
                    <a:pt x="427" y="262"/>
                    <a:pt x="429" y="252"/>
                    <a:pt x="420" y="251"/>
                  </a:cubicBezTo>
                  <a:cubicBezTo>
                    <a:pt x="411" y="250"/>
                    <a:pt x="411" y="255"/>
                    <a:pt x="405" y="257"/>
                  </a:cubicBezTo>
                  <a:cubicBezTo>
                    <a:pt x="398" y="259"/>
                    <a:pt x="392" y="256"/>
                    <a:pt x="384" y="259"/>
                  </a:cubicBezTo>
                  <a:cubicBezTo>
                    <a:pt x="375" y="262"/>
                    <a:pt x="367" y="256"/>
                    <a:pt x="367" y="245"/>
                  </a:cubicBezTo>
                  <a:cubicBezTo>
                    <a:pt x="368" y="234"/>
                    <a:pt x="368" y="232"/>
                    <a:pt x="376" y="227"/>
                  </a:cubicBezTo>
                  <a:cubicBezTo>
                    <a:pt x="384" y="221"/>
                    <a:pt x="389" y="215"/>
                    <a:pt x="393" y="210"/>
                  </a:cubicBezTo>
                  <a:cubicBezTo>
                    <a:pt x="397" y="206"/>
                    <a:pt x="397" y="198"/>
                    <a:pt x="388" y="193"/>
                  </a:cubicBezTo>
                  <a:cubicBezTo>
                    <a:pt x="379" y="187"/>
                    <a:pt x="374" y="189"/>
                    <a:pt x="367" y="186"/>
                  </a:cubicBezTo>
                  <a:cubicBezTo>
                    <a:pt x="361" y="182"/>
                    <a:pt x="353" y="181"/>
                    <a:pt x="353" y="170"/>
                  </a:cubicBezTo>
                  <a:cubicBezTo>
                    <a:pt x="354" y="159"/>
                    <a:pt x="344" y="149"/>
                    <a:pt x="342" y="158"/>
                  </a:cubicBezTo>
                  <a:cubicBezTo>
                    <a:pt x="339" y="167"/>
                    <a:pt x="339" y="179"/>
                    <a:pt x="331" y="173"/>
                  </a:cubicBezTo>
                  <a:cubicBezTo>
                    <a:pt x="324" y="166"/>
                    <a:pt x="316" y="169"/>
                    <a:pt x="313" y="175"/>
                  </a:cubicBezTo>
                  <a:cubicBezTo>
                    <a:pt x="310" y="182"/>
                    <a:pt x="303" y="179"/>
                    <a:pt x="301" y="189"/>
                  </a:cubicBezTo>
                  <a:cubicBezTo>
                    <a:pt x="298" y="198"/>
                    <a:pt x="289" y="207"/>
                    <a:pt x="284" y="197"/>
                  </a:cubicBezTo>
                  <a:cubicBezTo>
                    <a:pt x="280" y="187"/>
                    <a:pt x="285" y="179"/>
                    <a:pt x="278" y="177"/>
                  </a:cubicBezTo>
                  <a:cubicBezTo>
                    <a:pt x="272" y="175"/>
                    <a:pt x="267" y="175"/>
                    <a:pt x="265" y="180"/>
                  </a:cubicBezTo>
                  <a:cubicBezTo>
                    <a:pt x="262" y="185"/>
                    <a:pt x="253" y="186"/>
                    <a:pt x="249" y="182"/>
                  </a:cubicBezTo>
                  <a:cubicBezTo>
                    <a:pt x="244" y="178"/>
                    <a:pt x="235" y="168"/>
                    <a:pt x="247" y="163"/>
                  </a:cubicBezTo>
                  <a:cubicBezTo>
                    <a:pt x="259" y="158"/>
                    <a:pt x="261" y="152"/>
                    <a:pt x="263" y="146"/>
                  </a:cubicBezTo>
                  <a:cubicBezTo>
                    <a:pt x="265" y="139"/>
                    <a:pt x="262" y="135"/>
                    <a:pt x="249" y="138"/>
                  </a:cubicBezTo>
                  <a:cubicBezTo>
                    <a:pt x="235" y="140"/>
                    <a:pt x="232" y="143"/>
                    <a:pt x="230" y="135"/>
                  </a:cubicBezTo>
                  <a:cubicBezTo>
                    <a:pt x="229" y="128"/>
                    <a:pt x="227" y="132"/>
                    <a:pt x="223" y="127"/>
                  </a:cubicBezTo>
                  <a:cubicBezTo>
                    <a:pt x="218" y="121"/>
                    <a:pt x="206" y="113"/>
                    <a:pt x="215" y="104"/>
                  </a:cubicBezTo>
                  <a:cubicBezTo>
                    <a:pt x="224" y="95"/>
                    <a:pt x="234" y="86"/>
                    <a:pt x="241" y="74"/>
                  </a:cubicBezTo>
                  <a:cubicBezTo>
                    <a:pt x="249" y="62"/>
                    <a:pt x="249" y="68"/>
                    <a:pt x="250" y="54"/>
                  </a:cubicBezTo>
                  <a:cubicBezTo>
                    <a:pt x="252" y="39"/>
                    <a:pt x="251" y="33"/>
                    <a:pt x="255" y="32"/>
                  </a:cubicBezTo>
                  <a:cubicBezTo>
                    <a:pt x="259" y="31"/>
                    <a:pt x="266" y="26"/>
                    <a:pt x="267" y="17"/>
                  </a:cubicBezTo>
                  <a:cubicBezTo>
                    <a:pt x="269" y="8"/>
                    <a:pt x="270" y="0"/>
                    <a:pt x="261" y="3"/>
                  </a:cubicBezTo>
                  <a:cubicBezTo>
                    <a:pt x="252" y="6"/>
                    <a:pt x="246" y="5"/>
                    <a:pt x="235" y="5"/>
                  </a:cubicBezTo>
                  <a:cubicBezTo>
                    <a:pt x="224" y="5"/>
                    <a:pt x="212" y="15"/>
                    <a:pt x="205" y="22"/>
                  </a:cubicBezTo>
                  <a:cubicBezTo>
                    <a:pt x="198" y="29"/>
                    <a:pt x="200" y="48"/>
                    <a:pt x="183" y="66"/>
                  </a:cubicBezTo>
                  <a:cubicBezTo>
                    <a:pt x="165" y="85"/>
                    <a:pt x="138" y="97"/>
                    <a:pt x="132" y="107"/>
                  </a:cubicBezTo>
                  <a:cubicBezTo>
                    <a:pt x="126" y="118"/>
                    <a:pt x="115" y="134"/>
                    <a:pt x="112" y="149"/>
                  </a:cubicBezTo>
                  <a:cubicBezTo>
                    <a:pt x="112" y="149"/>
                    <a:pt x="108" y="167"/>
                    <a:pt x="100" y="172"/>
                  </a:cubicBezTo>
                  <a:cubicBezTo>
                    <a:pt x="93" y="178"/>
                    <a:pt x="87" y="188"/>
                    <a:pt x="88" y="196"/>
                  </a:cubicBezTo>
                  <a:cubicBezTo>
                    <a:pt x="88" y="205"/>
                    <a:pt x="99" y="213"/>
                    <a:pt x="89" y="215"/>
                  </a:cubicBezTo>
                  <a:cubicBezTo>
                    <a:pt x="79" y="216"/>
                    <a:pt x="71" y="215"/>
                    <a:pt x="69" y="224"/>
                  </a:cubicBezTo>
                  <a:cubicBezTo>
                    <a:pt x="68" y="233"/>
                    <a:pt x="61" y="239"/>
                    <a:pt x="60" y="246"/>
                  </a:cubicBezTo>
                  <a:cubicBezTo>
                    <a:pt x="59" y="253"/>
                    <a:pt x="46" y="247"/>
                    <a:pt x="35" y="253"/>
                  </a:cubicBezTo>
                  <a:cubicBezTo>
                    <a:pt x="23" y="260"/>
                    <a:pt x="23" y="256"/>
                    <a:pt x="20" y="273"/>
                  </a:cubicBezTo>
                  <a:cubicBezTo>
                    <a:pt x="17" y="291"/>
                    <a:pt x="0" y="315"/>
                    <a:pt x="8" y="324"/>
                  </a:cubicBezTo>
                  <a:cubicBezTo>
                    <a:pt x="17" y="333"/>
                    <a:pt x="23" y="333"/>
                    <a:pt x="23" y="340"/>
                  </a:cubicBezTo>
                  <a:cubicBezTo>
                    <a:pt x="23" y="347"/>
                    <a:pt x="30" y="350"/>
                    <a:pt x="38" y="350"/>
                  </a:cubicBezTo>
                  <a:cubicBezTo>
                    <a:pt x="46" y="350"/>
                    <a:pt x="59" y="356"/>
                    <a:pt x="64" y="348"/>
                  </a:cubicBezTo>
                  <a:cubicBezTo>
                    <a:pt x="69" y="340"/>
                    <a:pt x="77" y="340"/>
                    <a:pt x="92" y="340"/>
                  </a:cubicBezTo>
                  <a:cubicBezTo>
                    <a:pt x="106" y="340"/>
                    <a:pt x="122" y="336"/>
                    <a:pt x="126" y="340"/>
                  </a:cubicBezTo>
                  <a:cubicBezTo>
                    <a:pt x="129" y="345"/>
                    <a:pt x="146" y="347"/>
                    <a:pt x="154" y="347"/>
                  </a:cubicBezTo>
                  <a:cubicBezTo>
                    <a:pt x="163" y="347"/>
                    <a:pt x="179" y="355"/>
                    <a:pt x="189" y="353"/>
                  </a:cubicBezTo>
                  <a:cubicBezTo>
                    <a:pt x="200" y="350"/>
                    <a:pt x="212" y="345"/>
                    <a:pt x="214" y="342"/>
                  </a:cubicBezTo>
                  <a:cubicBezTo>
                    <a:pt x="217" y="338"/>
                    <a:pt x="227" y="334"/>
                    <a:pt x="233" y="335"/>
                  </a:cubicBezTo>
                  <a:cubicBezTo>
                    <a:pt x="238" y="336"/>
                    <a:pt x="227" y="347"/>
                    <a:pt x="239" y="350"/>
                  </a:cubicBezTo>
                  <a:cubicBezTo>
                    <a:pt x="250" y="352"/>
                    <a:pt x="250" y="360"/>
                    <a:pt x="261" y="355"/>
                  </a:cubicBezTo>
                  <a:cubicBezTo>
                    <a:pt x="271" y="350"/>
                    <a:pt x="281" y="342"/>
                    <a:pt x="281" y="349"/>
                  </a:cubicBezTo>
                  <a:cubicBezTo>
                    <a:pt x="281" y="356"/>
                    <a:pt x="274" y="363"/>
                    <a:pt x="262" y="369"/>
                  </a:cubicBezTo>
                  <a:cubicBezTo>
                    <a:pt x="250" y="375"/>
                    <a:pt x="230" y="374"/>
                    <a:pt x="241" y="388"/>
                  </a:cubicBezTo>
                  <a:cubicBezTo>
                    <a:pt x="251" y="402"/>
                    <a:pt x="253" y="404"/>
                    <a:pt x="266" y="402"/>
                  </a:cubicBezTo>
                  <a:cubicBezTo>
                    <a:pt x="279" y="400"/>
                    <a:pt x="288" y="386"/>
                    <a:pt x="297" y="375"/>
                  </a:cubicBezTo>
                  <a:cubicBezTo>
                    <a:pt x="306" y="364"/>
                    <a:pt x="309" y="360"/>
                    <a:pt x="318" y="362"/>
                  </a:cubicBezTo>
                  <a:cubicBezTo>
                    <a:pt x="326" y="364"/>
                    <a:pt x="328" y="370"/>
                    <a:pt x="333" y="361"/>
                  </a:cubicBezTo>
                  <a:cubicBezTo>
                    <a:pt x="338" y="352"/>
                    <a:pt x="340" y="350"/>
                    <a:pt x="346" y="351"/>
                  </a:cubicBezTo>
                  <a:cubicBezTo>
                    <a:pt x="352" y="351"/>
                    <a:pt x="362" y="355"/>
                    <a:pt x="356" y="365"/>
                  </a:cubicBezTo>
                  <a:cubicBezTo>
                    <a:pt x="350" y="376"/>
                    <a:pt x="331" y="386"/>
                    <a:pt x="336" y="396"/>
                  </a:cubicBezTo>
                  <a:cubicBezTo>
                    <a:pt x="342" y="406"/>
                    <a:pt x="345" y="408"/>
                    <a:pt x="357" y="402"/>
                  </a:cubicBezTo>
                  <a:cubicBezTo>
                    <a:pt x="368" y="395"/>
                    <a:pt x="370" y="389"/>
                    <a:pt x="377" y="391"/>
                  </a:cubicBezTo>
                  <a:cubicBezTo>
                    <a:pt x="384" y="392"/>
                    <a:pt x="380" y="399"/>
                    <a:pt x="377" y="404"/>
                  </a:cubicBezTo>
                  <a:cubicBezTo>
                    <a:pt x="374" y="409"/>
                    <a:pt x="377" y="414"/>
                    <a:pt x="384" y="414"/>
                  </a:cubicBezTo>
                  <a:cubicBezTo>
                    <a:pt x="390" y="415"/>
                    <a:pt x="408" y="414"/>
                    <a:pt x="414" y="414"/>
                  </a:cubicBezTo>
                  <a:cubicBezTo>
                    <a:pt x="419" y="415"/>
                    <a:pt x="428" y="411"/>
                    <a:pt x="428" y="401"/>
                  </a:cubicBezTo>
                  <a:cubicBezTo>
                    <a:pt x="429" y="391"/>
                    <a:pt x="432" y="377"/>
                    <a:pt x="437" y="374"/>
                  </a:cubicBezTo>
                  <a:cubicBezTo>
                    <a:pt x="442" y="370"/>
                    <a:pt x="442" y="367"/>
                    <a:pt x="444" y="351"/>
                  </a:cubicBezTo>
                  <a:cubicBezTo>
                    <a:pt x="446" y="336"/>
                    <a:pt x="448" y="328"/>
                    <a:pt x="442" y="323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rnd">
              <a:solidFill>
                <a:schemeClr val="bg1">
                  <a:lumMod val="9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473" name="Freeform 25666"/>
            <p:cNvSpPr>
              <a:spLocks/>
            </p:cNvSpPr>
            <p:nvPr/>
          </p:nvSpPr>
          <p:spPr bwMode="auto">
            <a:xfrm>
              <a:off x="5307349" y="4099327"/>
              <a:ext cx="10102" cy="19414"/>
            </a:xfrm>
            <a:custGeom>
              <a:avLst/>
              <a:gdLst>
                <a:gd name="T0" fmla="*/ 20 w 27"/>
                <a:gd name="T1" fmla="*/ 49 h 52"/>
                <a:gd name="T2" fmla="*/ 27 w 27"/>
                <a:gd name="T3" fmla="*/ 42 h 52"/>
                <a:gd name="T4" fmla="*/ 21 w 27"/>
                <a:gd name="T5" fmla="*/ 28 h 52"/>
                <a:gd name="T6" fmla="*/ 15 w 27"/>
                <a:gd name="T7" fmla="*/ 9 h 52"/>
                <a:gd name="T8" fmla="*/ 2 w 27"/>
                <a:gd name="T9" fmla="*/ 6 h 52"/>
                <a:gd name="T10" fmla="*/ 0 w 27"/>
                <a:gd name="T11" fmla="*/ 21 h 52"/>
                <a:gd name="T12" fmla="*/ 7 w 27"/>
                <a:gd name="T13" fmla="*/ 36 h 52"/>
                <a:gd name="T14" fmla="*/ 20 w 27"/>
                <a:gd name="T15" fmla="*/ 49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" h="52">
                  <a:moveTo>
                    <a:pt x="20" y="49"/>
                  </a:moveTo>
                  <a:cubicBezTo>
                    <a:pt x="26" y="52"/>
                    <a:pt x="27" y="48"/>
                    <a:pt x="27" y="42"/>
                  </a:cubicBezTo>
                  <a:cubicBezTo>
                    <a:pt x="27" y="36"/>
                    <a:pt x="27" y="32"/>
                    <a:pt x="21" y="28"/>
                  </a:cubicBezTo>
                  <a:cubicBezTo>
                    <a:pt x="16" y="24"/>
                    <a:pt x="19" y="13"/>
                    <a:pt x="15" y="9"/>
                  </a:cubicBezTo>
                  <a:cubicBezTo>
                    <a:pt x="12" y="6"/>
                    <a:pt x="4" y="0"/>
                    <a:pt x="2" y="6"/>
                  </a:cubicBezTo>
                  <a:cubicBezTo>
                    <a:pt x="2" y="6"/>
                    <a:pt x="0" y="15"/>
                    <a:pt x="0" y="21"/>
                  </a:cubicBezTo>
                  <a:cubicBezTo>
                    <a:pt x="0" y="27"/>
                    <a:pt x="2" y="32"/>
                    <a:pt x="7" y="36"/>
                  </a:cubicBezTo>
                  <a:cubicBezTo>
                    <a:pt x="13" y="40"/>
                    <a:pt x="13" y="47"/>
                    <a:pt x="20" y="4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474" name="Freeform 25667"/>
            <p:cNvSpPr>
              <a:spLocks/>
            </p:cNvSpPr>
            <p:nvPr/>
          </p:nvSpPr>
          <p:spPr bwMode="auto">
            <a:xfrm>
              <a:off x="5318871" y="4122528"/>
              <a:ext cx="8681" cy="7418"/>
            </a:xfrm>
            <a:custGeom>
              <a:avLst/>
              <a:gdLst>
                <a:gd name="T0" fmla="*/ 18 w 23"/>
                <a:gd name="T1" fmla="*/ 15 h 20"/>
                <a:gd name="T2" fmla="*/ 10 w 23"/>
                <a:gd name="T3" fmla="*/ 4 h 20"/>
                <a:gd name="T4" fmla="*/ 4 w 23"/>
                <a:gd name="T5" fmla="*/ 16 h 20"/>
                <a:gd name="T6" fmla="*/ 18 w 23"/>
                <a:gd name="T7" fmla="*/ 15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" h="20">
                  <a:moveTo>
                    <a:pt x="18" y="15"/>
                  </a:moveTo>
                  <a:cubicBezTo>
                    <a:pt x="20" y="12"/>
                    <a:pt x="23" y="0"/>
                    <a:pt x="10" y="4"/>
                  </a:cubicBezTo>
                  <a:cubicBezTo>
                    <a:pt x="10" y="4"/>
                    <a:pt x="0" y="11"/>
                    <a:pt x="4" y="16"/>
                  </a:cubicBezTo>
                  <a:cubicBezTo>
                    <a:pt x="7" y="20"/>
                    <a:pt x="16" y="19"/>
                    <a:pt x="18" y="1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475" name="Freeform 25668"/>
            <p:cNvSpPr>
              <a:spLocks/>
            </p:cNvSpPr>
            <p:nvPr/>
          </p:nvSpPr>
          <p:spPr bwMode="auto">
            <a:xfrm>
              <a:off x="5331970" y="4114320"/>
              <a:ext cx="16099" cy="14836"/>
            </a:xfrm>
            <a:custGeom>
              <a:avLst/>
              <a:gdLst>
                <a:gd name="T0" fmla="*/ 26 w 43"/>
                <a:gd name="T1" fmla="*/ 31 h 40"/>
                <a:gd name="T2" fmla="*/ 33 w 43"/>
                <a:gd name="T3" fmla="*/ 18 h 40"/>
                <a:gd name="T4" fmla="*/ 43 w 43"/>
                <a:gd name="T5" fmla="*/ 10 h 40"/>
                <a:gd name="T6" fmla="*/ 28 w 43"/>
                <a:gd name="T7" fmla="*/ 4 h 40"/>
                <a:gd name="T8" fmla="*/ 14 w 43"/>
                <a:gd name="T9" fmla="*/ 19 h 40"/>
                <a:gd name="T10" fmla="*/ 6 w 43"/>
                <a:gd name="T11" fmla="*/ 33 h 40"/>
                <a:gd name="T12" fmla="*/ 26 w 43"/>
                <a:gd name="T13" fmla="*/ 31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" h="40">
                  <a:moveTo>
                    <a:pt x="26" y="31"/>
                  </a:moveTo>
                  <a:cubicBezTo>
                    <a:pt x="28" y="25"/>
                    <a:pt x="25" y="18"/>
                    <a:pt x="33" y="18"/>
                  </a:cubicBezTo>
                  <a:cubicBezTo>
                    <a:pt x="42" y="18"/>
                    <a:pt x="43" y="14"/>
                    <a:pt x="43" y="10"/>
                  </a:cubicBezTo>
                  <a:cubicBezTo>
                    <a:pt x="42" y="5"/>
                    <a:pt x="35" y="0"/>
                    <a:pt x="28" y="4"/>
                  </a:cubicBezTo>
                  <a:cubicBezTo>
                    <a:pt x="22" y="9"/>
                    <a:pt x="26" y="15"/>
                    <a:pt x="14" y="19"/>
                  </a:cubicBezTo>
                  <a:cubicBezTo>
                    <a:pt x="14" y="19"/>
                    <a:pt x="0" y="26"/>
                    <a:pt x="6" y="33"/>
                  </a:cubicBezTo>
                  <a:cubicBezTo>
                    <a:pt x="11" y="40"/>
                    <a:pt x="25" y="36"/>
                    <a:pt x="26" y="31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476" name="Freeform 25669"/>
            <p:cNvSpPr>
              <a:spLocks/>
            </p:cNvSpPr>
            <p:nvPr/>
          </p:nvSpPr>
          <p:spPr bwMode="auto">
            <a:xfrm>
              <a:off x="5349175" y="4127736"/>
              <a:ext cx="12627" cy="17835"/>
            </a:xfrm>
            <a:custGeom>
              <a:avLst/>
              <a:gdLst>
                <a:gd name="T0" fmla="*/ 5 w 34"/>
                <a:gd name="T1" fmla="*/ 43 h 48"/>
                <a:gd name="T2" fmla="*/ 24 w 34"/>
                <a:gd name="T3" fmla="*/ 31 h 48"/>
                <a:gd name="T4" fmla="*/ 22 w 34"/>
                <a:gd name="T5" fmla="*/ 13 h 48"/>
                <a:gd name="T6" fmla="*/ 9 w 34"/>
                <a:gd name="T7" fmla="*/ 27 h 48"/>
                <a:gd name="T8" fmla="*/ 5 w 34"/>
                <a:gd name="T9" fmla="*/ 43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48">
                  <a:moveTo>
                    <a:pt x="5" y="43"/>
                  </a:moveTo>
                  <a:cubicBezTo>
                    <a:pt x="10" y="48"/>
                    <a:pt x="22" y="40"/>
                    <a:pt x="24" y="31"/>
                  </a:cubicBezTo>
                  <a:cubicBezTo>
                    <a:pt x="27" y="21"/>
                    <a:pt x="34" y="0"/>
                    <a:pt x="22" y="13"/>
                  </a:cubicBezTo>
                  <a:cubicBezTo>
                    <a:pt x="22" y="13"/>
                    <a:pt x="19" y="21"/>
                    <a:pt x="9" y="27"/>
                  </a:cubicBezTo>
                  <a:cubicBezTo>
                    <a:pt x="0" y="32"/>
                    <a:pt x="0" y="39"/>
                    <a:pt x="5" y="43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477" name="Freeform 25670"/>
            <p:cNvSpPr>
              <a:spLocks/>
            </p:cNvSpPr>
            <p:nvPr/>
          </p:nvSpPr>
          <p:spPr bwMode="auto">
            <a:xfrm>
              <a:off x="5310032" y="4116530"/>
              <a:ext cx="176616" cy="342026"/>
            </a:xfrm>
            <a:custGeom>
              <a:avLst/>
              <a:gdLst>
                <a:gd name="T0" fmla="*/ 436 w 474"/>
                <a:gd name="T1" fmla="*/ 108 h 917"/>
                <a:gd name="T2" fmla="*/ 403 w 474"/>
                <a:gd name="T3" fmla="*/ 34 h 917"/>
                <a:gd name="T4" fmla="*/ 375 w 474"/>
                <a:gd name="T5" fmla="*/ 7 h 917"/>
                <a:gd name="T6" fmla="*/ 352 w 474"/>
                <a:gd name="T7" fmla="*/ 34 h 917"/>
                <a:gd name="T8" fmla="*/ 352 w 474"/>
                <a:gd name="T9" fmla="*/ 84 h 917"/>
                <a:gd name="T10" fmla="*/ 324 w 474"/>
                <a:gd name="T11" fmla="*/ 98 h 917"/>
                <a:gd name="T12" fmla="*/ 308 w 474"/>
                <a:gd name="T13" fmla="*/ 105 h 917"/>
                <a:gd name="T14" fmla="*/ 304 w 474"/>
                <a:gd name="T15" fmla="*/ 141 h 917"/>
                <a:gd name="T16" fmla="*/ 300 w 474"/>
                <a:gd name="T17" fmla="*/ 185 h 917"/>
                <a:gd name="T18" fmla="*/ 261 w 474"/>
                <a:gd name="T19" fmla="*/ 188 h 917"/>
                <a:gd name="T20" fmla="*/ 222 w 474"/>
                <a:gd name="T21" fmla="*/ 221 h 917"/>
                <a:gd name="T22" fmla="*/ 174 w 474"/>
                <a:gd name="T23" fmla="*/ 256 h 917"/>
                <a:gd name="T24" fmla="*/ 114 w 474"/>
                <a:gd name="T25" fmla="*/ 267 h 917"/>
                <a:gd name="T26" fmla="*/ 71 w 474"/>
                <a:gd name="T27" fmla="*/ 284 h 917"/>
                <a:gd name="T28" fmla="*/ 43 w 474"/>
                <a:gd name="T29" fmla="*/ 360 h 917"/>
                <a:gd name="T30" fmla="*/ 58 w 474"/>
                <a:gd name="T31" fmla="*/ 441 h 917"/>
                <a:gd name="T32" fmla="*/ 79 w 474"/>
                <a:gd name="T33" fmla="*/ 508 h 917"/>
                <a:gd name="T34" fmla="*/ 52 w 474"/>
                <a:gd name="T35" fmla="*/ 579 h 917"/>
                <a:gd name="T36" fmla="*/ 15 w 474"/>
                <a:gd name="T37" fmla="*/ 631 h 917"/>
                <a:gd name="T38" fmla="*/ 6 w 474"/>
                <a:gd name="T39" fmla="*/ 706 h 917"/>
                <a:gd name="T40" fmla="*/ 32 w 474"/>
                <a:gd name="T41" fmla="*/ 764 h 917"/>
                <a:gd name="T42" fmla="*/ 26 w 474"/>
                <a:gd name="T43" fmla="*/ 819 h 917"/>
                <a:gd name="T44" fmla="*/ 68 w 474"/>
                <a:gd name="T45" fmla="*/ 878 h 917"/>
                <a:gd name="T46" fmla="*/ 156 w 474"/>
                <a:gd name="T47" fmla="*/ 904 h 917"/>
                <a:gd name="T48" fmla="*/ 222 w 474"/>
                <a:gd name="T49" fmla="*/ 876 h 917"/>
                <a:gd name="T50" fmla="*/ 267 w 474"/>
                <a:gd name="T51" fmla="*/ 808 h 917"/>
                <a:gd name="T52" fmla="*/ 321 w 474"/>
                <a:gd name="T53" fmla="*/ 649 h 917"/>
                <a:gd name="T54" fmla="*/ 367 w 474"/>
                <a:gd name="T55" fmla="*/ 501 h 917"/>
                <a:gd name="T56" fmla="*/ 408 w 474"/>
                <a:gd name="T57" fmla="*/ 335 h 917"/>
                <a:gd name="T58" fmla="*/ 410 w 474"/>
                <a:gd name="T59" fmla="*/ 259 h 917"/>
                <a:gd name="T60" fmla="*/ 443 w 474"/>
                <a:gd name="T61" fmla="*/ 258 h 917"/>
                <a:gd name="T62" fmla="*/ 462 w 474"/>
                <a:gd name="T63" fmla="*/ 233 h 917"/>
                <a:gd name="T64" fmla="*/ 443 w 474"/>
                <a:gd name="T65" fmla="*/ 167 h 9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74" h="917">
                  <a:moveTo>
                    <a:pt x="443" y="167"/>
                  </a:moveTo>
                  <a:cubicBezTo>
                    <a:pt x="444" y="148"/>
                    <a:pt x="439" y="130"/>
                    <a:pt x="436" y="108"/>
                  </a:cubicBezTo>
                  <a:cubicBezTo>
                    <a:pt x="433" y="86"/>
                    <a:pt x="430" y="76"/>
                    <a:pt x="421" y="61"/>
                  </a:cubicBezTo>
                  <a:cubicBezTo>
                    <a:pt x="412" y="46"/>
                    <a:pt x="403" y="43"/>
                    <a:pt x="403" y="34"/>
                  </a:cubicBezTo>
                  <a:cubicBezTo>
                    <a:pt x="403" y="25"/>
                    <a:pt x="391" y="21"/>
                    <a:pt x="391" y="14"/>
                  </a:cubicBezTo>
                  <a:cubicBezTo>
                    <a:pt x="391" y="7"/>
                    <a:pt x="375" y="0"/>
                    <a:pt x="375" y="7"/>
                  </a:cubicBezTo>
                  <a:cubicBezTo>
                    <a:pt x="375" y="14"/>
                    <a:pt x="376" y="26"/>
                    <a:pt x="369" y="28"/>
                  </a:cubicBezTo>
                  <a:cubicBezTo>
                    <a:pt x="362" y="30"/>
                    <a:pt x="345" y="25"/>
                    <a:pt x="352" y="34"/>
                  </a:cubicBezTo>
                  <a:cubicBezTo>
                    <a:pt x="359" y="43"/>
                    <a:pt x="359" y="48"/>
                    <a:pt x="359" y="60"/>
                  </a:cubicBezTo>
                  <a:cubicBezTo>
                    <a:pt x="359" y="72"/>
                    <a:pt x="357" y="72"/>
                    <a:pt x="352" y="84"/>
                  </a:cubicBezTo>
                  <a:cubicBezTo>
                    <a:pt x="347" y="96"/>
                    <a:pt x="342" y="97"/>
                    <a:pt x="334" y="92"/>
                  </a:cubicBezTo>
                  <a:cubicBezTo>
                    <a:pt x="326" y="87"/>
                    <a:pt x="318" y="91"/>
                    <a:pt x="324" y="98"/>
                  </a:cubicBezTo>
                  <a:cubicBezTo>
                    <a:pt x="330" y="105"/>
                    <a:pt x="334" y="114"/>
                    <a:pt x="323" y="114"/>
                  </a:cubicBezTo>
                  <a:cubicBezTo>
                    <a:pt x="312" y="114"/>
                    <a:pt x="323" y="104"/>
                    <a:pt x="308" y="105"/>
                  </a:cubicBezTo>
                  <a:cubicBezTo>
                    <a:pt x="293" y="106"/>
                    <a:pt x="285" y="116"/>
                    <a:pt x="293" y="123"/>
                  </a:cubicBezTo>
                  <a:cubicBezTo>
                    <a:pt x="301" y="130"/>
                    <a:pt x="307" y="134"/>
                    <a:pt x="304" y="141"/>
                  </a:cubicBezTo>
                  <a:cubicBezTo>
                    <a:pt x="301" y="148"/>
                    <a:pt x="284" y="143"/>
                    <a:pt x="284" y="154"/>
                  </a:cubicBezTo>
                  <a:cubicBezTo>
                    <a:pt x="284" y="165"/>
                    <a:pt x="315" y="191"/>
                    <a:pt x="300" y="185"/>
                  </a:cubicBezTo>
                  <a:cubicBezTo>
                    <a:pt x="285" y="179"/>
                    <a:pt x="287" y="176"/>
                    <a:pt x="279" y="178"/>
                  </a:cubicBezTo>
                  <a:cubicBezTo>
                    <a:pt x="271" y="180"/>
                    <a:pt x="264" y="175"/>
                    <a:pt x="261" y="188"/>
                  </a:cubicBezTo>
                  <a:cubicBezTo>
                    <a:pt x="258" y="201"/>
                    <a:pt x="260" y="203"/>
                    <a:pt x="248" y="206"/>
                  </a:cubicBezTo>
                  <a:cubicBezTo>
                    <a:pt x="236" y="209"/>
                    <a:pt x="227" y="212"/>
                    <a:pt x="222" y="221"/>
                  </a:cubicBezTo>
                  <a:cubicBezTo>
                    <a:pt x="217" y="230"/>
                    <a:pt x="200" y="222"/>
                    <a:pt x="195" y="235"/>
                  </a:cubicBezTo>
                  <a:cubicBezTo>
                    <a:pt x="190" y="248"/>
                    <a:pt x="196" y="256"/>
                    <a:pt x="174" y="256"/>
                  </a:cubicBezTo>
                  <a:cubicBezTo>
                    <a:pt x="152" y="256"/>
                    <a:pt x="149" y="259"/>
                    <a:pt x="144" y="266"/>
                  </a:cubicBezTo>
                  <a:cubicBezTo>
                    <a:pt x="139" y="273"/>
                    <a:pt x="123" y="256"/>
                    <a:pt x="114" y="267"/>
                  </a:cubicBezTo>
                  <a:cubicBezTo>
                    <a:pt x="105" y="278"/>
                    <a:pt x="107" y="278"/>
                    <a:pt x="95" y="278"/>
                  </a:cubicBezTo>
                  <a:cubicBezTo>
                    <a:pt x="83" y="278"/>
                    <a:pt x="72" y="266"/>
                    <a:pt x="71" y="284"/>
                  </a:cubicBezTo>
                  <a:cubicBezTo>
                    <a:pt x="70" y="302"/>
                    <a:pt x="79" y="314"/>
                    <a:pt x="66" y="327"/>
                  </a:cubicBezTo>
                  <a:cubicBezTo>
                    <a:pt x="53" y="340"/>
                    <a:pt x="43" y="335"/>
                    <a:pt x="43" y="360"/>
                  </a:cubicBezTo>
                  <a:cubicBezTo>
                    <a:pt x="43" y="360"/>
                    <a:pt x="40" y="398"/>
                    <a:pt x="51" y="407"/>
                  </a:cubicBezTo>
                  <a:cubicBezTo>
                    <a:pt x="62" y="416"/>
                    <a:pt x="49" y="435"/>
                    <a:pt x="58" y="441"/>
                  </a:cubicBezTo>
                  <a:cubicBezTo>
                    <a:pt x="67" y="447"/>
                    <a:pt x="58" y="468"/>
                    <a:pt x="68" y="475"/>
                  </a:cubicBezTo>
                  <a:cubicBezTo>
                    <a:pt x="78" y="482"/>
                    <a:pt x="80" y="492"/>
                    <a:pt x="79" y="508"/>
                  </a:cubicBezTo>
                  <a:cubicBezTo>
                    <a:pt x="78" y="524"/>
                    <a:pt x="77" y="537"/>
                    <a:pt x="68" y="549"/>
                  </a:cubicBezTo>
                  <a:cubicBezTo>
                    <a:pt x="59" y="561"/>
                    <a:pt x="56" y="566"/>
                    <a:pt x="52" y="579"/>
                  </a:cubicBezTo>
                  <a:cubicBezTo>
                    <a:pt x="48" y="592"/>
                    <a:pt x="39" y="591"/>
                    <a:pt x="33" y="603"/>
                  </a:cubicBezTo>
                  <a:cubicBezTo>
                    <a:pt x="27" y="615"/>
                    <a:pt x="15" y="619"/>
                    <a:pt x="15" y="631"/>
                  </a:cubicBezTo>
                  <a:cubicBezTo>
                    <a:pt x="15" y="643"/>
                    <a:pt x="8" y="653"/>
                    <a:pt x="4" y="664"/>
                  </a:cubicBezTo>
                  <a:cubicBezTo>
                    <a:pt x="0" y="675"/>
                    <a:pt x="4" y="690"/>
                    <a:pt x="6" y="706"/>
                  </a:cubicBezTo>
                  <a:cubicBezTo>
                    <a:pt x="8" y="722"/>
                    <a:pt x="10" y="726"/>
                    <a:pt x="19" y="736"/>
                  </a:cubicBezTo>
                  <a:cubicBezTo>
                    <a:pt x="28" y="746"/>
                    <a:pt x="42" y="752"/>
                    <a:pt x="32" y="764"/>
                  </a:cubicBezTo>
                  <a:cubicBezTo>
                    <a:pt x="22" y="776"/>
                    <a:pt x="22" y="768"/>
                    <a:pt x="22" y="783"/>
                  </a:cubicBezTo>
                  <a:cubicBezTo>
                    <a:pt x="22" y="798"/>
                    <a:pt x="7" y="804"/>
                    <a:pt x="26" y="819"/>
                  </a:cubicBezTo>
                  <a:cubicBezTo>
                    <a:pt x="45" y="834"/>
                    <a:pt x="43" y="839"/>
                    <a:pt x="47" y="851"/>
                  </a:cubicBezTo>
                  <a:cubicBezTo>
                    <a:pt x="51" y="863"/>
                    <a:pt x="56" y="873"/>
                    <a:pt x="68" y="878"/>
                  </a:cubicBezTo>
                  <a:cubicBezTo>
                    <a:pt x="80" y="883"/>
                    <a:pt x="92" y="886"/>
                    <a:pt x="110" y="898"/>
                  </a:cubicBezTo>
                  <a:cubicBezTo>
                    <a:pt x="128" y="910"/>
                    <a:pt x="151" y="917"/>
                    <a:pt x="156" y="904"/>
                  </a:cubicBezTo>
                  <a:cubicBezTo>
                    <a:pt x="161" y="891"/>
                    <a:pt x="178" y="890"/>
                    <a:pt x="189" y="884"/>
                  </a:cubicBezTo>
                  <a:cubicBezTo>
                    <a:pt x="200" y="878"/>
                    <a:pt x="213" y="876"/>
                    <a:pt x="222" y="876"/>
                  </a:cubicBezTo>
                  <a:cubicBezTo>
                    <a:pt x="231" y="876"/>
                    <a:pt x="243" y="875"/>
                    <a:pt x="250" y="857"/>
                  </a:cubicBezTo>
                  <a:cubicBezTo>
                    <a:pt x="257" y="839"/>
                    <a:pt x="257" y="827"/>
                    <a:pt x="267" y="808"/>
                  </a:cubicBezTo>
                  <a:cubicBezTo>
                    <a:pt x="277" y="789"/>
                    <a:pt x="283" y="769"/>
                    <a:pt x="288" y="753"/>
                  </a:cubicBezTo>
                  <a:cubicBezTo>
                    <a:pt x="293" y="737"/>
                    <a:pt x="319" y="670"/>
                    <a:pt x="321" y="649"/>
                  </a:cubicBezTo>
                  <a:cubicBezTo>
                    <a:pt x="323" y="628"/>
                    <a:pt x="325" y="596"/>
                    <a:pt x="335" y="575"/>
                  </a:cubicBezTo>
                  <a:cubicBezTo>
                    <a:pt x="345" y="554"/>
                    <a:pt x="363" y="519"/>
                    <a:pt x="367" y="501"/>
                  </a:cubicBezTo>
                  <a:cubicBezTo>
                    <a:pt x="371" y="483"/>
                    <a:pt x="392" y="445"/>
                    <a:pt x="393" y="409"/>
                  </a:cubicBezTo>
                  <a:cubicBezTo>
                    <a:pt x="394" y="373"/>
                    <a:pt x="398" y="350"/>
                    <a:pt x="408" y="335"/>
                  </a:cubicBezTo>
                  <a:cubicBezTo>
                    <a:pt x="418" y="320"/>
                    <a:pt x="429" y="305"/>
                    <a:pt x="424" y="293"/>
                  </a:cubicBezTo>
                  <a:cubicBezTo>
                    <a:pt x="419" y="281"/>
                    <a:pt x="410" y="275"/>
                    <a:pt x="410" y="259"/>
                  </a:cubicBezTo>
                  <a:cubicBezTo>
                    <a:pt x="410" y="243"/>
                    <a:pt x="422" y="220"/>
                    <a:pt x="428" y="237"/>
                  </a:cubicBezTo>
                  <a:cubicBezTo>
                    <a:pt x="434" y="254"/>
                    <a:pt x="433" y="258"/>
                    <a:pt x="443" y="258"/>
                  </a:cubicBezTo>
                  <a:cubicBezTo>
                    <a:pt x="453" y="258"/>
                    <a:pt x="459" y="260"/>
                    <a:pt x="456" y="249"/>
                  </a:cubicBezTo>
                  <a:cubicBezTo>
                    <a:pt x="453" y="238"/>
                    <a:pt x="450" y="235"/>
                    <a:pt x="462" y="233"/>
                  </a:cubicBezTo>
                  <a:cubicBezTo>
                    <a:pt x="474" y="231"/>
                    <a:pt x="463" y="214"/>
                    <a:pt x="453" y="201"/>
                  </a:cubicBezTo>
                  <a:cubicBezTo>
                    <a:pt x="443" y="188"/>
                    <a:pt x="442" y="186"/>
                    <a:pt x="443" y="167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478" name="Freeform 25671"/>
            <p:cNvSpPr>
              <a:spLocks/>
            </p:cNvSpPr>
            <p:nvPr/>
          </p:nvSpPr>
          <p:spPr bwMode="auto">
            <a:xfrm>
              <a:off x="4561267" y="4235063"/>
              <a:ext cx="319140" cy="306198"/>
            </a:xfrm>
            <a:custGeom>
              <a:avLst/>
              <a:gdLst>
                <a:gd name="T0" fmla="*/ 356 w 856"/>
                <a:gd name="T1" fmla="*/ 777 h 821"/>
                <a:gd name="T2" fmla="*/ 402 w 856"/>
                <a:gd name="T3" fmla="*/ 813 h 821"/>
                <a:gd name="T4" fmla="*/ 482 w 856"/>
                <a:gd name="T5" fmla="*/ 808 h 821"/>
                <a:gd name="T6" fmla="*/ 523 w 856"/>
                <a:gd name="T7" fmla="*/ 765 h 821"/>
                <a:gd name="T8" fmla="*/ 523 w 856"/>
                <a:gd name="T9" fmla="*/ 763 h 821"/>
                <a:gd name="T10" fmla="*/ 523 w 856"/>
                <a:gd name="T11" fmla="*/ 761 h 821"/>
                <a:gd name="T12" fmla="*/ 523 w 856"/>
                <a:gd name="T13" fmla="*/ 758 h 821"/>
                <a:gd name="T14" fmla="*/ 523 w 856"/>
                <a:gd name="T15" fmla="*/ 755 h 821"/>
                <a:gd name="T16" fmla="*/ 523 w 856"/>
                <a:gd name="T17" fmla="*/ 751 h 821"/>
                <a:gd name="T18" fmla="*/ 523 w 856"/>
                <a:gd name="T19" fmla="*/ 747 h 821"/>
                <a:gd name="T20" fmla="*/ 523 w 856"/>
                <a:gd name="T21" fmla="*/ 743 h 821"/>
                <a:gd name="T22" fmla="*/ 524 w 856"/>
                <a:gd name="T23" fmla="*/ 403 h 821"/>
                <a:gd name="T24" fmla="*/ 524 w 856"/>
                <a:gd name="T25" fmla="*/ 393 h 821"/>
                <a:gd name="T26" fmla="*/ 524 w 856"/>
                <a:gd name="T27" fmla="*/ 385 h 821"/>
                <a:gd name="T28" fmla="*/ 524 w 856"/>
                <a:gd name="T29" fmla="*/ 381 h 821"/>
                <a:gd name="T30" fmla="*/ 524 w 856"/>
                <a:gd name="T31" fmla="*/ 377 h 821"/>
                <a:gd name="T32" fmla="*/ 584 w 856"/>
                <a:gd name="T33" fmla="*/ 339 h 821"/>
                <a:gd name="T34" fmla="*/ 644 w 856"/>
                <a:gd name="T35" fmla="*/ 92 h 821"/>
                <a:gd name="T36" fmla="*/ 739 w 856"/>
                <a:gd name="T37" fmla="*/ 84 h 821"/>
                <a:gd name="T38" fmla="*/ 795 w 856"/>
                <a:gd name="T39" fmla="*/ 80 h 821"/>
                <a:gd name="T40" fmla="*/ 856 w 856"/>
                <a:gd name="T41" fmla="*/ 66 h 821"/>
                <a:gd name="T42" fmla="*/ 766 w 856"/>
                <a:gd name="T43" fmla="*/ 51 h 821"/>
                <a:gd name="T44" fmla="*/ 761 w 856"/>
                <a:gd name="T45" fmla="*/ 53 h 821"/>
                <a:gd name="T46" fmla="*/ 756 w 856"/>
                <a:gd name="T47" fmla="*/ 55 h 821"/>
                <a:gd name="T48" fmla="*/ 752 w 856"/>
                <a:gd name="T49" fmla="*/ 55 h 821"/>
                <a:gd name="T50" fmla="*/ 746 w 856"/>
                <a:gd name="T51" fmla="*/ 56 h 821"/>
                <a:gd name="T52" fmla="*/ 731 w 856"/>
                <a:gd name="T53" fmla="*/ 57 h 821"/>
                <a:gd name="T54" fmla="*/ 719 w 856"/>
                <a:gd name="T55" fmla="*/ 59 h 821"/>
                <a:gd name="T56" fmla="*/ 552 w 856"/>
                <a:gd name="T57" fmla="*/ 71 h 821"/>
                <a:gd name="T58" fmla="*/ 423 w 856"/>
                <a:gd name="T59" fmla="*/ 36 h 821"/>
                <a:gd name="T60" fmla="*/ 112 w 856"/>
                <a:gd name="T61" fmla="*/ 16 h 821"/>
                <a:gd name="T62" fmla="*/ 36 w 856"/>
                <a:gd name="T63" fmla="*/ 28 h 821"/>
                <a:gd name="T64" fmla="*/ 1 w 856"/>
                <a:gd name="T65" fmla="*/ 22 h 821"/>
                <a:gd name="T66" fmla="*/ 59 w 856"/>
                <a:gd name="T67" fmla="*/ 152 h 821"/>
                <a:gd name="T68" fmla="*/ 102 w 856"/>
                <a:gd name="T69" fmla="*/ 257 h 821"/>
                <a:gd name="T70" fmla="*/ 169 w 856"/>
                <a:gd name="T71" fmla="*/ 365 h 821"/>
                <a:gd name="T72" fmla="*/ 182 w 856"/>
                <a:gd name="T73" fmla="*/ 501 h 821"/>
                <a:gd name="T74" fmla="*/ 206 w 856"/>
                <a:gd name="T75" fmla="*/ 633 h 821"/>
                <a:gd name="T76" fmla="*/ 262 w 856"/>
                <a:gd name="T77" fmla="*/ 748 h 821"/>
                <a:gd name="T78" fmla="*/ 314 w 856"/>
                <a:gd name="T79" fmla="*/ 785 h 8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856" h="821">
                  <a:moveTo>
                    <a:pt x="334" y="759"/>
                  </a:moveTo>
                  <a:cubicBezTo>
                    <a:pt x="354" y="763"/>
                    <a:pt x="354" y="761"/>
                    <a:pt x="356" y="777"/>
                  </a:cubicBezTo>
                  <a:cubicBezTo>
                    <a:pt x="359" y="793"/>
                    <a:pt x="351" y="804"/>
                    <a:pt x="370" y="807"/>
                  </a:cubicBezTo>
                  <a:cubicBezTo>
                    <a:pt x="388" y="809"/>
                    <a:pt x="394" y="805"/>
                    <a:pt x="402" y="813"/>
                  </a:cubicBezTo>
                  <a:cubicBezTo>
                    <a:pt x="410" y="821"/>
                    <a:pt x="430" y="811"/>
                    <a:pt x="444" y="813"/>
                  </a:cubicBezTo>
                  <a:cubicBezTo>
                    <a:pt x="459" y="816"/>
                    <a:pt x="475" y="819"/>
                    <a:pt x="482" y="808"/>
                  </a:cubicBezTo>
                  <a:cubicBezTo>
                    <a:pt x="488" y="797"/>
                    <a:pt x="496" y="787"/>
                    <a:pt x="508" y="788"/>
                  </a:cubicBezTo>
                  <a:cubicBezTo>
                    <a:pt x="520" y="789"/>
                    <a:pt x="522" y="792"/>
                    <a:pt x="523" y="765"/>
                  </a:cubicBezTo>
                  <a:cubicBezTo>
                    <a:pt x="523" y="765"/>
                    <a:pt x="523" y="764"/>
                    <a:pt x="523" y="764"/>
                  </a:cubicBezTo>
                  <a:cubicBezTo>
                    <a:pt x="523" y="764"/>
                    <a:pt x="523" y="763"/>
                    <a:pt x="523" y="763"/>
                  </a:cubicBezTo>
                  <a:cubicBezTo>
                    <a:pt x="523" y="763"/>
                    <a:pt x="523" y="762"/>
                    <a:pt x="523" y="762"/>
                  </a:cubicBezTo>
                  <a:cubicBezTo>
                    <a:pt x="523" y="761"/>
                    <a:pt x="523" y="761"/>
                    <a:pt x="523" y="761"/>
                  </a:cubicBezTo>
                  <a:cubicBezTo>
                    <a:pt x="523" y="760"/>
                    <a:pt x="523" y="760"/>
                    <a:pt x="523" y="759"/>
                  </a:cubicBezTo>
                  <a:cubicBezTo>
                    <a:pt x="523" y="759"/>
                    <a:pt x="523" y="758"/>
                    <a:pt x="523" y="758"/>
                  </a:cubicBezTo>
                  <a:cubicBezTo>
                    <a:pt x="523" y="757"/>
                    <a:pt x="523" y="757"/>
                    <a:pt x="523" y="756"/>
                  </a:cubicBezTo>
                  <a:cubicBezTo>
                    <a:pt x="523" y="755"/>
                    <a:pt x="523" y="755"/>
                    <a:pt x="523" y="755"/>
                  </a:cubicBezTo>
                  <a:cubicBezTo>
                    <a:pt x="523" y="754"/>
                    <a:pt x="523" y="753"/>
                    <a:pt x="523" y="752"/>
                  </a:cubicBezTo>
                  <a:cubicBezTo>
                    <a:pt x="523" y="752"/>
                    <a:pt x="523" y="751"/>
                    <a:pt x="523" y="751"/>
                  </a:cubicBezTo>
                  <a:cubicBezTo>
                    <a:pt x="523" y="750"/>
                    <a:pt x="523" y="749"/>
                    <a:pt x="523" y="748"/>
                  </a:cubicBezTo>
                  <a:cubicBezTo>
                    <a:pt x="523" y="748"/>
                    <a:pt x="523" y="747"/>
                    <a:pt x="523" y="747"/>
                  </a:cubicBezTo>
                  <a:cubicBezTo>
                    <a:pt x="523" y="746"/>
                    <a:pt x="523" y="744"/>
                    <a:pt x="523" y="743"/>
                  </a:cubicBezTo>
                  <a:cubicBezTo>
                    <a:pt x="523" y="743"/>
                    <a:pt x="523" y="743"/>
                    <a:pt x="523" y="743"/>
                  </a:cubicBezTo>
                  <a:cubicBezTo>
                    <a:pt x="524" y="702"/>
                    <a:pt x="524" y="615"/>
                    <a:pt x="524" y="537"/>
                  </a:cubicBezTo>
                  <a:cubicBezTo>
                    <a:pt x="524" y="483"/>
                    <a:pt x="524" y="432"/>
                    <a:pt x="524" y="403"/>
                  </a:cubicBezTo>
                  <a:cubicBezTo>
                    <a:pt x="524" y="402"/>
                    <a:pt x="524" y="401"/>
                    <a:pt x="524" y="399"/>
                  </a:cubicBezTo>
                  <a:cubicBezTo>
                    <a:pt x="524" y="397"/>
                    <a:pt x="524" y="395"/>
                    <a:pt x="524" y="393"/>
                  </a:cubicBezTo>
                  <a:cubicBezTo>
                    <a:pt x="524" y="392"/>
                    <a:pt x="524" y="391"/>
                    <a:pt x="524" y="390"/>
                  </a:cubicBezTo>
                  <a:cubicBezTo>
                    <a:pt x="524" y="388"/>
                    <a:pt x="524" y="387"/>
                    <a:pt x="524" y="385"/>
                  </a:cubicBezTo>
                  <a:cubicBezTo>
                    <a:pt x="524" y="384"/>
                    <a:pt x="524" y="383"/>
                    <a:pt x="524" y="382"/>
                  </a:cubicBezTo>
                  <a:cubicBezTo>
                    <a:pt x="524" y="382"/>
                    <a:pt x="524" y="381"/>
                    <a:pt x="524" y="381"/>
                  </a:cubicBezTo>
                  <a:cubicBezTo>
                    <a:pt x="524" y="380"/>
                    <a:pt x="524" y="379"/>
                    <a:pt x="524" y="378"/>
                  </a:cubicBezTo>
                  <a:cubicBezTo>
                    <a:pt x="524" y="378"/>
                    <a:pt x="524" y="377"/>
                    <a:pt x="524" y="377"/>
                  </a:cubicBezTo>
                  <a:cubicBezTo>
                    <a:pt x="524" y="341"/>
                    <a:pt x="524" y="341"/>
                    <a:pt x="524" y="341"/>
                  </a:cubicBezTo>
                  <a:cubicBezTo>
                    <a:pt x="584" y="339"/>
                    <a:pt x="584" y="339"/>
                    <a:pt x="584" y="339"/>
                  </a:cubicBezTo>
                  <a:cubicBezTo>
                    <a:pt x="587" y="101"/>
                    <a:pt x="587" y="101"/>
                    <a:pt x="587" y="101"/>
                  </a:cubicBezTo>
                  <a:cubicBezTo>
                    <a:pt x="587" y="101"/>
                    <a:pt x="626" y="93"/>
                    <a:pt x="644" y="92"/>
                  </a:cubicBezTo>
                  <a:cubicBezTo>
                    <a:pt x="663" y="91"/>
                    <a:pt x="672" y="84"/>
                    <a:pt x="691" y="84"/>
                  </a:cubicBezTo>
                  <a:cubicBezTo>
                    <a:pt x="710" y="84"/>
                    <a:pt x="734" y="67"/>
                    <a:pt x="739" y="84"/>
                  </a:cubicBezTo>
                  <a:cubicBezTo>
                    <a:pt x="744" y="101"/>
                    <a:pt x="754" y="116"/>
                    <a:pt x="764" y="105"/>
                  </a:cubicBezTo>
                  <a:cubicBezTo>
                    <a:pt x="775" y="95"/>
                    <a:pt x="776" y="87"/>
                    <a:pt x="795" y="80"/>
                  </a:cubicBezTo>
                  <a:cubicBezTo>
                    <a:pt x="814" y="73"/>
                    <a:pt x="826" y="76"/>
                    <a:pt x="834" y="72"/>
                  </a:cubicBezTo>
                  <a:cubicBezTo>
                    <a:pt x="839" y="70"/>
                    <a:pt x="846" y="67"/>
                    <a:pt x="856" y="66"/>
                  </a:cubicBezTo>
                  <a:cubicBezTo>
                    <a:pt x="850" y="60"/>
                    <a:pt x="845" y="55"/>
                    <a:pt x="840" y="52"/>
                  </a:cubicBezTo>
                  <a:cubicBezTo>
                    <a:pt x="828" y="44"/>
                    <a:pt x="775" y="44"/>
                    <a:pt x="766" y="51"/>
                  </a:cubicBezTo>
                  <a:cubicBezTo>
                    <a:pt x="765" y="51"/>
                    <a:pt x="763" y="52"/>
                    <a:pt x="762" y="53"/>
                  </a:cubicBezTo>
                  <a:cubicBezTo>
                    <a:pt x="762" y="53"/>
                    <a:pt x="761" y="53"/>
                    <a:pt x="761" y="53"/>
                  </a:cubicBezTo>
                  <a:cubicBezTo>
                    <a:pt x="760" y="53"/>
                    <a:pt x="759" y="54"/>
                    <a:pt x="758" y="54"/>
                  </a:cubicBezTo>
                  <a:cubicBezTo>
                    <a:pt x="757" y="54"/>
                    <a:pt x="757" y="54"/>
                    <a:pt x="756" y="55"/>
                  </a:cubicBezTo>
                  <a:cubicBezTo>
                    <a:pt x="755" y="55"/>
                    <a:pt x="754" y="55"/>
                    <a:pt x="752" y="55"/>
                  </a:cubicBezTo>
                  <a:cubicBezTo>
                    <a:pt x="752" y="55"/>
                    <a:pt x="752" y="55"/>
                    <a:pt x="752" y="55"/>
                  </a:cubicBezTo>
                  <a:cubicBezTo>
                    <a:pt x="750" y="56"/>
                    <a:pt x="748" y="56"/>
                    <a:pt x="746" y="56"/>
                  </a:cubicBezTo>
                  <a:cubicBezTo>
                    <a:pt x="746" y="56"/>
                    <a:pt x="746" y="56"/>
                    <a:pt x="746" y="56"/>
                  </a:cubicBezTo>
                  <a:cubicBezTo>
                    <a:pt x="741" y="57"/>
                    <a:pt x="736" y="57"/>
                    <a:pt x="732" y="57"/>
                  </a:cubicBezTo>
                  <a:cubicBezTo>
                    <a:pt x="731" y="57"/>
                    <a:pt x="731" y="57"/>
                    <a:pt x="731" y="57"/>
                  </a:cubicBezTo>
                  <a:cubicBezTo>
                    <a:pt x="729" y="58"/>
                    <a:pt x="727" y="58"/>
                    <a:pt x="726" y="58"/>
                  </a:cubicBezTo>
                  <a:cubicBezTo>
                    <a:pt x="723" y="58"/>
                    <a:pt x="721" y="58"/>
                    <a:pt x="719" y="59"/>
                  </a:cubicBezTo>
                  <a:cubicBezTo>
                    <a:pt x="700" y="61"/>
                    <a:pt x="651" y="71"/>
                    <a:pt x="643" y="76"/>
                  </a:cubicBezTo>
                  <a:cubicBezTo>
                    <a:pt x="635" y="81"/>
                    <a:pt x="567" y="76"/>
                    <a:pt x="552" y="71"/>
                  </a:cubicBezTo>
                  <a:cubicBezTo>
                    <a:pt x="538" y="65"/>
                    <a:pt x="451" y="68"/>
                    <a:pt x="451" y="68"/>
                  </a:cubicBezTo>
                  <a:cubicBezTo>
                    <a:pt x="423" y="36"/>
                    <a:pt x="423" y="36"/>
                    <a:pt x="423" y="36"/>
                  </a:cubicBezTo>
                  <a:cubicBezTo>
                    <a:pt x="423" y="36"/>
                    <a:pt x="188" y="35"/>
                    <a:pt x="158" y="35"/>
                  </a:cubicBezTo>
                  <a:cubicBezTo>
                    <a:pt x="127" y="35"/>
                    <a:pt x="124" y="32"/>
                    <a:pt x="112" y="16"/>
                  </a:cubicBezTo>
                  <a:cubicBezTo>
                    <a:pt x="100" y="0"/>
                    <a:pt x="64" y="7"/>
                    <a:pt x="60" y="19"/>
                  </a:cubicBezTo>
                  <a:cubicBezTo>
                    <a:pt x="56" y="31"/>
                    <a:pt x="40" y="31"/>
                    <a:pt x="36" y="28"/>
                  </a:cubicBezTo>
                  <a:cubicBezTo>
                    <a:pt x="32" y="25"/>
                    <a:pt x="23" y="17"/>
                    <a:pt x="14" y="17"/>
                  </a:cubicBezTo>
                  <a:cubicBezTo>
                    <a:pt x="10" y="17"/>
                    <a:pt x="5" y="20"/>
                    <a:pt x="1" y="22"/>
                  </a:cubicBezTo>
                  <a:cubicBezTo>
                    <a:pt x="0" y="45"/>
                    <a:pt x="0" y="69"/>
                    <a:pt x="7" y="80"/>
                  </a:cubicBezTo>
                  <a:cubicBezTo>
                    <a:pt x="20" y="100"/>
                    <a:pt x="55" y="131"/>
                    <a:pt x="59" y="152"/>
                  </a:cubicBezTo>
                  <a:cubicBezTo>
                    <a:pt x="63" y="174"/>
                    <a:pt x="73" y="192"/>
                    <a:pt x="83" y="208"/>
                  </a:cubicBezTo>
                  <a:cubicBezTo>
                    <a:pt x="92" y="224"/>
                    <a:pt x="94" y="233"/>
                    <a:pt x="102" y="257"/>
                  </a:cubicBezTo>
                  <a:cubicBezTo>
                    <a:pt x="109" y="280"/>
                    <a:pt x="120" y="298"/>
                    <a:pt x="134" y="316"/>
                  </a:cubicBezTo>
                  <a:cubicBezTo>
                    <a:pt x="148" y="333"/>
                    <a:pt x="166" y="350"/>
                    <a:pt x="169" y="365"/>
                  </a:cubicBezTo>
                  <a:cubicBezTo>
                    <a:pt x="171" y="380"/>
                    <a:pt x="169" y="400"/>
                    <a:pt x="165" y="419"/>
                  </a:cubicBezTo>
                  <a:cubicBezTo>
                    <a:pt x="162" y="438"/>
                    <a:pt x="175" y="476"/>
                    <a:pt x="182" y="501"/>
                  </a:cubicBezTo>
                  <a:cubicBezTo>
                    <a:pt x="190" y="525"/>
                    <a:pt x="189" y="526"/>
                    <a:pt x="195" y="560"/>
                  </a:cubicBezTo>
                  <a:cubicBezTo>
                    <a:pt x="202" y="593"/>
                    <a:pt x="194" y="612"/>
                    <a:pt x="206" y="633"/>
                  </a:cubicBezTo>
                  <a:cubicBezTo>
                    <a:pt x="218" y="653"/>
                    <a:pt x="219" y="661"/>
                    <a:pt x="223" y="687"/>
                  </a:cubicBezTo>
                  <a:cubicBezTo>
                    <a:pt x="228" y="712"/>
                    <a:pt x="245" y="730"/>
                    <a:pt x="262" y="748"/>
                  </a:cubicBezTo>
                  <a:cubicBezTo>
                    <a:pt x="273" y="759"/>
                    <a:pt x="287" y="776"/>
                    <a:pt x="299" y="791"/>
                  </a:cubicBezTo>
                  <a:cubicBezTo>
                    <a:pt x="303" y="788"/>
                    <a:pt x="308" y="786"/>
                    <a:pt x="314" y="785"/>
                  </a:cubicBezTo>
                  <a:cubicBezTo>
                    <a:pt x="331" y="784"/>
                    <a:pt x="314" y="755"/>
                    <a:pt x="334" y="75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479" name="Freeform 25672"/>
            <p:cNvSpPr>
              <a:spLocks/>
            </p:cNvSpPr>
            <p:nvPr/>
          </p:nvSpPr>
          <p:spPr bwMode="auto">
            <a:xfrm>
              <a:off x="4756666" y="4259686"/>
              <a:ext cx="217337" cy="232332"/>
            </a:xfrm>
            <a:custGeom>
              <a:avLst/>
              <a:gdLst>
                <a:gd name="T0" fmla="*/ 582 w 583"/>
                <a:gd name="T1" fmla="*/ 279 h 623"/>
                <a:gd name="T2" fmla="*/ 581 w 583"/>
                <a:gd name="T3" fmla="*/ 278 h 623"/>
                <a:gd name="T4" fmla="*/ 580 w 583"/>
                <a:gd name="T5" fmla="*/ 276 h 623"/>
                <a:gd name="T6" fmla="*/ 580 w 583"/>
                <a:gd name="T7" fmla="*/ 275 h 623"/>
                <a:gd name="T8" fmla="*/ 578 w 583"/>
                <a:gd name="T9" fmla="*/ 273 h 623"/>
                <a:gd name="T10" fmla="*/ 578 w 583"/>
                <a:gd name="T11" fmla="*/ 272 h 623"/>
                <a:gd name="T12" fmla="*/ 576 w 583"/>
                <a:gd name="T13" fmla="*/ 269 h 623"/>
                <a:gd name="T14" fmla="*/ 518 w 583"/>
                <a:gd name="T15" fmla="*/ 251 h 623"/>
                <a:gd name="T16" fmla="*/ 503 w 583"/>
                <a:gd name="T17" fmla="*/ 231 h 623"/>
                <a:gd name="T18" fmla="*/ 487 w 583"/>
                <a:gd name="T19" fmla="*/ 206 h 623"/>
                <a:gd name="T20" fmla="*/ 482 w 583"/>
                <a:gd name="T21" fmla="*/ 179 h 623"/>
                <a:gd name="T22" fmla="*/ 462 w 583"/>
                <a:gd name="T23" fmla="*/ 158 h 623"/>
                <a:gd name="T24" fmla="*/ 428 w 583"/>
                <a:gd name="T25" fmla="*/ 135 h 623"/>
                <a:gd name="T26" fmla="*/ 378 w 583"/>
                <a:gd name="T27" fmla="*/ 69 h 623"/>
                <a:gd name="T28" fmla="*/ 351 w 583"/>
                <a:gd name="T29" fmla="*/ 33 h 623"/>
                <a:gd name="T30" fmla="*/ 332 w 583"/>
                <a:gd name="T31" fmla="*/ 0 h 623"/>
                <a:gd name="T32" fmla="*/ 310 w 583"/>
                <a:gd name="T33" fmla="*/ 6 h 623"/>
                <a:gd name="T34" fmla="*/ 271 w 583"/>
                <a:gd name="T35" fmla="*/ 14 h 623"/>
                <a:gd name="T36" fmla="*/ 240 w 583"/>
                <a:gd name="T37" fmla="*/ 39 h 623"/>
                <a:gd name="T38" fmla="*/ 215 w 583"/>
                <a:gd name="T39" fmla="*/ 18 h 623"/>
                <a:gd name="T40" fmla="*/ 167 w 583"/>
                <a:gd name="T41" fmla="*/ 18 h 623"/>
                <a:gd name="T42" fmla="*/ 120 w 583"/>
                <a:gd name="T43" fmla="*/ 26 h 623"/>
                <a:gd name="T44" fmla="*/ 63 w 583"/>
                <a:gd name="T45" fmla="*/ 35 h 623"/>
                <a:gd name="T46" fmla="*/ 60 w 583"/>
                <a:gd name="T47" fmla="*/ 273 h 623"/>
                <a:gd name="T48" fmla="*/ 0 w 583"/>
                <a:gd name="T49" fmla="*/ 275 h 623"/>
                <a:gd name="T50" fmla="*/ 0 w 583"/>
                <a:gd name="T51" fmla="*/ 311 h 623"/>
                <a:gd name="T52" fmla="*/ 0 w 583"/>
                <a:gd name="T53" fmla="*/ 312 h 623"/>
                <a:gd name="T54" fmla="*/ 0 w 583"/>
                <a:gd name="T55" fmla="*/ 315 h 623"/>
                <a:gd name="T56" fmla="*/ 0 w 583"/>
                <a:gd name="T57" fmla="*/ 316 h 623"/>
                <a:gd name="T58" fmla="*/ 0 w 583"/>
                <a:gd name="T59" fmla="*/ 319 h 623"/>
                <a:gd name="T60" fmla="*/ 0 w 583"/>
                <a:gd name="T61" fmla="*/ 324 h 623"/>
                <a:gd name="T62" fmla="*/ 0 w 583"/>
                <a:gd name="T63" fmla="*/ 327 h 623"/>
                <a:gd name="T64" fmla="*/ 0 w 583"/>
                <a:gd name="T65" fmla="*/ 333 h 623"/>
                <a:gd name="T66" fmla="*/ 0 w 583"/>
                <a:gd name="T67" fmla="*/ 337 h 623"/>
                <a:gd name="T68" fmla="*/ 0 w 583"/>
                <a:gd name="T69" fmla="*/ 471 h 623"/>
                <a:gd name="T70" fmla="*/ 22 w 583"/>
                <a:gd name="T71" fmla="*/ 481 h 623"/>
                <a:gd name="T72" fmla="*/ 40 w 583"/>
                <a:gd name="T73" fmla="*/ 515 h 623"/>
                <a:gd name="T74" fmla="*/ 49 w 583"/>
                <a:gd name="T75" fmla="*/ 539 h 623"/>
                <a:gd name="T76" fmla="*/ 54 w 583"/>
                <a:gd name="T77" fmla="*/ 559 h 623"/>
                <a:gd name="T78" fmla="*/ 40 w 583"/>
                <a:gd name="T79" fmla="*/ 579 h 623"/>
                <a:gd name="T80" fmla="*/ 38 w 583"/>
                <a:gd name="T81" fmla="*/ 601 h 623"/>
                <a:gd name="T82" fmla="*/ 44 w 583"/>
                <a:gd name="T83" fmla="*/ 615 h 623"/>
                <a:gd name="T84" fmla="*/ 74 w 583"/>
                <a:gd name="T85" fmla="*/ 604 h 623"/>
                <a:gd name="T86" fmla="*/ 118 w 583"/>
                <a:gd name="T87" fmla="*/ 597 h 623"/>
                <a:gd name="T88" fmla="*/ 147 w 583"/>
                <a:gd name="T89" fmla="*/ 571 h 623"/>
                <a:gd name="T90" fmla="*/ 174 w 583"/>
                <a:gd name="T91" fmla="*/ 539 h 623"/>
                <a:gd name="T92" fmla="*/ 192 w 583"/>
                <a:gd name="T93" fmla="*/ 497 h 623"/>
                <a:gd name="T94" fmla="*/ 230 w 583"/>
                <a:gd name="T95" fmla="*/ 509 h 623"/>
                <a:gd name="T96" fmla="*/ 266 w 583"/>
                <a:gd name="T97" fmla="*/ 531 h 623"/>
                <a:gd name="T98" fmla="*/ 320 w 583"/>
                <a:gd name="T99" fmla="*/ 533 h 623"/>
                <a:gd name="T100" fmla="*/ 368 w 583"/>
                <a:gd name="T101" fmla="*/ 500 h 623"/>
                <a:gd name="T102" fmla="*/ 386 w 583"/>
                <a:gd name="T103" fmla="*/ 459 h 623"/>
                <a:gd name="T104" fmla="*/ 422 w 583"/>
                <a:gd name="T105" fmla="*/ 443 h 623"/>
                <a:gd name="T106" fmla="*/ 444 w 583"/>
                <a:gd name="T107" fmla="*/ 415 h 623"/>
                <a:gd name="T108" fmla="*/ 460 w 583"/>
                <a:gd name="T109" fmla="*/ 379 h 623"/>
                <a:gd name="T110" fmla="*/ 508 w 583"/>
                <a:gd name="T111" fmla="*/ 349 h 623"/>
                <a:gd name="T112" fmla="*/ 538 w 583"/>
                <a:gd name="T113" fmla="*/ 318 h 623"/>
                <a:gd name="T114" fmla="*/ 572 w 583"/>
                <a:gd name="T115" fmla="*/ 303 h 623"/>
                <a:gd name="T116" fmla="*/ 583 w 583"/>
                <a:gd name="T117" fmla="*/ 281 h 623"/>
                <a:gd name="T118" fmla="*/ 583 w 583"/>
                <a:gd name="T119" fmla="*/ 281 h 623"/>
                <a:gd name="T120" fmla="*/ 582 w 583"/>
                <a:gd name="T121" fmla="*/ 279 h 6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83" h="623">
                  <a:moveTo>
                    <a:pt x="582" y="279"/>
                  </a:moveTo>
                  <a:cubicBezTo>
                    <a:pt x="582" y="278"/>
                    <a:pt x="581" y="278"/>
                    <a:pt x="581" y="278"/>
                  </a:cubicBezTo>
                  <a:cubicBezTo>
                    <a:pt x="581" y="277"/>
                    <a:pt x="580" y="277"/>
                    <a:pt x="580" y="276"/>
                  </a:cubicBezTo>
                  <a:cubicBezTo>
                    <a:pt x="580" y="276"/>
                    <a:pt x="580" y="275"/>
                    <a:pt x="580" y="275"/>
                  </a:cubicBezTo>
                  <a:cubicBezTo>
                    <a:pt x="579" y="274"/>
                    <a:pt x="579" y="273"/>
                    <a:pt x="578" y="273"/>
                  </a:cubicBezTo>
                  <a:cubicBezTo>
                    <a:pt x="578" y="272"/>
                    <a:pt x="578" y="272"/>
                    <a:pt x="578" y="272"/>
                  </a:cubicBezTo>
                  <a:cubicBezTo>
                    <a:pt x="577" y="271"/>
                    <a:pt x="577" y="270"/>
                    <a:pt x="576" y="269"/>
                  </a:cubicBezTo>
                  <a:cubicBezTo>
                    <a:pt x="568" y="253"/>
                    <a:pt x="531" y="255"/>
                    <a:pt x="518" y="251"/>
                  </a:cubicBezTo>
                  <a:cubicBezTo>
                    <a:pt x="504" y="247"/>
                    <a:pt x="512" y="231"/>
                    <a:pt x="503" y="231"/>
                  </a:cubicBezTo>
                  <a:cubicBezTo>
                    <a:pt x="494" y="231"/>
                    <a:pt x="487" y="219"/>
                    <a:pt x="487" y="206"/>
                  </a:cubicBezTo>
                  <a:cubicBezTo>
                    <a:pt x="487" y="193"/>
                    <a:pt x="499" y="179"/>
                    <a:pt x="482" y="179"/>
                  </a:cubicBezTo>
                  <a:cubicBezTo>
                    <a:pt x="464" y="179"/>
                    <a:pt x="467" y="177"/>
                    <a:pt x="462" y="158"/>
                  </a:cubicBezTo>
                  <a:cubicBezTo>
                    <a:pt x="456" y="139"/>
                    <a:pt x="455" y="142"/>
                    <a:pt x="428" y="135"/>
                  </a:cubicBezTo>
                  <a:cubicBezTo>
                    <a:pt x="402" y="129"/>
                    <a:pt x="379" y="95"/>
                    <a:pt x="378" y="69"/>
                  </a:cubicBezTo>
                  <a:cubicBezTo>
                    <a:pt x="376" y="42"/>
                    <a:pt x="355" y="50"/>
                    <a:pt x="351" y="33"/>
                  </a:cubicBezTo>
                  <a:cubicBezTo>
                    <a:pt x="349" y="22"/>
                    <a:pt x="340" y="10"/>
                    <a:pt x="332" y="0"/>
                  </a:cubicBezTo>
                  <a:cubicBezTo>
                    <a:pt x="322" y="1"/>
                    <a:pt x="315" y="4"/>
                    <a:pt x="310" y="6"/>
                  </a:cubicBezTo>
                  <a:cubicBezTo>
                    <a:pt x="302" y="10"/>
                    <a:pt x="290" y="7"/>
                    <a:pt x="271" y="14"/>
                  </a:cubicBezTo>
                  <a:cubicBezTo>
                    <a:pt x="252" y="21"/>
                    <a:pt x="251" y="29"/>
                    <a:pt x="240" y="39"/>
                  </a:cubicBezTo>
                  <a:cubicBezTo>
                    <a:pt x="230" y="50"/>
                    <a:pt x="220" y="35"/>
                    <a:pt x="215" y="18"/>
                  </a:cubicBezTo>
                  <a:cubicBezTo>
                    <a:pt x="210" y="1"/>
                    <a:pt x="186" y="18"/>
                    <a:pt x="167" y="18"/>
                  </a:cubicBezTo>
                  <a:cubicBezTo>
                    <a:pt x="148" y="18"/>
                    <a:pt x="139" y="25"/>
                    <a:pt x="120" y="26"/>
                  </a:cubicBezTo>
                  <a:cubicBezTo>
                    <a:pt x="102" y="27"/>
                    <a:pt x="63" y="35"/>
                    <a:pt x="63" y="35"/>
                  </a:cubicBezTo>
                  <a:cubicBezTo>
                    <a:pt x="60" y="273"/>
                    <a:pt x="60" y="273"/>
                    <a:pt x="60" y="273"/>
                  </a:cubicBezTo>
                  <a:cubicBezTo>
                    <a:pt x="0" y="275"/>
                    <a:pt x="0" y="275"/>
                    <a:pt x="0" y="275"/>
                  </a:cubicBezTo>
                  <a:cubicBezTo>
                    <a:pt x="0" y="311"/>
                    <a:pt x="0" y="311"/>
                    <a:pt x="0" y="311"/>
                  </a:cubicBezTo>
                  <a:cubicBezTo>
                    <a:pt x="0" y="311"/>
                    <a:pt x="0" y="312"/>
                    <a:pt x="0" y="312"/>
                  </a:cubicBezTo>
                  <a:cubicBezTo>
                    <a:pt x="0" y="313"/>
                    <a:pt x="0" y="314"/>
                    <a:pt x="0" y="315"/>
                  </a:cubicBezTo>
                  <a:cubicBezTo>
                    <a:pt x="0" y="315"/>
                    <a:pt x="0" y="316"/>
                    <a:pt x="0" y="316"/>
                  </a:cubicBezTo>
                  <a:cubicBezTo>
                    <a:pt x="0" y="317"/>
                    <a:pt x="0" y="318"/>
                    <a:pt x="0" y="319"/>
                  </a:cubicBezTo>
                  <a:cubicBezTo>
                    <a:pt x="0" y="321"/>
                    <a:pt x="0" y="322"/>
                    <a:pt x="0" y="324"/>
                  </a:cubicBezTo>
                  <a:cubicBezTo>
                    <a:pt x="0" y="325"/>
                    <a:pt x="0" y="326"/>
                    <a:pt x="0" y="327"/>
                  </a:cubicBezTo>
                  <a:cubicBezTo>
                    <a:pt x="0" y="329"/>
                    <a:pt x="0" y="331"/>
                    <a:pt x="0" y="333"/>
                  </a:cubicBezTo>
                  <a:cubicBezTo>
                    <a:pt x="0" y="335"/>
                    <a:pt x="0" y="336"/>
                    <a:pt x="0" y="337"/>
                  </a:cubicBezTo>
                  <a:cubicBezTo>
                    <a:pt x="0" y="366"/>
                    <a:pt x="0" y="417"/>
                    <a:pt x="0" y="471"/>
                  </a:cubicBezTo>
                  <a:cubicBezTo>
                    <a:pt x="8" y="472"/>
                    <a:pt x="17" y="475"/>
                    <a:pt x="22" y="481"/>
                  </a:cubicBezTo>
                  <a:cubicBezTo>
                    <a:pt x="31" y="493"/>
                    <a:pt x="33" y="509"/>
                    <a:pt x="40" y="515"/>
                  </a:cubicBezTo>
                  <a:cubicBezTo>
                    <a:pt x="46" y="520"/>
                    <a:pt x="41" y="536"/>
                    <a:pt x="49" y="539"/>
                  </a:cubicBezTo>
                  <a:cubicBezTo>
                    <a:pt x="57" y="541"/>
                    <a:pt x="57" y="552"/>
                    <a:pt x="54" y="559"/>
                  </a:cubicBezTo>
                  <a:cubicBezTo>
                    <a:pt x="50" y="565"/>
                    <a:pt x="42" y="571"/>
                    <a:pt x="40" y="579"/>
                  </a:cubicBezTo>
                  <a:cubicBezTo>
                    <a:pt x="38" y="587"/>
                    <a:pt x="38" y="594"/>
                    <a:pt x="38" y="601"/>
                  </a:cubicBezTo>
                  <a:cubicBezTo>
                    <a:pt x="39" y="607"/>
                    <a:pt x="38" y="623"/>
                    <a:pt x="44" y="615"/>
                  </a:cubicBezTo>
                  <a:cubicBezTo>
                    <a:pt x="50" y="606"/>
                    <a:pt x="58" y="602"/>
                    <a:pt x="74" y="604"/>
                  </a:cubicBezTo>
                  <a:cubicBezTo>
                    <a:pt x="89" y="606"/>
                    <a:pt x="106" y="613"/>
                    <a:pt x="118" y="597"/>
                  </a:cubicBezTo>
                  <a:cubicBezTo>
                    <a:pt x="130" y="581"/>
                    <a:pt x="134" y="579"/>
                    <a:pt x="147" y="571"/>
                  </a:cubicBezTo>
                  <a:cubicBezTo>
                    <a:pt x="160" y="563"/>
                    <a:pt x="168" y="556"/>
                    <a:pt x="174" y="539"/>
                  </a:cubicBezTo>
                  <a:cubicBezTo>
                    <a:pt x="180" y="523"/>
                    <a:pt x="179" y="497"/>
                    <a:pt x="192" y="497"/>
                  </a:cubicBezTo>
                  <a:cubicBezTo>
                    <a:pt x="204" y="496"/>
                    <a:pt x="225" y="497"/>
                    <a:pt x="230" y="509"/>
                  </a:cubicBezTo>
                  <a:cubicBezTo>
                    <a:pt x="234" y="521"/>
                    <a:pt x="242" y="528"/>
                    <a:pt x="266" y="531"/>
                  </a:cubicBezTo>
                  <a:cubicBezTo>
                    <a:pt x="290" y="533"/>
                    <a:pt x="298" y="543"/>
                    <a:pt x="320" y="533"/>
                  </a:cubicBezTo>
                  <a:cubicBezTo>
                    <a:pt x="343" y="524"/>
                    <a:pt x="364" y="517"/>
                    <a:pt x="368" y="500"/>
                  </a:cubicBezTo>
                  <a:cubicBezTo>
                    <a:pt x="372" y="483"/>
                    <a:pt x="367" y="456"/>
                    <a:pt x="386" y="459"/>
                  </a:cubicBezTo>
                  <a:cubicBezTo>
                    <a:pt x="404" y="463"/>
                    <a:pt x="414" y="454"/>
                    <a:pt x="422" y="443"/>
                  </a:cubicBezTo>
                  <a:cubicBezTo>
                    <a:pt x="431" y="431"/>
                    <a:pt x="440" y="433"/>
                    <a:pt x="444" y="415"/>
                  </a:cubicBezTo>
                  <a:cubicBezTo>
                    <a:pt x="447" y="396"/>
                    <a:pt x="440" y="389"/>
                    <a:pt x="460" y="379"/>
                  </a:cubicBezTo>
                  <a:cubicBezTo>
                    <a:pt x="481" y="369"/>
                    <a:pt x="502" y="363"/>
                    <a:pt x="508" y="349"/>
                  </a:cubicBezTo>
                  <a:cubicBezTo>
                    <a:pt x="513" y="334"/>
                    <a:pt x="523" y="321"/>
                    <a:pt x="538" y="318"/>
                  </a:cubicBezTo>
                  <a:cubicBezTo>
                    <a:pt x="554" y="315"/>
                    <a:pt x="566" y="313"/>
                    <a:pt x="572" y="303"/>
                  </a:cubicBezTo>
                  <a:cubicBezTo>
                    <a:pt x="575" y="297"/>
                    <a:pt x="580" y="289"/>
                    <a:pt x="583" y="281"/>
                  </a:cubicBezTo>
                  <a:cubicBezTo>
                    <a:pt x="583" y="281"/>
                    <a:pt x="583" y="281"/>
                    <a:pt x="583" y="281"/>
                  </a:cubicBezTo>
                  <a:cubicBezTo>
                    <a:pt x="583" y="280"/>
                    <a:pt x="582" y="280"/>
                    <a:pt x="582" y="27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480" name="Freeform 25673"/>
            <p:cNvSpPr>
              <a:spLocks/>
            </p:cNvSpPr>
            <p:nvPr/>
          </p:nvSpPr>
          <p:spPr bwMode="auto">
            <a:xfrm>
              <a:off x="5011725" y="4457452"/>
              <a:ext cx="34566" cy="43562"/>
            </a:xfrm>
            <a:custGeom>
              <a:avLst/>
              <a:gdLst>
                <a:gd name="T0" fmla="*/ 69 w 93"/>
                <a:gd name="T1" fmla="*/ 16 h 117"/>
                <a:gd name="T2" fmla="*/ 42 w 93"/>
                <a:gd name="T3" fmla="*/ 2 h 117"/>
                <a:gd name="T4" fmla="*/ 25 w 93"/>
                <a:gd name="T5" fmla="*/ 19 h 117"/>
                <a:gd name="T6" fmla="*/ 10 w 93"/>
                <a:gd name="T7" fmla="*/ 40 h 117"/>
                <a:gd name="T8" fmla="*/ 2 w 93"/>
                <a:gd name="T9" fmla="*/ 59 h 117"/>
                <a:gd name="T10" fmla="*/ 9 w 93"/>
                <a:gd name="T11" fmla="*/ 77 h 117"/>
                <a:gd name="T12" fmla="*/ 26 w 93"/>
                <a:gd name="T13" fmla="*/ 98 h 117"/>
                <a:gd name="T14" fmla="*/ 41 w 93"/>
                <a:gd name="T15" fmla="*/ 110 h 117"/>
                <a:gd name="T16" fmla="*/ 79 w 93"/>
                <a:gd name="T17" fmla="*/ 103 h 117"/>
                <a:gd name="T18" fmla="*/ 84 w 93"/>
                <a:gd name="T19" fmla="*/ 77 h 117"/>
                <a:gd name="T20" fmla="*/ 93 w 93"/>
                <a:gd name="T21" fmla="*/ 72 h 117"/>
                <a:gd name="T22" fmla="*/ 93 w 93"/>
                <a:gd name="T23" fmla="*/ 72 h 117"/>
                <a:gd name="T24" fmla="*/ 89 w 93"/>
                <a:gd name="T25" fmla="*/ 53 h 117"/>
                <a:gd name="T26" fmla="*/ 89 w 93"/>
                <a:gd name="T27" fmla="*/ 52 h 117"/>
                <a:gd name="T28" fmla="*/ 89 w 93"/>
                <a:gd name="T29" fmla="*/ 50 h 117"/>
                <a:gd name="T30" fmla="*/ 89 w 93"/>
                <a:gd name="T31" fmla="*/ 49 h 117"/>
                <a:gd name="T32" fmla="*/ 88 w 93"/>
                <a:gd name="T33" fmla="*/ 47 h 117"/>
                <a:gd name="T34" fmla="*/ 88 w 93"/>
                <a:gd name="T35" fmla="*/ 46 h 117"/>
                <a:gd name="T36" fmla="*/ 88 w 93"/>
                <a:gd name="T37" fmla="*/ 44 h 117"/>
                <a:gd name="T38" fmla="*/ 88 w 93"/>
                <a:gd name="T39" fmla="*/ 39 h 117"/>
                <a:gd name="T40" fmla="*/ 88 w 93"/>
                <a:gd name="T41" fmla="*/ 38 h 117"/>
                <a:gd name="T42" fmla="*/ 87 w 93"/>
                <a:gd name="T43" fmla="*/ 32 h 117"/>
                <a:gd name="T44" fmla="*/ 87 w 93"/>
                <a:gd name="T45" fmla="*/ 31 h 117"/>
                <a:gd name="T46" fmla="*/ 83 w 93"/>
                <a:gd name="T47" fmla="*/ 19 h 117"/>
                <a:gd name="T48" fmla="*/ 83 w 93"/>
                <a:gd name="T49" fmla="*/ 19 h 117"/>
                <a:gd name="T50" fmla="*/ 69 w 93"/>
                <a:gd name="T51" fmla="*/ 16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93" h="117">
                  <a:moveTo>
                    <a:pt x="69" y="16"/>
                  </a:moveTo>
                  <a:cubicBezTo>
                    <a:pt x="60" y="11"/>
                    <a:pt x="51" y="0"/>
                    <a:pt x="42" y="2"/>
                  </a:cubicBezTo>
                  <a:cubicBezTo>
                    <a:pt x="34" y="4"/>
                    <a:pt x="28" y="11"/>
                    <a:pt x="25" y="19"/>
                  </a:cubicBezTo>
                  <a:cubicBezTo>
                    <a:pt x="23" y="27"/>
                    <a:pt x="14" y="37"/>
                    <a:pt x="10" y="40"/>
                  </a:cubicBezTo>
                  <a:cubicBezTo>
                    <a:pt x="6" y="43"/>
                    <a:pt x="2" y="52"/>
                    <a:pt x="2" y="59"/>
                  </a:cubicBezTo>
                  <a:cubicBezTo>
                    <a:pt x="2" y="66"/>
                    <a:pt x="0" y="73"/>
                    <a:pt x="9" y="77"/>
                  </a:cubicBezTo>
                  <a:cubicBezTo>
                    <a:pt x="19" y="81"/>
                    <a:pt x="23" y="91"/>
                    <a:pt x="26" y="98"/>
                  </a:cubicBezTo>
                  <a:cubicBezTo>
                    <a:pt x="30" y="105"/>
                    <a:pt x="27" y="109"/>
                    <a:pt x="41" y="110"/>
                  </a:cubicBezTo>
                  <a:cubicBezTo>
                    <a:pt x="55" y="110"/>
                    <a:pt x="78" y="117"/>
                    <a:pt x="79" y="103"/>
                  </a:cubicBezTo>
                  <a:cubicBezTo>
                    <a:pt x="80" y="89"/>
                    <a:pt x="78" y="80"/>
                    <a:pt x="84" y="77"/>
                  </a:cubicBezTo>
                  <a:cubicBezTo>
                    <a:pt x="86" y="75"/>
                    <a:pt x="90" y="73"/>
                    <a:pt x="93" y="72"/>
                  </a:cubicBezTo>
                  <a:cubicBezTo>
                    <a:pt x="93" y="72"/>
                    <a:pt x="93" y="72"/>
                    <a:pt x="93" y="72"/>
                  </a:cubicBezTo>
                  <a:cubicBezTo>
                    <a:pt x="91" y="66"/>
                    <a:pt x="90" y="59"/>
                    <a:pt x="89" y="53"/>
                  </a:cubicBezTo>
                  <a:cubicBezTo>
                    <a:pt x="89" y="53"/>
                    <a:pt x="89" y="53"/>
                    <a:pt x="89" y="52"/>
                  </a:cubicBezTo>
                  <a:cubicBezTo>
                    <a:pt x="89" y="51"/>
                    <a:pt x="89" y="51"/>
                    <a:pt x="89" y="50"/>
                  </a:cubicBezTo>
                  <a:cubicBezTo>
                    <a:pt x="89" y="50"/>
                    <a:pt x="89" y="49"/>
                    <a:pt x="89" y="49"/>
                  </a:cubicBezTo>
                  <a:cubicBezTo>
                    <a:pt x="89" y="48"/>
                    <a:pt x="88" y="48"/>
                    <a:pt x="88" y="47"/>
                  </a:cubicBezTo>
                  <a:cubicBezTo>
                    <a:pt x="88" y="47"/>
                    <a:pt x="88" y="46"/>
                    <a:pt x="88" y="46"/>
                  </a:cubicBezTo>
                  <a:cubicBezTo>
                    <a:pt x="88" y="45"/>
                    <a:pt x="88" y="45"/>
                    <a:pt x="88" y="44"/>
                  </a:cubicBezTo>
                  <a:cubicBezTo>
                    <a:pt x="88" y="42"/>
                    <a:pt x="88" y="40"/>
                    <a:pt x="88" y="39"/>
                  </a:cubicBezTo>
                  <a:cubicBezTo>
                    <a:pt x="88" y="38"/>
                    <a:pt x="88" y="38"/>
                    <a:pt x="88" y="38"/>
                  </a:cubicBezTo>
                  <a:cubicBezTo>
                    <a:pt x="88" y="36"/>
                    <a:pt x="87" y="34"/>
                    <a:pt x="87" y="32"/>
                  </a:cubicBezTo>
                  <a:cubicBezTo>
                    <a:pt x="87" y="32"/>
                    <a:pt x="87" y="32"/>
                    <a:pt x="87" y="31"/>
                  </a:cubicBezTo>
                  <a:cubicBezTo>
                    <a:pt x="86" y="27"/>
                    <a:pt x="85" y="23"/>
                    <a:pt x="83" y="19"/>
                  </a:cubicBezTo>
                  <a:cubicBezTo>
                    <a:pt x="83" y="19"/>
                    <a:pt x="83" y="19"/>
                    <a:pt x="83" y="19"/>
                  </a:cubicBezTo>
                  <a:cubicBezTo>
                    <a:pt x="80" y="19"/>
                    <a:pt x="74" y="18"/>
                    <a:pt x="69" y="16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481" name="Freeform 25676"/>
            <p:cNvSpPr>
              <a:spLocks noEditPoints="1"/>
            </p:cNvSpPr>
            <p:nvPr/>
          </p:nvSpPr>
          <p:spPr bwMode="auto">
            <a:xfrm>
              <a:off x="4672698" y="4364488"/>
              <a:ext cx="392218" cy="328294"/>
            </a:xfrm>
            <a:custGeom>
              <a:avLst/>
              <a:gdLst>
                <a:gd name="T0" fmla="*/ 1008 w 1052"/>
                <a:gd name="T1" fmla="*/ 331 h 880"/>
                <a:gd name="T2" fmla="*/ 1006 w 1052"/>
                <a:gd name="T3" fmla="*/ 329 h 880"/>
                <a:gd name="T4" fmla="*/ 1003 w 1052"/>
                <a:gd name="T5" fmla="*/ 323 h 880"/>
                <a:gd name="T6" fmla="*/ 993 w 1052"/>
                <a:gd name="T7" fmla="*/ 326 h 880"/>
                <a:gd name="T8" fmla="*/ 935 w 1052"/>
                <a:gd name="T9" fmla="*/ 347 h 880"/>
                <a:gd name="T10" fmla="*/ 919 w 1052"/>
                <a:gd name="T11" fmla="*/ 289 h 880"/>
                <a:gd name="T12" fmla="*/ 978 w 1052"/>
                <a:gd name="T13" fmla="*/ 265 h 880"/>
                <a:gd name="T14" fmla="*/ 991 w 1052"/>
                <a:gd name="T15" fmla="*/ 262 h 880"/>
                <a:gd name="T16" fmla="*/ 949 w 1052"/>
                <a:gd name="T17" fmla="*/ 45 h 880"/>
                <a:gd name="T18" fmla="*/ 947 w 1052"/>
                <a:gd name="T19" fmla="*/ 36 h 880"/>
                <a:gd name="T20" fmla="*/ 942 w 1052"/>
                <a:gd name="T21" fmla="*/ 28 h 880"/>
                <a:gd name="T22" fmla="*/ 893 w 1052"/>
                <a:gd name="T23" fmla="*/ 21 h 880"/>
                <a:gd name="T24" fmla="*/ 886 w 1052"/>
                <a:gd name="T25" fmla="*/ 22 h 880"/>
                <a:gd name="T26" fmla="*/ 836 w 1052"/>
                <a:gd name="T27" fmla="*/ 12 h 880"/>
                <a:gd name="T28" fmla="*/ 826 w 1052"/>
                <a:gd name="T29" fmla="*/ 11 h 880"/>
                <a:gd name="T30" fmla="*/ 821 w 1052"/>
                <a:gd name="T31" fmla="*/ 10 h 880"/>
                <a:gd name="T32" fmla="*/ 815 w 1052"/>
                <a:gd name="T33" fmla="*/ 7 h 880"/>
                <a:gd name="T34" fmla="*/ 812 w 1052"/>
                <a:gd name="T35" fmla="*/ 5 h 880"/>
                <a:gd name="T36" fmla="*/ 808 w 1052"/>
                <a:gd name="T37" fmla="*/ 0 h 880"/>
                <a:gd name="T38" fmla="*/ 763 w 1052"/>
                <a:gd name="T39" fmla="*/ 37 h 880"/>
                <a:gd name="T40" fmla="*/ 669 w 1052"/>
                <a:gd name="T41" fmla="*/ 134 h 880"/>
                <a:gd name="T42" fmla="*/ 593 w 1052"/>
                <a:gd name="T43" fmla="*/ 219 h 880"/>
                <a:gd name="T44" fmla="*/ 455 w 1052"/>
                <a:gd name="T45" fmla="*/ 228 h 880"/>
                <a:gd name="T46" fmla="*/ 372 w 1052"/>
                <a:gd name="T47" fmla="*/ 290 h 880"/>
                <a:gd name="T48" fmla="*/ 269 w 1052"/>
                <a:gd name="T49" fmla="*/ 334 h 880"/>
                <a:gd name="T50" fmla="*/ 279 w 1052"/>
                <a:gd name="T51" fmla="*/ 278 h 880"/>
                <a:gd name="T52" fmla="*/ 247 w 1052"/>
                <a:gd name="T53" fmla="*/ 200 h 880"/>
                <a:gd name="T54" fmla="*/ 224 w 1052"/>
                <a:gd name="T55" fmla="*/ 396 h 880"/>
                <a:gd name="T56" fmla="*/ 224 w 1052"/>
                <a:gd name="T57" fmla="*/ 404 h 880"/>
                <a:gd name="T58" fmla="*/ 224 w 1052"/>
                <a:gd name="T59" fmla="*/ 409 h 880"/>
                <a:gd name="T60" fmla="*/ 224 w 1052"/>
                <a:gd name="T61" fmla="*/ 414 h 880"/>
                <a:gd name="T62" fmla="*/ 224 w 1052"/>
                <a:gd name="T63" fmla="*/ 417 h 880"/>
                <a:gd name="T64" fmla="*/ 183 w 1052"/>
                <a:gd name="T65" fmla="*/ 461 h 880"/>
                <a:gd name="T66" fmla="*/ 71 w 1052"/>
                <a:gd name="T67" fmla="*/ 460 h 880"/>
                <a:gd name="T68" fmla="*/ 15 w 1052"/>
                <a:gd name="T69" fmla="*/ 438 h 880"/>
                <a:gd name="T70" fmla="*/ 43 w 1052"/>
                <a:gd name="T71" fmla="*/ 536 h 880"/>
                <a:gd name="T72" fmla="*/ 120 w 1052"/>
                <a:gd name="T73" fmla="*/ 690 h 880"/>
                <a:gd name="T74" fmla="*/ 118 w 1052"/>
                <a:gd name="T75" fmla="*/ 792 h 880"/>
                <a:gd name="T76" fmla="*/ 209 w 1052"/>
                <a:gd name="T77" fmla="*/ 876 h 880"/>
                <a:gd name="T78" fmla="*/ 355 w 1052"/>
                <a:gd name="T79" fmla="*/ 842 h 880"/>
                <a:gd name="T80" fmla="*/ 475 w 1052"/>
                <a:gd name="T81" fmla="*/ 830 h 880"/>
                <a:gd name="T82" fmla="*/ 621 w 1052"/>
                <a:gd name="T83" fmla="*/ 805 h 880"/>
                <a:gd name="T84" fmla="*/ 823 w 1052"/>
                <a:gd name="T85" fmla="*/ 667 h 880"/>
                <a:gd name="T86" fmla="*/ 1020 w 1052"/>
                <a:gd name="T87" fmla="*/ 436 h 880"/>
                <a:gd name="T88" fmla="*/ 1052 w 1052"/>
                <a:gd name="T89" fmla="*/ 322 h 880"/>
                <a:gd name="T90" fmla="*/ 817 w 1052"/>
                <a:gd name="T91" fmla="*/ 510 h 880"/>
                <a:gd name="T92" fmla="*/ 745 w 1052"/>
                <a:gd name="T93" fmla="*/ 581 h 880"/>
                <a:gd name="T94" fmla="*/ 686 w 1052"/>
                <a:gd name="T95" fmla="*/ 543 h 880"/>
                <a:gd name="T96" fmla="*/ 712 w 1052"/>
                <a:gd name="T97" fmla="*/ 484 h 880"/>
                <a:gd name="T98" fmla="*/ 771 w 1052"/>
                <a:gd name="T99" fmla="*/ 444 h 880"/>
                <a:gd name="T100" fmla="*/ 825 w 1052"/>
                <a:gd name="T101" fmla="*/ 495 h 8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052" h="880">
                  <a:moveTo>
                    <a:pt x="1009" y="331"/>
                  </a:moveTo>
                  <a:cubicBezTo>
                    <a:pt x="1009" y="331"/>
                    <a:pt x="1009" y="331"/>
                    <a:pt x="1009" y="331"/>
                  </a:cubicBezTo>
                  <a:cubicBezTo>
                    <a:pt x="1008" y="331"/>
                    <a:pt x="1008" y="331"/>
                    <a:pt x="1008" y="331"/>
                  </a:cubicBezTo>
                  <a:cubicBezTo>
                    <a:pt x="1007" y="330"/>
                    <a:pt x="1007" y="330"/>
                    <a:pt x="1007" y="330"/>
                  </a:cubicBezTo>
                  <a:cubicBezTo>
                    <a:pt x="1007" y="330"/>
                    <a:pt x="1007" y="330"/>
                    <a:pt x="1006" y="329"/>
                  </a:cubicBezTo>
                  <a:cubicBezTo>
                    <a:pt x="1006" y="329"/>
                    <a:pt x="1006" y="329"/>
                    <a:pt x="1006" y="329"/>
                  </a:cubicBezTo>
                  <a:cubicBezTo>
                    <a:pt x="1006" y="328"/>
                    <a:pt x="1005" y="328"/>
                    <a:pt x="1005" y="328"/>
                  </a:cubicBezTo>
                  <a:cubicBezTo>
                    <a:pt x="1004" y="327"/>
                    <a:pt x="1004" y="325"/>
                    <a:pt x="1003" y="323"/>
                  </a:cubicBezTo>
                  <a:cubicBezTo>
                    <a:pt x="1003" y="323"/>
                    <a:pt x="1003" y="323"/>
                    <a:pt x="1003" y="323"/>
                  </a:cubicBezTo>
                  <a:cubicBezTo>
                    <a:pt x="1002" y="322"/>
                    <a:pt x="1002" y="321"/>
                    <a:pt x="1002" y="321"/>
                  </a:cubicBezTo>
                  <a:cubicBezTo>
                    <a:pt x="1002" y="321"/>
                    <a:pt x="1002" y="321"/>
                    <a:pt x="1002" y="321"/>
                  </a:cubicBezTo>
                  <a:cubicBezTo>
                    <a:pt x="999" y="322"/>
                    <a:pt x="995" y="324"/>
                    <a:pt x="993" y="326"/>
                  </a:cubicBezTo>
                  <a:cubicBezTo>
                    <a:pt x="987" y="329"/>
                    <a:pt x="989" y="338"/>
                    <a:pt x="988" y="352"/>
                  </a:cubicBezTo>
                  <a:cubicBezTo>
                    <a:pt x="987" y="366"/>
                    <a:pt x="964" y="359"/>
                    <a:pt x="950" y="359"/>
                  </a:cubicBezTo>
                  <a:cubicBezTo>
                    <a:pt x="936" y="358"/>
                    <a:pt x="939" y="354"/>
                    <a:pt x="935" y="347"/>
                  </a:cubicBezTo>
                  <a:cubicBezTo>
                    <a:pt x="932" y="340"/>
                    <a:pt x="928" y="330"/>
                    <a:pt x="918" y="326"/>
                  </a:cubicBezTo>
                  <a:cubicBezTo>
                    <a:pt x="909" y="322"/>
                    <a:pt x="911" y="315"/>
                    <a:pt x="911" y="308"/>
                  </a:cubicBezTo>
                  <a:cubicBezTo>
                    <a:pt x="911" y="301"/>
                    <a:pt x="915" y="292"/>
                    <a:pt x="919" y="289"/>
                  </a:cubicBezTo>
                  <a:cubicBezTo>
                    <a:pt x="923" y="286"/>
                    <a:pt x="932" y="276"/>
                    <a:pt x="934" y="268"/>
                  </a:cubicBezTo>
                  <a:cubicBezTo>
                    <a:pt x="937" y="260"/>
                    <a:pt x="943" y="253"/>
                    <a:pt x="951" y="251"/>
                  </a:cubicBezTo>
                  <a:cubicBezTo>
                    <a:pt x="960" y="249"/>
                    <a:pt x="969" y="260"/>
                    <a:pt x="978" y="265"/>
                  </a:cubicBezTo>
                  <a:cubicBezTo>
                    <a:pt x="983" y="267"/>
                    <a:pt x="989" y="268"/>
                    <a:pt x="992" y="268"/>
                  </a:cubicBezTo>
                  <a:cubicBezTo>
                    <a:pt x="992" y="268"/>
                    <a:pt x="992" y="268"/>
                    <a:pt x="992" y="268"/>
                  </a:cubicBezTo>
                  <a:cubicBezTo>
                    <a:pt x="992" y="266"/>
                    <a:pt x="991" y="264"/>
                    <a:pt x="991" y="262"/>
                  </a:cubicBezTo>
                  <a:cubicBezTo>
                    <a:pt x="987" y="250"/>
                    <a:pt x="995" y="208"/>
                    <a:pt x="992" y="180"/>
                  </a:cubicBezTo>
                  <a:cubicBezTo>
                    <a:pt x="989" y="152"/>
                    <a:pt x="985" y="134"/>
                    <a:pt x="973" y="121"/>
                  </a:cubicBezTo>
                  <a:cubicBezTo>
                    <a:pt x="961" y="108"/>
                    <a:pt x="959" y="88"/>
                    <a:pt x="949" y="45"/>
                  </a:cubicBezTo>
                  <a:cubicBezTo>
                    <a:pt x="949" y="43"/>
                    <a:pt x="949" y="42"/>
                    <a:pt x="948" y="40"/>
                  </a:cubicBezTo>
                  <a:cubicBezTo>
                    <a:pt x="948" y="40"/>
                    <a:pt x="948" y="40"/>
                    <a:pt x="948" y="39"/>
                  </a:cubicBezTo>
                  <a:cubicBezTo>
                    <a:pt x="947" y="38"/>
                    <a:pt x="947" y="37"/>
                    <a:pt x="947" y="36"/>
                  </a:cubicBezTo>
                  <a:cubicBezTo>
                    <a:pt x="946" y="36"/>
                    <a:pt x="946" y="35"/>
                    <a:pt x="946" y="35"/>
                  </a:cubicBezTo>
                  <a:cubicBezTo>
                    <a:pt x="945" y="33"/>
                    <a:pt x="944" y="30"/>
                    <a:pt x="943" y="28"/>
                  </a:cubicBezTo>
                  <a:cubicBezTo>
                    <a:pt x="942" y="28"/>
                    <a:pt x="942" y="28"/>
                    <a:pt x="942" y="28"/>
                  </a:cubicBezTo>
                  <a:cubicBezTo>
                    <a:pt x="932" y="13"/>
                    <a:pt x="913" y="18"/>
                    <a:pt x="896" y="21"/>
                  </a:cubicBezTo>
                  <a:cubicBezTo>
                    <a:pt x="896" y="21"/>
                    <a:pt x="895" y="21"/>
                    <a:pt x="895" y="21"/>
                  </a:cubicBezTo>
                  <a:cubicBezTo>
                    <a:pt x="894" y="21"/>
                    <a:pt x="894" y="21"/>
                    <a:pt x="893" y="21"/>
                  </a:cubicBezTo>
                  <a:cubicBezTo>
                    <a:pt x="892" y="21"/>
                    <a:pt x="891" y="22"/>
                    <a:pt x="890" y="22"/>
                  </a:cubicBezTo>
                  <a:cubicBezTo>
                    <a:pt x="890" y="22"/>
                    <a:pt x="890" y="22"/>
                    <a:pt x="889" y="22"/>
                  </a:cubicBezTo>
                  <a:cubicBezTo>
                    <a:pt x="888" y="22"/>
                    <a:pt x="887" y="22"/>
                    <a:pt x="886" y="22"/>
                  </a:cubicBezTo>
                  <a:cubicBezTo>
                    <a:pt x="886" y="22"/>
                    <a:pt x="886" y="22"/>
                    <a:pt x="886" y="22"/>
                  </a:cubicBezTo>
                  <a:cubicBezTo>
                    <a:pt x="885" y="22"/>
                    <a:pt x="884" y="22"/>
                    <a:pt x="883" y="22"/>
                  </a:cubicBezTo>
                  <a:cubicBezTo>
                    <a:pt x="861" y="22"/>
                    <a:pt x="859" y="12"/>
                    <a:pt x="836" y="12"/>
                  </a:cubicBezTo>
                  <a:cubicBezTo>
                    <a:pt x="834" y="12"/>
                    <a:pt x="833" y="12"/>
                    <a:pt x="831" y="12"/>
                  </a:cubicBezTo>
                  <a:cubicBezTo>
                    <a:pt x="831" y="11"/>
                    <a:pt x="830" y="11"/>
                    <a:pt x="830" y="11"/>
                  </a:cubicBezTo>
                  <a:cubicBezTo>
                    <a:pt x="829" y="11"/>
                    <a:pt x="828" y="11"/>
                    <a:pt x="826" y="11"/>
                  </a:cubicBezTo>
                  <a:cubicBezTo>
                    <a:pt x="826" y="11"/>
                    <a:pt x="826" y="11"/>
                    <a:pt x="826" y="11"/>
                  </a:cubicBezTo>
                  <a:cubicBezTo>
                    <a:pt x="824" y="11"/>
                    <a:pt x="823" y="10"/>
                    <a:pt x="822" y="10"/>
                  </a:cubicBezTo>
                  <a:cubicBezTo>
                    <a:pt x="822" y="10"/>
                    <a:pt x="822" y="10"/>
                    <a:pt x="821" y="10"/>
                  </a:cubicBezTo>
                  <a:cubicBezTo>
                    <a:pt x="820" y="10"/>
                    <a:pt x="820" y="9"/>
                    <a:pt x="819" y="9"/>
                  </a:cubicBezTo>
                  <a:cubicBezTo>
                    <a:pt x="818" y="9"/>
                    <a:pt x="818" y="9"/>
                    <a:pt x="818" y="9"/>
                  </a:cubicBezTo>
                  <a:cubicBezTo>
                    <a:pt x="817" y="8"/>
                    <a:pt x="816" y="8"/>
                    <a:pt x="815" y="7"/>
                  </a:cubicBezTo>
                  <a:cubicBezTo>
                    <a:pt x="815" y="7"/>
                    <a:pt x="815" y="7"/>
                    <a:pt x="815" y="7"/>
                  </a:cubicBezTo>
                  <a:cubicBezTo>
                    <a:pt x="814" y="7"/>
                    <a:pt x="814" y="6"/>
                    <a:pt x="813" y="5"/>
                  </a:cubicBezTo>
                  <a:cubicBezTo>
                    <a:pt x="813" y="5"/>
                    <a:pt x="812" y="5"/>
                    <a:pt x="812" y="5"/>
                  </a:cubicBezTo>
                  <a:cubicBezTo>
                    <a:pt x="812" y="4"/>
                    <a:pt x="811" y="4"/>
                    <a:pt x="811" y="3"/>
                  </a:cubicBezTo>
                  <a:cubicBezTo>
                    <a:pt x="810" y="3"/>
                    <a:pt x="810" y="3"/>
                    <a:pt x="810" y="3"/>
                  </a:cubicBezTo>
                  <a:cubicBezTo>
                    <a:pt x="810" y="2"/>
                    <a:pt x="809" y="1"/>
                    <a:pt x="808" y="0"/>
                  </a:cubicBezTo>
                  <a:cubicBezTo>
                    <a:pt x="808" y="0"/>
                    <a:pt x="808" y="0"/>
                    <a:pt x="808" y="0"/>
                  </a:cubicBezTo>
                  <a:cubicBezTo>
                    <a:pt x="805" y="8"/>
                    <a:pt x="800" y="16"/>
                    <a:pt x="797" y="22"/>
                  </a:cubicBezTo>
                  <a:cubicBezTo>
                    <a:pt x="791" y="32"/>
                    <a:pt x="779" y="34"/>
                    <a:pt x="763" y="37"/>
                  </a:cubicBezTo>
                  <a:cubicBezTo>
                    <a:pt x="748" y="40"/>
                    <a:pt x="738" y="53"/>
                    <a:pt x="733" y="68"/>
                  </a:cubicBezTo>
                  <a:cubicBezTo>
                    <a:pt x="727" y="82"/>
                    <a:pt x="706" y="88"/>
                    <a:pt x="685" y="98"/>
                  </a:cubicBezTo>
                  <a:cubicBezTo>
                    <a:pt x="665" y="108"/>
                    <a:pt x="672" y="115"/>
                    <a:pt x="669" y="134"/>
                  </a:cubicBezTo>
                  <a:cubicBezTo>
                    <a:pt x="665" y="152"/>
                    <a:pt x="656" y="150"/>
                    <a:pt x="647" y="162"/>
                  </a:cubicBezTo>
                  <a:cubicBezTo>
                    <a:pt x="639" y="173"/>
                    <a:pt x="629" y="182"/>
                    <a:pt x="611" y="178"/>
                  </a:cubicBezTo>
                  <a:cubicBezTo>
                    <a:pt x="592" y="175"/>
                    <a:pt x="597" y="202"/>
                    <a:pt x="593" y="219"/>
                  </a:cubicBezTo>
                  <a:cubicBezTo>
                    <a:pt x="589" y="236"/>
                    <a:pt x="568" y="243"/>
                    <a:pt x="545" y="252"/>
                  </a:cubicBezTo>
                  <a:cubicBezTo>
                    <a:pt x="523" y="262"/>
                    <a:pt x="515" y="252"/>
                    <a:pt x="491" y="250"/>
                  </a:cubicBezTo>
                  <a:cubicBezTo>
                    <a:pt x="467" y="247"/>
                    <a:pt x="459" y="240"/>
                    <a:pt x="455" y="228"/>
                  </a:cubicBezTo>
                  <a:cubicBezTo>
                    <a:pt x="450" y="216"/>
                    <a:pt x="429" y="215"/>
                    <a:pt x="417" y="216"/>
                  </a:cubicBezTo>
                  <a:cubicBezTo>
                    <a:pt x="404" y="216"/>
                    <a:pt x="405" y="242"/>
                    <a:pt x="399" y="258"/>
                  </a:cubicBezTo>
                  <a:cubicBezTo>
                    <a:pt x="393" y="275"/>
                    <a:pt x="385" y="282"/>
                    <a:pt x="372" y="290"/>
                  </a:cubicBezTo>
                  <a:cubicBezTo>
                    <a:pt x="359" y="298"/>
                    <a:pt x="355" y="300"/>
                    <a:pt x="343" y="316"/>
                  </a:cubicBezTo>
                  <a:cubicBezTo>
                    <a:pt x="331" y="332"/>
                    <a:pt x="314" y="325"/>
                    <a:pt x="299" y="323"/>
                  </a:cubicBezTo>
                  <a:cubicBezTo>
                    <a:pt x="283" y="321"/>
                    <a:pt x="275" y="325"/>
                    <a:pt x="269" y="334"/>
                  </a:cubicBezTo>
                  <a:cubicBezTo>
                    <a:pt x="263" y="342"/>
                    <a:pt x="264" y="326"/>
                    <a:pt x="263" y="320"/>
                  </a:cubicBezTo>
                  <a:cubicBezTo>
                    <a:pt x="263" y="313"/>
                    <a:pt x="263" y="306"/>
                    <a:pt x="265" y="298"/>
                  </a:cubicBezTo>
                  <a:cubicBezTo>
                    <a:pt x="267" y="290"/>
                    <a:pt x="275" y="284"/>
                    <a:pt x="279" y="278"/>
                  </a:cubicBezTo>
                  <a:cubicBezTo>
                    <a:pt x="282" y="271"/>
                    <a:pt x="282" y="260"/>
                    <a:pt x="274" y="258"/>
                  </a:cubicBezTo>
                  <a:cubicBezTo>
                    <a:pt x="266" y="255"/>
                    <a:pt x="271" y="239"/>
                    <a:pt x="265" y="234"/>
                  </a:cubicBezTo>
                  <a:cubicBezTo>
                    <a:pt x="258" y="228"/>
                    <a:pt x="256" y="212"/>
                    <a:pt x="247" y="200"/>
                  </a:cubicBezTo>
                  <a:cubicBezTo>
                    <a:pt x="242" y="194"/>
                    <a:pt x="233" y="191"/>
                    <a:pt x="225" y="190"/>
                  </a:cubicBezTo>
                  <a:cubicBezTo>
                    <a:pt x="225" y="268"/>
                    <a:pt x="225" y="355"/>
                    <a:pt x="224" y="396"/>
                  </a:cubicBezTo>
                  <a:cubicBezTo>
                    <a:pt x="224" y="396"/>
                    <a:pt x="224" y="396"/>
                    <a:pt x="224" y="396"/>
                  </a:cubicBezTo>
                  <a:cubicBezTo>
                    <a:pt x="224" y="397"/>
                    <a:pt x="224" y="399"/>
                    <a:pt x="224" y="400"/>
                  </a:cubicBezTo>
                  <a:cubicBezTo>
                    <a:pt x="224" y="400"/>
                    <a:pt x="224" y="401"/>
                    <a:pt x="224" y="401"/>
                  </a:cubicBezTo>
                  <a:cubicBezTo>
                    <a:pt x="224" y="402"/>
                    <a:pt x="224" y="403"/>
                    <a:pt x="224" y="404"/>
                  </a:cubicBezTo>
                  <a:cubicBezTo>
                    <a:pt x="224" y="404"/>
                    <a:pt x="224" y="405"/>
                    <a:pt x="224" y="405"/>
                  </a:cubicBezTo>
                  <a:cubicBezTo>
                    <a:pt x="224" y="406"/>
                    <a:pt x="224" y="407"/>
                    <a:pt x="224" y="408"/>
                  </a:cubicBezTo>
                  <a:cubicBezTo>
                    <a:pt x="224" y="408"/>
                    <a:pt x="224" y="408"/>
                    <a:pt x="224" y="409"/>
                  </a:cubicBezTo>
                  <a:cubicBezTo>
                    <a:pt x="224" y="410"/>
                    <a:pt x="224" y="410"/>
                    <a:pt x="224" y="411"/>
                  </a:cubicBezTo>
                  <a:cubicBezTo>
                    <a:pt x="224" y="411"/>
                    <a:pt x="224" y="412"/>
                    <a:pt x="224" y="412"/>
                  </a:cubicBezTo>
                  <a:cubicBezTo>
                    <a:pt x="224" y="413"/>
                    <a:pt x="224" y="413"/>
                    <a:pt x="224" y="414"/>
                  </a:cubicBezTo>
                  <a:cubicBezTo>
                    <a:pt x="224" y="414"/>
                    <a:pt x="224" y="414"/>
                    <a:pt x="224" y="415"/>
                  </a:cubicBezTo>
                  <a:cubicBezTo>
                    <a:pt x="224" y="415"/>
                    <a:pt x="224" y="416"/>
                    <a:pt x="224" y="416"/>
                  </a:cubicBezTo>
                  <a:cubicBezTo>
                    <a:pt x="224" y="416"/>
                    <a:pt x="224" y="417"/>
                    <a:pt x="224" y="417"/>
                  </a:cubicBezTo>
                  <a:cubicBezTo>
                    <a:pt x="224" y="417"/>
                    <a:pt x="224" y="418"/>
                    <a:pt x="224" y="418"/>
                  </a:cubicBezTo>
                  <a:cubicBezTo>
                    <a:pt x="223" y="445"/>
                    <a:pt x="221" y="442"/>
                    <a:pt x="209" y="441"/>
                  </a:cubicBezTo>
                  <a:cubicBezTo>
                    <a:pt x="197" y="440"/>
                    <a:pt x="189" y="450"/>
                    <a:pt x="183" y="461"/>
                  </a:cubicBezTo>
                  <a:cubicBezTo>
                    <a:pt x="176" y="472"/>
                    <a:pt x="160" y="469"/>
                    <a:pt x="145" y="466"/>
                  </a:cubicBezTo>
                  <a:cubicBezTo>
                    <a:pt x="131" y="464"/>
                    <a:pt x="111" y="474"/>
                    <a:pt x="103" y="466"/>
                  </a:cubicBezTo>
                  <a:cubicBezTo>
                    <a:pt x="95" y="458"/>
                    <a:pt x="89" y="462"/>
                    <a:pt x="71" y="460"/>
                  </a:cubicBezTo>
                  <a:cubicBezTo>
                    <a:pt x="52" y="457"/>
                    <a:pt x="60" y="446"/>
                    <a:pt x="57" y="430"/>
                  </a:cubicBezTo>
                  <a:cubicBezTo>
                    <a:pt x="55" y="414"/>
                    <a:pt x="55" y="416"/>
                    <a:pt x="35" y="412"/>
                  </a:cubicBezTo>
                  <a:cubicBezTo>
                    <a:pt x="15" y="408"/>
                    <a:pt x="32" y="437"/>
                    <a:pt x="15" y="438"/>
                  </a:cubicBezTo>
                  <a:cubicBezTo>
                    <a:pt x="9" y="439"/>
                    <a:pt x="4" y="441"/>
                    <a:pt x="0" y="444"/>
                  </a:cubicBezTo>
                  <a:cubicBezTo>
                    <a:pt x="7" y="453"/>
                    <a:pt x="14" y="462"/>
                    <a:pt x="19" y="469"/>
                  </a:cubicBezTo>
                  <a:cubicBezTo>
                    <a:pt x="32" y="487"/>
                    <a:pt x="39" y="508"/>
                    <a:pt x="43" y="536"/>
                  </a:cubicBezTo>
                  <a:cubicBezTo>
                    <a:pt x="46" y="564"/>
                    <a:pt x="53" y="580"/>
                    <a:pt x="68" y="599"/>
                  </a:cubicBezTo>
                  <a:cubicBezTo>
                    <a:pt x="83" y="617"/>
                    <a:pt x="90" y="633"/>
                    <a:pt x="104" y="647"/>
                  </a:cubicBezTo>
                  <a:cubicBezTo>
                    <a:pt x="118" y="661"/>
                    <a:pt x="121" y="670"/>
                    <a:pt x="120" y="690"/>
                  </a:cubicBezTo>
                  <a:cubicBezTo>
                    <a:pt x="119" y="710"/>
                    <a:pt x="125" y="728"/>
                    <a:pt x="109" y="732"/>
                  </a:cubicBezTo>
                  <a:cubicBezTo>
                    <a:pt x="93" y="736"/>
                    <a:pt x="86" y="743"/>
                    <a:pt x="96" y="756"/>
                  </a:cubicBezTo>
                  <a:cubicBezTo>
                    <a:pt x="107" y="768"/>
                    <a:pt x="118" y="775"/>
                    <a:pt x="118" y="792"/>
                  </a:cubicBezTo>
                  <a:cubicBezTo>
                    <a:pt x="118" y="809"/>
                    <a:pt x="115" y="838"/>
                    <a:pt x="129" y="838"/>
                  </a:cubicBezTo>
                  <a:cubicBezTo>
                    <a:pt x="143" y="838"/>
                    <a:pt x="132" y="810"/>
                    <a:pt x="157" y="837"/>
                  </a:cubicBezTo>
                  <a:cubicBezTo>
                    <a:pt x="181" y="864"/>
                    <a:pt x="191" y="872"/>
                    <a:pt x="209" y="876"/>
                  </a:cubicBezTo>
                  <a:cubicBezTo>
                    <a:pt x="227" y="880"/>
                    <a:pt x="235" y="880"/>
                    <a:pt x="248" y="868"/>
                  </a:cubicBezTo>
                  <a:cubicBezTo>
                    <a:pt x="261" y="857"/>
                    <a:pt x="265" y="851"/>
                    <a:pt x="283" y="851"/>
                  </a:cubicBezTo>
                  <a:cubicBezTo>
                    <a:pt x="302" y="851"/>
                    <a:pt x="348" y="853"/>
                    <a:pt x="355" y="842"/>
                  </a:cubicBezTo>
                  <a:cubicBezTo>
                    <a:pt x="363" y="830"/>
                    <a:pt x="363" y="829"/>
                    <a:pt x="386" y="829"/>
                  </a:cubicBezTo>
                  <a:cubicBezTo>
                    <a:pt x="408" y="829"/>
                    <a:pt x="429" y="835"/>
                    <a:pt x="442" y="830"/>
                  </a:cubicBezTo>
                  <a:cubicBezTo>
                    <a:pt x="456" y="824"/>
                    <a:pt x="456" y="821"/>
                    <a:pt x="475" y="830"/>
                  </a:cubicBezTo>
                  <a:cubicBezTo>
                    <a:pt x="493" y="838"/>
                    <a:pt x="525" y="838"/>
                    <a:pt x="535" y="832"/>
                  </a:cubicBezTo>
                  <a:cubicBezTo>
                    <a:pt x="545" y="825"/>
                    <a:pt x="584" y="832"/>
                    <a:pt x="585" y="819"/>
                  </a:cubicBezTo>
                  <a:cubicBezTo>
                    <a:pt x="587" y="806"/>
                    <a:pt x="587" y="804"/>
                    <a:pt x="621" y="805"/>
                  </a:cubicBezTo>
                  <a:cubicBezTo>
                    <a:pt x="655" y="806"/>
                    <a:pt x="684" y="790"/>
                    <a:pt x="695" y="776"/>
                  </a:cubicBezTo>
                  <a:cubicBezTo>
                    <a:pt x="706" y="762"/>
                    <a:pt x="731" y="750"/>
                    <a:pt x="752" y="734"/>
                  </a:cubicBezTo>
                  <a:cubicBezTo>
                    <a:pt x="774" y="718"/>
                    <a:pt x="808" y="686"/>
                    <a:pt x="823" y="667"/>
                  </a:cubicBezTo>
                  <a:cubicBezTo>
                    <a:pt x="838" y="649"/>
                    <a:pt x="900" y="616"/>
                    <a:pt x="911" y="582"/>
                  </a:cubicBezTo>
                  <a:cubicBezTo>
                    <a:pt x="922" y="549"/>
                    <a:pt x="923" y="541"/>
                    <a:pt x="945" y="509"/>
                  </a:cubicBezTo>
                  <a:cubicBezTo>
                    <a:pt x="966" y="478"/>
                    <a:pt x="1001" y="450"/>
                    <a:pt x="1020" y="436"/>
                  </a:cubicBezTo>
                  <a:cubicBezTo>
                    <a:pt x="1038" y="422"/>
                    <a:pt x="1046" y="426"/>
                    <a:pt x="1040" y="402"/>
                  </a:cubicBezTo>
                  <a:cubicBezTo>
                    <a:pt x="1035" y="378"/>
                    <a:pt x="1039" y="365"/>
                    <a:pt x="1044" y="346"/>
                  </a:cubicBezTo>
                  <a:cubicBezTo>
                    <a:pt x="1047" y="337"/>
                    <a:pt x="1050" y="330"/>
                    <a:pt x="1052" y="322"/>
                  </a:cubicBezTo>
                  <a:cubicBezTo>
                    <a:pt x="1030" y="323"/>
                    <a:pt x="1019" y="332"/>
                    <a:pt x="1011" y="332"/>
                  </a:cubicBezTo>
                  <a:cubicBezTo>
                    <a:pt x="1010" y="332"/>
                    <a:pt x="1010" y="332"/>
                    <a:pt x="1009" y="331"/>
                  </a:cubicBezTo>
                  <a:close/>
                  <a:moveTo>
                    <a:pt x="817" y="510"/>
                  </a:moveTo>
                  <a:cubicBezTo>
                    <a:pt x="811" y="515"/>
                    <a:pt x="809" y="527"/>
                    <a:pt x="805" y="539"/>
                  </a:cubicBezTo>
                  <a:cubicBezTo>
                    <a:pt x="801" y="551"/>
                    <a:pt x="787" y="551"/>
                    <a:pt x="771" y="552"/>
                  </a:cubicBezTo>
                  <a:cubicBezTo>
                    <a:pt x="755" y="553"/>
                    <a:pt x="748" y="569"/>
                    <a:pt x="745" y="581"/>
                  </a:cubicBezTo>
                  <a:cubicBezTo>
                    <a:pt x="743" y="592"/>
                    <a:pt x="740" y="590"/>
                    <a:pt x="729" y="590"/>
                  </a:cubicBezTo>
                  <a:cubicBezTo>
                    <a:pt x="718" y="590"/>
                    <a:pt x="713" y="588"/>
                    <a:pt x="707" y="577"/>
                  </a:cubicBezTo>
                  <a:cubicBezTo>
                    <a:pt x="700" y="566"/>
                    <a:pt x="688" y="554"/>
                    <a:pt x="686" y="543"/>
                  </a:cubicBezTo>
                  <a:cubicBezTo>
                    <a:pt x="684" y="533"/>
                    <a:pt x="673" y="536"/>
                    <a:pt x="671" y="523"/>
                  </a:cubicBezTo>
                  <a:cubicBezTo>
                    <a:pt x="669" y="511"/>
                    <a:pt x="688" y="508"/>
                    <a:pt x="695" y="502"/>
                  </a:cubicBezTo>
                  <a:cubicBezTo>
                    <a:pt x="702" y="496"/>
                    <a:pt x="712" y="494"/>
                    <a:pt x="712" y="484"/>
                  </a:cubicBezTo>
                  <a:cubicBezTo>
                    <a:pt x="712" y="473"/>
                    <a:pt x="720" y="465"/>
                    <a:pt x="729" y="465"/>
                  </a:cubicBezTo>
                  <a:cubicBezTo>
                    <a:pt x="737" y="465"/>
                    <a:pt x="748" y="460"/>
                    <a:pt x="750" y="453"/>
                  </a:cubicBezTo>
                  <a:cubicBezTo>
                    <a:pt x="752" y="445"/>
                    <a:pt x="771" y="444"/>
                    <a:pt x="771" y="444"/>
                  </a:cubicBezTo>
                  <a:cubicBezTo>
                    <a:pt x="777" y="443"/>
                    <a:pt x="785" y="452"/>
                    <a:pt x="788" y="458"/>
                  </a:cubicBezTo>
                  <a:cubicBezTo>
                    <a:pt x="791" y="465"/>
                    <a:pt x="797" y="473"/>
                    <a:pt x="807" y="475"/>
                  </a:cubicBezTo>
                  <a:cubicBezTo>
                    <a:pt x="818" y="476"/>
                    <a:pt x="825" y="485"/>
                    <a:pt x="825" y="495"/>
                  </a:cubicBezTo>
                  <a:cubicBezTo>
                    <a:pt x="826" y="505"/>
                    <a:pt x="822" y="504"/>
                    <a:pt x="817" y="51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482" name="Freeform 25677"/>
            <p:cNvSpPr>
              <a:spLocks/>
            </p:cNvSpPr>
            <p:nvPr/>
          </p:nvSpPr>
          <p:spPr bwMode="auto">
            <a:xfrm>
              <a:off x="4880408" y="4206811"/>
              <a:ext cx="186875" cy="168093"/>
            </a:xfrm>
            <a:custGeom>
              <a:avLst/>
              <a:gdLst>
                <a:gd name="T0" fmla="*/ 325 w 501"/>
                <a:gd name="T1" fmla="*/ 2 h 451"/>
                <a:gd name="T2" fmla="*/ 323 w 501"/>
                <a:gd name="T3" fmla="*/ 3 h 451"/>
                <a:gd name="T4" fmla="*/ 320 w 501"/>
                <a:gd name="T5" fmla="*/ 4 h 451"/>
                <a:gd name="T6" fmla="*/ 317 w 501"/>
                <a:gd name="T7" fmla="*/ 4 h 451"/>
                <a:gd name="T8" fmla="*/ 313 w 501"/>
                <a:gd name="T9" fmla="*/ 4 h 451"/>
                <a:gd name="T10" fmla="*/ 309 w 501"/>
                <a:gd name="T11" fmla="*/ 5 h 451"/>
                <a:gd name="T12" fmla="*/ 305 w 501"/>
                <a:gd name="T13" fmla="*/ 4 h 451"/>
                <a:gd name="T14" fmla="*/ 299 w 501"/>
                <a:gd name="T15" fmla="*/ 4 h 451"/>
                <a:gd name="T16" fmla="*/ 293 w 501"/>
                <a:gd name="T17" fmla="*/ 4 h 451"/>
                <a:gd name="T18" fmla="*/ 288 w 501"/>
                <a:gd name="T19" fmla="*/ 4 h 451"/>
                <a:gd name="T20" fmla="*/ 283 w 501"/>
                <a:gd name="T21" fmla="*/ 4 h 451"/>
                <a:gd name="T22" fmla="*/ 278 w 501"/>
                <a:gd name="T23" fmla="*/ 4 h 451"/>
                <a:gd name="T24" fmla="*/ 274 w 501"/>
                <a:gd name="T25" fmla="*/ 4 h 451"/>
                <a:gd name="T26" fmla="*/ 236 w 501"/>
                <a:gd name="T27" fmla="*/ 36 h 451"/>
                <a:gd name="T28" fmla="*/ 112 w 501"/>
                <a:gd name="T29" fmla="*/ 155 h 451"/>
                <a:gd name="T30" fmla="*/ 20 w 501"/>
                <a:gd name="T31" fmla="*/ 144 h 451"/>
                <a:gd name="T32" fmla="*/ 19 w 501"/>
                <a:gd name="T33" fmla="*/ 175 h 451"/>
                <a:gd name="T34" fmla="*/ 96 w 501"/>
                <a:gd name="T35" fmla="*/ 277 h 451"/>
                <a:gd name="T36" fmla="*/ 150 w 501"/>
                <a:gd name="T37" fmla="*/ 321 h 451"/>
                <a:gd name="T38" fmla="*/ 171 w 501"/>
                <a:gd name="T39" fmla="*/ 373 h 451"/>
                <a:gd name="T40" fmla="*/ 244 w 501"/>
                <a:gd name="T41" fmla="*/ 411 h 451"/>
                <a:gd name="T42" fmla="*/ 246 w 501"/>
                <a:gd name="T43" fmla="*/ 415 h 451"/>
                <a:gd name="T44" fmla="*/ 248 w 501"/>
                <a:gd name="T45" fmla="*/ 418 h 451"/>
                <a:gd name="T46" fmla="*/ 250 w 501"/>
                <a:gd name="T47" fmla="*/ 421 h 451"/>
                <a:gd name="T48" fmla="*/ 251 w 501"/>
                <a:gd name="T49" fmla="*/ 423 h 451"/>
                <a:gd name="T50" fmla="*/ 254 w 501"/>
                <a:gd name="T51" fmla="*/ 426 h 451"/>
                <a:gd name="T52" fmla="*/ 256 w 501"/>
                <a:gd name="T53" fmla="*/ 428 h 451"/>
                <a:gd name="T54" fmla="*/ 258 w 501"/>
                <a:gd name="T55" fmla="*/ 430 h 451"/>
                <a:gd name="T56" fmla="*/ 262 w 501"/>
                <a:gd name="T57" fmla="*/ 432 h 451"/>
                <a:gd name="T58" fmla="*/ 265 w 501"/>
                <a:gd name="T59" fmla="*/ 433 h 451"/>
                <a:gd name="T60" fmla="*/ 269 w 501"/>
                <a:gd name="T61" fmla="*/ 434 h 451"/>
                <a:gd name="T62" fmla="*/ 274 w 501"/>
                <a:gd name="T63" fmla="*/ 435 h 451"/>
                <a:gd name="T64" fmla="*/ 326 w 501"/>
                <a:gd name="T65" fmla="*/ 445 h 451"/>
                <a:gd name="T66" fmla="*/ 329 w 501"/>
                <a:gd name="T67" fmla="*/ 445 h 451"/>
                <a:gd name="T68" fmla="*/ 333 w 501"/>
                <a:gd name="T69" fmla="*/ 445 h 451"/>
                <a:gd name="T70" fmla="*/ 338 w 501"/>
                <a:gd name="T71" fmla="*/ 444 h 451"/>
                <a:gd name="T72" fmla="*/ 385 w 501"/>
                <a:gd name="T73" fmla="*/ 451 h 451"/>
                <a:gd name="T74" fmla="*/ 406 w 501"/>
                <a:gd name="T75" fmla="*/ 432 h 451"/>
                <a:gd name="T76" fmla="*/ 464 w 501"/>
                <a:gd name="T77" fmla="*/ 334 h 451"/>
                <a:gd name="T78" fmla="*/ 499 w 501"/>
                <a:gd name="T79" fmla="*/ 283 h 451"/>
                <a:gd name="T80" fmla="*/ 486 w 501"/>
                <a:gd name="T81" fmla="*/ 239 h 451"/>
                <a:gd name="T82" fmla="*/ 493 w 501"/>
                <a:gd name="T83" fmla="*/ 198 h 451"/>
                <a:gd name="T84" fmla="*/ 499 w 501"/>
                <a:gd name="T85" fmla="*/ 127 h 451"/>
                <a:gd name="T86" fmla="*/ 483 w 501"/>
                <a:gd name="T87" fmla="*/ 68 h 451"/>
                <a:gd name="T88" fmla="*/ 388 w 501"/>
                <a:gd name="T89" fmla="*/ 29 h 451"/>
                <a:gd name="T90" fmla="*/ 332 w 501"/>
                <a:gd name="T91" fmla="*/ 13 h 451"/>
                <a:gd name="T92" fmla="*/ 327 w 501"/>
                <a:gd name="T93" fmla="*/ 0 h 4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1" h="451">
                  <a:moveTo>
                    <a:pt x="326" y="1"/>
                  </a:moveTo>
                  <a:cubicBezTo>
                    <a:pt x="326" y="1"/>
                    <a:pt x="325" y="2"/>
                    <a:pt x="325" y="2"/>
                  </a:cubicBezTo>
                  <a:cubicBezTo>
                    <a:pt x="325" y="2"/>
                    <a:pt x="324" y="2"/>
                    <a:pt x="324" y="2"/>
                  </a:cubicBezTo>
                  <a:cubicBezTo>
                    <a:pt x="324" y="3"/>
                    <a:pt x="323" y="3"/>
                    <a:pt x="323" y="3"/>
                  </a:cubicBezTo>
                  <a:cubicBezTo>
                    <a:pt x="322" y="3"/>
                    <a:pt x="322" y="3"/>
                    <a:pt x="321" y="3"/>
                  </a:cubicBezTo>
                  <a:cubicBezTo>
                    <a:pt x="321" y="3"/>
                    <a:pt x="320" y="4"/>
                    <a:pt x="320" y="4"/>
                  </a:cubicBezTo>
                  <a:cubicBezTo>
                    <a:pt x="319" y="4"/>
                    <a:pt x="319" y="4"/>
                    <a:pt x="318" y="4"/>
                  </a:cubicBezTo>
                  <a:cubicBezTo>
                    <a:pt x="318" y="4"/>
                    <a:pt x="317" y="4"/>
                    <a:pt x="317" y="4"/>
                  </a:cubicBezTo>
                  <a:cubicBezTo>
                    <a:pt x="316" y="4"/>
                    <a:pt x="316" y="4"/>
                    <a:pt x="315" y="4"/>
                  </a:cubicBezTo>
                  <a:cubicBezTo>
                    <a:pt x="314" y="4"/>
                    <a:pt x="314" y="4"/>
                    <a:pt x="313" y="4"/>
                  </a:cubicBezTo>
                  <a:cubicBezTo>
                    <a:pt x="312" y="4"/>
                    <a:pt x="312" y="4"/>
                    <a:pt x="311" y="4"/>
                  </a:cubicBezTo>
                  <a:cubicBezTo>
                    <a:pt x="310" y="5"/>
                    <a:pt x="310" y="5"/>
                    <a:pt x="309" y="5"/>
                  </a:cubicBezTo>
                  <a:cubicBezTo>
                    <a:pt x="308" y="4"/>
                    <a:pt x="308" y="5"/>
                    <a:pt x="307" y="4"/>
                  </a:cubicBezTo>
                  <a:cubicBezTo>
                    <a:pt x="307" y="4"/>
                    <a:pt x="306" y="4"/>
                    <a:pt x="305" y="4"/>
                  </a:cubicBezTo>
                  <a:cubicBezTo>
                    <a:pt x="303" y="4"/>
                    <a:pt x="301" y="4"/>
                    <a:pt x="299" y="4"/>
                  </a:cubicBezTo>
                  <a:cubicBezTo>
                    <a:pt x="299" y="4"/>
                    <a:pt x="299" y="4"/>
                    <a:pt x="299" y="4"/>
                  </a:cubicBezTo>
                  <a:cubicBezTo>
                    <a:pt x="297" y="4"/>
                    <a:pt x="295" y="4"/>
                    <a:pt x="294" y="4"/>
                  </a:cubicBezTo>
                  <a:cubicBezTo>
                    <a:pt x="293" y="4"/>
                    <a:pt x="293" y="4"/>
                    <a:pt x="293" y="4"/>
                  </a:cubicBezTo>
                  <a:cubicBezTo>
                    <a:pt x="292" y="4"/>
                    <a:pt x="291" y="4"/>
                    <a:pt x="289" y="4"/>
                  </a:cubicBezTo>
                  <a:cubicBezTo>
                    <a:pt x="289" y="4"/>
                    <a:pt x="288" y="4"/>
                    <a:pt x="288" y="4"/>
                  </a:cubicBezTo>
                  <a:cubicBezTo>
                    <a:pt x="287" y="4"/>
                    <a:pt x="286" y="4"/>
                    <a:pt x="285" y="4"/>
                  </a:cubicBezTo>
                  <a:cubicBezTo>
                    <a:pt x="284" y="4"/>
                    <a:pt x="283" y="4"/>
                    <a:pt x="283" y="4"/>
                  </a:cubicBezTo>
                  <a:cubicBezTo>
                    <a:pt x="282" y="4"/>
                    <a:pt x="281" y="4"/>
                    <a:pt x="280" y="4"/>
                  </a:cubicBezTo>
                  <a:cubicBezTo>
                    <a:pt x="279" y="4"/>
                    <a:pt x="279" y="4"/>
                    <a:pt x="278" y="4"/>
                  </a:cubicBezTo>
                  <a:cubicBezTo>
                    <a:pt x="277" y="4"/>
                    <a:pt x="276" y="4"/>
                    <a:pt x="275" y="4"/>
                  </a:cubicBezTo>
                  <a:cubicBezTo>
                    <a:pt x="275" y="4"/>
                    <a:pt x="274" y="4"/>
                    <a:pt x="274" y="4"/>
                  </a:cubicBezTo>
                  <a:cubicBezTo>
                    <a:pt x="272" y="4"/>
                    <a:pt x="271" y="4"/>
                    <a:pt x="270" y="4"/>
                  </a:cubicBezTo>
                  <a:cubicBezTo>
                    <a:pt x="247" y="7"/>
                    <a:pt x="238" y="17"/>
                    <a:pt x="236" y="36"/>
                  </a:cubicBezTo>
                  <a:cubicBezTo>
                    <a:pt x="235" y="55"/>
                    <a:pt x="228" y="67"/>
                    <a:pt x="187" y="75"/>
                  </a:cubicBezTo>
                  <a:cubicBezTo>
                    <a:pt x="146" y="83"/>
                    <a:pt x="130" y="133"/>
                    <a:pt x="112" y="155"/>
                  </a:cubicBezTo>
                  <a:cubicBezTo>
                    <a:pt x="95" y="176"/>
                    <a:pt x="83" y="156"/>
                    <a:pt x="63" y="149"/>
                  </a:cubicBezTo>
                  <a:cubicBezTo>
                    <a:pt x="43" y="143"/>
                    <a:pt x="40" y="149"/>
                    <a:pt x="20" y="144"/>
                  </a:cubicBezTo>
                  <a:cubicBezTo>
                    <a:pt x="13" y="142"/>
                    <a:pt x="6" y="141"/>
                    <a:pt x="0" y="142"/>
                  </a:cubicBezTo>
                  <a:cubicBezTo>
                    <a:pt x="8" y="152"/>
                    <a:pt x="17" y="164"/>
                    <a:pt x="19" y="175"/>
                  </a:cubicBezTo>
                  <a:cubicBezTo>
                    <a:pt x="23" y="192"/>
                    <a:pt x="44" y="184"/>
                    <a:pt x="46" y="211"/>
                  </a:cubicBezTo>
                  <a:cubicBezTo>
                    <a:pt x="47" y="237"/>
                    <a:pt x="70" y="271"/>
                    <a:pt x="96" y="277"/>
                  </a:cubicBezTo>
                  <a:cubicBezTo>
                    <a:pt x="123" y="284"/>
                    <a:pt x="124" y="281"/>
                    <a:pt x="130" y="300"/>
                  </a:cubicBezTo>
                  <a:cubicBezTo>
                    <a:pt x="135" y="319"/>
                    <a:pt x="132" y="321"/>
                    <a:pt x="150" y="321"/>
                  </a:cubicBezTo>
                  <a:cubicBezTo>
                    <a:pt x="167" y="321"/>
                    <a:pt x="155" y="335"/>
                    <a:pt x="155" y="348"/>
                  </a:cubicBezTo>
                  <a:cubicBezTo>
                    <a:pt x="155" y="361"/>
                    <a:pt x="162" y="373"/>
                    <a:pt x="171" y="373"/>
                  </a:cubicBezTo>
                  <a:cubicBezTo>
                    <a:pt x="180" y="373"/>
                    <a:pt x="172" y="389"/>
                    <a:pt x="186" y="393"/>
                  </a:cubicBezTo>
                  <a:cubicBezTo>
                    <a:pt x="199" y="397"/>
                    <a:pt x="236" y="395"/>
                    <a:pt x="244" y="411"/>
                  </a:cubicBezTo>
                  <a:cubicBezTo>
                    <a:pt x="245" y="412"/>
                    <a:pt x="245" y="413"/>
                    <a:pt x="246" y="414"/>
                  </a:cubicBezTo>
                  <a:cubicBezTo>
                    <a:pt x="246" y="414"/>
                    <a:pt x="246" y="414"/>
                    <a:pt x="246" y="415"/>
                  </a:cubicBezTo>
                  <a:cubicBezTo>
                    <a:pt x="247" y="415"/>
                    <a:pt x="247" y="416"/>
                    <a:pt x="248" y="417"/>
                  </a:cubicBezTo>
                  <a:cubicBezTo>
                    <a:pt x="248" y="417"/>
                    <a:pt x="248" y="418"/>
                    <a:pt x="248" y="418"/>
                  </a:cubicBezTo>
                  <a:cubicBezTo>
                    <a:pt x="248" y="419"/>
                    <a:pt x="249" y="419"/>
                    <a:pt x="249" y="420"/>
                  </a:cubicBezTo>
                  <a:cubicBezTo>
                    <a:pt x="249" y="420"/>
                    <a:pt x="250" y="420"/>
                    <a:pt x="250" y="421"/>
                  </a:cubicBezTo>
                  <a:cubicBezTo>
                    <a:pt x="250" y="422"/>
                    <a:pt x="251" y="422"/>
                    <a:pt x="251" y="423"/>
                  </a:cubicBezTo>
                  <a:cubicBezTo>
                    <a:pt x="251" y="423"/>
                    <a:pt x="251" y="423"/>
                    <a:pt x="251" y="423"/>
                  </a:cubicBezTo>
                  <a:cubicBezTo>
                    <a:pt x="252" y="424"/>
                    <a:pt x="253" y="425"/>
                    <a:pt x="253" y="426"/>
                  </a:cubicBezTo>
                  <a:cubicBezTo>
                    <a:pt x="253" y="426"/>
                    <a:pt x="253" y="426"/>
                    <a:pt x="254" y="426"/>
                  </a:cubicBezTo>
                  <a:cubicBezTo>
                    <a:pt x="254" y="427"/>
                    <a:pt x="255" y="427"/>
                    <a:pt x="255" y="428"/>
                  </a:cubicBezTo>
                  <a:cubicBezTo>
                    <a:pt x="255" y="428"/>
                    <a:pt x="256" y="428"/>
                    <a:pt x="256" y="428"/>
                  </a:cubicBezTo>
                  <a:cubicBezTo>
                    <a:pt x="257" y="429"/>
                    <a:pt x="257" y="430"/>
                    <a:pt x="258" y="430"/>
                  </a:cubicBezTo>
                  <a:cubicBezTo>
                    <a:pt x="258" y="430"/>
                    <a:pt x="258" y="430"/>
                    <a:pt x="258" y="430"/>
                  </a:cubicBezTo>
                  <a:cubicBezTo>
                    <a:pt x="259" y="431"/>
                    <a:pt x="260" y="431"/>
                    <a:pt x="261" y="432"/>
                  </a:cubicBezTo>
                  <a:cubicBezTo>
                    <a:pt x="261" y="432"/>
                    <a:pt x="261" y="432"/>
                    <a:pt x="262" y="432"/>
                  </a:cubicBezTo>
                  <a:cubicBezTo>
                    <a:pt x="263" y="432"/>
                    <a:pt x="263" y="433"/>
                    <a:pt x="264" y="433"/>
                  </a:cubicBezTo>
                  <a:cubicBezTo>
                    <a:pt x="265" y="433"/>
                    <a:pt x="265" y="433"/>
                    <a:pt x="265" y="433"/>
                  </a:cubicBezTo>
                  <a:cubicBezTo>
                    <a:pt x="266" y="433"/>
                    <a:pt x="267" y="434"/>
                    <a:pt x="269" y="434"/>
                  </a:cubicBezTo>
                  <a:cubicBezTo>
                    <a:pt x="269" y="434"/>
                    <a:pt x="269" y="434"/>
                    <a:pt x="269" y="434"/>
                  </a:cubicBezTo>
                  <a:cubicBezTo>
                    <a:pt x="271" y="434"/>
                    <a:pt x="272" y="434"/>
                    <a:pt x="273" y="434"/>
                  </a:cubicBezTo>
                  <a:cubicBezTo>
                    <a:pt x="273" y="434"/>
                    <a:pt x="274" y="434"/>
                    <a:pt x="274" y="435"/>
                  </a:cubicBezTo>
                  <a:cubicBezTo>
                    <a:pt x="276" y="435"/>
                    <a:pt x="277" y="435"/>
                    <a:pt x="279" y="435"/>
                  </a:cubicBezTo>
                  <a:cubicBezTo>
                    <a:pt x="302" y="435"/>
                    <a:pt x="304" y="445"/>
                    <a:pt x="326" y="445"/>
                  </a:cubicBezTo>
                  <a:cubicBezTo>
                    <a:pt x="327" y="445"/>
                    <a:pt x="328" y="445"/>
                    <a:pt x="329" y="445"/>
                  </a:cubicBezTo>
                  <a:cubicBezTo>
                    <a:pt x="329" y="445"/>
                    <a:pt x="329" y="445"/>
                    <a:pt x="329" y="445"/>
                  </a:cubicBezTo>
                  <a:cubicBezTo>
                    <a:pt x="330" y="445"/>
                    <a:pt x="331" y="445"/>
                    <a:pt x="332" y="445"/>
                  </a:cubicBezTo>
                  <a:cubicBezTo>
                    <a:pt x="333" y="445"/>
                    <a:pt x="333" y="445"/>
                    <a:pt x="333" y="445"/>
                  </a:cubicBezTo>
                  <a:cubicBezTo>
                    <a:pt x="334" y="445"/>
                    <a:pt x="335" y="444"/>
                    <a:pt x="336" y="444"/>
                  </a:cubicBezTo>
                  <a:cubicBezTo>
                    <a:pt x="337" y="444"/>
                    <a:pt x="337" y="444"/>
                    <a:pt x="338" y="444"/>
                  </a:cubicBezTo>
                  <a:cubicBezTo>
                    <a:pt x="338" y="444"/>
                    <a:pt x="339" y="444"/>
                    <a:pt x="339" y="444"/>
                  </a:cubicBezTo>
                  <a:cubicBezTo>
                    <a:pt x="356" y="441"/>
                    <a:pt x="375" y="436"/>
                    <a:pt x="385" y="451"/>
                  </a:cubicBezTo>
                  <a:cubicBezTo>
                    <a:pt x="385" y="451"/>
                    <a:pt x="385" y="451"/>
                    <a:pt x="385" y="451"/>
                  </a:cubicBezTo>
                  <a:cubicBezTo>
                    <a:pt x="393" y="444"/>
                    <a:pt x="401" y="436"/>
                    <a:pt x="406" y="432"/>
                  </a:cubicBezTo>
                  <a:cubicBezTo>
                    <a:pt x="412" y="426"/>
                    <a:pt x="445" y="392"/>
                    <a:pt x="453" y="382"/>
                  </a:cubicBezTo>
                  <a:cubicBezTo>
                    <a:pt x="461" y="372"/>
                    <a:pt x="464" y="347"/>
                    <a:pt x="464" y="334"/>
                  </a:cubicBezTo>
                  <a:cubicBezTo>
                    <a:pt x="464" y="321"/>
                    <a:pt x="477" y="315"/>
                    <a:pt x="485" y="305"/>
                  </a:cubicBezTo>
                  <a:cubicBezTo>
                    <a:pt x="493" y="296"/>
                    <a:pt x="497" y="291"/>
                    <a:pt x="499" y="283"/>
                  </a:cubicBezTo>
                  <a:cubicBezTo>
                    <a:pt x="501" y="275"/>
                    <a:pt x="498" y="274"/>
                    <a:pt x="490" y="269"/>
                  </a:cubicBezTo>
                  <a:cubicBezTo>
                    <a:pt x="482" y="265"/>
                    <a:pt x="490" y="245"/>
                    <a:pt x="486" y="239"/>
                  </a:cubicBezTo>
                  <a:cubicBezTo>
                    <a:pt x="481" y="233"/>
                    <a:pt x="479" y="227"/>
                    <a:pt x="479" y="219"/>
                  </a:cubicBezTo>
                  <a:cubicBezTo>
                    <a:pt x="479" y="212"/>
                    <a:pt x="485" y="203"/>
                    <a:pt x="493" y="198"/>
                  </a:cubicBezTo>
                  <a:cubicBezTo>
                    <a:pt x="501" y="193"/>
                    <a:pt x="500" y="173"/>
                    <a:pt x="494" y="165"/>
                  </a:cubicBezTo>
                  <a:cubicBezTo>
                    <a:pt x="488" y="157"/>
                    <a:pt x="499" y="136"/>
                    <a:pt x="499" y="127"/>
                  </a:cubicBezTo>
                  <a:cubicBezTo>
                    <a:pt x="499" y="117"/>
                    <a:pt x="496" y="109"/>
                    <a:pt x="492" y="103"/>
                  </a:cubicBezTo>
                  <a:cubicBezTo>
                    <a:pt x="488" y="96"/>
                    <a:pt x="489" y="83"/>
                    <a:pt x="483" y="68"/>
                  </a:cubicBezTo>
                  <a:cubicBezTo>
                    <a:pt x="477" y="53"/>
                    <a:pt x="442" y="55"/>
                    <a:pt x="432" y="49"/>
                  </a:cubicBezTo>
                  <a:cubicBezTo>
                    <a:pt x="422" y="44"/>
                    <a:pt x="398" y="35"/>
                    <a:pt x="388" y="29"/>
                  </a:cubicBezTo>
                  <a:cubicBezTo>
                    <a:pt x="378" y="23"/>
                    <a:pt x="368" y="23"/>
                    <a:pt x="356" y="26"/>
                  </a:cubicBezTo>
                  <a:cubicBezTo>
                    <a:pt x="344" y="29"/>
                    <a:pt x="333" y="23"/>
                    <a:pt x="332" y="13"/>
                  </a:cubicBezTo>
                  <a:cubicBezTo>
                    <a:pt x="331" y="8"/>
                    <a:pt x="329" y="4"/>
                    <a:pt x="327" y="0"/>
                  </a:cubicBezTo>
                  <a:cubicBezTo>
                    <a:pt x="327" y="0"/>
                    <a:pt x="327" y="0"/>
                    <a:pt x="327" y="0"/>
                  </a:cubicBezTo>
                  <a:cubicBezTo>
                    <a:pt x="327" y="1"/>
                    <a:pt x="326" y="1"/>
                    <a:pt x="326" y="1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483" name="Freeform 25678"/>
            <p:cNvSpPr>
              <a:spLocks/>
            </p:cNvSpPr>
            <p:nvPr/>
          </p:nvSpPr>
          <p:spPr bwMode="auto">
            <a:xfrm>
              <a:off x="4922234" y="4529739"/>
              <a:ext cx="58557" cy="55558"/>
            </a:xfrm>
            <a:custGeom>
              <a:avLst/>
              <a:gdLst>
                <a:gd name="T0" fmla="*/ 138 w 157"/>
                <a:gd name="T1" fmla="*/ 32 h 149"/>
                <a:gd name="T2" fmla="*/ 119 w 157"/>
                <a:gd name="T3" fmla="*/ 15 h 149"/>
                <a:gd name="T4" fmla="*/ 102 w 157"/>
                <a:gd name="T5" fmla="*/ 1 h 149"/>
                <a:gd name="T6" fmla="*/ 81 w 157"/>
                <a:gd name="T7" fmla="*/ 10 h 149"/>
                <a:gd name="T8" fmla="*/ 60 w 157"/>
                <a:gd name="T9" fmla="*/ 22 h 149"/>
                <a:gd name="T10" fmla="*/ 43 w 157"/>
                <a:gd name="T11" fmla="*/ 41 h 149"/>
                <a:gd name="T12" fmla="*/ 26 w 157"/>
                <a:gd name="T13" fmla="*/ 59 h 149"/>
                <a:gd name="T14" fmla="*/ 2 w 157"/>
                <a:gd name="T15" fmla="*/ 80 h 149"/>
                <a:gd name="T16" fmla="*/ 17 w 157"/>
                <a:gd name="T17" fmla="*/ 100 h 149"/>
                <a:gd name="T18" fmla="*/ 38 w 157"/>
                <a:gd name="T19" fmla="*/ 134 h 149"/>
                <a:gd name="T20" fmla="*/ 60 w 157"/>
                <a:gd name="T21" fmla="*/ 147 h 149"/>
                <a:gd name="T22" fmla="*/ 76 w 157"/>
                <a:gd name="T23" fmla="*/ 138 h 149"/>
                <a:gd name="T24" fmla="*/ 102 w 157"/>
                <a:gd name="T25" fmla="*/ 109 h 149"/>
                <a:gd name="T26" fmla="*/ 136 w 157"/>
                <a:gd name="T27" fmla="*/ 96 h 149"/>
                <a:gd name="T28" fmla="*/ 148 w 157"/>
                <a:gd name="T29" fmla="*/ 67 h 149"/>
                <a:gd name="T30" fmla="*/ 156 w 157"/>
                <a:gd name="T31" fmla="*/ 52 h 149"/>
                <a:gd name="T32" fmla="*/ 138 w 157"/>
                <a:gd name="T33" fmla="*/ 32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7" h="149">
                  <a:moveTo>
                    <a:pt x="138" y="32"/>
                  </a:moveTo>
                  <a:cubicBezTo>
                    <a:pt x="128" y="30"/>
                    <a:pt x="122" y="22"/>
                    <a:pt x="119" y="15"/>
                  </a:cubicBezTo>
                  <a:cubicBezTo>
                    <a:pt x="116" y="9"/>
                    <a:pt x="108" y="0"/>
                    <a:pt x="102" y="1"/>
                  </a:cubicBezTo>
                  <a:cubicBezTo>
                    <a:pt x="102" y="1"/>
                    <a:pt x="83" y="2"/>
                    <a:pt x="81" y="10"/>
                  </a:cubicBezTo>
                  <a:cubicBezTo>
                    <a:pt x="79" y="17"/>
                    <a:pt x="68" y="22"/>
                    <a:pt x="60" y="22"/>
                  </a:cubicBezTo>
                  <a:cubicBezTo>
                    <a:pt x="51" y="22"/>
                    <a:pt x="43" y="30"/>
                    <a:pt x="43" y="41"/>
                  </a:cubicBezTo>
                  <a:cubicBezTo>
                    <a:pt x="43" y="51"/>
                    <a:pt x="33" y="53"/>
                    <a:pt x="26" y="59"/>
                  </a:cubicBezTo>
                  <a:cubicBezTo>
                    <a:pt x="19" y="65"/>
                    <a:pt x="0" y="68"/>
                    <a:pt x="2" y="80"/>
                  </a:cubicBezTo>
                  <a:cubicBezTo>
                    <a:pt x="4" y="93"/>
                    <a:pt x="15" y="90"/>
                    <a:pt x="17" y="100"/>
                  </a:cubicBezTo>
                  <a:cubicBezTo>
                    <a:pt x="19" y="111"/>
                    <a:pt x="31" y="123"/>
                    <a:pt x="38" y="134"/>
                  </a:cubicBezTo>
                  <a:cubicBezTo>
                    <a:pt x="44" y="145"/>
                    <a:pt x="49" y="147"/>
                    <a:pt x="60" y="147"/>
                  </a:cubicBezTo>
                  <a:cubicBezTo>
                    <a:pt x="71" y="147"/>
                    <a:pt x="74" y="149"/>
                    <a:pt x="76" y="138"/>
                  </a:cubicBezTo>
                  <a:cubicBezTo>
                    <a:pt x="79" y="126"/>
                    <a:pt x="86" y="110"/>
                    <a:pt x="102" y="109"/>
                  </a:cubicBezTo>
                  <a:cubicBezTo>
                    <a:pt x="118" y="108"/>
                    <a:pt x="132" y="108"/>
                    <a:pt x="136" y="96"/>
                  </a:cubicBezTo>
                  <a:cubicBezTo>
                    <a:pt x="140" y="84"/>
                    <a:pt x="142" y="72"/>
                    <a:pt x="148" y="67"/>
                  </a:cubicBezTo>
                  <a:cubicBezTo>
                    <a:pt x="153" y="61"/>
                    <a:pt x="157" y="62"/>
                    <a:pt x="156" y="52"/>
                  </a:cubicBezTo>
                  <a:cubicBezTo>
                    <a:pt x="156" y="42"/>
                    <a:pt x="149" y="33"/>
                    <a:pt x="138" y="32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484" name="Freeform 25679"/>
            <p:cNvSpPr>
              <a:spLocks/>
            </p:cNvSpPr>
            <p:nvPr/>
          </p:nvSpPr>
          <p:spPr bwMode="auto">
            <a:xfrm>
              <a:off x="4561583" y="3966272"/>
              <a:ext cx="290099" cy="299095"/>
            </a:xfrm>
            <a:custGeom>
              <a:avLst/>
              <a:gdLst>
                <a:gd name="T0" fmla="*/ 59 w 778"/>
                <a:gd name="T1" fmla="*/ 740 h 802"/>
                <a:gd name="T2" fmla="*/ 157 w 778"/>
                <a:gd name="T3" fmla="*/ 756 h 802"/>
                <a:gd name="T4" fmla="*/ 450 w 778"/>
                <a:gd name="T5" fmla="*/ 789 h 802"/>
                <a:gd name="T6" fmla="*/ 642 w 778"/>
                <a:gd name="T7" fmla="*/ 797 h 802"/>
                <a:gd name="T8" fmla="*/ 725 w 778"/>
                <a:gd name="T9" fmla="*/ 779 h 802"/>
                <a:gd name="T10" fmla="*/ 731 w 778"/>
                <a:gd name="T11" fmla="*/ 778 h 802"/>
                <a:gd name="T12" fmla="*/ 685 w 778"/>
                <a:gd name="T13" fmla="*/ 725 h 802"/>
                <a:gd name="T14" fmla="*/ 650 w 778"/>
                <a:gd name="T15" fmla="*/ 472 h 802"/>
                <a:gd name="T16" fmla="*/ 778 w 778"/>
                <a:gd name="T17" fmla="*/ 337 h 802"/>
                <a:gd name="T18" fmla="*/ 772 w 778"/>
                <a:gd name="T19" fmla="*/ 337 h 802"/>
                <a:gd name="T20" fmla="*/ 767 w 778"/>
                <a:gd name="T21" fmla="*/ 337 h 802"/>
                <a:gd name="T22" fmla="*/ 757 w 778"/>
                <a:gd name="T23" fmla="*/ 337 h 802"/>
                <a:gd name="T24" fmla="*/ 682 w 778"/>
                <a:gd name="T25" fmla="*/ 349 h 802"/>
                <a:gd name="T26" fmla="*/ 666 w 778"/>
                <a:gd name="T27" fmla="*/ 328 h 802"/>
                <a:gd name="T28" fmla="*/ 655 w 778"/>
                <a:gd name="T29" fmla="*/ 268 h 802"/>
                <a:gd name="T30" fmla="*/ 645 w 778"/>
                <a:gd name="T31" fmla="*/ 208 h 802"/>
                <a:gd name="T32" fmla="*/ 637 w 778"/>
                <a:gd name="T33" fmla="*/ 148 h 802"/>
                <a:gd name="T34" fmla="*/ 642 w 778"/>
                <a:gd name="T35" fmla="*/ 109 h 802"/>
                <a:gd name="T36" fmla="*/ 552 w 778"/>
                <a:gd name="T37" fmla="*/ 80 h 802"/>
                <a:gd name="T38" fmla="*/ 491 w 778"/>
                <a:gd name="T39" fmla="*/ 115 h 802"/>
                <a:gd name="T40" fmla="*/ 449 w 778"/>
                <a:gd name="T41" fmla="*/ 148 h 802"/>
                <a:gd name="T42" fmla="*/ 391 w 778"/>
                <a:gd name="T43" fmla="*/ 153 h 802"/>
                <a:gd name="T44" fmla="*/ 325 w 778"/>
                <a:gd name="T45" fmla="*/ 73 h 802"/>
                <a:gd name="T46" fmla="*/ 187 w 778"/>
                <a:gd name="T47" fmla="*/ 12 h 802"/>
                <a:gd name="T48" fmla="*/ 31 w 778"/>
                <a:gd name="T49" fmla="*/ 21 h 802"/>
                <a:gd name="T50" fmla="*/ 73 w 778"/>
                <a:gd name="T51" fmla="*/ 89 h 802"/>
                <a:gd name="T52" fmla="*/ 101 w 778"/>
                <a:gd name="T53" fmla="*/ 188 h 802"/>
                <a:gd name="T54" fmla="*/ 109 w 778"/>
                <a:gd name="T55" fmla="*/ 291 h 802"/>
                <a:gd name="T56" fmla="*/ 128 w 778"/>
                <a:gd name="T57" fmla="*/ 380 h 802"/>
                <a:gd name="T58" fmla="*/ 68 w 778"/>
                <a:gd name="T59" fmla="*/ 469 h 802"/>
                <a:gd name="T60" fmla="*/ 39 w 778"/>
                <a:gd name="T61" fmla="*/ 579 h 802"/>
                <a:gd name="T62" fmla="*/ 2 w 778"/>
                <a:gd name="T63" fmla="*/ 697 h 802"/>
                <a:gd name="T64" fmla="*/ 13 w 778"/>
                <a:gd name="T65" fmla="*/ 738 h 8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78" h="802">
                  <a:moveTo>
                    <a:pt x="35" y="749"/>
                  </a:moveTo>
                  <a:cubicBezTo>
                    <a:pt x="39" y="752"/>
                    <a:pt x="55" y="752"/>
                    <a:pt x="59" y="740"/>
                  </a:cubicBezTo>
                  <a:cubicBezTo>
                    <a:pt x="63" y="728"/>
                    <a:pt x="99" y="721"/>
                    <a:pt x="111" y="737"/>
                  </a:cubicBezTo>
                  <a:cubicBezTo>
                    <a:pt x="123" y="753"/>
                    <a:pt x="126" y="756"/>
                    <a:pt x="157" y="756"/>
                  </a:cubicBezTo>
                  <a:cubicBezTo>
                    <a:pt x="187" y="756"/>
                    <a:pt x="422" y="757"/>
                    <a:pt x="422" y="757"/>
                  </a:cubicBezTo>
                  <a:cubicBezTo>
                    <a:pt x="450" y="789"/>
                    <a:pt x="450" y="789"/>
                    <a:pt x="450" y="789"/>
                  </a:cubicBezTo>
                  <a:cubicBezTo>
                    <a:pt x="450" y="789"/>
                    <a:pt x="537" y="786"/>
                    <a:pt x="551" y="792"/>
                  </a:cubicBezTo>
                  <a:cubicBezTo>
                    <a:pt x="566" y="797"/>
                    <a:pt x="634" y="802"/>
                    <a:pt x="642" y="797"/>
                  </a:cubicBezTo>
                  <a:cubicBezTo>
                    <a:pt x="650" y="792"/>
                    <a:pt x="699" y="782"/>
                    <a:pt x="718" y="780"/>
                  </a:cubicBezTo>
                  <a:cubicBezTo>
                    <a:pt x="720" y="779"/>
                    <a:pt x="722" y="779"/>
                    <a:pt x="725" y="779"/>
                  </a:cubicBezTo>
                  <a:cubicBezTo>
                    <a:pt x="726" y="779"/>
                    <a:pt x="728" y="779"/>
                    <a:pt x="730" y="778"/>
                  </a:cubicBezTo>
                  <a:cubicBezTo>
                    <a:pt x="730" y="778"/>
                    <a:pt x="730" y="778"/>
                    <a:pt x="731" y="778"/>
                  </a:cubicBezTo>
                  <a:cubicBezTo>
                    <a:pt x="729" y="758"/>
                    <a:pt x="724" y="752"/>
                    <a:pt x="716" y="750"/>
                  </a:cubicBezTo>
                  <a:cubicBezTo>
                    <a:pt x="707" y="748"/>
                    <a:pt x="697" y="735"/>
                    <a:pt x="685" y="725"/>
                  </a:cubicBezTo>
                  <a:cubicBezTo>
                    <a:pt x="673" y="715"/>
                    <a:pt x="651" y="679"/>
                    <a:pt x="651" y="679"/>
                  </a:cubicBezTo>
                  <a:cubicBezTo>
                    <a:pt x="650" y="472"/>
                    <a:pt x="650" y="472"/>
                    <a:pt x="650" y="472"/>
                  </a:cubicBezTo>
                  <a:cubicBezTo>
                    <a:pt x="776" y="468"/>
                    <a:pt x="776" y="468"/>
                    <a:pt x="776" y="468"/>
                  </a:cubicBezTo>
                  <a:cubicBezTo>
                    <a:pt x="778" y="337"/>
                    <a:pt x="778" y="337"/>
                    <a:pt x="778" y="337"/>
                  </a:cubicBezTo>
                  <a:cubicBezTo>
                    <a:pt x="776" y="337"/>
                    <a:pt x="774" y="337"/>
                    <a:pt x="773" y="337"/>
                  </a:cubicBezTo>
                  <a:cubicBezTo>
                    <a:pt x="773" y="337"/>
                    <a:pt x="773" y="337"/>
                    <a:pt x="772" y="337"/>
                  </a:cubicBezTo>
                  <a:cubicBezTo>
                    <a:pt x="771" y="337"/>
                    <a:pt x="769" y="337"/>
                    <a:pt x="768" y="337"/>
                  </a:cubicBezTo>
                  <a:cubicBezTo>
                    <a:pt x="767" y="337"/>
                    <a:pt x="767" y="337"/>
                    <a:pt x="767" y="337"/>
                  </a:cubicBezTo>
                  <a:cubicBezTo>
                    <a:pt x="765" y="337"/>
                    <a:pt x="764" y="337"/>
                    <a:pt x="762" y="337"/>
                  </a:cubicBezTo>
                  <a:cubicBezTo>
                    <a:pt x="760" y="337"/>
                    <a:pt x="759" y="337"/>
                    <a:pt x="757" y="337"/>
                  </a:cubicBezTo>
                  <a:cubicBezTo>
                    <a:pt x="743" y="337"/>
                    <a:pt x="735" y="347"/>
                    <a:pt x="723" y="347"/>
                  </a:cubicBezTo>
                  <a:cubicBezTo>
                    <a:pt x="711" y="347"/>
                    <a:pt x="686" y="341"/>
                    <a:pt x="682" y="349"/>
                  </a:cubicBezTo>
                  <a:cubicBezTo>
                    <a:pt x="678" y="357"/>
                    <a:pt x="665" y="353"/>
                    <a:pt x="661" y="346"/>
                  </a:cubicBezTo>
                  <a:cubicBezTo>
                    <a:pt x="656" y="338"/>
                    <a:pt x="657" y="333"/>
                    <a:pt x="666" y="328"/>
                  </a:cubicBezTo>
                  <a:cubicBezTo>
                    <a:pt x="675" y="322"/>
                    <a:pt x="670" y="308"/>
                    <a:pt x="669" y="298"/>
                  </a:cubicBezTo>
                  <a:cubicBezTo>
                    <a:pt x="667" y="288"/>
                    <a:pt x="665" y="275"/>
                    <a:pt x="655" y="268"/>
                  </a:cubicBezTo>
                  <a:cubicBezTo>
                    <a:pt x="644" y="260"/>
                    <a:pt x="643" y="246"/>
                    <a:pt x="641" y="236"/>
                  </a:cubicBezTo>
                  <a:cubicBezTo>
                    <a:pt x="639" y="225"/>
                    <a:pt x="643" y="216"/>
                    <a:pt x="645" y="208"/>
                  </a:cubicBezTo>
                  <a:cubicBezTo>
                    <a:pt x="647" y="200"/>
                    <a:pt x="645" y="188"/>
                    <a:pt x="645" y="176"/>
                  </a:cubicBezTo>
                  <a:cubicBezTo>
                    <a:pt x="645" y="165"/>
                    <a:pt x="642" y="153"/>
                    <a:pt x="637" y="148"/>
                  </a:cubicBezTo>
                  <a:cubicBezTo>
                    <a:pt x="633" y="144"/>
                    <a:pt x="632" y="133"/>
                    <a:pt x="641" y="130"/>
                  </a:cubicBezTo>
                  <a:cubicBezTo>
                    <a:pt x="649" y="126"/>
                    <a:pt x="643" y="119"/>
                    <a:pt x="642" y="109"/>
                  </a:cubicBezTo>
                  <a:cubicBezTo>
                    <a:pt x="641" y="99"/>
                    <a:pt x="591" y="104"/>
                    <a:pt x="573" y="104"/>
                  </a:cubicBezTo>
                  <a:cubicBezTo>
                    <a:pt x="555" y="103"/>
                    <a:pt x="563" y="80"/>
                    <a:pt x="552" y="80"/>
                  </a:cubicBezTo>
                  <a:cubicBezTo>
                    <a:pt x="541" y="81"/>
                    <a:pt x="516" y="80"/>
                    <a:pt x="502" y="82"/>
                  </a:cubicBezTo>
                  <a:cubicBezTo>
                    <a:pt x="488" y="84"/>
                    <a:pt x="497" y="109"/>
                    <a:pt x="491" y="115"/>
                  </a:cubicBezTo>
                  <a:cubicBezTo>
                    <a:pt x="484" y="121"/>
                    <a:pt x="485" y="124"/>
                    <a:pt x="484" y="139"/>
                  </a:cubicBezTo>
                  <a:cubicBezTo>
                    <a:pt x="483" y="154"/>
                    <a:pt x="461" y="154"/>
                    <a:pt x="449" y="148"/>
                  </a:cubicBezTo>
                  <a:cubicBezTo>
                    <a:pt x="437" y="143"/>
                    <a:pt x="428" y="144"/>
                    <a:pt x="420" y="150"/>
                  </a:cubicBezTo>
                  <a:cubicBezTo>
                    <a:pt x="412" y="156"/>
                    <a:pt x="406" y="153"/>
                    <a:pt x="391" y="153"/>
                  </a:cubicBezTo>
                  <a:cubicBezTo>
                    <a:pt x="375" y="153"/>
                    <a:pt x="363" y="142"/>
                    <a:pt x="353" y="130"/>
                  </a:cubicBezTo>
                  <a:cubicBezTo>
                    <a:pt x="342" y="119"/>
                    <a:pt x="334" y="84"/>
                    <a:pt x="325" y="73"/>
                  </a:cubicBezTo>
                  <a:cubicBezTo>
                    <a:pt x="315" y="62"/>
                    <a:pt x="316" y="44"/>
                    <a:pt x="308" y="22"/>
                  </a:cubicBezTo>
                  <a:cubicBezTo>
                    <a:pt x="300" y="0"/>
                    <a:pt x="213" y="14"/>
                    <a:pt x="187" y="12"/>
                  </a:cubicBezTo>
                  <a:cubicBezTo>
                    <a:pt x="162" y="10"/>
                    <a:pt x="115" y="12"/>
                    <a:pt x="93" y="12"/>
                  </a:cubicBezTo>
                  <a:cubicBezTo>
                    <a:pt x="75" y="12"/>
                    <a:pt x="44" y="18"/>
                    <a:pt x="31" y="21"/>
                  </a:cubicBezTo>
                  <a:cubicBezTo>
                    <a:pt x="32" y="29"/>
                    <a:pt x="35" y="36"/>
                    <a:pt x="43" y="47"/>
                  </a:cubicBezTo>
                  <a:cubicBezTo>
                    <a:pt x="57" y="66"/>
                    <a:pt x="68" y="66"/>
                    <a:pt x="73" y="89"/>
                  </a:cubicBezTo>
                  <a:cubicBezTo>
                    <a:pt x="78" y="111"/>
                    <a:pt x="80" y="111"/>
                    <a:pt x="92" y="132"/>
                  </a:cubicBezTo>
                  <a:cubicBezTo>
                    <a:pt x="104" y="152"/>
                    <a:pt x="114" y="166"/>
                    <a:pt x="101" y="188"/>
                  </a:cubicBezTo>
                  <a:cubicBezTo>
                    <a:pt x="88" y="211"/>
                    <a:pt x="79" y="213"/>
                    <a:pt x="90" y="237"/>
                  </a:cubicBezTo>
                  <a:cubicBezTo>
                    <a:pt x="101" y="261"/>
                    <a:pt x="97" y="281"/>
                    <a:pt x="109" y="291"/>
                  </a:cubicBezTo>
                  <a:cubicBezTo>
                    <a:pt x="122" y="300"/>
                    <a:pt x="127" y="304"/>
                    <a:pt x="130" y="322"/>
                  </a:cubicBezTo>
                  <a:cubicBezTo>
                    <a:pt x="133" y="340"/>
                    <a:pt x="129" y="358"/>
                    <a:pt x="128" y="380"/>
                  </a:cubicBezTo>
                  <a:cubicBezTo>
                    <a:pt x="127" y="401"/>
                    <a:pt x="138" y="409"/>
                    <a:pt x="116" y="422"/>
                  </a:cubicBezTo>
                  <a:cubicBezTo>
                    <a:pt x="93" y="435"/>
                    <a:pt x="74" y="450"/>
                    <a:pt x="68" y="469"/>
                  </a:cubicBezTo>
                  <a:cubicBezTo>
                    <a:pt x="61" y="488"/>
                    <a:pt x="42" y="499"/>
                    <a:pt x="42" y="525"/>
                  </a:cubicBezTo>
                  <a:cubicBezTo>
                    <a:pt x="42" y="551"/>
                    <a:pt x="40" y="559"/>
                    <a:pt x="39" y="579"/>
                  </a:cubicBezTo>
                  <a:cubicBezTo>
                    <a:pt x="37" y="598"/>
                    <a:pt x="28" y="612"/>
                    <a:pt x="14" y="635"/>
                  </a:cubicBezTo>
                  <a:cubicBezTo>
                    <a:pt x="0" y="657"/>
                    <a:pt x="2" y="673"/>
                    <a:pt x="2" y="697"/>
                  </a:cubicBezTo>
                  <a:cubicBezTo>
                    <a:pt x="2" y="707"/>
                    <a:pt x="0" y="725"/>
                    <a:pt x="0" y="743"/>
                  </a:cubicBezTo>
                  <a:cubicBezTo>
                    <a:pt x="4" y="741"/>
                    <a:pt x="9" y="738"/>
                    <a:pt x="13" y="738"/>
                  </a:cubicBezTo>
                  <a:cubicBezTo>
                    <a:pt x="22" y="738"/>
                    <a:pt x="31" y="746"/>
                    <a:pt x="35" y="74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485" name="Freeform 25680"/>
            <p:cNvSpPr>
              <a:spLocks/>
            </p:cNvSpPr>
            <p:nvPr/>
          </p:nvSpPr>
          <p:spPr bwMode="auto">
            <a:xfrm>
              <a:off x="4804016" y="4025460"/>
              <a:ext cx="275894" cy="247010"/>
            </a:xfrm>
            <a:custGeom>
              <a:avLst/>
              <a:gdLst>
                <a:gd name="T0" fmla="*/ 547 w 740"/>
                <a:gd name="T1" fmla="*/ 5 h 662"/>
                <a:gd name="T2" fmla="*/ 539 w 740"/>
                <a:gd name="T3" fmla="*/ 9 h 662"/>
                <a:gd name="T4" fmla="*/ 443 w 740"/>
                <a:gd name="T5" fmla="*/ 36 h 662"/>
                <a:gd name="T6" fmla="*/ 423 w 740"/>
                <a:gd name="T7" fmla="*/ 143 h 662"/>
                <a:gd name="T8" fmla="*/ 433 w 740"/>
                <a:gd name="T9" fmla="*/ 251 h 662"/>
                <a:gd name="T10" fmla="*/ 505 w 740"/>
                <a:gd name="T11" fmla="*/ 262 h 662"/>
                <a:gd name="T12" fmla="*/ 485 w 740"/>
                <a:gd name="T13" fmla="*/ 330 h 662"/>
                <a:gd name="T14" fmla="*/ 401 w 740"/>
                <a:gd name="T15" fmla="*/ 278 h 662"/>
                <a:gd name="T16" fmla="*/ 325 w 740"/>
                <a:gd name="T17" fmla="*/ 224 h 662"/>
                <a:gd name="T18" fmla="*/ 277 w 740"/>
                <a:gd name="T19" fmla="*/ 247 h 662"/>
                <a:gd name="T20" fmla="*/ 214 w 740"/>
                <a:gd name="T21" fmla="*/ 209 h 662"/>
                <a:gd name="T22" fmla="*/ 148 w 740"/>
                <a:gd name="T23" fmla="*/ 188 h 662"/>
                <a:gd name="T24" fmla="*/ 145 w 740"/>
                <a:gd name="T25" fmla="*/ 184 h 662"/>
                <a:gd name="T26" fmla="*/ 142 w 740"/>
                <a:gd name="T27" fmla="*/ 182 h 662"/>
                <a:gd name="T28" fmla="*/ 138 w 740"/>
                <a:gd name="T29" fmla="*/ 180 h 662"/>
                <a:gd name="T30" fmla="*/ 134 w 740"/>
                <a:gd name="T31" fmla="*/ 179 h 662"/>
                <a:gd name="T32" fmla="*/ 128 w 740"/>
                <a:gd name="T33" fmla="*/ 178 h 662"/>
                <a:gd name="T34" fmla="*/ 1 w 740"/>
                <a:gd name="T35" fmla="*/ 520 h 662"/>
                <a:gd name="T36" fmla="*/ 81 w 740"/>
                <a:gd name="T37" fmla="*/ 619 h 662"/>
                <a:gd name="T38" fmla="*/ 95 w 740"/>
                <a:gd name="T39" fmla="*/ 618 h 662"/>
                <a:gd name="T40" fmla="*/ 105 w 740"/>
                <a:gd name="T41" fmla="*/ 617 h 662"/>
                <a:gd name="T42" fmla="*/ 111 w 740"/>
                <a:gd name="T43" fmla="*/ 615 h 662"/>
                <a:gd name="T44" fmla="*/ 205 w 740"/>
                <a:gd name="T45" fmla="*/ 628 h 662"/>
                <a:gd name="T46" fmla="*/ 317 w 740"/>
                <a:gd name="T47" fmla="*/ 641 h 662"/>
                <a:gd name="T48" fmla="*/ 475 w 740"/>
                <a:gd name="T49" fmla="*/ 490 h 662"/>
                <a:gd name="T50" fmla="*/ 483 w 740"/>
                <a:gd name="T51" fmla="*/ 490 h 662"/>
                <a:gd name="T52" fmla="*/ 490 w 740"/>
                <a:gd name="T53" fmla="*/ 490 h 662"/>
                <a:gd name="T54" fmla="*/ 498 w 740"/>
                <a:gd name="T55" fmla="*/ 490 h 662"/>
                <a:gd name="T56" fmla="*/ 504 w 740"/>
                <a:gd name="T57" fmla="*/ 490 h 662"/>
                <a:gd name="T58" fmla="*/ 514 w 740"/>
                <a:gd name="T59" fmla="*/ 491 h 662"/>
                <a:gd name="T60" fmla="*/ 520 w 740"/>
                <a:gd name="T61" fmla="*/ 490 h 662"/>
                <a:gd name="T62" fmla="*/ 525 w 740"/>
                <a:gd name="T63" fmla="*/ 490 h 662"/>
                <a:gd name="T64" fmla="*/ 529 w 740"/>
                <a:gd name="T65" fmla="*/ 488 h 662"/>
                <a:gd name="T66" fmla="*/ 532 w 740"/>
                <a:gd name="T67" fmla="*/ 486 h 662"/>
                <a:gd name="T68" fmla="*/ 533 w 740"/>
                <a:gd name="T69" fmla="*/ 482 h 662"/>
                <a:gd name="T70" fmla="*/ 661 w 740"/>
                <a:gd name="T71" fmla="*/ 394 h 662"/>
                <a:gd name="T72" fmla="*/ 666 w 740"/>
                <a:gd name="T73" fmla="*/ 393 h 662"/>
                <a:gd name="T74" fmla="*/ 672 w 740"/>
                <a:gd name="T75" fmla="*/ 392 h 662"/>
                <a:gd name="T76" fmla="*/ 697 w 740"/>
                <a:gd name="T77" fmla="*/ 390 h 662"/>
                <a:gd name="T78" fmla="*/ 701 w 740"/>
                <a:gd name="T79" fmla="*/ 302 h 662"/>
                <a:gd name="T80" fmla="*/ 716 w 740"/>
                <a:gd name="T81" fmla="*/ 217 h 662"/>
                <a:gd name="T82" fmla="*/ 719 w 740"/>
                <a:gd name="T83" fmla="*/ 114 h 662"/>
                <a:gd name="T84" fmla="*/ 710 w 740"/>
                <a:gd name="T85" fmla="*/ 86 h 662"/>
                <a:gd name="T86" fmla="*/ 705 w 740"/>
                <a:gd name="T87" fmla="*/ 84 h 662"/>
                <a:gd name="T88" fmla="*/ 700 w 740"/>
                <a:gd name="T89" fmla="*/ 83 h 662"/>
                <a:gd name="T90" fmla="*/ 696 w 740"/>
                <a:gd name="T91" fmla="*/ 82 h 662"/>
                <a:gd name="T92" fmla="*/ 693 w 740"/>
                <a:gd name="T93" fmla="*/ 81 h 662"/>
                <a:gd name="T94" fmla="*/ 689 w 740"/>
                <a:gd name="T95" fmla="*/ 79 h 662"/>
                <a:gd name="T96" fmla="*/ 687 w 740"/>
                <a:gd name="T97" fmla="*/ 78 h 662"/>
                <a:gd name="T98" fmla="*/ 684 w 740"/>
                <a:gd name="T99" fmla="*/ 76 h 662"/>
                <a:gd name="T100" fmla="*/ 682 w 740"/>
                <a:gd name="T101" fmla="*/ 74 h 662"/>
                <a:gd name="T102" fmla="*/ 680 w 740"/>
                <a:gd name="T103" fmla="*/ 72 h 662"/>
                <a:gd name="T104" fmla="*/ 617 w 740"/>
                <a:gd name="T105" fmla="*/ 44 h 662"/>
                <a:gd name="T106" fmla="*/ 569 w 740"/>
                <a:gd name="T107" fmla="*/ 5 h 662"/>
                <a:gd name="T108" fmla="*/ 568 w 740"/>
                <a:gd name="T109" fmla="*/ 3 h 6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40" h="662">
                  <a:moveTo>
                    <a:pt x="566" y="2"/>
                  </a:moveTo>
                  <a:cubicBezTo>
                    <a:pt x="566" y="2"/>
                    <a:pt x="565" y="1"/>
                    <a:pt x="565" y="1"/>
                  </a:cubicBezTo>
                  <a:cubicBezTo>
                    <a:pt x="560" y="0"/>
                    <a:pt x="553" y="2"/>
                    <a:pt x="547" y="5"/>
                  </a:cubicBezTo>
                  <a:cubicBezTo>
                    <a:pt x="547" y="5"/>
                    <a:pt x="547" y="5"/>
                    <a:pt x="547" y="5"/>
                  </a:cubicBezTo>
                  <a:cubicBezTo>
                    <a:pt x="544" y="6"/>
                    <a:pt x="542" y="7"/>
                    <a:pt x="540" y="8"/>
                  </a:cubicBezTo>
                  <a:cubicBezTo>
                    <a:pt x="539" y="8"/>
                    <a:pt x="539" y="8"/>
                    <a:pt x="539" y="9"/>
                  </a:cubicBezTo>
                  <a:cubicBezTo>
                    <a:pt x="538" y="9"/>
                    <a:pt x="537" y="10"/>
                    <a:pt x="536" y="10"/>
                  </a:cubicBezTo>
                  <a:cubicBezTo>
                    <a:pt x="524" y="16"/>
                    <a:pt x="485" y="12"/>
                    <a:pt x="467" y="13"/>
                  </a:cubicBezTo>
                  <a:cubicBezTo>
                    <a:pt x="449" y="13"/>
                    <a:pt x="447" y="19"/>
                    <a:pt x="443" y="36"/>
                  </a:cubicBezTo>
                  <a:cubicBezTo>
                    <a:pt x="438" y="53"/>
                    <a:pt x="428" y="57"/>
                    <a:pt x="419" y="65"/>
                  </a:cubicBezTo>
                  <a:cubicBezTo>
                    <a:pt x="411" y="73"/>
                    <a:pt x="418" y="80"/>
                    <a:pt x="423" y="93"/>
                  </a:cubicBezTo>
                  <a:cubicBezTo>
                    <a:pt x="429" y="107"/>
                    <a:pt x="423" y="133"/>
                    <a:pt x="423" y="143"/>
                  </a:cubicBezTo>
                  <a:cubicBezTo>
                    <a:pt x="423" y="153"/>
                    <a:pt x="429" y="172"/>
                    <a:pt x="419" y="181"/>
                  </a:cubicBezTo>
                  <a:cubicBezTo>
                    <a:pt x="409" y="191"/>
                    <a:pt x="407" y="205"/>
                    <a:pt x="407" y="217"/>
                  </a:cubicBezTo>
                  <a:cubicBezTo>
                    <a:pt x="406" y="229"/>
                    <a:pt x="423" y="241"/>
                    <a:pt x="433" y="251"/>
                  </a:cubicBezTo>
                  <a:cubicBezTo>
                    <a:pt x="443" y="261"/>
                    <a:pt x="451" y="273"/>
                    <a:pt x="463" y="277"/>
                  </a:cubicBezTo>
                  <a:cubicBezTo>
                    <a:pt x="476" y="280"/>
                    <a:pt x="483" y="271"/>
                    <a:pt x="483" y="263"/>
                  </a:cubicBezTo>
                  <a:cubicBezTo>
                    <a:pt x="483" y="254"/>
                    <a:pt x="500" y="255"/>
                    <a:pt x="505" y="262"/>
                  </a:cubicBezTo>
                  <a:cubicBezTo>
                    <a:pt x="509" y="269"/>
                    <a:pt x="505" y="278"/>
                    <a:pt x="501" y="289"/>
                  </a:cubicBezTo>
                  <a:cubicBezTo>
                    <a:pt x="496" y="299"/>
                    <a:pt x="497" y="302"/>
                    <a:pt x="498" y="315"/>
                  </a:cubicBezTo>
                  <a:cubicBezTo>
                    <a:pt x="499" y="327"/>
                    <a:pt x="497" y="331"/>
                    <a:pt x="485" y="330"/>
                  </a:cubicBezTo>
                  <a:cubicBezTo>
                    <a:pt x="473" y="329"/>
                    <a:pt x="471" y="338"/>
                    <a:pt x="460" y="339"/>
                  </a:cubicBezTo>
                  <a:cubicBezTo>
                    <a:pt x="449" y="339"/>
                    <a:pt x="438" y="327"/>
                    <a:pt x="431" y="311"/>
                  </a:cubicBezTo>
                  <a:cubicBezTo>
                    <a:pt x="425" y="295"/>
                    <a:pt x="411" y="283"/>
                    <a:pt x="401" y="278"/>
                  </a:cubicBezTo>
                  <a:cubicBezTo>
                    <a:pt x="391" y="273"/>
                    <a:pt x="377" y="268"/>
                    <a:pt x="363" y="263"/>
                  </a:cubicBezTo>
                  <a:cubicBezTo>
                    <a:pt x="350" y="259"/>
                    <a:pt x="345" y="245"/>
                    <a:pt x="343" y="233"/>
                  </a:cubicBezTo>
                  <a:cubicBezTo>
                    <a:pt x="341" y="221"/>
                    <a:pt x="335" y="223"/>
                    <a:pt x="325" y="224"/>
                  </a:cubicBezTo>
                  <a:cubicBezTo>
                    <a:pt x="315" y="225"/>
                    <a:pt x="314" y="229"/>
                    <a:pt x="313" y="240"/>
                  </a:cubicBezTo>
                  <a:cubicBezTo>
                    <a:pt x="311" y="251"/>
                    <a:pt x="308" y="256"/>
                    <a:pt x="301" y="256"/>
                  </a:cubicBezTo>
                  <a:cubicBezTo>
                    <a:pt x="293" y="256"/>
                    <a:pt x="286" y="247"/>
                    <a:pt x="277" y="247"/>
                  </a:cubicBezTo>
                  <a:cubicBezTo>
                    <a:pt x="267" y="247"/>
                    <a:pt x="258" y="246"/>
                    <a:pt x="256" y="238"/>
                  </a:cubicBezTo>
                  <a:cubicBezTo>
                    <a:pt x="254" y="230"/>
                    <a:pt x="235" y="231"/>
                    <a:pt x="225" y="228"/>
                  </a:cubicBezTo>
                  <a:cubicBezTo>
                    <a:pt x="216" y="225"/>
                    <a:pt x="216" y="219"/>
                    <a:pt x="214" y="209"/>
                  </a:cubicBezTo>
                  <a:cubicBezTo>
                    <a:pt x="212" y="200"/>
                    <a:pt x="201" y="200"/>
                    <a:pt x="187" y="200"/>
                  </a:cubicBezTo>
                  <a:cubicBezTo>
                    <a:pt x="172" y="200"/>
                    <a:pt x="182" y="209"/>
                    <a:pt x="171" y="211"/>
                  </a:cubicBezTo>
                  <a:cubicBezTo>
                    <a:pt x="159" y="214"/>
                    <a:pt x="153" y="199"/>
                    <a:pt x="148" y="188"/>
                  </a:cubicBezTo>
                  <a:cubicBezTo>
                    <a:pt x="148" y="187"/>
                    <a:pt x="147" y="187"/>
                    <a:pt x="147" y="186"/>
                  </a:cubicBezTo>
                  <a:cubicBezTo>
                    <a:pt x="147" y="186"/>
                    <a:pt x="146" y="186"/>
                    <a:pt x="146" y="185"/>
                  </a:cubicBezTo>
                  <a:cubicBezTo>
                    <a:pt x="146" y="185"/>
                    <a:pt x="145" y="184"/>
                    <a:pt x="145" y="184"/>
                  </a:cubicBezTo>
                  <a:cubicBezTo>
                    <a:pt x="145" y="184"/>
                    <a:pt x="145" y="184"/>
                    <a:pt x="144" y="184"/>
                  </a:cubicBezTo>
                  <a:cubicBezTo>
                    <a:pt x="144" y="183"/>
                    <a:pt x="143" y="183"/>
                    <a:pt x="143" y="183"/>
                  </a:cubicBezTo>
                  <a:cubicBezTo>
                    <a:pt x="143" y="182"/>
                    <a:pt x="142" y="182"/>
                    <a:pt x="142" y="182"/>
                  </a:cubicBezTo>
                  <a:cubicBezTo>
                    <a:pt x="142" y="182"/>
                    <a:pt x="141" y="182"/>
                    <a:pt x="141" y="181"/>
                  </a:cubicBezTo>
                  <a:cubicBezTo>
                    <a:pt x="140" y="181"/>
                    <a:pt x="140" y="181"/>
                    <a:pt x="140" y="181"/>
                  </a:cubicBezTo>
                  <a:cubicBezTo>
                    <a:pt x="139" y="181"/>
                    <a:pt x="139" y="181"/>
                    <a:pt x="138" y="180"/>
                  </a:cubicBezTo>
                  <a:cubicBezTo>
                    <a:pt x="138" y="180"/>
                    <a:pt x="137" y="180"/>
                    <a:pt x="137" y="180"/>
                  </a:cubicBezTo>
                  <a:cubicBezTo>
                    <a:pt x="136" y="180"/>
                    <a:pt x="136" y="180"/>
                    <a:pt x="135" y="180"/>
                  </a:cubicBezTo>
                  <a:cubicBezTo>
                    <a:pt x="135" y="179"/>
                    <a:pt x="134" y="179"/>
                    <a:pt x="134" y="179"/>
                  </a:cubicBezTo>
                  <a:cubicBezTo>
                    <a:pt x="133" y="179"/>
                    <a:pt x="132" y="179"/>
                    <a:pt x="131" y="179"/>
                  </a:cubicBezTo>
                  <a:cubicBezTo>
                    <a:pt x="131" y="179"/>
                    <a:pt x="131" y="179"/>
                    <a:pt x="131" y="179"/>
                  </a:cubicBezTo>
                  <a:cubicBezTo>
                    <a:pt x="130" y="179"/>
                    <a:pt x="129" y="179"/>
                    <a:pt x="128" y="178"/>
                  </a:cubicBezTo>
                  <a:cubicBezTo>
                    <a:pt x="126" y="309"/>
                    <a:pt x="126" y="309"/>
                    <a:pt x="126" y="309"/>
                  </a:cubicBezTo>
                  <a:cubicBezTo>
                    <a:pt x="0" y="313"/>
                    <a:pt x="0" y="313"/>
                    <a:pt x="0" y="313"/>
                  </a:cubicBezTo>
                  <a:cubicBezTo>
                    <a:pt x="1" y="520"/>
                    <a:pt x="1" y="520"/>
                    <a:pt x="1" y="520"/>
                  </a:cubicBezTo>
                  <a:cubicBezTo>
                    <a:pt x="1" y="520"/>
                    <a:pt x="23" y="556"/>
                    <a:pt x="35" y="566"/>
                  </a:cubicBezTo>
                  <a:cubicBezTo>
                    <a:pt x="47" y="576"/>
                    <a:pt x="57" y="589"/>
                    <a:pt x="66" y="591"/>
                  </a:cubicBezTo>
                  <a:cubicBezTo>
                    <a:pt x="74" y="593"/>
                    <a:pt x="79" y="599"/>
                    <a:pt x="81" y="619"/>
                  </a:cubicBezTo>
                  <a:cubicBezTo>
                    <a:pt x="81" y="619"/>
                    <a:pt x="81" y="619"/>
                    <a:pt x="81" y="619"/>
                  </a:cubicBezTo>
                  <a:cubicBezTo>
                    <a:pt x="85" y="619"/>
                    <a:pt x="90" y="619"/>
                    <a:pt x="95" y="618"/>
                  </a:cubicBezTo>
                  <a:cubicBezTo>
                    <a:pt x="95" y="618"/>
                    <a:pt x="95" y="618"/>
                    <a:pt x="95" y="618"/>
                  </a:cubicBezTo>
                  <a:cubicBezTo>
                    <a:pt x="97" y="618"/>
                    <a:pt x="99" y="618"/>
                    <a:pt x="101" y="617"/>
                  </a:cubicBezTo>
                  <a:cubicBezTo>
                    <a:pt x="101" y="617"/>
                    <a:pt x="101" y="617"/>
                    <a:pt x="101" y="617"/>
                  </a:cubicBezTo>
                  <a:cubicBezTo>
                    <a:pt x="103" y="617"/>
                    <a:pt x="104" y="617"/>
                    <a:pt x="105" y="617"/>
                  </a:cubicBezTo>
                  <a:cubicBezTo>
                    <a:pt x="106" y="616"/>
                    <a:pt x="106" y="616"/>
                    <a:pt x="107" y="616"/>
                  </a:cubicBezTo>
                  <a:cubicBezTo>
                    <a:pt x="108" y="616"/>
                    <a:pt x="109" y="615"/>
                    <a:pt x="110" y="615"/>
                  </a:cubicBezTo>
                  <a:cubicBezTo>
                    <a:pt x="110" y="615"/>
                    <a:pt x="111" y="615"/>
                    <a:pt x="111" y="615"/>
                  </a:cubicBezTo>
                  <a:cubicBezTo>
                    <a:pt x="112" y="614"/>
                    <a:pt x="114" y="613"/>
                    <a:pt x="115" y="613"/>
                  </a:cubicBezTo>
                  <a:cubicBezTo>
                    <a:pt x="124" y="606"/>
                    <a:pt x="177" y="606"/>
                    <a:pt x="189" y="614"/>
                  </a:cubicBezTo>
                  <a:cubicBezTo>
                    <a:pt x="194" y="617"/>
                    <a:pt x="199" y="622"/>
                    <a:pt x="205" y="628"/>
                  </a:cubicBezTo>
                  <a:cubicBezTo>
                    <a:pt x="211" y="627"/>
                    <a:pt x="218" y="628"/>
                    <a:pt x="225" y="630"/>
                  </a:cubicBezTo>
                  <a:cubicBezTo>
                    <a:pt x="245" y="635"/>
                    <a:pt x="248" y="629"/>
                    <a:pt x="268" y="635"/>
                  </a:cubicBezTo>
                  <a:cubicBezTo>
                    <a:pt x="288" y="642"/>
                    <a:pt x="300" y="662"/>
                    <a:pt x="317" y="641"/>
                  </a:cubicBezTo>
                  <a:cubicBezTo>
                    <a:pt x="335" y="619"/>
                    <a:pt x="351" y="569"/>
                    <a:pt x="392" y="561"/>
                  </a:cubicBezTo>
                  <a:cubicBezTo>
                    <a:pt x="433" y="553"/>
                    <a:pt x="440" y="541"/>
                    <a:pt x="441" y="522"/>
                  </a:cubicBezTo>
                  <a:cubicBezTo>
                    <a:pt x="443" y="503"/>
                    <a:pt x="452" y="493"/>
                    <a:pt x="475" y="490"/>
                  </a:cubicBezTo>
                  <a:cubicBezTo>
                    <a:pt x="476" y="490"/>
                    <a:pt x="477" y="490"/>
                    <a:pt x="479" y="490"/>
                  </a:cubicBezTo>
                  <a:cubicBezTo>
                    <a:pt x="479" y="490"/>
                    <a:pt x="480" y="490"/>
                    <a:pt x="480" y="490"/>
                  </a:cubicBezTo>
                  <a:cubicBezTo>
                    <a:pt x="481" y="490"/>
                    <a:pt x="482" y="490"/>
                    <a:pt x="483" y="490"/>
                  </a:cubicBezTo>
                  <a:cubicBezTo>
                    <a:pt x="484" y="490"/>
                    <a:pt x="484" y="490"/>
                    <a:pt x="485" y="490"/>
                  </a:cubicBezTo>
                  <a:cubicBezTo>
                    <a:pt x="486" y="490"/>
                    <a:pt x="487" y="490"/>
                    <a:pt x="488" y="490"/>
                  </a:cubicBezTo>
                  <a:cubicBezTo>
                    <a:pt x="488" y="490"/>
                    <a:pt x="489" y="490"/>
                    <a:pt x="490" y="490"/>
                  </a:cubicBezTo>
                  <a:cubicBezTo>
                    <a:pt x="491" y="490"/>
                    <a:pt x="492" y="490"/>
                    <a:pt x="493" y="490"/>
                  </a:cubicBezTo>
                  <a:cubicBezTo>
                    <a:pt x="493" y="490"/>
                    <a:pt x="494" y="490"/>
                    <a:pt x="494" y="490"/>
                  </a:cubicBezTo>
                  <a:cubicBezTo>
                    <a:pt x="496" y="490"/>
                    <a:pt x="497" y="490"/>
                    <a:pt x="498" y="490"/>
                  </a:cubicBezTo>
                  <a:cubicBezTo>
                    <a:pt x="498" y="490"/>
                    <a:pt x="498" y="490"/>
                    <a:pt x="499" y="490"/>
                  </a:cubicBezTo>
                  <a:cubicBezTo>
                    <a:pt x="500" y="490"/>
                    <a:pt x="502" y="490"/>
                    <a:pt x="504" y="490"/>
                  </a:cubicBezTo>
                  <a:cubicBezTo>
                    <a:pt x="504" y="490"/>
                    <a:pt x="504" y="490"/>
                    <a:pt x="504" y="490"/>
                  </a:cubicBezTo>
                  <a:cubicBezTo>
                    <a:pt x="506" y="490"/>
                    <a:pt x="508" y="490"/>
                    <a:pt x="510" y="490"/>
                  </a:cubicBezTo>
                  <a:cubicBezTo>
                    <a:pt x="511" y="490"/>
                    <a:pt x="512" y="490"/>
                    <a:pt x="512" y="490"/>
                  </a:cubicBezTo>
                  <a:cubicBezTo>
                    <a:pt x="513" y="491"/>
                    <a:pt x="513" y="490"/>
                    <a:pt x="514" y="491"/>
                  </a:cubicBezTo>
                  <a:cubicBezTo>
                    <a:pt x="515" y="491"/>
                    <a:pt x="515" y="491"/>
                    <a:pt x="516" y="490"/>
                  </a:cubicBezTo>
                  <a:cubicBezTo>
                    <a:pt x="517" y="490"/>
                    <a:pt x="517" y="490"/>
                    <a:pt x="518" y="490"/>
                  </a:cubicBezTo>
                  <a:cubicBezTo>
                    <a:pt x="519" y="490"/>
                    <a:pt x="519" y="490"/>
                    <a:pt x="520" y="490"/>
                  </a:cubicBezTo>
                  <a:cubicBezTo>
                    <a:pt x="521" y="490"/>
                    <a:pt x="521" y="490"/>
                    <a:pt x="522" y="490"/>
                  </a:cubicBezTo>
                  <a:cubicBezTo>
                    <a:pt x="522" y="490"/>
                    <a:pt x="523" y="490"/>
                    <a:pt x="523" y="490"/>
                  </a:cubicBezTo>
                  <a:cubicBezTo>
                    <a:pt x="524" y="490"/>
                    <a:pt x="524" y="490"/>
                    <a:pt x="525" y="490"/>
                  </a:cubicBezTo>
                  <a:cubicBezTo>
                    <a:pt x="525" y="490"/>
                    <a:pt x="526" y="489"/>
                    <a:pt x="526" y="489"/>
                  </a:cubicBezTo>
                  <a:cubicBezTo>
                    <a:pt x="527" y="489"/>
                    <a:pt x="527" y="489"/>
                    <a:pt x="528" y="489"/>
                  </a:cubicBezTo>
                  <a:cubicBezTo>
                    <a:pt x="528" y="489"/>
                    <a:pt x="529" y="489"/>
                    <a:pt x="529" y="488"/>
                  </a:cubicBezTo>
                  <a:cubicBezTo>
                    <a:pt x="529" y="488"/>
                    <a:pt x="530" y="488"/>
                    <a:pt x="530" y="488"/>
                  </a:cubicBezTo>
                  <a:cubicBezTo>
                    <a:pt x="530" y="488"/>
                    <a:pt x="531" y="487"/>
                    <a:pt x="531" y="487"/>
                  </a:cubicBezTo>
                  <a:cubicBezTo>
                    <a:pt x="531" y="487"/>
                    <a:pt x="532" y="487"/>
                    <a:pt x="532" y="486"/>
                  </a:cubicBezTo>
                  <a:cubicBezTo>
                    <a:pt x="532" y="486"/>
                    <a:pt x="532" y="486"/>
                    <a:pt x="532" y="486"/>
                  </a:cubicBezTo>
                  <a:cubicBezTo>
                    <a:pt x="532" y="486"/>
                    <a:pt x="533" y="485"/>
                    <a:pt x="533" y="484"/>
                  </a:cubicBezTo>
                  <a:cubicBezTo>
                    <a:pt x="533" y="484"/>
                    <a:pt x="533" y="483"/>
                    <a:pt x="533" y="482"/>
                  </a:cubicBezTo>
                  <a:cubicBezTo>
                    <a:pt x="533" y="467"/>
                    <a:pt x="509" y="442"/>
                    <a:pt x="547" y="434"/>
                  </a:cubicBezTo>
                  <a:cubicBezTo>
                    <a:pt x="584" y="426"/>
                    <a:pt x="636" y="403"/>
                    <a:pt x="657" y="395"/>
                  </a:cubicBezTo>
                  <a:cubicBezTo>
                    <a:pt x="659" y="395"/>
                    <a:pt x="660" y="394"/>
                    <a:pt x="661" y="394"/>
                  </a:cubicBezTo>
                  <a:cubicBezTo>
                    <a:pt x="661" y="394"/>
                    <a:pt x="662" y="394"/>
                    <a:pt x="662" y="394"/>
                  </a:cubicBezTo>
                  <a:cubicBezTo>
                    <a:pt x="663" y="394"/>
                    <a:pt x="664" y="393"/>
                    <a:pt x="665" y="393"/>
                  </a:cubicBezTo>
                  <a:cubicBezTo>
                    <a:pt x="665" y="393"/>
                    <a:pt x="665" y="393"/>
                    <a:pt x="666" y="393"/>
                  </a:cubicBezTo>
                  <a:cubicBezTo>
                    <a:pt x="667" y="393"/>
                    <a:pt x="668" y="393"/>
                    <a:pt x="668" y="392"/>
                  </a:cubicBezTo>
                  <a:cubicBezTo>
                    <a:pt x="669" y="392"/>
                    <a:pt x="669" y="392"/>
                    <a:pt x="669" y="392"/>
                  </a:cubicBezTo>
                  <a:cubicBezTo>
                    <a:pt x="670" y="392"/>
                    <a:pt x="671" y="392"/>
                    <a:pt x="672" y="392"/>
                  </a:cubicBezTo>
                  <a:cubicBezTo>
                    <a:pt x="673" y="392"/>
                    <a:pt x="673" y="392"/>
                    <a:pt x="673" y="392"/>
                  </a:cubicBezTo>
                  <a:cubicBezTo>
                    <a:pt x="684" y="391"/>
                    <a:pt x="693" y="392"/>
                    <a:pt x="697" y="390"/>
                  </a:cubicBezTo>
                  <a:cubicBezTo>
                    <a:pt x="697" y="390"/>
                    <a:pt x="697" y="390"/>
                    <a:pt x="697" y="390"/>
                  </a:cubicBezTo>
                  <a:cubicBezTo>
                    <a:pt x="691" y="378"/>
                    <a:pt x="697" y="368"/>
                    <a:pt x="691" y="362"/>
                  </a:cubicBezTo>
                  <a:cubicBezTo>
                    <a:pt x="684" y="355"/>
                    <a:pt x="691" y="341"/>
                    <a:pt x="697" y="333"/>
                  </a:cubicBezTo>
                  <a:cubicBezTo>
                    <a:pt x="704" y="325"/>
                    <a:pt x="705" y="319"/>
                    <a:pt x="701" y="302"/>
                  </a:cubicBezTo>
                  <a:cubicBezTo>
                    <a:pt x="697" y="285"/>
                    <a:pt x="713" y="291"/>
                    <a:pt x="725" y="286"/>
                  </a:cubicBezTo>
                  <a:cubicBezTo>
                    <a:pt x="737" y="281"/>
                    <a:pt x="729" y="271"/>
                    <a:pt x="720" y="266"/>
                  </a:cubicBezTo>
                  <a:cubicBezTo>
                    <a:pt x="711" y="261"/>
                    <a:pt x="716" y="231"/>
                    <a:pt x="716" y="217"/>
                  </a:cubicBezTo>
                  <a:cubicBezTo>
                    <a:pt x="716" y="202"/>
                    <a:pt x="717" y="179"/>
                    <a:pt x="725" y="175"/>
                  </a:cubicBezTo>
                  <a:cubicBezTo>
                    <a:pt x="733" y="171"/>
                    <a:pt x="737" y="163"/>
                    <a:pt x="739" y="149"/>
                  </a:cubicBezTo>
                  <a:cubicBezTo>
                    <a:pt x="740" y="134"/>
                    <a:pt x="727" y="122"/>
                    <a:pt x="719" y="114"/>
                  </a:cubicBezTo>
                  <a:cubicBezTo>
                    <a:pt x="715" y="110"/>
                    <a:pt x="714" y="98"/>
                    <a:pt x="715" y="87"/>
                  </a:cubicBezTo>
                  <a:cubicBezTo>
                    <a:pt x="714" y="87"/>
                    <a:pt x="713" y="86"/>
                    <a:pt x="712" y="86"/>
                  </a:cubicBezTo>
                  <a:cubicBezTo>
                    <a:pt x="711" y="86"/>
                    <a:pt x="711" y="86"/>
                    <a:pt x="710" y="86"/>
                  </a:cubicBezTo>
                  <a:cubicBezTo>
                    <a:pt x="710" y="86"/>
                    <a:pt x="709" y="85"/>
                    <a:pt x="708" y="85"/>
                  </a:cubicBezTo>
                  <a:cubicBezTo>
                    <a:pt x="708" y="85"/>
                    <a:pt x="707" y="85"/>
                    <a:pt x="707" y="85"/>
                  </a:cubicBezTo>
                  <a:cubicBezTo>
                    <a:pt x="706" y="85"/>
                    <a:pt x="705" y="85"/>
                    <a:pt x="705" y="84"/>
                  </a:cubicBezTo>
                  <a:cubicBezTo>
                    <a:pt x="704" y="84"/>
                    <a:pt x="704" y="84"/>
                    <a:pt x="703" y="84"/>
                  </a:cubicBezTo>
                  <a:cubicBezTo>
                    <a:pt x="703" y="84"/>
                    <a:pt x="702" y="84"/>
                    <a:pt x="702" y="84"/>
                  </a:cubicBezTo>
                  <a:cubicBezTo>
                    <a:pt x="701" y="84"/>
                    <a:pt x="701" y="83"/>
                    <a:pt x="700" y="83"/>
                  </a:cubicBezTo>
                  <a:cubicBezTo>
                    <a:pt x="700" y="83"/>
                    <a:pt x="699" y="83"/>
                    <a:pt x="699" y="83"/>
                  </a:cubicBezTo>
                  <a:cubicBezTo>
                    <a:pt x="698" y="83"/>
                    <a:pt x="698" y="83"/>
                    <a:pt x="698" y="82"/>
                  </a:cubicBezTo>
                  <a:cubicBezTo>
                    <a:pt x="697" y="82"/>
                    <a:pt x="697" y="82"/>
                    <a:pt x="696" y="82"/>
                  </a:cubicBezTo>
                  <a:cubicBezTo>
                    <a:pt x="696" y="82"/>
                    <a:pt x="695" y="82"/>
                    <a:pt x="695" y="82"/>
                  </a:cubicBezTo>
                  <a:cubicBezTo>
                    <a:pt x="695" y="82"/>
                    <a:pt x="694" y="81"/>
                    <a:pt x="694" y="81"/>
                  </a:cubicBezTo>
                  <a:cubicBezTo>
                    <a:pt x="693" y="81"/>
                    <a:pt x="693" y="81"/>
                    <a:pt x="693" y="81"/>
                  </a:cubicBezTo>
                  <a:cubicBezTo>
                    <a:pt x="692" y="81"/>
                    <a:pt x="692" y="80"/>
                    <a:pt x="691" y="80"/>
                  </a:cubicBezTo>
                  <a:cubicBezTo>
                    <a:pt x="691" y="80"/>
                    <a:pt x="691" y="80"/>
                    <a:pt x="691" y="80"/>
                  </a:cubicBezTo>
                  <a:cubicBezTo>
                    <a:pt x="690" y="80"/>
                    <a:pt x="690" y="80"/>
                    <a:pt x="689" y="79"/>
                  </a:cubicBezTo>
                  <a:cubicBezTo>
                    <a:pt x="689" y="79"/>
                    <a:pt x="689" y="79"/>
                    <a:pt x="689" y="79"/>
                  </a:cubicBezTo>
                  <a:cubicBezTo>
                    <a:pt x="688" y="79"/>
                    <a:pt x="688" y="79"/>
                    <a:pt x="687" y="78"/>
                  </a:cubicBezTo>
                  <a:cubicBezTo>
                    <a:pt x="687" y="78"/>
                    <a:pt x="687" y="78"/>
                    <a:pt x="687" y="78"/>
                  </a:cubicBezTo>
                  <a:cubicBezTo>
                    <a:pt x="686" y="78"/>
                    <a:pt x="686" y="78"/>
                    <a:pt x="686" y="77"/>
                  </a:cubicBezTo>
                  <a:cubicBezTo>
                    <a:pt x="686" y="77"/>
                    <a:pt x="685" y="77"/>
                    <a:pt x="685" y="77"/>
                  </a:cubicBezTo>
                  <a:cubicBezTo>
                    <a:pt x="685" y="77"/>
                    <a:pt x="684" y="76"/>
                    <a:pt x="684" y="76"/>
                  </a:cubicBezTo>
                  <a:cubicBezTo>
                    <a:pt x="684" y="76"/>
                    <a:pt x="684" y="76"/>
                    <a:pt x="683" y="76"/>
                  </a:cubicBezTo>
                  <a:cubicBezTo>
                    <a:pt x="683" y="75"/>
                    <a:pt x="683" y="75"/>
                    <a:pt x="683" y="75"/>
                  </a:cubicBezTo>
                  <a:cubicBezTo>
                    <a:pt x="682" y="75"/>
                    <a:pt x="682" y="74"/>
                    <a:pt x="682" y="74"/>
                  </a:cubicBezTo>
                  <a:cubicBezTo>
                    <a:pt x="682" y="74"/>
                    <a:pt x="681" y="74"/>
                    <a:pt x="681" y="73"/>
                  </a:cubicBezTo>
                  <a:cubicBezTo>
                    <a:pt x="681" y="73"/>
                    <a:pt x="681" y="73"/>
                    <a:pt x="680" y="72"/>
                  </a:cubicBezTo>
                  <a:cubicBezTo>
                    <a:pt x="680" y="72"/>
                    <a:pt x="680" y="72"/>
                    <a:pt x="680" y="72"/>
                  </a:cubicBezTo>
                  <a:cubicBezTo>
                    <a:pt x="679" y="71"/>
                    <a:pt x="679" y="71"/>
                    <a:pt x="679" y="70"/>
                  </a:cubicBezTo>
                  <a:cubicBezTo>
                    <a:pt x="672" y="60"/>
                    <a:pt x="645" y="62"/>
                    <a:pt x="636" y="57"/>
                  </a:cubicBezTo>
                  <a:cubicBezTo>
                    <a:pt x="627" y="53"/>
                    <a:pt x="623" y="56"/>
                    <a:pt x="617" y="44"/>
                  </a:cubicBezTo>
                  <a:cubicBezTo>
                    <a:pt x="610" y="32"/>
                    <a:pt x="600" y="27"/>
                    <a:pt x="589" y="29"/>
                  </a:cubicBezTo>
                  <a:cubicBezTo>
                    <a:pt x="577" y="32"/>
                    <a:pt x="572" y="20"/>
                    <a:pt x="570" y="7"/>
                  </a:cubicBezTo>
                  <a:cubicBezTo>
                    <a:pt x="570" y="6"/>
                    <a:pt x="570" y="6"/>
                    <a:pt x="569" y="5"/>
                  </a:cubicBezTo>
                  <a:cubicBezTo>
                    <a:pt x="569" y="5"/>
                    <a:pt x="569" y="5"/>
                    <a:pt x="569" y="5"/>
                  </a:cubicBezTo>
                  <a:cubicBezTo>
                    <a:pt x="569" y="4"/>
                    <a:pt x="569" y="4"/>
                    <a:pt x="568" y="3"/>
                  </a:cubicBezTo>
                  <a:cubicBezTo>
                    <a:pt x="568" y="3"/>
                    <a:pt x="568" y="3"/>
                    <a:pt x="568" y="3"/>
                  </a:cubicBezTo>
                  <a:cubicBezTo>
                    <a:pt x="568" y="3"/>
                    <a:pt x="567" y="2"/>
                    <a:pt x="567" y="2"/>
                  </a:cubicBezTo>
                  <a:cubicBezTo>
                    <a:pt x="567" y="2"/>
                    <a:pt x="566" y="2"/>
                    <a:pt x="566" y="2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486" name="Freeform 25681"/>
            <p:cNvSpPr>
              <a:spLocks/>
            </p:cNvSpPr>
            <p:nvPr/>
          </p:nvSpPr>
          <p:spPr bwMode="auto">
            <a:xfrm>
              <a:off x="5059076" y="4057974"/>
              <a:ext cx="81600" cy="188769"/>
            </a:xfrm>
            <a:custGeom>
              <a:avLst/>
              <a:gdLst>
                <a:gd name="T0" fmla="*/ 15 w 219"/>
                <a:gd name="T1" fmla="*/ 302 h 506"/>
                <a:gd name="T2" fmla="*/ 15 w 219"/>
                <a:gd name="T3" fmla="*/ 302 h 506"/>
                <a:gd name="T4" fmla="*/ 16 w 219"/>
                <a:gd name="T5" fmla="*/ 300 h 506"/>
                <a:gd name="T6" fmla="*/ 40 w 219"/>
                <a:gd name="T7" fmla="*/ 306 h 506"/>
                <a:gd name="T8" fmla="*/ 73 w 219"/>
                <a:gd name="T9" fmla="*/ 323 h 506"/>
                <a:gd name="T10" fmla="*/ 119 w 219"/>
                <a:gd name="T11" fmla="*/ 342 h 506"/>
                <a:gd name="T12" fmla="*/ 115 w 219"/>
                <a:gd name="T13" fmla="*/ 387 h 506"/>
                <a:gd name="T14" fmla="*/ 109 w 219"/>
                <a:gd name="T15" fmla="*/ 446 h 506"/>
                <a:gd name="T16" fmla="*/ 147 w 219"/>
                <a:gd name="T17" fmla="*/ 486 h 506"/>
                <a:gd name="T18" fmla="*/ 169 w 219"/>
                <a:gd name="T19" fmla="*/ 480 h 506"/>
                <a:gd name="T20" fmla="*/ 171 w 219"/>
                <a:gd name="T21" fmla="*/ 434 h 506"/>
                <a:gd name="T22" fmla="*/ 203 w 219"/>
                <a:gd name="T23" fmla="*/ 419 h 506"/>
                <a:gd name="T24" fmla="*/ 203 w 219"/>
                <a:gd name="T25" fmla="*/ 358 h 506"/>
                <a:gd name="T26" fmla="*/ 191 w 219"/>
                <a:gd name="T27" fmla="*/ 319 h 506"/>
                <a:gd name="T28" fmla="*/ 165 w 219"/>
                <a:gd name="T29" fmla="*/ 291 h 506"/>
                <a:gd name="T30" fmla="*/ 165 w 219"/>
                <a:gd name="T31" fmla="*/ 295 h 506"/>
                <a:gd name="T32" fmla="*/ 146 w 219"/>
                <a:gd name="T33" fmla="*/ 298 h 506"/>
                <a:gd name="T34" fmla="*/ 127 w 219"/>
                <a:gd name="T35" fmla="*/ 303 h 506"/>
                <a:gd name="T36" fmla="*/ 122 w 219"/>
                <a:gd name="T37" fmla="*/ 260 h 506"/>
                <a:gd name="T38" fmla="*/ 109 w 219"/>
                <a:gd name="T39" fmla="*/ 236 h 506"/>
                <a:gd name="T40" fmla="*/ 101 w 219"/>
                <a:gd name="T41" fmla="*/ 203 h 506"/>
                <a:gd name="T42" fmla="*/ 90 w 219"/>
                <a:gd name="T43" fmla="*/ 183 h 506"/>
                <a:gd name="T44" fmla="*/ 96 w 219"/>
                <a:gd name="T45" fmla="*/ 162 h 506"/>
                <a:gd name="T46" fmla="*/ 99 w 219"/>
                <a:gd name="T47" fmla="*/ 144 h 506"/>
                <a:gd name="T48" fmla="*/ 105 w 219"/>
                <a:gd name="T49" fmla="*/ 127 h 506"/>
                <a:gd name="T50" fmla="*/ 100 w 219"/>
                <a:gd name="T51" fmla="*/ 104 h 506"/>
                <a:gd name="T52" fmla="*/ 98 w 219"/>
                <a:gd name="T53" fmla="*/ 81 h 506"/>
                <a:gd name="T54" fmla="*/ 98 w 219"/>
                <a:gd name="T55" fmla="*/ 48 h 506"/>
                <a:gd name="T56" fmla="*/ 88 w 219"/>
                <a:gd name="T57" fmla="*/ 30 h 506"/>
                <a:gd name="T58" fmla="*/ 107 w 219"/>
                <a:gd name="T59" fmla="*/ 33 h 506"/>
                <a:gd name="T60" fmla="*/ 115 w 219"/>
                <a:gd name="T61" fmla="*/ 75 h 506"/>
                <a:gd name="T62" fmla="*/ 127 w 219"/>
                <a:gd name="T63" fmla="*/ 117 h 506"/>
                <a:gd name="T64" fmla="*/ 140 w 219"/>
                <a:gd name="T65" fmla="*/ 135 h 506"/>
                <a:gd name="T66" fmla="*/ 142 w 219"/>
                <a:gd name="T67" fmla="*/ 134 h 506"/>
                <a:gd name="T68" fmla="*/ 142 w 219"/>
                <a:gd name="T69" fmla="*/ 133 h 506"/>
                <a:gd name="T70" fmla="*/ 146 w 219"/>
                <a:gd name="T71" fmla="*/ 132 h 506"/>
                <a:gd name="T72" fmla="*/ 146 w 219"/>
                <a:gd name="T73" fmla="*/ 132 h 506"/>
                <a:gd name="T74" fmla="*/ 133 w 219"/>
                <a:gd name="T75" fmla="*/ 110 h 506"/>
                <a:gd name="T76" fmla="*/ 124 w 219"/>
                <a:gd name="T77" fmla="*/ 54 h 506"/>
                <a:gd name="T78" fmla="*/ 113 w 219"/>
                <a:gd name="T79" fmla="*/ 22 h 506"/>
                <a:gd name="T80" fmla="*/ 75 w 219"/>
                <a:gd name="T81" fmla="*/ 8 h 506"/>
                <a:gd name="T82" fmla="*/ 33 w 219"/>
                <a:gd name="T83" fmla="*/ 0 h 506"/>
                <a:gd name="T84" fmla="*/ 31 w 219"/>
                <a:gd name="T85" fmla="*/ 0 h 506"/>
                <a:gd name="T86" fmla="*/ 35 w 219"/>
                <a:gd name="T87" fmla="*/ 27 h 506"/>
                <a:gd name="T88" fmla="*/ 55 w 219"/>
                <a:gd name="T89" fmla="*/ 62 h 506"/>
                <a:gd name="T90" fmla="*/ 41 w 219"/>
                <a:gd name="T91" fmla="*/ 88 h 506"/>
                <a:gd name="T92" fmla="*/ 32 w 219"/>
                <a:gd name="T93" fmla="*/ 130 h 506"/>
                <a:gd name="T94" fmla="*/ 36 w 219"/>
                <a:gd name="T95" fmla="*/ 179 h 506"/>
                <a:gd name="T96" fmla="*/ 41 w 219"/>
                <a:gd name="T97" fmla="*/ 199 h 506"/>
                <a:gd name="T98" fmla="*/ 17 w 219"/>
                <a:gd name="T99" fmla="*/ 215 h 506"/>
                <a:gd name="T100" fmla="*/ 13 w 219"/>
                <a:gd name="T101" fmla="*/ 246 h 506"/>
                <a:gd name="T102" fmla="*/ 7 w 219"/>
                <a:gd name="T103" fmla="*/ 275 h 506"/>
                <a:gd name="T104" fmla="*/ 13 w 219"/>
                <a:gd name="T105" fmla="*/ 303 h 506"/>
                <a:gd name="T106" fmla="*/ 13 w 219"/>
                <a:gd name="T107" fmla="*/ 303 h 506"/>
                <a:gd name="T108" fmla="*/ 15 w 219"/>
                <a:gd name="T109" fmla="*/ 302 h 5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19" h="506">
                  <a:moveTo>
                    <a:pt x="15" y="302"/>
                  </a:moveTo>
                  <a:cubicBezTo>
                    <a:pt x="15" y="302"/>
                    <a:pt x="15" y="302"/>
                    <a:pt x="15" y="302"/>
                  </a:cubicBezTo>
                  <a:cubicBezTo>
                    <a:pt x="15" y="301"/>
                    <a:pt x="16" y="301"/>
                    <a:pt x="16" y="300"/>
                  </a:cubicBezTo>
                  <a:cubicBezTo>
                    <a:pt x="19" y="292"/>
                    <a:pt x="25" y="280"/>
                    <a:pt x="40" y="306"/>
                  </a:cubicBezTo>
                  <a:cubicBezTo>
                    <a:pt x="55" y="331"/>
                    <a:pt x="57" y="324"/>
                    <a:pt x="73" y="323"/>
                  </a:cubicBezTo>
                  <a:cubicBezTo>
                    <a:pt x="89" y="322"/>
                    <a:pt x="116" y="323"/>
                    <a:pt x="119" y="342"/>
                  </a:cubicBezTo>
                  <a:cubicBezTo>
                    <a:pt x="121" y="360"/>
                    <a:pt x="125" y="372"/>
                    <a:pt x="115" y="387"/>
                  </a:cubicBezTo>
                  <a:cubicBezTo>
                    <a:pt x="104" y="402"/>
                    <a:pt x="92" y="420"/>
                    <a:pt x="109" y="446"/>
                  </a:cubicBezTo>
                  <a:cubicBezTo>
                    <a:pt x="127" y="471"/>
                    <a:pt x="129" y="468"/>
                    <a:pt x="147" y="486"/>
                  </a:cubicBezTo>
                  <a:cubicBezTo>
                    <a:pt x="164" y="503"/>
                    <a:pt x="179" y="506"/>
                    <a:pt x="169" y="480"/>
                  </a:cubicBezTo>
                  <a:cubicBezTo>
                    <a:pt x="160" y="455"/>
                    <a:pt x="157" y="435"/>
                    <a:pt x="171" y="434"/>
                  </a:cubicBezTo>
                  <a:cubicBezTo>
                    <a:pt x="184" y="432"/>
                    <a:pt x="204" y="446"/>
                    <a:pt x="203" y="419"/>
                  </a:cubicBezTo>
                  <a:cubicBezTo>
                    <a:pt x="201" y="392"/>
                    <a:pt x="199" y="379"/>
                    <a:pt x="203" y="358"/>
                  </a:cubicBezTo>
                  <a:cubicBezTo>
                    <a:pt x="207" y="336"/>
                    <a:pt x="219" y="347"/>
                    <a:pt x="191" y="319"/>
                  </a:cubicBezTo>
                  <a:cubicBezTo>
                    <a:pt x="180" y="309"/>
                    <a:pt x="172" y="300"/>
                    <a:pt x="165" y="291"/>
                  </a:cubicBezTo>
                  <a:cubicBezTo>
                    <a:pt x="165" y="293"/>
                    <a:pt x="165" y="294"/>
                    <a:pt x="165" y="295"/>
                  </a:cubicBezTo>
                  <a:cubicBezTo>
                    <a:pt x="164" y="301"/>
                    <a:pt x="155" y="303"/>
                    <a:pt x="146" y="298"/>
                  </a:cubicBezTo>
                  <a:cubicBezTo>
                    <a:pt x="137" y="294"/>
                    <a:pt x="137" y="304"/>
                    <a:pt x="127" y="303"/>
                  </a:cubicBezTo>
                  <a:cubicBezTo>
                    <a:pt x="116" y="302"/>
                    <a:pt x="123" y="271"/>
                    <a:pt x="122" y="260"/>
                  </a:cubicBezTo>
                  <a:cubicBezTo>
                    <a:pt x="120" y="250"/>
                    <a:pt x="116" y="245"/>
                    <a:pt x="109" y="236"/>
                  </a:cubicBezTo>
                  <a:cubicBezTo>
                    <a:pt x="103" y="227"/>
                    <a:pt x="102" y="211"/>
                    <a:pt x="101" y="203"/>
                  </a:cubicBezTo>
                  <a:cubicBezTo>
                    <a:pt x="100" y="196"/>
                    <a:pt x="94" y="187"/>
                    <a:pt x="90" y="183"/>
                  </a:cubicBezTo>
                  <a:cubicBezTo>
                    <a:pt x="86" y="179"/>
                    <a:pt x="89" y="165"/>
                    <a:pt x="96" y="162"/>
                  </a:cubicBezTo>
                  <a:cubicBezTo>
                    <a:pt x="104" y="160"/>
                    <a:pt x="93" y="150"/>
                    <a:pt x="99" y="144"/>
                  </a:cubicBezTo>
                  <a:cubicBezTo>
                    <a:pt x="104" y="139"/>
                    <a:pt x="105" y="134"/>
                    <a:pt x="105" y="127"/>
                  </a:cubicBezTo>
                  <a:cubicBezTo>
                    <a:pt x="106" y="119"/>
                    <a:pt x="104" y="109"/>
                    <a:pt x="100" y="104"/>
                  </a:cubicBezTo>
                  <a:cubicBezTo>
                    <a:pt x="97" y="100"/>
                    <a:pt x="97" y="96"/>
                    <a:pt x="98" y="81"/>
                  </a:cubicBezTo>
                  <a:cubicBezTo>
                    <a:pt x="99" y="67"/>
                    <a:pt x="102" y="57"/>
                    <a:pt x="98" y="48"/>
                  </a:cubicBezTo>
                  <a:cubicBezTo>
                    <a:pt x="93" y="39"/>
                    <a:pt x="88" y="30"/>
                    <a:pt x="88" y="30"/>
                  </a:cubicBezTo>
                  <a:cubicBezTo>
                    <a:pt x="82" y="8"/>
                    <a:pt x="102" y="25"/>
                    <a:pt x="107" y="33"/>
                  </a:cubicBezTo>
                  <a:cubicBezTo>
                    <a:pt x="111" y="42"/>
                    <a:pt x="114" y="59"/>
                    <a:pt x="115" y="75"/>
                  </a:cubicBezTo>
                  <a:cubicBezTo>
                    <a:pt x="116" y="91"/>
                    <a:pt x="118" y="106"/>
                    <a:pt x="127" y="117"/>
                  </a:cubicBezTo>
                  <a:cubicBezTo>
                    <a:pt x="133" y="125"/>
                    <a:pt x="138" y="129"/>
                    <a:pt x="140" y="135"/>
                  </a:cubicBezTo>
                  <a:cubicBezTo>
                    <a:pt x="141" y="134"/>
                    <a:pt x="142" y="134"/>
                    <a:pt x="142" y="134"/>
                  </a:cubicBezTo>
                  <a:cubicBezTo>
                    <a:pt x="142" y="134"/>
                    <a:pt x="142" y="133"/>
                    <a:pt x="142" y="133"/>
                  </a:cubicBezTo>
                  <a:cubicBezTo>
                    <a:pt x="144" y="133"/>
                    <a:pt x="145" y="133"/>
                    <a:pt x="146" y="132"/>
                  </a:cubicBezTo>
                  <a:cubicBezTo>
                    <a:pt x="146" y="132"/>
                    <a:pt x="146" y="132"/>
                    <a:pt x="146" y="132"/>
                  </a:cubicBezTo>
                  <a:cubicBezTo>
                    <a:pt x="144" y="121"/>
                    <a:pt x="139" y="115"/>
                    <a:pt x="133" y="110"/>
                  </a:cubicBezTo>
                  <a:cubicBezTo>
                    <a:pt x="125" y="105"/>
                    <a:pt x="126" y="68"/>
                    <a:pt x="124" y="54"/>
                  </a:cubicBezTo>
                  <a:cubicBezTo>
                    <a:pt x="122" y="39"/>
                    <a:pt x="117" y="32"/>
                    <a:pt x="113" y="22"/>
                  </a:cubicBezTo>
                  <a:cubicBezTo>
                    <a:pt x="109" y="12"/>
                    <a:pt x="93" y="8"/>
                    <a:pt x="75" y="8"/>
                  </a:cubicBezTo>
                  <a:cubicBezTo>
                    <a:pt x="56" y="8"/>
                    <a:pt x="55" y="6"/>
                    <a:pt x="33" y="0"/>
                  </a:cubicBezTo>
                  <a:cubicBezTo>
                    <a:pt x="32" y="0"/>
                    <a:pt x="31" y="0"/>
                    <a:pt x="31" y="0"/>
                  </a:cubicBezTo>
                  <a:cubicBezTo>
                    <a:pt x="30" y="11"/>
                    <a:pt x="31" y="23"/>
                    <a:pt x="35" y="27"/>
                  </a:cubicBezTo>
                  <a:cubicBezTo>
                    <a:pt x="43" y="35"/>
                    <a:pt x="56" y="47"/>
                    <a:pt x="55" y="62"/>
                  </a:cubicBezTo>
                  <a:cubicBezTo>
                    <a:pt x="53" y="76"/>
                    <a:pt x="49" y="84"/>
                    <a:pt x="41" y="88"/>
                  </a:cubicBezTo>
                  <a:cubicBezTo>
                    <a:pt x="33" y="92"/>
                    <a:pt x="32" y="115"/>
                    <a:pt x="32" y="130"/>
                  </a:cubicBezTo>
                  <a:cubicBezTo>
                    <a:pt x="32" y="144"/>
                    <a:pt x="27" y="174"/>
                    <a:pt x="36" y="179"/>
                  </a:cubicBezTo>
                  <a:cubicBezTo>
                    <a:pt x="45" y="184"/>
                    <a:pt x="53" y="194"/>
                    <a:pt x="41" y="199"/>
                  </a:cubicBezTo>
                  <a:cubicBezTo>
                    <a:pt x="29" y="204"/>
                    <a:pt x="13" y="198"/>
                    <a:pt x="17" y="215"/>
                  </a:cubicBezTo>
                  <a:cubicBezTo>
                    <a:pt x="21" y="232"/>
                    <a:pt x="20" y="238"/>
                    <a:pt x="13" y="246"/>
                  </a:cubicBezTo>
                  <a:cubicBezTo>
                    <a:pt x="7" y="254"/>
                    <a:pt x="0" y="268"/>
                    <a:pt x="7" y="275"/>
                  </a:cubicBezTo>
                  <a:cubicBezTo>
                    <a:pt x="13" y="281"/>
                    <a:pt x="7" y="291"/>
                    <a:pt x="13" y="303"/>
                  </a:cubicBezTo>
                  <a:cubicBezTo>
                    <a:pt x="13" y="303"/>
                    <a:pt x="13" y="303"/>
                    <a:pt x="13" y="303"/>
                  </a:cubicBezTo>
                  <a:cubicBezTo>
                    <a:pt x="14" y="303"/>
                    <a:pt x="14" y="302"/>
                    <a:pt x="15" y="302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487" name="Freeform 25682"/>
            <p:cNvSpPr>
              <a:spLocks/>
            </p:cNvSpPr>
            <p:nvPr/>
          </p:nvSpPr>
          <p:spPr bwMode="auto">
            <a:xfrm>
              <a:off x="4993733" y="4082280"/>
              <a:ext cx="262162" cy="406107"/>
            </a:xfrm>
            <a:custGeom>
              <a:avLst/>
              <a:gdLst>
                <a:gd name="T0" fmla="*/ 679 w 703"/>
                <a:gd name="T1" fmla="*/ 178 h 1089"/>
                <a:gd name="T2" fmla="*/ 669 w 703"/>
                <a:gd name="T3" fmla="*/ 40 h 1089"/>
                <a:gd name="T4" fmla="*/ 562 w 703"/>
                <a:gd name="T5" fmla="*/ 54 h 1089"/>
                <a:gd name="T6" fmla="*/ 462 w 703"/>
                <a:gd name="T7" fmla="*/ 77 h 1089"/>
                <a:gd name="T8" fmla="*/ 366 w 703"/>
                <a:gd name="T9" fmla="*/ 69 h 1089"/>
                <a:gd name="T10" fmla="*/ 329 w 703"/>
                <a:gd name="T11" fmla="*/ 68 h 1089"/>
                <a:gd name="T12" fmla="*/ 323 w 703"/>
                <a:gd name="T13" fmla="*/ 67 h 1089"/>
                <a:gd name="T14" fmla="*/ 321 w 703"/>
                <a:gd name="T15" fmla="*/ 67 h 1089"/>
                <a:gd name="T16" fmla="*/ 315 w 703"/>
                <a:gd name="T17" fmla="*/ 70 h 1089"/>
                <a:gd name="T18" fmla="*/ 304 w 703"/>
                <a:gd name="T19" fmla="*/ 144 h 1089"/>
                <a:gd name="T20" fmla="*/ 321 w 703"/>
                <a:gd name="T21" fmla="*/ 202 h 1089"/>
                <a:gd name="T22" fmla="*/ 366 w 703"/>
                <a:gd name="T23" fmla="*/ 254 h 1089"/>
                <a:gd name="T24" fmla="*/ 346 w 703"/>
                <a:gd name="T25" fmla="*/ 369 h 1089"/>
                <a:gd name="T26" fmla="*/ 284 w 703"/>
                <a:gd name="T27" fmla="*/ 381 h 1089"/>
                <a:gd name="T28" fmla="*/ 248 w 703"/>
                <a:gd name="T29" fmla="*/ 258 h 1089"/>
                <a:gd name="T30" fmla="*/ 190 w 703"/>
                <a:gd name="T31" fmla="*/ 237 h 1089"/>
                <a:gd name="T32" fmla="*/ 188 w 703"/>
                <a:gd name="T33" fmla="*/ 238 h 1089"/>
                <a:gd name="T34" fmla="*/ 163 w 703"/>
                <a:gd name="T35" fmla="*/ 240 h 1089"/>
                <a:gd name="T36" fmla="*/ 157 w 703"/>
                <a:gd name="T37" fmla="*/ 241 h 1089"/>
                <a:gd name="T38" fmla="*/ 152 w 703"/>
                <a:gd name="T39" fmla="*/ 242 h 1089"/>
                <a:gd name="T40" fmla="*/ 24 w 703"/>
                <a:gd name="T41" fmla="*/ 330 h 1089"/>
                <a:gd name="T42" fmla="*/ 23 w 703"/>
                <a:gd name="T43" fmla="*/ 334 h 1089"/>
                <a:gd name="T44" fmla="*/ 84 w 703"/>
                <a:gd name="T45" fmla="*/ 363 h 1089"/>
                <a:gd name="T46" fmla="*/ 188 w 703"/>
                <a:gd name="T47" fmla="*/ 437 h 1089"/>
                <a:gd name="T48" fmla="*/ 189 w 703"/>
                <a:gd name="T49" fmla="*/ 532 h 1089"/>
                <a:gd name="T50" fmla="*/ 186 w 703"/>
                <a:gd name="T51" fmla="*/ 603 h 1089"/>
                <a:gd name="T52" fmla="*/ 160 w 703"/>
                <a:gd name="T53" fmla="*/ 668 h 1089"/>
                <a:gd name="T54" fmla="*/ 81 w 703"/>
                <a:gd name="T55" fmla="*/ 785 h 1089"/>
                <a:gd name="T56" fmla="*/ 86 w 703"/>
                <a:gd name="T57" fmla="*/ 793 h 1089"/>
                <a:gd name="T58" fmla="*/ 88 w 703"/>
                <a:gd name="T59" fmla="*/ 802 h 1089"/>
                <a:gd name="T60" fmla="*/ 130 w 703"/>
                <a:gd name="T61" fmla="*/ 1019 h 1089"/>
                <a:gd name="T62" fmla="*/ 131 w 703"/>
                <a:gd name="T63" fmla="*/ 1025 h 1089"/>
                <a:gd name="T64" fmla="*/ 136 w 703"/>
                <a:gd name="T65" fmla="*/ 1044 h 1089"/>
                <a:gd name="T66" fmla="*/ 136 w 703"/>
                <a:gd name="T67" fmla="*/ 1052 h 1089"/>
                <a:gd name="T68" fmla="*/ 137 w 703"/>
                <a:gd name="T69" fmla="*/ 1056 h 1089"/>
                <a:gd name="T70" fmla="*/ 141 w 703"/>
                <a:gd name="T71" fmla="*/ 1078 h 1089"/>
                <a:gd name="T72" fmla="*/ 142 w 703"/>
                <a:gd name="T73" fmla="*/ 1080 h 1089"/>
                <a:gd name="T74" fmla="*/ 145 w 703"/>
                <a:gd name="T75" fmla="*/ 1086 h 1089"/>
                <a:gd name="T76" fmla="*/ 148 w 703"/>
                <a:gd name="T77" fmla="*/ 1088 h 1089"/>
                <a:gd name="T78" fmla="*/ 191 w 703"/>
                <a:gd name="T79" fmla="*/ 1079 h 1089"/>
                <a:gd name="T80" fmla="*/ 259 w 703"/>
                <a:gd name="T81" fmla="*/ 956 h 1089"/>
                <a:gd name="T82" fmla="*/ 357 w 703"/>
                <a:gd name="T83" fmla="*/ 804 h 1089"/>
                <a:gd name="T84" fmla="*/ 322 w 703"/>
                <a:gd name="T85" fmla="*/ 667 h 1089"/>
                <a:gd name="T86" fmla="*/ 360 w 703"/>
                <a:gd name="T87" fmla="*/ 564 h 1089"/>
                <a:gd name="T88" fmla="*/ 545 w 703"/>
                <a:gd name="T89" fmla="*/ 431 h 1089"/>
                <a:gd name="T90" fmla="*/ 692 w 703"/>
                <a:gd name="T91" fmla="*/ 284 h 10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703" h="1089">
                  <a:moveTo>
                    <a:pt x="693" y="256"/>
                  </a:moveTo>
                  <a:cubicBezTo>
                    <a:pt x="683" y="245"/>
                    <a:pt x="683" y="254"/>
                    <a:pt x="683" y="229"/>
                  </a:cubicBezTo>
                  <a:cubicBezTo>
                    <a:pt x="683" y="204"/>
                    <a:pt x="683" y="190"/>
                    <a:pt x="679" y="178"/>
                  </a:cubicBezTo>
                  <a:cubicBezTo>
                    <a:pt x="675" y="167"/>
                    <a:pt x="672" y="159"/>
                    <a:pt x="679" y="146"/>
                  </a:cubicBezTo>
                  <a:cubicBezTo>
                    <a:pt x="687" y="133"/>
                    <a:pt x="672" y="119"/>
                    <a:pt x="670" y="104"/>
                  </a:cubicBezTo>
                  <a:cubicBezTo>
                    <a:pt x="669" y="89"/>
                    <a:pt x="669" y="60"/>
                    <a:pt x="669" y="40"/>
                  </a:cubicBezTo>
                  <a:cubicBezTo>
                    <a:pt x="669" y="24"/>
                    <a:pt x="675" y="12"/>
                    <a:pt x="671" y="0"/>
                  </a:cubicBezTo>
                  <a:cubicBezTo>
                    <a:pt x="642" y="18"/>
                    <a:pt x="624" y="23"/>
                    <a:pt x="602" y="37"/>
                  </a:cubicBezTo>
                  <a:cubicBezTo>
                    <a:pt x="575" y="53"/>
                    <a:pt x="582" y="38"/>
                    <a:pt x="562" y="54"/>
                  </a:cubicBezTo>
                  <a:cubicBezTo>
                    <a:pt x="542" y="70"/>
                    <a:pt x="538" y="61"/>
                    <a:pt x="524" y="50"/>
                  </a:cubicBezTo>
                  <a:cubicBezTo>
                    <a:pt x="511" y="39"/>
                    <a:pt x="502" y="43"/>
                    <a:pt x="490" y="70"/>
                  </a:cubicBezTo>
                  <a:cubicBezTo>
                    <a:pt x="478" y="97"/>
                    <a:pt x="470" y="83"/>
                    <a:pt x="462" y="77"/>
                  </a:cubicBezTo>
                  <a:cubicBezTo>
                    <a:pt x="454" y="70"/>
                    <a:pt x="442" y="73"/>
                    <a:pt x="431" y="79"/>
                  </a:cubicBezTo>
                  <a:cubicBezTo>
                    <a:pt x="420" y="86"/>
                    <a:pt x="399" y="77"/>
                    <a:pt x="391" y="70"/>
                  </a:cubicBezTo>
                  <a:cubicBezTo>
                    <a:pt x="383" y="63"/>
                    <a:pt x="375" y="61"/>
                    <a:pt x="366" y="69"/>
                  </a:cubicBezTo>
                  <a:cubicBezTo>
                    <a:pt x="356" y="77"/>
                    <a:pt x="346" y="77"/>
                    <a:pt x="332" y="70"/>
                  </a:cubicBezTo>
                  <a:cubicBezTo>
                    <a:pt x="331" y="69"/>
                    <a:pt x="330" y="69"/>
                    <a:pt x="329" y="69"/>
                  </a:cubicBezTo>
                  <a:cubicBezTo>
                    <a:pt x="329" y="69"/>
                    <a:pt x="329" y="69"/>
                    <a:pt x="329" y="68"/>
                  </a:cubicBezTo>
                  <a:cubicBezTo>
                    <a:pt x="328" y="68"/>
                    <a:pt x="327" y="68"/>
                    <a:pt x="326" y="68"/>
                  </a:cubicBezTo>
                  <a:cubicBezTo>
                    <a:pt x="326" y="68"/>
                    <a:pt x="326" y="68"/>
                    <a:pt x="326" y="68"/>
                  </a:cubicBezTo>
                  <a:cubicBezTo>
                    <a:pt x="325" y="67"/>
                    <a:pt x="324" y="67"/>
                    <a:pt x="323" y="67"/>
                  </a:cubicBezTo>
                  <a:cubicBezTo>
                    <a:pt x="323" y="67"/>
                    <a:pt x="323" y="67"/>
                    <a:pt x="323" y="67"/>
                  </a:cubicBezTo>
                  <a:cubicBezTo>
                    <a:pt x="322" y="67"/>
                    <a:pt x="322" y="67"/>
                    <a:pt x="321" y="67"/>
                  </a:cubicBezTo>
                  <a:cubicBezTo>
                    <a:pt x="321" y="67"/>
                    <a:pt x="321" y="67"/>
                    <a:pt x="321" y="67"/>
                  </a:cubicBezTo>
                  <a:cubicBezTo>
                    <a:pt x="320" y="68"/>
                    <a:pt x="319" y="68"/>
                    <a:pt x="317" y="68"/>
                  </a:cubicBezTo>
                  <a:cubicBezTo>
                    <a:pt x="317" y="68"/>
                    <a:pt x="317" y="69"/>
                    <a:pt x="317" y="69"/>
                  </a:cubicBezTo>
                  <a:cubicBezTo>
                    <a:pt x="317" y="69"/>
                    <a:pt x="316" y="69"/>
                    <a:pt x="315" y="70"/>
                  </a:cubicBezTo>
                  <a:cubicBezTo>
                    <a:pt x="316" y="72"/>
                    <a:pt x="316" y="74"/>
                    <a:pt x="316" y="78"/>
                  </a:cubicBezTo>
                  <a:cubicBezTo>
                    <a:pt x="316" y="89"/>
                    <a:pt x="316" y="89"/>
                    <a:pt x="308" y="95"/>
                  </a:cubicBezTo>
                  <a:cubicBezTo>
                    <a:pt x="300" y="101"/>
                    <a:pt x="301" y="126"/>
                    <a:pt x="304" y="144"/>
                  </a:cubicBezTo>
                  <a:cubicBezTo>
                    <a:pt x="306" y="156"/>
                    <a:pt x="302" y="163"/>
                    <a:pt x="298" y="169"/>
                  </a:cubicBezTo>
                  <a:cubicBezTo>
                    <a:pt x="297" y="173"/>
                    <a:pt x="295" y="177"/>
                    <a:pt x="296" y="181"/>
                  </a:cubicBezTo>
                  <a:cubicBezTo>
                    <a:pt x="297" y="190"/>
                    <a:pt x="310" y="195"/>
                    <a:pt x="321" y="202"/>
                  </a:cubicBezTo>
                  <a:cubicBezTo>
                    <a:pt x="326" y="204"/>
                    <a:pt x="331" y="207"/>
                    <a:pt x="334" y="211"/>
                  </a:cubicBezTo>
                  <a:cubicBezTo>
                    <a:pt x="342" y="219"/>
                    <a:pt x="341" y="223"/>
                    <a:pt x="340" y="226"/>
                  </a:cubicBezTo>
                  <a:cubicBezTo>
                    <a:pt x="347" y="235"/>
                    <a:pt x="355" y="244"/>
                    <a:pt x="366" y="254"/>
                  </a:cubicBezTo>
                  <a:cubicBezTo>
                    <a:pt x="394" y="282"/>
                    <a:pt x="382" y="271"/>
                    <a:pt x="378" y="293"/>
                  </a:cubicBezTo>
                  <a:cubicBezTo>
                    <a:pt x="374" y="314"/>
                    <a:pt x="376" y="327"/>
                    <a:pt x="378" y="354"/>
                  </a:cubicBezTo>
                  <a:cubicBezTo>
                    <a:pt x="379" y="381"/>
                    <a:pt x="359" y="367"/>
                    <a:pt x="346" y="369"/>
                  </a:cubicBezTo>
                  <a:cubicBezTo>
                    <a:pt x="332" y="370"/>
                    <a:pt x="335" y="390"/>
                    <a:pt x="344" y="415"/>
                  </a:cubicBezTo>
                  <a:cubicBezTo>
                    <a:pt x="354" y="441"/>
                    <a:pt x="339" y="438"/>
                    <a:pt x="322" y="421"/>
                  </a:cubicBezTo>
                  <a:cubicBezTo>
                    <a:pt x="304" y="403"/>
                    <a:pt x="302" y="406"/>
                    <a:pt x="284" y="381"/>
                  </a:cubicBezTo>
                  <a:cubicBezTo>
                    <a:pt x="267" y="355"/>
                    <a:pt x="279" y="337"/>
                    <a:pt x="290" y="322"/>
                  </a:cubicBezTo>
                  <a:cubicBezTo>
                    <a:pt x="300" y="307"/>
                    <a:pt x="296" y="295"/>
                    <a:pt x="294" y="277"/>
                  </a:cubicBezTo>
                  <a:cubicBezTo>
                    <a:pt x="291" y="258"/>
                    <a:pt x="264" y="257"/>
                    <a:pt x="248" y="258"/>
                  </a:cubicBezTo>
                  <a:cubicBezTo>
                    <a:pt x="232" y="259"/>
                    <a:pt x="230" y="266"/>
                    <a:pt x="215" y="241"/>
                  </a:cubicBezTo>
                  <a:cubicBezTo>
                    <a:pt x="200" y="215"/>
                    <a:pt x="194" y="227"/>
                    <a:pt x="191" y="235"/>
                  </a:cubicBezTo>
                  <a:cubicBezTo>
                    <a:pt x="191" y="236"/>
                    <a:pt x="190" y="236"/>
                    <a:pt x="190" y="237"/>
                  </a:cubicBezTo>
                  <a:cubicBezTo>
                    <a:pt x="190" y="237"/>
                    <a:pt x="190" y="237"/>
                    <a:pt x="190" y="237"/>
                  </a:cubicBezTo>
                  <a:cubicBezTo>
                    <a:pt x="189" y="237"/>
                    <a:pt x="189" y="238"/>
                    <a:pt x="188" y="238"/>
                  </a:cubicBezTo>
                  <a:cubicBezTo>
                    <a:pt x="188" y="238"/>
                    <a:pt x="188" y="238"/>
                    <a:pt x="188" y="238"/>
                  </a:cubicBezTo>
                  <a:cubicBezTo>
                    <a:pt x="188" y="238"/>
                    <a:pt x="188" y="238"/>
                    <a:pt x="188" y="238"/>
                  </a:cubicBezTo>
                  <a:cubicBezTo>
                    <a:pt x="184" y="240"/>
                    <a:pt x="175" y="239"/>
                    <a:pt x="164" y="240"/>
                  </a:cubicBezTo>
                  <a:cubicBezTo>
                    <a:pt x="164" y="240"/>
                    <a:pt x="164" y="240"/>
                    <a:pt x="163" y="240"/>
                  </a:cubicBezTo>
                  <a:cubicBezTo>
                    <a:pt x="162" y="240"/>
                    <a:pt x="161" y="240"/>
                    <a:pt x="160" y="240"/>
                  </a:cubicBezTo>
                  <a:cubicBezTo>
                    <a:pt x="160" y="240"/>
                    <a:pt x="160" y="240"/>
                    <a:pt x="159" y="240"/>
                  </a:cubicBezTo>
                  <a:cubicBezTo>
                    <a:pt x="159" y="241"/>
                    <a:pt x="158" y="241"/>
                    <a:pt x="157" y="241"/>
                  </a:cubicBezTo>
                  <a:cubicBezTo>
                    <a:pt x="156" y="241"/>
                    <a:pt x="156" y="241"/>
                    <a:pt x="156" y="241"/>
                  </a:cubicBezTo>
                  <a:cubicBezTo>
                    <a:pt x="155" y="241"/>
                    <a:pt x="154" y="242"/>
                    <a:pt x="153" y="242"/>
                  </a:cubicBezTo>
                  <a:cubicBezTo>
                    <a:pt x="153" y="242"/>
                    <a:pt x="152" y="242"/>
                    <a:pt x="152" y="242"/>
                  </a:cubicBezTo>
                  <a:cubicBezTo>
                    <a:pt x="151" y="242"/>
                    <a:pt x="150" y="243"/>
                    <a:pt x="148" y="243"/>
                  </a:cubicBezTo>
                  <a:cubicBezTo>
                    <a:pt x="127" y="251"/>
                    <a:pt x="75" y="274"/>
                    <a:pt x="38" y="282"/>
                  </a:cubicBezTo>
                  <a:cubicBezTo>
                    <a:pt x="0" y="290"/>
                    <a:pt x="24" y="315"/>
                    <a:pt x="24" y="330"/>
                  </a:cubicBezTo>
                  <a:cubicBezTo>
                    <a:pt x="24" y="331"/>
                    <a:pt x="24" y="332"/>
                    <a:pt x="24" y="332"/>
                  </a:cubicBezTo>
                  <a:cubicBezTo>
                    <a:pt x="24" y="333"/>
                    <a:pt x="23" y="334"/>
                    <a:pt x="23" y="334"/>
                  </a:cubicBezTo>
                  <a:cubicBezTo>
                    <a:pt x="23" y="334"/>
                    <a:pt x="23" y="334"/>
                    <a:pt x="23" y="334"/>
                  </a:cubicBezTo>
                  <a:cubicBezTo>
                    <a:pt x="25" y="338"/>
                    <a:pt x="27" y="342"/>
                    <a:pt x="28" y="347"/>
                  </a:cubicBezTo>
                  <a:cubicBezTo>
                    <a:pt x="29" y="357"/>
                    <a:pt x="40" y="363"/>
                    <a:pt x="52" y="360"/>
                  </a:cubicBezTo>
                  <a:cubicBezTo>
                    <a:pt x="64" y="357"/>
                    <a:pt x="74" y="357"/>
                    <a:pt x="84" y="363"/>
                  </a:cubicBezTo>
                  <a:cubicBezTo>
                    <a:pt x="94" y="369"/>
                    <a:pt x="118" y="378"/>
                    <a:pt x="128" y="383"/>
                  </a:cubicBezTo>
                  <a:cubicBezTo>
                    <a:pt x="138" y="389"/>
                    <a:pt x="173" y="387"/>
                    <a:pt x="179" y="402"/>
                  </a:cubicBezTo>
                  <a:cubicBezTo>
                    <a:pt x="185" y="417"/>
                    <a:pt x="184" y="430"/>
                    <a:pt x="188" y="437"/>
                  </a:cubicBezTo>
                  <a:cubicBezTo>
                    <a:pt x="192" y="443"/>
                    <a:pt x="195" y="451"/>
                    <a:pt x="195" y="461"/>
                  </a:cubicBezTo>
                  <a:cubicBezTo>
                    <a:pt x="195" y="470"/>
                    <a:pt x="184" y="491"/>
                    <a:pt x="190" y="499"/>
                  </a:cubicBezTo>
                  <a:cubicBezTo>
                    <a:pt x="196" y="507"/>
                    <a:pt x="197" y="527"/>
                    <a:pt x="189" y="532"/>
                  </a:cubicBezTo>
                  <a:cubicBezTo>
                    <a:pt x="181" y="537"/>
                    <a:pt x="175" y="546"/>
                    <a:pt x="175" y="553"/>
                  </a:cubicBezTo>
                  <a:cubicBezTo>
                    <a:pt x="175" y="561"/>
                    <a:pt x="177" y="567"/>
                    <a:pt x="182" y="573"/>
                  </a:cubicBezTo>
                  <a:cubicBezTo>
                    <a:pt x="186" y="579"/>
                    <a:pt x="178" y="599"/>
                    <a:pt x="186" y="603"/>
                  </a:cubicBezTo>
                  <a:cubicBezTo>
                    <a:pt x="194" y="608"/>
                    <a:pt x="197" y="609"/>
                    <a:pt x="195" y="617"/>
                  </a:cubicBezTo>
                  <a:cubicBezTo>
                    <a:pt x="193" y="625"/>
                    <a:pt x="189" y="630"/>
                    <a:pt x="181" y="639"/>
                  </a:cubicBezTo>
                  <a:cubicBezTo>
                    <a:pt x="173" y="649"/>
                    <a:pt x="160" y="655"/>
                    <a:pt x="160" y="668"/>
                  </a:cubicBezTo>
                  <a:cubicBezTo>
                    <a:pt x="160" y="681"/>
                    <a:pt x="157" y="706"/>
                    <a:pt x="149" y="716"/>
                  </a:cubicBezTo>
                  <a:cubicBezTo>
                    <a:pt x="141" y="726"/>
                    <a:pt x="108" y="760"/>
                    <a:pt x="102" y="766"/>
                  </a:cubicBezTo>
                  <a:cubicBezTo>
                    <a:pt x="97" y="770"/>
                    <a:pt x="89" y="778"/>
                    <a:pt x="81" y="785"/>
                  </a:cubicBezTo>
                  <a:cubicBezTo>
                    <a:pt x="81" y="785"/>
                    <a:pt x="81" y="785"/>
                    <a:pt x="82" y="785"/>
                  </a:cubicBezTo>
                  <a:cubicBezTo>
                    <a:pt x="83" y="787"/>
                    <a:pt x="84" y="790"/>
                    <a:pt x="85" y="792"/>
                  </a:cubicBezTo>
                  <a:cubicBezTo>
                    <a:pt x="85" y="792"/>
                    <a:pt x="85" y="793"/>
                    <a:pt x="86" y="793"/>
                  </a:cubicBezTo>
                  <a:cubicBezTo>
                    <a:pt x="86" y="794"/>
                    <a:pt x="86" y="795"/>
                    <a:pt x="87" y="796"/>
                  </a:cubicBezTo>
                  <a:cubicBezTo>
                    <a:pt x="87" y="797"/>
                    <a:pt x="87" y="797"/>
                    <a:pt x="87" y="797"/>
                  </a:cubicBezTo>
                  <a:cubicBezTo>
                    <a:pt x="88" y="799"/>
                    <a:pt x="88" y="800"/>
                    <a:pt x="88" y="802"/>
                  </a:cubicBezTo>
                  <a:cubicBezTo>
                    <a:pt x="98" y="845"/>
                    <a:pt x="100" y="865"/>
                    <a:pt x="112" y="878"/>
                  </a:cubicBezTo>
                  <a:cubicBezTo>
                    <a:pt x="124" y="891"/>
                    <a:pt x="128" y="909"/>
                    <a:pt x="131" y="937"/>
                  </a:cubicBezTo>
                  <a:cubicBezTo>
                    <a:pt x="134" y="965"/>
                    <a:pt x="126" y="1007"/>
                    <a:pt x="130" y="1019"/>
                  </a:cubicBezTo>
                  <a:cubicBezTo>
                    <a:pt x="130" y="1021"/>
                    <a:pt x="131" y="1023"/>
                    <a:pt x="131" y="1025"/>
                  </a:cubicBezTo>
                  <a:cubicBezTo>
                    <a:pt x="131" y="1025"/>
                    <a:pt x="131" y="1025"/>
                    <a:pt x="131" y="1025"/>
                  </a:cubicBezTo>
                  <a:cubicBezTo>
                    <a:pt x="131" y="1025"/>
                    <a:pt x="131" y="1025"/>
                    <a:pt x="131" y="1025"/>
                  </a:cubicBezTo>
                  <a:cubicBezTo>
                    <a:pt x="133" y="1029"/>
                    <a:pt x="134" y="1033"/>
                    <a:pt x="135" y="1037"/>
                  </a:cubicBezTo>
                  <a:cubicBezTo>
                    <a:pt x="135" y="1038"/>
                    <a:pt x="135" y="1038"/>
                    <a:pt x="135" y="1038"/>
                  </a:cubicBezTo>
                  <a:cubicBezTo>
                    <a:pt x="135" y="1040"/>
                    <a:pt x="136" y="1042"/>
                    <a:pt x="136" y="1044"/>
                  </a:cubicBezTo>
                  <a:cubicBezTo>
                    <a:pt x="136" y="1044"/>
                    <a:pt x="136" y="1044"/>
                    <a:pt x="136" y="1045"/>
                  </a:cubicBezTo>
                  <a:cubicBezTo>
                    <a:pt x="136" y="1046"/>
                    <a:pt x="136" y="1048"/>
                    <a:pt x="136" y="1050"/>
                  </a:cubicBezTo>
                  <a:cubicBezTo>
                    <a:pt x="136" y="1051"/>
                    <a:pt x="136" y="1051"/>
                    <a:pt x="136" y="1052"/>
                  </a:cubicBezTo>
                  <a:cubicBezTo>
                    <a:pt x="136" y="1052"/>
                    <a:pt x="136" y="1053"/>
                    <a:pt x="136" y="1053"/>
                  </a:cubicBezTo>
                  <a:cubicBezTo>
                    <a:pt x="136" y="1054"/>
                    <a:pt x="137" y="1054"/>
                    <a:pt x="137" y="1055"/>
                  </a:cubicBezTo>
                  <a:cubicBezTo>
                    <a:pt x="137" y="1055"/>
                    <a:pt x="137" y="1056"/>
                    <a:pt x="137" y="1056"/>
                  </a:cubicBezTo>
                  <a:cubicBezTo>
                    <a:pt x="137" y="1057"/>
                    <a:pt x="137" y="1057"/>
                    <a:pt x="137" y="1058"/>
                  </a:cubicBezTo>
                  <a:cubicBezTo>
                    <a:pt x="137" y="1059"/>
                    <a:pt x="137" y="1059"/>
                    <a:pt x="137" y="1059"/>
                  </a:cubicBezTo>
                  <a:cubicBezTo>
                    <a:pt x="138" y="1065"/>
                    <a:pt x="139" y="1072"/>
                    <a:pt x="141" y="1078"/>
                  </a:cubicBezTo>
                  <a:cubicBezTo>
                    <a:pt x="141" y="1078"/>
                    <a:pt x="141" y="1078"/>
                    <a:pt x="141" y="1078"/>
                  </a:cubicBezTo>
                  <a:cubicBezTo>
                    <a:pt x="141" y="1078"/>
                    <a:pt x="141" y="1079"/>
                    <a:pt x="142" y="1080"/>
                  </a:cubicBezTo>
                  <a:cubicBezTo>
                    <a:pt x="142" y="1080"/>
                    <a:pt x="142" y="1080"/>
                    <a:pt x="142" y="1080"/>
                  </a:cubicBezTo>
                  <a:cubicBezTo>
                    <a:pt x="143" y="1082"/>
                    <a:pt x="143" y="1084"/>
                    <a:pt x="144" y="1085"/>
                  </a:cubicBezTo>
                  <a:cubicBezTo>
                    <a:pt x="144" y="1085"/>
                    <a:pt x="145" y="1085"/>
                    <a:pt x="145" y="1086"/>
                  </a:cubicBezTo>
                  <a:cubicBezTo>
                    <a:pt x="145" y="1086"/>
                    <a:pt x="145" y="1086"/>
                    <a:pt x="145" y="1086"/>
                  </a:cubicBezTo>
                  <a:cubicBezTo>
                    <a:pt x="146" y="1087"/>
                    <a:pt x="146" y="1087"/>
                    <a:pt x="146" y="1087"/>
                  </a:cubicBezTo>
                  <a:cubicBezTo>
                    <a:pt x="146" y="1087"/>
                    <a:pt x="147" y="1087"/>
                    <a:pt x="147" y="1088"/>
                  </a:cubicBezTo>
                  <a:cubicBezTo>
                    <a:pt x="147" y="1088"/>
                    <a:pt x="147" y="1088"/>
                    <a:pt x="148" y="1088"/>
                  </a:cubicBezTo>
                  <a:cubicBezTo>
                    <a:pt x="148" y="1088"/>
                    <a:pt x="148" y="1088"/>
                    <a:pt x="148" y="1088"/>
                  </a:cubicBezTo>
                  <a:cubicBezTo>
                    <a:pt x="149" y="1089"/>
                    <a:pt x="149" y="1089"/>
                    <a:pt x="150" y="1089"/>
                  </a:cubicBezTo>
                  <a:cubicBezTo>
                    <a:pt x="158" y="1089"/>
                    <a:pt x="169" y="1080"/>
                    <a:pt x="191" y="1079"/>
                  </a:cubicBezTo>
                  <a:cubicBezTo>
                    <a:pt x="193" y="1071"/>
                    <a:pt x="194" y="1062"/>
                    <a:pt x="190" y="1049"/>
                  </a:cubicBezTo>
                  <a:cubicBezTo>
                    <a:pt x="182" y="1026"/>
                    <a:pt x="163" y="1027"/>
                    <a:pt x="188" y="1002"/>
                  </a:cubicBezTo>
                  <a:cubicBezTo>
                    <a:pt x="213" y="977"/>
                    <a:pt x="218" y="965"/>
                    <a:pt x="259" y="956"/>
                  </a:cubicBezTo>
                  <a:cubicBezTo>
                    <a:pt x="300" y="946"/>
                    <a:pt x="349" y="926"/>
                    <a:pt x="349" y="900"/>
                  </a:cubicBezTo>
                  <a:cubicBezTo>
                    <a:pt x="349" y="874"/>
                    <a:pt x="344" y="872"/>
                    <a:pt x="350" y="853"/>
                  </a:cubicBezTo>
                  <a:cubicBezTo>
                    <a:pt x="357" y="833"/>
                    <a:pt x="367" y="829"/>
                    <a:pt x="357" y="804"/>
                  </a:cubicBezTo>
                  <a:cubicBezTo>
                    <a:pt x="346" y="779"/>
                    <a:pt x="352" y="762"/>
                    <a:pt x="345" y="742"/>
                  </a:cubicBezTo>
                  <a:cubicBezTo>
                    <a:pt x="337" y="721"/>
                    <a:pt x="342" y="724"/>
                    <a:pt x="337" y="701"/>
                  </a:cubicBezTo>
                  <a:cubicBezTo>
                    <a:pt x="333" y="678"/>
                    <a:pt x="336" y="678"/>
                    <a:pt x="322" y="667"/>
                  </a:cubicBezTo>
                  <a:cubicBezTo>
                    <a:pt x="308" y="655"/>
                    <a:pt x="300" y="650"/>
                    <a:pt x="303" y="635"/>
                  </a:cubicBezTo>
                  <a:cubicBezTo>
                    <a:pt x="306" y="620"/>
                    <a:pt x="304" y="614"/>
                    <a:pt x="324" y="602"/>
                  </a:cubicBezTo>
                  <a:cubicBezTo>
                    <a:pt x="345" y="590"/>
                    <a:pt x="338" y="585"/>
                    <a:pt x="360" y="564"/>
                  </a:cubicBezTo>
                  <a:cubicBezTo>
                    <a:pt x="381" y="544"/>
                    <a:pt x="435" y="522"/>
                    <a:pt x="447" y="501"/>
                  </a:cubicBezTo>
                  <a:cubicBezTo>
                    <a:pt x="459" y="479"/>
                    <a:pt x="473" y="470"/>
                    <a:pt x="492" y="456"/>
                  </a:cubicBezTo>
                  <a:cubicBezTo>
                    <a:pt x="511" y="442"/>
                    <a:pt x="518" y="441"/>
                    <a:pt x="545" y="431"/>
                  </a:cubicBezTo>
                  <a:cubicBezTo>
                    <a:pt x="572" y="421"/>
                    <a:pt x="598" y="420"/>
                    <a:pt x="619" y="395"/>
                  </a:cubicBezTo>
                  <a:cubicBezTo>
                    <a:pt x="639" y="369"/>
                    <a:pt x="664" y="335"/>
                    <a:pt x="677" y="323"/>
                  </a:cubicBezTo>
                  <a:cubicBezTo>
                    <a:pt x="690" y="310"/>
                    <a:pt x="687" y="298"/>
                    <a:pt x="692" y="284"/>
                  </a:cubicBezTo>
                  <a:cubicBezTo>
                    <a:pt x="697" y="270"/>
                    <a:pt x="703" y="267"/>
                    <a:pt x="693" y="256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488" name="Freeform 25683"/>
            <p:cNvSpPr>
              <a:spLocks/>
            </p:cNvSpPr>
            <p:nvPr/>
          </p:nvSpPr>
          <p:spPr bwMode="auto">
            <a:xfrm>
              <a:off x="5254790" y="3541857"/>
              <a:ext cx="250167" cy="334135"/>
            </a:xfrm>
            <a:custGeom>
              <a:avLst/>
              <a:gdLst>
                <a:gd name="T0" fmla="*/ 615 w 671"/>
                <a:gd name="T1" fmla="*/ 14 h 896"/>
                <a:gd name="T2" fmla="*/ 540 w 671"/>
                <a:gd name="T3" fmla="*/ 46 h 896"/>
                <a:gd name="T4" fmla="*/ 466 w 671"/>
                <a:gd name="T5" fmla="*/ 56 h 896"/>
                <a:gd name="T6" fmla="*/ 393 w 671"/>
                <a:gd name="T7" fmla="*/ 72 h 896"/>
                <a:gd name="T8" fmla="*/ 298 w 671"/>
                <a:gd name="T9" fmla="*/ 82 h 896"/>
                <a:gd name="T10" fmla="*/ 178 w 671"/>
                <a:gd name="T11" fmla="*/ 66 h 896"/>
                <a:gd name="T12" fmla="*/ 139 w 671"/>
                <a:gd name="T13" fmla="*/ 54 h 896"/>
                <a:gd name="T14" fmla="*/ 136 w 671"/>
                <a:gd name="T15" fmla="*/ 60 h 896"/>
                <a:gd name="T16" fmla="*/ 134 w 671"/>
                <a:gd name="T17" fmla="*/ 66 h 896"/>
                <a:gd name="T18" fmla="*/ 132 w 671"/>
                <a:gd name="T19" fmla="*/ 70 h 896"/>
                <a:gd name="T20" fmla="*/ 131 w 671"/>
                <a:gd name="T21" fmla="*/ 73 h 896"/>
                <a:gd name="T22" fmla="*/ 129 w 671"/>
                <a:gd name="T23" fmla="*/ 76 h 896"/>
                <a:gd name="T24" fmla="*/ 126 w 671"/>
                <a:gd name="T25" fmla="*/ 80 h 896"/>
                <a:gd name="T26" fmla="*/ 123 w 671"/>
                <a:gd name="T27" fmla="*/ 83 h 896"/>
                <a:gd name="T28" fmla="*/ 119 w 671"/>
                <a:gd name="T29" fmla="*/ 87 h 896"/>
                <a:gd name="T30" fmla="*/ 155 w 671"/>
                <a:gd name="T31" fmla="*/ 167 h 896"/>
                <a:gd name="T32" fmla="*/ 354 w 671"/>
                <a:gd name="T33" fmla="*/ 254 h 896"/>
                <a:gd name="T34" fmla="*/ 419 w 671"/>
                <a:gd name="T35" fmla="*/ 304 h 896"/>
                <a:gd name="T36" fmla="*/ 282 w 671"/>
                <a:gd name="T37" fmla="*/ 438 h 896"/>
                <a:gd name="T38" fmla="*/ 140 w 671"/>
                <a:gd name="T39" fmla="*/ 490 h 896"/>
                <a:gd name="T40" fmla="*/ 66 w 671"/>
                <a:gd name="T41" fmla="*/ 522 h 896"/>
                <a:gd name="T42" fmla="*/ 63 w 671"/>
                <a:gd name="T43" fmla="*/ 524 h 896"/>
                <a:gd name="T44" fmla="*/ 61 w 671"/>
                <a:gd name="T45" fmla="*/ 526 h 896"/>
                <a:gd name="T46" fmla="*/ 55 w 671"/>
                <a:gd name="T47" fmla="*/ 527 h 896"/>
                <a:gd name="T48" fmla="*/ 8 w 671"/>
                <a:gd name="T49" fmla="*/ 590 h 896"/>
                <a:gd name="T50" fmla="*/ 6 w 671"/>
                <a:gd name="T51" fmla="*/ 839 h 896"/>
                <a:gd name="T52" fmla="*/ 39 w 671"/>
                <a:gd name="T53" fmla="*/ 896 h 896"/>
                <a:gd name="T54" fmla="*/ 87 w 671"/>
                <a:gd name="T55" fmla="*/ 814 h 896"/>
                <a:gd name="T56" fmla="*/ 266 w 671"/>
                <a:gd name="T57" fmla="*/ 656 h 896"/>
                <a:gd name="T58" fmla="*/ 454 w 671"/>
                <a:gd name="T59" fmla="*/ 488 h 896"/>
                <a:gd name="T60" fmla="*/ 524 w 671"/>
                <a:gd name="T61" fmla="*/ 365 h 896"/>
                <a:gd name="T62" fmla="*/ 589 w 671"/>
                <a:gd name="T63" fmla="*/ 253 h 896"/>
                <a:gd name="T64" fmla="*/ 634 w 671"/>
                <a:gd name="T65" fmla="*/ 150 h 896"/>
                <a:gd name="T66" fmla="*/ 651 w 671"/>
                <a:gd name="T67" fmla="*/ 55 h 8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71" h="896">
                  <a:moveTo>
                    <a:pt x="656" y="13"/>
                  </a:moveTo>
                  <a:cubicBezTo>
                    <a:pt x="641" y="3"/>
                    <a:pt x="629" y="0"/>
                    <a:pt x="615" y="14"/>
                  </a:cubicBezTo>
                  <a:cubicBezTo>
                    <a:pt x="601" y="28"/>
                    <a:pt x="593" y="35"/>
                    <a:pt x="578" y="35"/>
                  </a:cubicBezTo>
                  <a:cubicBezTo>
                    <a:pt x="563" y="35"/>
                    <a:pt x="555" y="46"/>
                    <a:pt x="540" y="46"/>
                  </a:cubicBezTo>
                  <a:cubicBezTo>
                    <a:pt x="525" y="46"/>
                    <a:pt x="519" y="61"/>
                    <a:pt x="502" y="55"/>
                  </a:cubicBezTo>
                  <a:cubicBezTo>
                    <a:pt x="484" y="48"/>
                    <a:pt x="478" y="49"/>
                    <a:pt x="466" y="56"/>
                  </a:cubicBezTo>
                  <a:cubicBezTo>
                    <a:pt x="454" y="62"/>
                    <a:pt x="454" y="67"/>
                    <a:pt x="435" y="61"/>
                  </a:cubicBezTo>
                  <a:cubicBezTo>
                    <a:pt x="416" y="56"/>
                    <a:pt x="407" y="60"/>
                    <a:pt x="393" y="72"/>
                  </a:cubicBezTo>
                  <a:cubicBezTo>
                    <a:pt x="379" y="84"/>
                    <a:pt x="355" y="90"/>
                    <a:pt x="343" y="87"/>
                  </a:cubicBezTo>
                  <a:cubicBezTo>
                    <a:pt x="332" y="84"/>
                    <a:pt x="313" y="71"/>
                    <a:pt x="298" y="82"/>
                  </a:cubicBezTo>
                  <a:cubicBezTo>
                    <a:pt x="283" y="92"/>
                    <a:pt x="207" y="103"/>
                    <a:pt x="203" y="95"/>
                  </a:cubicBezTo>
                  <a:cubicBezTo>
                    <a:pt x="198" y="86"/>
                    <a:pt x="195" y="78"/>
                    <a:pt x="178" y="66"/>
                  </a:cubicBezTo>
                  <a:cubicBezTo>
                    <a:pt x="161" y="53"/>
                    <a:pt x="161" y="39"/>
                    <a:pt x="146" y="38"/>
                  </a:cubicBezTo>
                  <a:cubicBezTo>
                    <a:pt x="143" y="43"/>
                    <a:pt x="142" y="49"/>
                    <a:pt x="139" y="54"/>
                  </a:cubicBezTo>
                  <a:cubicBezTo>
                    <a:pt x="138" y="56"/>
                    <a:pt x="137" y="58"/>
                    <a:pt x="136" y="60"/>
                  </a:cubicBezTo>
                  <a:cubicBezTo>
                    <a:pt x="136" y="60"/>
                    <a:pt x="136" y="60"/>
                    <a:pt x="136" y="60"/>
                  </a:cubicBezTo>
                  <a:cubicBezTo>
                    <a:pt x="135" y="62"/>
                    <a:pt x="135" y="63"/>
                    <a:pt x="134" y="64"/>
                  </a:cubicBezTo>
                  <a:cubicBezTo>
                    <a:pt x="134" y="65"/>
                    <a:pt x="134" y="65"/>
                    <a:pt x="134" y="66"/>
                  </a:cubicBezTo>
                  <a:cubicBezTo>
                    <a:pt x="134" y="66"/>
                    <a:pt x="134" y="67"/>
                    <a:pt x="133" y="67"/>
                  </a:cubicBezTo>
                  <a:cubicBezTo>
                    <a:pt x="133" y="68"/>
                    <a:pt x="133" y="69"/>
                    <a:pt x="132" y="70"/>
                  </a:cubicBezTo>
                  <a:cubicBezTo>
                    <a:pt x="132" y="70"/>
                    <a:pt x="132" y="70"/>
                    <a:pt x="132" y="70"/>
                  </a:cubicBezTo>
                  <a:cubicBezTo>
                    <a:pt x="132" y="71"/>
                    <a:pt x="131" y="72"/>
                    <a:pt x="131" y="73"/>
                  </a:cubicBezTo>
                  <a:cubicBezTo>
                    <a:pt x="131" y="73"/>
                    <a:pt x="131" y="73"/>
                    <a:pt x="130" y="73"/>
                  </a:cubicBezTo>
                  <a:cubicBezTo>
                    <a:pt x="130" y="74"/>
                    <a:pt x="129" y="75"/>
                    <a:pt x="129" y="76"/>
                  </a:cubicBezTo>
                  <a:cubicBezTo>
                    <a:pt x="129" y="77"/>
                    <a:pt x="128" y="77"/>
                    <a:pt x="128" y="77"/>
                  </a:cubicBezTo>
                  <a:cubicBezTo>
                    <a:pt x="128" y="78"/>
                    <a:pt x="127" y="79"/>
                    <a:pt x="126" y="80"/>
                  </a:cubicBezTo>
                  <a:cubicBezTo>
                    <a:pt x="126" y="80"/>
                    <a:pt x="126" y="80"/>
                    <a:pt x="126" y="80"/>
                  </a:cubicBezTo>
                  <a:cubicBezTo>
                    <a:pt x="125" y="81"/>
                    <a:pt x="124" y="82"/>
                    <a:pt x="123" y="83"/>
                  </a:cubicBezTo>
                  <a:cubicBezTo>
                    <a:pt x="123" y="83"/>
                    <a:pt x="123" y="84"/>
                    <a:pt x="122" y="84"/>
                  </a:cubicBezTo>
                  <a:cubicBezTo>
                    <a:pt x="121" y="85"/>
                    <a:pt x="120" y="86"/>
                    <a:pt x="119" y="87"/>
                  </a:cubicBezTo>
                  <a:cubicBezTo>
                    <a:pt x="104" y="99"/>
                    <a:pt x="123" y="127"/>
                    <a:pt x="131" y="135"/>
                  </a:cubicBezTo>
                  <a:cubicBezTo>
                    <a:pt x="139" y="143"/>
                    <a:pt x="154" y="152"/>
                    <a:pt x="155" y="167"/>
                  </a:cubicBezTo>
                  <a:cubicBezTo>
                    <a:pt x="156" y="182"/>
                    <a:pt x="182" y="190"/>
                    <a:pt x="206" y="204"/>
                  </a:cubicBezTo>
                  <a:cubicBezTo>
                    <a:pt x="230" y="219"/>
                    <a:pt x="331" y="244"/>
                    <a:pt x="354" y="254"/>
                  </a:cubicBezTo>
                  <a:cubicBezTo>
                    <a:pt x="376" y="263"/>
                    <a:pt x="386" y="271"/>
                    <a:pt x="428" y="266"/>
                  </a:cubicBezTo>
                  <a:cubicBezTo>
                    <a:pt x="471" y="260"/>
                    <a:pt x="440" y="291"/>
                    <a:pt x="419" y="304"/>
                  </a:cubicBezTo>
                  <a:cubicBezTo>
                    <a:pt x="398" y="318"/>
                    <a:pt x="366" y="359"/>
                    <a:pt x="344" y="375"/>
                  </a:cubicBezTo>
                  <a:cubicBezTo>
                    <a:pt x="323" y="391"/>
                    <a:pt x="303" y="407"/>
                    <a:pt x="282" y="438"/>
                  </a:cubicBezTo>
                  <a:cubicBezTo>
                    <a:pt x="260" y="468"/>
                    <a:pt x="255" y="466"/>
                    <a:pt x="206" y="462"/>
                  </a:cubicBezTo>
                  <a:cubicBezTo>
                    <a:pt x="156" y="458"/>
                    <a:pt x="150" y="483"/>
                    <a:pt x="140" y="490"/>
                  </a:cubicBezTo>
                  <a:cubicBezTo>
                    <a:pt x="131" y="496"/>
                    <a:pt x="122" y="508"/>
                    <a:pt x="102" y="508"/>
                  </a:cubicBezTo>
                  <a:cubicBezTo>
                    <a:pt x="82" y="508"/>
                    <a:pt x="72" y="511"/>
                    <a:pt x="66" y="522"/>
                  </a:cubicBezTo>
                  <a:cubicBezTo>
                    <a:pt x="65" y="523"/>
                    <a:pt x="65" y="523"/>
                    <a:pt x="64" y="524"/>
                  </a:cubicBezTo>
                  <a:cubicBezTo>
                    <a:pt x="64" y="524"/>
                    <a:pt x="64" y="524"/>
                    <a:pt x="63" y="524"/>
                  </a:cubicBezTo>
                  <a:cubicBezTo>
                    <a:pt x="63" y="525"/>
                    <a:pt x="62" y="525"/>
                    <a:pt x="61" y="526"/>
                  </a:cubicBezTo>
                  <a:cubicBezTo>
                    <a:pt x="61" y="526"/>
                    <a:pt x="61" y="526"/>
                    <a:pt x="61" y="526"/>
                  </a:cubicBezTo>
                  <a:cubicBezTo>
                    <a:pt x="59" y="527"/>
                    <a:pt x="57" y="527"/>
                    <a:pt x="55" y="527"/>
                  </a:cubicBezTo>
                  <a:cubicBezTo>
                    <a:pt x="55" y="527"/>
                    <a:pt x="55" y="527"/>
                    <a:pt x="55" y="527"/>
                  </a:cubicBezTo>
                  <a:cubicBezTo>
                    <a:pt x="54" y="533"/>
                    <a:pt x="52" y="540"/>
                    <a:pt x="48" y="546"/>
                  </a:cubicBezTo>
                  <a:cubicBezTo>
                    <a:pt x="38" y="563"/>
                    <a:pt x="12" y="586"/>
                    <a:pt x="8" y="590"/>
                  </a:cubicBezTo>
                  <a:cubicBezTo>
                    <a:pt x="4" y="594"/>
                    <a:pt x="4" y="616"/>
                    <a:pt x="4" y="639"/>
                  </a:cubicBezTo>
                  <a:cubicBezTo>
                    <a:pt x="4" y="662"/>
                    <a:pt x="0" y="832"/>
                    <a:pt x="6" y="839"/>
                  </a:cubicBezTo>
                  <a:cubicBezTo>
                    <a:pt x="11" y="846"/>
                    <a:pt x="22" y="860"/>
                    <a:pt x="27" y="866"/>
                  </a:cubicBezTo>
                  <a:cubicBezTo>
                    <a:pt x="32" y="871"/>
                    <a:pt x="40" y="867"/>
                    <a:pt x="39" y="896"/>
                  </a:cubicBezTo>
                  <a:cubicBezTo>
                    <a:pt x="44" y="894"/>
                    <a:pt x="49" y="889"/>
                    <a:pt x="52" y="879"/>
                  </a:cubicBezTo>
                  <a:cubicBezTo>
                    <a:pt x="60" y="858"/>
                    <a:pt x="68" y="828"/>
                    <a:pt x="87" y="814"/>
                  </a:cubicBezTo>
                  <a:cubicBezTo>
                    <a:pt x="105" y="800"/>
                    <a:pt x="142" y="754"/>
                    <a:pt x="164" y="734"/>
                  </a:cubicBezTo>
                  <a:cubicBezTo>
                    <a:pt x="185" y="715"/>
                    <a:pt x="240" y="658"/>
                    <a:pt x="266" y="656"/>
                  </a:cubicBezTo>
                  <a:cubicBezTo>
                    <a:pt x="292" y="654"/>
                    <a:pt x="328" y="621"/>
                    <a:pt x="355" y="594"/>
                  </a:cubicBezTo>
                  <a:cubicBezTo>
                    <a:pt x="382" y="568"/>
                    <a:pt x="442" y="516"/>
                    <a:pt x="454" y="488"/>
                  </a:cubicBezTo>
                  <a:cubicBezTo>
                    <a:pt x="466" y="460"/>
                    <a:pt x="486" y="450"/>
                    <a:pt x="494" y="431"/>
                  </a:cubicBezTo>
                  <a:cubicBezTo>
                    <a:pt x="502" y="412"/>
                    <a:pt x="524" y="383"/>
                    <a:pt x="524" y="365"/>
                  </a:cubicBezTo>
                  <a:cubicBezTo>
                    <a:pt x="524" y="348"/>
                    <a:pt x="533" y="331"/>
                    <a:pt x="551" y="317"/>
                  </a:cubicBezTo>
                  <a:cubicBezTo>
                    <a:pt x="569" y="303"/>
                    <a:pt x="568" y="273"/>
                    <a:pt x="589" y="253"/>
                  </a:cubicBezTo>
                  <a:cubicBezTo>
                    <a:pt x="609" y="232"/>
                    <a:pt x="611" y="214"/>
                    <a:pt x="621" y="195"/>
                  </a:cubicBezTo>
                  <a:cubicBezTo>
                    <a:pt x="631" y="175"/>
                    <a:pt x="632" y="171"/>
                    <a:pt x="634" y="150"/>
                  </a:cubicBezTo>
                  <a:cubicBezTo>
                    <a:pt x="636" y="130"/>
                    <a:pt x="656" y="119"/>
                    <a:pt x="656" y="103"/>
                  </a:cubicBezTo>
                  <a:cubicBezTo>
                    <a:pt x="656" y="87"/>
                    <a:pt x="652" y="76"/>
                    <a:pt x="651" y="55"/>
                  </a:cubicBezTo>
                  <a:cubicBezTo>
                    <a:pt x="650" y="33"/>
                    <a:pt x="671" y="23"/>
                    <a:pt x="656" y="13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489" name="Freeform 25684"/>
            <p:cNvSpPr>
              <a:spLocks/>
            </p:cNvSpPr>
            <p:nvPr/>
          </p:nvSpPr>
          <p:spPr bwMode="auto">
            <a:xfrm>
              <a:off x="4489611" y="3772294"/>
              <a:ext cx="139525" cy="147733"/>
            </a:xfrm>
            <a:custGeom>
              <a:avLst/>
              <a:gdLst>
                <a:gd name="T0" fmla="*/ 204 w 374"/>
                <a:gd name="T1" fmla="*/ 376 h 396"/>
                <a:gd name="T2" fmla="*/ 179 w 374"/>
                <a:gd name="T3" fmla="*/ 320 h 396"/>
                <a:gd name="T4" fmla="*/ 236 w 374"/>
                <a:gd name="T5" fmla="*/ 292 h 396"/>
                <a:gd name="T6" fmla="*/ 270 w 374"/>
                <a:gd name="T7" fmla="*/ 290 h 396"/>
                <a:gd name="T8" fmla="*/ 308 w 374"/>
                <a:gd name="T9" fmla="*/ 298 h 396"/>
                <a:gd name="T10" fmla="*/ 351 w 374"/>
                <a:gd name="T11" fmla="*/ 302 h 396"/>
                <a:gd name="T12" fmla="*/ 364 w 374"/>
                <a:gd name="T13" fmla="*/ 245 h 396"/>
                <a:gd name="T14" fmla="*/ 343 w 374"/>
                <a:gd name="T15" fmla="*/ 180 h 396"/>
                <a:gd name="T16" fmla="*/ 344 w 374"/>
                <a:gd name="T17" fmla="*/ 122 h 396"/>
                <a:gd name="T18" fmla="*/ 350 w 374"/>
                <a:gd name="T19" fmla="*/ 74 h 396"/>
                <a:gd name="T20" fmla="*/ 299 w 374"/>
                <a:gd name="T21" fmla="*/ 81 h 396"/>
                <a:gd name="T22" fmla="*/ 288 w 374"/>
                <a:gd name="T23" fmla="*/ 33 h 396"/>
                <a:gd name="T24" fmla="*/ 285 w 374"/>
                <a:gd name="T25" fmla="*/ 12 h 396"/>
                <a:gd name="T26" fmla="*/ 278 w 374"/>
                <a:gd name="T27" fmla="*/ 11 h 396"/>
                <a:gd name="T28" fmla="*/ 271 w 374"/>
                <a:gd name="T29" fmla="*/ 10 h 396"/>
                <a:gd name="T30" fmla="*/ 265 w 374"/>
                <a:gd name="T31" fmla="*/ 9 h 396"/>
                <a:gd name="T32" fmla="*/ 257 w 374"/>
                <a:gd name="T33" fmla="*/ 9 h 396"/>
                <a:gd name="T34" fmla="*/ 251 w 374"/>
                <a:gd name="T35" fmla="*/ 8 h 396"/>
                <a:gd name="T36" fmla="*/ 245 w 374"/>
                <a:gd name="T37" fmla="*/ 7 h 396"/>
                <a:gd name="T38" fmla="*/ 240 w 374"/>
                <a:gd name="T39" fmla="*/ 7 h 396"/>
                <a:gd name="T40" fmla="*/ 234 w 374"/>
                <a:gd name="T41" fmla="*/ 7 h 396"/>
                <a:gd name="T42" fmla="*/ 230 w 374"/>
                <a:gd name="T43" fmla="*/ 6 h 396"/>
                <a:gd name="T44" fmla="*/ 226 w 374"/>
                <a:gd name="T45" fmla="*/ 6 h 396"/>
                <a:gd name="T46" fmla="*/ 175 w 374"/>
                <a:gd name="T47" fmla="*/ 7 h 396"/>
                <a:gd name="T48" fmla="*/ 174 w 374"/>
                <a:gd name="T49" fmla="*/ 9 h 396"/>
                <a:gd name="T50" fmla="*/ 172 w 374"/>
                <a:gd name="T51" fmla="*/ 10 h 396"/>
                <a:gd name="T52" fmla="*/ 170 w 374"/>
                <a:gd name="T53" fmla="*/ 12 h 396"/>
                <a:gd name="T54" fmla="*/ 167 w 374"/>
                <a:gd name="T55" fmla="*/ 76 h 396"/>
                <a:gd name="T56" fmla="*/ 55 w 374"/>
                <a:gd name="T57" fmla="*/ 89 h 396"/>
                <a:gd name="T58" fmla="*/ 50 w 374"/>
                <a:gd name="T59" fmla="*/ 130 h 396"/>
                <a:gd name="T60" fmla="*/ 32 w 374"/>
                <a:gd name="T61" fmla="*/ 184 h 396"/>
                <a:gd name="T62" fmla="*/ 50 w 374"/>
                <a:gd name="T63" fmla="*/ 280 h 396"/>
                <a:gd name="T64" fmla="*/ 126 w 374"/>
                <a:gd name="T65" fmla="*/ 368 h 396"/>
                <a:gd name="T66" fmla="*/ 155 w 374"/>
                <a:gd name="T67" fmla="*/ 393 h 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74" h="396">
                  <a:moveTo>
                    <a:pt x="184" y="389"/>
                  </a:moveTo>
                  <a:cubicBezTo>
                    <a:pt x="199" y="396"/>
                    <a:pt x="203" y="390"/>
                    <a:pt x="204" y="376"/>
                  </a:cubicBezTo>
                  <a:cubicBezTo>
                    <a:pt x="206" y="361"/>
                    <a:pt x="198" y="354"/>
                    <a:pt x="190" y="349"/>
                  </a:cubicBezTo>
                  <a:cubicBezTo>
                    <a:pt x="182" y="344"/>
                    <a:pt x="179" y="332"/>
                    <a:pt x="179" y="320"/>
                  </a:cubicBezTo>
                  <a:cubicBezTo>
                    <a:pt x="179" y="308"/>
                    <a:pt x="194" y="308"/>
                    <a:pt x="212" y="308"/>
                  </a:cubicBezTo>
                  <a:cubicBezTo>
                    <a:pt x="231" y="308"/>
                    <a:pt x="236" y="300"/>
                    <a:pt x="236" y="292"/>
                  </a:cubicBezTo>
                  <a:cubicBezTo>
                    <a:pt x="236" y="284"/>
                    <a:pt x="232" y="270"/>
                    <a:pt x="248" y="273"/>
                  </a:cubicBezTo>
                  <a:cubicBezTo>
                    <a:pt x="264" y="276"/>
                    <a:pt x="267" y="281"/>
                    <a:pt x="270" y="290"/>
                  </a:cubicBezTo>
                  <a:cubicBezTo>
                    <a:pt x="272" y="300"/>
                    <a:pt x="274" y="302"/>
                    <a:pt x="287" y="309"/>
                  </a:cubicBezTo>
                  <a:cubicBezTo>
                    <a:pt x="300" y="316"/>
                    <a:pt x="302" y="309"/>
                    <a:pt x="308" y="298"/>
                  </a:cubicBezTo>
                  <a:cubicBezTo>
                    <a:pt x="315" y="288"/>
                    <a:pt x="327" y="301"/>
                    <a:pt x="331" y="314"/>
                  </a:cubicBezTo>
                  <a:cubicBezTo>
                    <a:pt x="335" y="328"/>
                    <a:pt x="351" y="314"/>
                    <a:pt x="351" y="302"/>
                  </a:cubicBezTo>
                  <a:cubicBezTo>
                    <a:pt x="351" y="290"/>
                    <a:pt x="352" y="289"/>
                    <a:pt x="363" y="281"/>
                  </a:cubicBezTo>
                  <a:cubicBezTo>
                    <a:pt x="374" y="273"/>
                    <a:pt x="366" y="256"/>
                    <a:pt x="364" y="245"/>
                  </a:cubicBezTo>
                  <a:cubicBezTo>
                    <a:pt x="363" y="234"/>
                    <a:pt x="364" y="232"/>
                    <a:pt x="367" y="206"/>
                  </a:cubicBezTo>
                  <a:cubicBezTo>
                    <a:pt x="370" y="181"/>
                    <a:pt x="358" y="188"/>
                    <a:pt x="343" y="180"/>
                  </a:cubicBezTo>
                  <a:cubicBezTo>
                    <a:pt x="328" y="172"/>
                    <a:pt x="331" y="161"/>
                    <a:pt x="330" y="152"/>
                  </a:cubicBezTo>
                  <a:cubicBezTo>
                    <a:pt x="328" y="142"/>
                    <a:pt x="336" y="126"/>
                    <a:pt x="344" y="122"/>
                  </a:cubicBezTo>
                  <a:cubicBezTo>
                    <a:pt x="352" y="118"/>
                    <a:pt x="364" y="110"/>
                    <a:pt x="366" y="97"/>
                  </a:cubicBezTo>
                  <a:cubicBezTo>
                    <a:pt x="367" y="84"/>
                    <a:pt x="350" y="81"/>
                    <a:pt x="350" y="74"/>
                  </a:cubicBezTo>
                  <a:cubicBezTo>
                    <a:pt x="350" y="68"/>
                    <a:pt x="344" y="61"/>
                    <a:pt x="332" y="61"/>
                  </a:cubicBezTo>
                  <a:cubicBezTo>
                    <a:pt x="320" y="61"/>
                    <a:pt x="316" y="73"/>
                    <a:pt x="299" y="81"/>
                  </a:cubicBezTo>
                  <a:cubicBezTo>
                    <a:pt x="282" y="89"/>
                    <a:pt x="283" y="65"/>
                    <a:pt x="283" y="57"/>
                  </a:cubicBezTo>
                  <a:cubicBezTo>
                    <a:pt x="283" y="49"/>
                    <a:pt x="279" y="38"/>
                    <a:pt x="288" y="33"/>
                  </a:cubicBezTo>
                  <a:cubicBezTo>
                    <a:pt x="293" y="31"/>
                    <a:pt x="292" y="22"/>
                    <a:pt x="291" y="13"/>
                  </a:cubicBezTo>
                  <a:cubicBezTo>
                    <a:pt x="289" y="12"/>
                    <a:pt x="287" y="12"/>
                    <a:pt x="285" y="12"/>
                  </a:cubicBezTo>
                  <a:cubicBezTo>
                    <a:pt x="285" y="12"/>
                    <a:pt x="284" y="12"/>
                    <a:pt x="284" y="12"/>
                  </a:cubicBezTo>
                  <a:cubicBezTo>
                    <a:pt x="282" y="12"/>
                    <a:pt x="280" y="11"/>
                    <a:pt x="278" y="11"/>
                  </a:cubicBezTo>
                  <a:cubicBezTo>
                    <a:pt x="278" y="11"/>
                    <a:pt x="278" y="11"/>
                    <a:pt x="277" y="11"/>
                  </a:cubicBezTo>
                  <a:cubicBezTo>
                    <a:pt x="275" y="11"/>
                    <a:pt x="273" y="10"/>
                    <a:pt x="271" y="10"/>
                  </a:cubicBezTo>
                  <a:cubicBezTo>
                    <a:pt x="271" y="10"/>
                    <a:pt x="270" y="10"/>
                    <a:pt x="270" y="10"/>
                  </a:cubicBezTo>
                  <a:cubicBezTo>
                    <a:pt x="268" y="10"/>
                    <a:pt x="266" y="10"/>
                    <a:pt x="265" y="9"/>
                  </a:cubicBezTo>
                  <a:cubicBezTo>
                    <a:pt x="264" y="9"/>
                    <a:pt x="264" y="9"/>
                    <a:pt x="263" y="9"/>
                  </a:cubicBezTo>
                  <a:cubicBezTo>
                    <a:pt x="261" y="9"/>
                    <a:pt x="259" y="9"/>
                    <a:pt x="257" y="9"/>
                  </a:cubicBezTo>
                  <a:cubicBezTo>
                    <a:pt x="257" y="9"/>
                    <a:pt x="256" y="9"/>
                    <a:pt x="256" y="9"/>
                  </a:cubicBezTo>
                  <a:cubicBezTo>
                    <a:pt x="254" y="8"/>
                    <a:pt x="253" y="8"/>
                    <a:pt x="251" y="8"/>
                  </a:cubicBezTo>
                  <a:cubicBezTo>
                    <a:pt x="251" y="8"/>
                    <a:pt x="250" y="8"/>
                    <a:pt x="250" y="8"/>
                  </a:cubicBezTo>
                  <a:cubicBezTo>
                    <a:pt x="248" y="8"/>
                    <a:pt x="246" y="8"/>
                    <a:pt x="245" y="7"/>
                  </a:cubicBezTo>
                  <a:cubicBezTo>
                    <a:pt x="244" y="7"/>
                    <a:pt x="244" y="7"/>
                    <a:pt x="244" y="7"/>
                  </a:cubicBezTo>
                  <a:cubicBezTo>
                    <a:pt x="242" y="7"/>
                    <a:pt x="241" y="7"/>
                    <a:pt x="240" y="7"/>
                  </a:cubicBezTo>
                  <a:cubicBezTo>
                    <a:pt x="239" y="7"/>
                    <a:pt x="239" y="7"/>
                    <a:pt x="238" y="7"/>
                  </a:cubicBezTo>
                  <a:cubicBezTo>
                    <a:pt x="237" y="7"/>
                    <a:pt x="235" y="7"/>
                    <a:pt x="234" y="7"/>
                  </a:cubicBezTo>
                  <a:cubicBezTo>
                    <a:pt x="234" y="7"/>
                    <a:pt x="234" y="7"/>
                    <a:pt x="233" y="7"/>
                  </a:cubicBezTo>
                  <a:cubicBezTo>
                    <a:pt x="232" y="7"/>
                    <a:pt x="231" y="6"/>
                    <a:pt x="230" y="6"/>
                  </a:cubicBezTo>
                  <a:cubicBezTo>
                    <a:pt x="230" y="6"/>
                    <a:pt x="229" y="6"/>
                    <a:pt x="229" y="6"/>
                  </a:cubicBezTo>
                  <a:cubicBezTo>
                    <a:pt x="228" y="6"/>
                    <a:pt x="227" y="6"/>
                    <a:pt x="226" y="6"/>
                  </a:cubicBezTo>
                  <a:cubicBezTo>
                    <a:pt x="208" y="6"/>
                    <a:pt x="175" y="0"/>
                    <a:pt x="175" y="5"/>
                  </a:cubicBezTo>
                  <a:cubicBezTo>
                    <a:pt x="175" y="6"/>
                    <a:pt x="175" y="6"/>
                    <a:pt x="175" y="7"/>
                  </a:cubicBezTo>
                  <a:cubicBezTo>
                    <a:pt x="175" y="7"/>
                    <a:pt x="175" y="7"/>
                    <a:pt x="174" y="7"/>
                  </a:cubicBezTo>
                  <a:cubicBezTo>
                    <a:pt x="174" y="8"/>
                    <a:pt x="174" y="8"/>
                    <a:pt x="174" y="9"/>
                  </a:cubicBezTo>
                  <a:cubicBezTo>
                    <a:pt x="173" y="9"/>
                    <a:pt x="173" y="9"/>
                    <a:pt x="173" y="10"/>
                  </a:cubicBezTo>
                  <a:cubicBezTo>
                    <a:pt x="173" y="10"/>
                    <a:pt x="172" y="10"/>
                    <a:pt x="172" y="10"/>
                  </a:cubicBezTo>
                  <a:cubicBezTo>
                    <a:pt x="172" y="11"/>
                    <a:pt x="171" y="11"/>
                    <a:pt x="170" y="12"/>
                  </a:cubicBezTo>
                  <a:cubicBezTo>
                    <a:pt x="170" y="12"/>
                    <a:pt x="170" y="12"/>
                    <a:pt x="170" y="12"/>
                  </a:cubicBezTo>
                  <a:cubicBezTo>
                    <a:pt x="169" y="13"/>
                    <a:pt x="167" y="13"/>
                    <a:pt x="166" y="14"/>
                  </a:cubicBezTo>
                  <a:cubicBezTo>
                    <a:pt x="168" y="33"/>
                    <a:pt x="168" y="58"/>
                    <a:pt x="167" y="76"/>
                  </a:cubicBezTo>
                  <a:cubicBezTo>
                    <a:pt x="166" y="102"/>
                    <a:pt x="122" y="93"/>
                    <a:pt x="104" y="93"/>
                  </a:cubicBezTo>
                  <a:cubicBezTo>
                    <a:pt x="93" y="93"/>
                    <a:pt x="71" y="91"/>
                    <a:pt x="55" y="89"/>
                  </a:cubicBezTo>
                  <a:cubicBezTo>
                    <a:pt x="57" y="94"/>
                    <a:pt x="57" y="99"/>
                    <a:pt x="54" y="102"/>
                  </a:cubicBezTo>
                  <a:cubicBezTo>
                    <a:pt x="48" y="111"/>
                    <a:pt x="46" y="119"/>
                    <a:pt x="50" y="130"/>
                  </a:cubicBezTo>
                  <a:cubicBezTo>
                    <a:pt x="54" y="141"/>
                    <a:pt x="41" y="141"/>
                    <a:pt x="40" y="155"/>
                  </a:cubicBezTo>
                  <a:cubicBezTo>
                    <a:pt x="39" y="169"/>
                    <a:pt x="44" y="176"/>
                    <a:pt x="32" y="184"/>
                  </a:cubicBezTo>
                  <a:cubicBezTo>
                    <a:pt x="19" y="191"/>
                    <a:pt x="0" y="191"/>
                    <a:pt x="10" y="215"/>
                  </a:cubicBezTo>
                  <a:cubicBezTo>
                    <a:pt x="20" y="239"/>
                    <a:pt x="39" y="261"/>
                    <a:pt x="50" y="280"/>
                  </a:cubicBezTo>
                  <a:cubicBezTo>
                    <a:pt x="61" y="298"/>
                    <a:pt x="76" y="326"/>
                    <a:pt x="94" y="338"/>
                  </a:cubicBezTo>
                  <a:cubicBezTo>
                    <a:pt x="112" y="349"/>
                    <a:pt x="113" y="349"/>
                    <a:pt x="126" y="368"/>
                  </a:cubicBezTo>
                  <a:cubicBezTo>
                    <a:pt x="131" y="375"/>
                    <a:pt x="142" y="385"/>
                    <a:pt x="153" y="396"/>
                  </a:cubicBezTo>
                  <a:cubicBezTo>
                    <a:pt x="153" y="395"/>
                    <a:pt x="154" y="394"/>
                    <a:pt x="155" y="393"/>
                  </a:cubicBezTo>
                  <a:cubicBezTo>
                    <a:pt x="163" y="381"/>
                    <a:pt x="170" y="382"/>
                    <a:pt x="184" y="38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490" name="Freeform 25685"/>
            <p:cNvSpPr>
              <a:spLocks/>
            </p:cNvSpPr>
            <p:nvPr/>
          </p:nvSpPr>
          <p:spPr bwMode="auto">
            <a:xfrm>
              <a:off x="4546747" y="3741043"/>
              <a:ext cx="178510" cy="210708"/>
            </a:xfrm>
            <a:custGeom>
              <a:avLst/>
              <a:gdLst>
                <a:gd name="T0" fmla="*/ 117 w 479"/>
                <a:gd name="T1" fmla="*/ 529 h 565"/>
                <a:gd name="T2" fmla="*/ 118 w 479"/>
                <a:gd name="T3" fmla="*/ 531 h 565"/>
                <a:gd name="T4" fmla="*/ 119 w 479"/>
                <a:gd name="T5" fmla="*/ 533 h 565"/>
                <a:gd name="T6" fmla="*/ 121 w 479"/>
                <a:gd name="T7" fmla="*/ 540 h 565"/>
                <a:gd name="T8" fmla="*/ 123 w 479"/>
                <a:gd name="T9" fmla="*/ 542 h 565"/>
                <a:gd name="T10" fmla="*/ 124 w 479"/>
                <a:gd name="T11" fmla="*/ 542 h 565"/>
                <a:gd name="T12" fmla="*/ 126 w 479"/>
                <a:gd name="T13" fmla="*/ 543 h 565"/>
                <a:gd name="T14" fmla="*/ 128 w 479"/>
                <a:gd name="T15" fmla="*/ 544 h 565"/>
                <a:gd name="T16" fmla="*/ 131 w 479"/>
                <a:gd name="T17" fmla="*/ 545 h 565"/>
                <a:gd name="T18" fmla="*/ 193 w 479"/>
                <a:gd name="T19" fmla="*/ 520 h 565"/>
                <a:gd name="T20" fmla="*/ 231 w 479"/>
                <a:gd name="T21" fmla="*/ 552 h 565"/>
                <a:gd name="T22" fmla="*/ 287 w 479"/>
                <a:gd name="T23" fmla="*/ 537 h 565"/>
                <a:gd name="T24" fmla="*/ 281 w 479"/>
                <a:gd name="T25" fmla="*/ 492 h 565"/>
                <a:gd name="T26" fmla="*/ 326 w 479"/>
                <a:gd name="T27" fmla="*/ 425 h 565"/>
                <a:gd name="T28" fmla="*/ 382 w 479"/>
                <a:gd name="T29" fmla="*/ 284 h 565"/>
                <a:gd name="T30" fmla="*/ 439 w 479"/>
                <a:gd name="T31" fmla="*/ 142 h 565"/>
                <a:gd name="T32" fmla="*/ 479 w 479"/>
                <a:gd name="T33" fmla="*/ 38 h 565"/>
                <a:gd name="T34" fmla="*/ 473 w 479"/>
                <a:gd name="T35" fmla="*/ 18 h 565"/>
                <a:gd name="T36" fmla="*/ 418 w 479"/>
                <a:gd name="T37" fmla="*/ 6 h 565"/>
                <a:gd name="T38" fmla="*/ 347 w 479"/>
                <a:gd name="T39" fmla="*/ 52 h 565"/>
                <a:gd name="T40" fmla="*/ 334 w 479"/>
                <a:gd name="T41" fmla="*/ 80 h 565"/>
                <a:gd name="T42" fmla="*/ 332 w 479"/>
                <a:gd name="T43" fmla="*/ 81 h 565"/>
                <a:gd name="T44" fmla="*/ 330 w 479"/>
                <a:gd name="T45" fmla="*/ 83 h 565"/>
                <a:gd name="T46" fmla="*/ 328 w 479"/>
                <a:gd name="T47" fmla="*/ 85 h 565"/>
                <a:gd name="T48" fmla="*/ 326 w 479"/>
                <a:gd name="T49" fmla="*/ 88 h 565"/>
                <a:gd name="T50" fmla="*/ 323 w 479"/>
                <a:gd name="T51" fmla="*/ 97 h 565"/>
                <a:gd name="T52" fmla="*/ 320 w 479"/>
                <a:gd name="T53" fmla="*/ 113 h 565"/>
                <a:gd name="T54" fmla="*/ 290 w 479"/>
                <a:gd name="T55" fmla="*/ 120 h 565"/>
                <a:gd name="T56" fmla="*/ 167 w 479"/>
                <a:gd name="T57" fmla="*/ 101 h 565"/>
                <a:gd name="T58" fmla="*/ 162 w 479"/>
                <a:gd name="T59" fmla="*/ 100 h 565"/>
                <a:gd name="T60" fmla="*/ 156 w 479"/>
                <a:gd name="T61" fmla="*/ 99 h 565"/>
                <a:gd name="T62" fmla="*/ 151 w 479"/>
                <a:gd name="T63" fmla="*/ 98 h 565"/>
                <a:gd name="T64" fmla="*/ 144 w 479"/>
                <a:gd name="T65" fmla="*/ 98 h 565"/>
                <a:gd name="T66" fmla="*/ 135 w 479"/>
                <a:gd name="T67" fmla="*/ 117 h 565"/>
                <a:gd name="T68" fmla="*/ 146 w 479"/>
                <a:gd name="T69" fmla="*/ 165 h 565"/>
                <a:gd name="T70" fmla="*/ 197 w 479"/>
                <a:gd name="T71" fmla="*/ 158 h 565"/>
                <a:gd name="T72" fmla="*/ 191 w 479"/>
                <a:gd name="T73" fmla="*/ 206 h 565"/>
                <a:gd name="T74" fmla="*/ 190 w 479"/>
                <a:gd name="T75" fmla="*/ 264 h 565"/>
                <a:gd name="T76" fmla="*/ 211 w 479"/>
                <a:gd name="T77" fmla="*/ 329 h 565"/>
                <a:gd name="T78" fmla="*/ 198 w 479"/>
                <a:gd name="T79" fmla="*/ 386 h 565"/>
                <a:gd name="T80" fmla="*/ 155 w 479"/>
                <a:gd name="T81" fmla="*/ 382 h 565"/>
                <a:gd name="T82" fmla="*/ 117 w 479"/>
                <a:gd name="T83" fmla="*/ 374 h 565"/>
                <a:gd name="T84" fmla="*/ 83 w 479"/>
                <a:gd name="T85" fmla="*/ 376 h 565"/>
                <a:gd name="T86" fmla="*/ 26 w 479"/>
                <a:gd name="T87" fmla="*/ 404 h 565"/>
                <a:gd name="T88" fmla="*/ 51 w 479"/>
                <a:gd name="T89" fmla="*/ 460 h 565"/>
                <a:gd name="T90" fmla="*/ 2 w 479"/>
                <a:gd name="T91" fmla="*/ 477 h 565"/>
                <a:gd name="T92" fmla="*/ 39 w 479"/>
                <a:gd name="T93" fmla="*/ 523 h 565"/>
                <a:gd name="T94" fmla="*/ 81 w 479"/>
                <a:gd name="T95" fmla="*/ 542 h 5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79" h="565">
                  <a:moveTo>
                    <a:pt x="115" y="528"/>
                  </a:moveTo>
                  <a:cubicBezTo>
                    <a:pt x="116" y="528"/>
                    <a:pt x="116" y="529"/>
                    <a:pt x="117" y="529"/>
                  </a:cubicBezTo>
                  <a:cubicBezTo>
                    <a:pt x="117" y="530"/>
                    <a:pt x="117" y="530"/>
                    <a:pt x="117" y="530"/>
                  </a:cubicBezTo>
                  <a:cubicBezTo>
                    <a:pt x="118" y="530"/>
                    <a:pt x="118" y="531"/>
                    <a:pt x="118" y="531"/>
                  </a:cubicBezTo>
                  <a:cubicBezTo>
                    <a:pt x="118" y="532"/>
                    <a:pt x="119" y="532"/>
                    <a:pt x="119" y="533"/>
                  </a:cubicBezTo>
                  <a:cubicBezTo>
                    <a:pt x="119" y="533"/>
                    <a:pt x="119" y="533"/>
                    <a:pt x="119" y="533"/>
                  </a:cubicBezTo>
                  <a:cubicBezTo>
                    <a:pt x="119" y="533"/>
                    <a:pt x="119" y="533"/>
                    <a:pt x="119" y="533"/>
                  </a:cubicBezTo>
                  <a:cubicBezTo>
                    <a:pt x="121" y="537"/>
                    <a:pt x="120" y="539"/>
                    <a:pt x="121" y="540"/>
                  </a:cubicBezTo>
                  <a:cubicBezTo>
                    <a:pt x="121" y="540"/>
                    <a:pt x="121" y="540"/>
                    <a:pt x="121" y="540"/>
                  </a:cubicBezTo>
                  <a:cubicBezTo>
                    <a:pt x="122" y="541"/>
                    <a:pt x="122" y="541"/>
                    <a:pt x="123" y="542"/>
                  </a:cubicBezTo>
                  <a:cubicBezTo>
                    <a:pt x="123" y="542"/>
                    <a:pt x="123" y="542"/>
                    <a:pt x="123" y="542"/>
                  </a:cubicBezTo>
                  <a:cubicBezTo>
                    <a:pt x="124" y="542"/>
                    <a:pt x="124" y="542"/>
                    <a:pt x="124" y="542"/>
                  </a:cubicBezTo>
                  <a:cubicBezTo>
                    <a:pt x="124" y="542"/>
                    <a:pt x="124" y="543"/>
                    <a:pt x="125" y="543"/>
                  </a:cubicBezTo>
                  <a:cubicBezTo>
                    <a:pt x="125" y="543"/>
                    <a:pt x="125" y="543"/>
                    <a:pt x="126" y="543"/>
                  </a:cubicBezTo>
                  <a:cubicBezTo>
                    <a:pt x="126" y="543"/>
                    <a:pt x="126" y="543"/>
                    <a:pt x="126" y="543"/>
                  </a:cubicBezTo>
                  <a:cubicBezTo>
                    <a:pt x="127" y="544"/>
                    <a:pt x="127" y="544"/>
                    <a:pt x="128" y="544"/>
                  </a:cubicBezTo>
                  <a:cubicBezTo>
                    <a:pt x="128" y="544"/>
                    <a:pt x="128" y="544"/>
                    <a:pt x="129" y="544"/>
                  </a:cubicBezTo>
                  <a:cubicBezTo>
                    <a:pt x="129" y="544"/>
                    <a:pt x="130" y="545"/>
                    <a:pt x="131" y="545"/>
                  </a:cubicBezTo>
                  <a:cubicBezTo>
                    <a:pt x="149" y="550"/>
                    <a:pt x="139" y="558"/>
                    <a:pt x="159" y="541"/>
                  </a:cubicBezTo>
                  <a:cubicBezTo>
                    <a:pt x="179" y="524"/>
                    <a:pt x="171" y="516"/>
                    <a:pt x="193" y="520"/>
                  </a:cubicBezTo>
                  <a:cubicBezTo>
                    <a:pt x="214" y="524"/>
                    <a:pt x="214" y="528"/>
                    <a:pt x="214" y="540"/>
                  </a:cubicBezTo>
                  <a:cubicBezTo>
                    <a:pt x="214" y="552"/>
                    <a:pt x="219" y="565"/>
                    <a:pt x="231" y="552"/>
                  </a:cubicBezTo>
                  <a:cubicBezTo>
                    <a:pt x="243" y="538"/>
                    <a:pt x="231" y="528"/>
                    <a:pt x="251" y="532"/>
                  </a:cubicBezTo>
                  <a:cubicBezTo>
                    <a:pt x="271" y="536"/>
                    <a:pt x="286" y="546"/>
                    <a:pt x="287" y="537"/>
                  </a:cubicBezTo>
                  <a:cubicBezTo>
                    <a:pt x="289" y="528"/>
                    <a:pt x="289" y="522"/>
                    <a:pt x="282" y="516"/>
                  </a:cubicBezTo>
                  <a:cubicBezTo>
                    <a:pt x="275" y="509"/>
                    <a:pt x="262" y="494"/>
                    <a:pt x="281" y="492"/>
                  </a:cubicBezTo>
                  <a:cubicBezTo>
                    <a:pt x="299" y="489"/>
                    <a:pt x="306" y="493"/>
                    <a:pt x="317" y="476"/>
                  </a:cubicBezTo>
                  <a:cubicBezTo>
                    <a:pt x="327" y="458"/>
                    <a:pt x="326" y="445"/>
                    <a:pt x="326" y="425"/>
                  </a:cubicBezTo>
                  <a:cubicBezTo>
                    <a:pt x="326" y="405"/>
                    <a:pt x="317" y="366"/>
                    <a:pt x="337" y="349"/>
                  </a:cubicBezTo>
                  <a:cubicBezTo>
                    <a:pt x="357" y="332"/>
                    <a:pt x="377" y="308"/>
                    <a:pt x="382" y="284"/>
                  </a:cubicBezTo>
                  <a:cubicBezTo>
                    <a:pt x="387" y="260"/>
                    <a:pt x="395" y="248"/>
                    <a:pt x="409" y="224"/>
                  </a:cubicBezTo>
                  <a:cubicBezTo>
                    <a:pt x="422" y="200"/>
                    <a:pt x="438" y="172"/>
                    <a:pt x="439" y="142"/>
                  </a:cubicBezTo>
                  <a:cubicBezTo>
                    <a:pt x="441" y="113"/>
                    <a:pt x="434" y="98"/>
                    <a:pt x="455" y="80"/>
                  </a:cubicBezTo>
                  <a:cubicBezTo>
                    <a:pt x="477" y="61"/>
                    <a:pt x="479" y="50"/>
                    <a:pt x="479" y="38"/>
                  </a:cubicBezTo>
                  <a:cubicBezTo>
                    <a:pt x="479" y="32"/>
                    <a:pt x="479" y="24"/>
                    <a:pt x="477" y="16"/>
                  </a:cubicBezTo>
                  <a:cubicBezTo>
                    <a:pt x="476" y="17"/>
                    <a:pt x="475" y="18"/>
                    <a:pt x="473" y="18"/>
                  </a:cubicBezTo>
                  <a:cubicBezTo>
                    <a:pt x="472" y="18"/>
                    <a:pt x="472" y="18"/>
                    <a:pt x="471" y="18"/>
                  </a:cubicBezTo>
                  <a:cubicBezTo>
                    <a:pt x="462" y="18"/>
                    <a:pt x="434" y="13"/>
                    <a:pt x="418" y="6"/>
                  </a:cubicBezTo>
                  <a:cubicBezTo>
                    <a:pt x="402" y="0"/>
                    <a:pt x="402" y="12"/>
                    <a:pt x="371" y="10"/>
                  </a:cubicBezTo>
                  <a:cubicBezTo>
                    <a:pt x="341" y="9"/>
                    <a:pt x="351" y="37"/>
                    <a:pt x="347" y="52"/>
                  </a:cubicBezTo>
                  <a:cubicBezTo>
                    <a:pt x="343" y="66"/>
                    <a:pt x="350" y="73"/>
                    <a:pt x="337" y="78"/>
                  </a:cubicBezTo>
                  <a:cubicBezTo>
                    <a:pt x="336" y="79"/>
                    <a:pt x="335" y="79"/>
                    <a:pt x="334" y="80"/>
                  </a:cubicBezTo>
                  <a:cubicBezTo>
                    <a:pt x="334" y="80"/>
                    <a:pt x="334" y="80"/>
                    <a:pt x="333" y="80"/>
                  </a:cubicBezTo>
                  <a:cubicBezTo>
                    <a:pt x="333" y="80"/>
                    <a:pt x="332" y="81"/>
                    <a:pt x="332" y="81"/>
                  </a:cubicBezTo>
                  <a:cubicBezTo>
                    <a:pt x="332" y="81"/>
                    <a:pt x="331" y="82"/>
                    <a:pt x="331" y="82"/>
                  </a:cubicBezTo>
                  <a:cubicBezTo>
                    <a:pt x="331" y="82"/>
                    <a:pt x="330" y="83"/>
                    <a:pt x="330" y="83"/>
                  </a:cubicBezTo>
                  <a:cubicBezTo>
                    <a:pt x="330" y="83"/>
                    <a:pt x="329" y="83"/>
                    <a:pt x="329" y="84"/>
                  </a:cubicBezTo>
                  <a:cubicBezTo>
                    <a:pt x="329" y="84"/>
                    <a:pt x="328" y="85"/>
                    <a:pt x="328" y="85"/>
                  </a:cubicBezTo>
                  <a:cubicBezTo>
                    <a:pt x="328" y="85"/>
                    <a:pt x="328" y="86"/>
                    <a:pt x="328" y="86"/>
                  </a:cubicBezTo>
                  <a:cubicBezTo>
                    <a:pt x="327" y="86"/>
                    <a:pt x="327" y="87"/>
                    <a:pt x="326" y="88"/>
                  </a:cubicBezTo>
                  <a:cubicBezTo>
                    <a:pt x="326" y="88"/>
                    <a:pt x="326" y="88"/>
                    <a:pt x="326" y="88"/>
                  </a:cubicBezTo>
                  <a:cubicBezTo>
                    <a:pt x="325" y="91"/>
                    <a:pt x="324" y="94"/>
                    <a:pt x="323" y="97"/>
                  </a:cubicBezTo>
                  <a:cubicBezTo>
                    <a:pt x="323" y="97"/>
                    <a:pt x="323" y="97"/>
                    <a:pt x="323" y="97"/>
                  </a:cubicBezTo>
                  <a:cubicBezTo>
                    <a:pt x="322" y="102"/>
                    <a:pt x="321" y="107"/>
                    <a:pt x="320" y="113"/>
                  </a:cubicBezTo>
                  <a:cubicBezTo>
                    <a:pt x="320" y="114"/>
                    <a:pt x="320" y="116"/>
                    <a:pt x="319" y="117"/>
                  </a:cubicBezTo>
                  <a:cubicBezTo>
                    <a:pt x="317" y="134"/>
                    <a:pt x="299" y="132"/>
                    <a:pt x="290" y="120"/>
                  </a:cubicBezTo>
                  <a:cubicBezTo>
                    <a:pt x="281" y="108"/>
                    <a:pt x="258" y="118"/>
                    <a:pt x="239" y="105"/>
                  </a:cubicBezTo>
                  <a:cubicBezTo>
                    <a:pt x="221" y="92"/>
                    <a:pt x="191" y="105"/>
                    <a:pt x="167" y="101"/>
                  </a:cubicBezTo>
                  <a:cubicBezTo>
                    <a:pt x="166" y="101"/>
                    <a:pt x="165" y="101"/>
                    <a:pt x="163" y="100"/>
                  </a:cubicBezTo>
                  <a:cubicBezTo>
                    <a:pt x="163" y="100"/>
                    <a:pt x="162" y="100"/>
                    <a:pt x="162" y="100"/>
                  </a:cubicBezTo>
                  <a:cubicBezTo>
                    <a:pt x="160" y="100"/>
                    <a:pt x="159" y="100"/>
                    <a:pt x="157" y="99"/>
                  </a:cubicBezTo>
                  <a:cubicBezTo>
                    <a:pt x="157" y="99"/>
                    <a:pt x="157" y="99"/>
                    <a:pt x="156" y="99"/>
                  </a:cubicBezTo>
                  <a:cubicBezTo>
                    <a:pt x="155" y="99"/>
                    <a:pt x="153" y="99"/>
                    <a:pt x="152" y="99"/>
                  </a:cubicBezTo>
                  <a:cubicBezTo>
                    <a:pt x="151" y="99"/>
                    <a:pt x="151" y="99"/>
                    <a:pt x="151" y="98"/>
                  </a:cubicBezTo>
                  <a:cubicBezTo>
                    <a:pt x="149" y="98"/>
                    <a:pt x="147" y="98"/>
                    <a:pt x="145" y="98"/>
                  </a:cubicBezTo>
                  <a:cubicBezTo>
                    <a:pt x="145" y="98"/>
                    <a:pt x="145" y="98"/>
                    <a:pt x="144" y="98"/>
                  </a:cubicBezTo>
                  <a:cubicBezTo>
                    <a:pt x="142" y="97"/>
                    <a:pt x="140" y="97"/>
                    <a:pt x="138" y="97"/>
                  </a:cubicBezTo>
                  <a:cubicBezTo>
                    <a:pt x="139" y="106"/>
                    <a:pt x="140" y="115"/>
                    <a:pt x="135" y="117"/>
                  </a:cubicBezTo>
                  <a:cubicBezTo>
                    <a:pt x="126" y="122"/>
                    <a:pt x="130" y="133"/>
                    <a:pt x="130" y="141"/>
                  </a:cubicBezTo>
                  <a:cubicBezTo>
                    <a:pt x="130" y="149"/>
                    <a:pt x="129" y="173"/>
                    <a:pt x="146" y="165"/>
                  </a:cubicBezTo>
                  <a:cubicBezTo>
                    <a:pt x="163" y="157"/>
                    <a:pt x="167" y="145"/>
                    <a:pt x="179" y="145"/>
                  </a:cubicBezTo>
                  <a:cubicBezTo>
                    <a:pt x="191" y="145"/>
                    <a:pt x="197" y="152"/>
                    <a:pt x="197" y="158"/>
                  </a:cubicBezTo>
                  <a:cubicBezTo>
                    <a:pt x="197" y="165"/>
                    <a:pt x="214" y="168"/>
                    <a:pt x="213" y="181"/>
                  </a:cubicBezTo>
                  <a:cubicBezTo>
                    <a:pt x="211" y="194"/>
                    <a:pt x="199" y="202"/>
                    <a:pt x="191" y="206"/>
                  </a:cubicBezTo>
                  <a:cubicBezTo>
                    <a:pt x="183" y="210"/>
                    <a:pt x="175" y="226"/>
                    <a:pt x="177" y="236"/>
                  </a:cubicBezTo>
                  <a:cubicBezTo>
                    <a:pt x="178" y="245"/>
                    <a:pt x="175" y="256"/>
                    <a:pt x="190" y="264"/>
                  </a:cubicBezTo>
                  <a:cubicBezTo>
                    <a:pt x="205" y="272"/>
                    <a:pt x="217" y="265"/>
                    <a:pt x="214" y="290"/>
                  </a:cubicBezTo>
                  <a:cubicBezTo>
                    <a:pt x="211" y="316"/>
                    <a:pt x="210" y="318"/>
                    <a:pt x="211" y="329"/>
                  </a:cubicBezTo>
                  <a:cubicBezTo>
                    <a:pt x="213" y="340"/>
                    <a:pt x="221" y="357"/>
                    <a:pt x="210" y="365"/>
                  </a:cubicBezTo>
                  <a:cubicBezTo>
                    <a:pt x="199" y="373"/>
                    <a:pt x="198" y="374"/>
                    <a:pt x="198" y="386"/>
                  </a:cubicBezTo>
                  <a:cubicBezTo>
                    <a:pt x="198" y="398"/>
                    <a:pt x="182" y="412"/>
                    <a:pt x="178" y="398"/>
                  </a:cubicBezTo>
                  <a:cubicBezTo>
                    <a:pt x="174" y="385"/>
                    <a:pt x="162" y="372"/>
                    <a:pt x="155" y="382"/>
                  </a:cubicBezTo>
                  <a:cubicBezTo>
                    <a:pt x="149" y="393"/>
                    <a:pt x="147" y="400"/>
                    <a:pt x="134" y="393"/>
                  </a:cubicBezTo>
                  <a:cubicBezTo>
                    <a:pt x="121" y="386"/>
                    <a:pt x="119" y="384"/>
                    <a:pt x="117" y="374"/>
                  </a:cubicBezTo>
                  <a:cubicBezTo>
                    <a:pt x="114" y="365"/>
                    <a:pt x="111" y="360"/>
                    <a:pt x="95" y="357"/>
                  </a:cubicBezTo>
                  <a:cubicBezTo>
                    <a:pt x="79" y="354"/>
                    <a:pt x="83" y="368"/>
                    <a:pt x="83" y="376"/>
                  </a:cubicBezTo>
                  <a:cubicBezTo>
                    <a:pt x="83" y="384"/>
                    <a:pt x="78" y="392"/>
                    <a:pt x="59" y="392"/>
                  </a:cubicBezTo>
                  <a:cubicBezTo>
                    <a:pt x="41" y="392"/>
                    <a:pt x="26" y="392"/>
                    <a:pt x="26" y="404"/>
                  </a:cubicBezTo>
                  <a:cubicBezTo>
                    <a:pt x="26" y="416"/>
                    <a:pt x="29" y="428"/>
                    <a:pt x="37" y="433"/>
                  </a:cubicBezTo>
                  <a:cubicBezTo>
                    <a:pt x="45" y="438"/>
                    <a:pt x="53" y="445"/>
                    <a:pt x="51" y="460"/>
                  </a:cubicBezTo>
                  <a:cubicBezTo>
                    <a:pt x="50" y="474"/>
                    <a:pt x="46" y="480"/>
                    <a:pt x="31" y="473"/>
                  </a:cubicBezTo>
                  <a:cubicBezTo>
                    <a:pt x="17" y="466"/>
                    <a:pt x="10" y="465"/>
                    <a:pt x="2" y="477"/>
                  </a:cubicBezTo>
                  <a:cubicBezTo>
                    <a:pt x="1" y="478"/>
                    <a:pt x="0" y="479"/>
                    <a:pt x="0" y="480"/>
                  </a:cubicBezTo>
                  <a:cubicBezTo>
                    <a:pt x="15" y="496"/>
                    <a:pt x="32" y="512"/>
                    <a:pt x="39" y="523"/>
                  </a:cubicBezTo>
                  <a:cubicBezTo>
                    <a:pt x="49" y="539"/>
                    <a:pt x="49" y="548"/>
                    <a:pt x="56" y="559"/>
                  </a:cubicBezTo>
                  <a:cubicBezTo>
                    <a:pt x="64" y="554"/>
                    <a:pt x="74" y="547"/>
                    <a:pt x="81" y="542"/>
                  </a:cubicBezTo>
                  <a:cubicBezTo>
                    <a:pt x="95" y="532"/>
                    <a:pt x="105" y="516"/>
                    <a:pt x="115" y="528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491" name="Freeform 25686"/>
            <p:cNvSpPr>
              <a:spLocks/>
            </p:cNvSpPr>
            <p:nvPr/>
          </p:nvSpPr>
          <p:spPr bwMode="auto">
            <a:xfrm>
              <a:off x="4968795" y="3884514"/>
              <a:ext cx="47666" cy="52243"/>
            </a:xfrm>
            <a:custGeom>
              <a:avLst/>
              <a:gdLst>
                <a:gd name="T0" fmla="*/ 98 w 128"/>
                <a:gd name="T1" fmla="*/ 6 h 140"/>
                <a:gd name="T2" fmla="*/ 79 w 128"/>
                <a:gd name="T3" fmla="*/ 11 h 140"/>
                <a:gd name="T4" fmla="*/ 62 w 128"/>
                <a:gd name="T5" fmla="*/ 26 h 140"/>
                <a:gd name="T6" fmla="*/ 47 w 128"/>
                <a:gd name="T7" fmla="*/ 37 h 140"/>
                <a:gd name="T8" fmla="*/ 29 w 128"/>
                <a:gd name="T9" fmla="*/ 31 h 140"/>
                <a:gd name="T10" fmla="*/ 11 w 128"/>
                <a:gd name="T11" fmla="*/ 27 h 140"/>
                <a:gd name="T12" fmla="*/ 0 w 128"/>
                <a:gd name="T13" fmla="*/ 32 h 140"/>
                <a:gd name="T14" fmla="*/ 2 w 128"/>
                <a:gd name="T15" fmla="*/ 33 h 140"/>
                <a:gd name="T16" fmla="*/ 17 w 128"/>
                <a:gd name="T17" fmla="*/ 56 h 140"/>
                <a:gd name="T18" fmla="*/ 23 w 128"/>
                <a:gd name="T19" fmla="*/ 115 h 140"/>
                <a:gd name="T20" fmla="*/ 27 w 128"/>
                <a:gd name="T21" fmla="*/ 119 h 140"/>
                <a:gd name="T22" fmla="*/ 26 w 128"/>
                <a:gd name="T23" fmla="*/ 113 h 140"/>
                <a:gd name="T24" fmla="*/ 39 w 128"/>
                <a:gd name="T25" fmla="*/ 112 h 140"/>
                <a:gd name="T26" fmla="*/ 51 w 128"/>
                <a:gd name="T27" fmla="*/ 129 h 140"/>
                <a:gd name="T28" fmla="*/ 54 w 128"/>
                <a:gd name="T29" fmla="*/ 140 h 140"/>
                <a:gd name="T30" fmla="*/ 58 w 128"/>
                <a:gd name="T31" fmla="*/ 138 h 140"/>
                <a:gd name="T32" fmla="*/ 82 w 128"/>
                <a:gd name="T33" fmla="*/ 118 h 140"/>
                <a:gd name="T34" fmla="*/ 103 w 128"/>
                <a:gd name="T35" fmla="*/ 81 h 140"/>
                <a:gd name="T36" fmla="*/ 120 w 128"/>
                <a:gd name="T37" fmla="*/ 65 h 140"/>
                <a:gd name="T38" fmla="*/ 128 w 128"/>
                <a:gd name="T39" fmla="*/ 48 h 140"/>
                <a:gd name="T40" fmla="*/ 108 w 128"/>
                <a:gd name="T41" fmla="*/ 43 h 140"/>
                <a:gd name="T42" fmla="*/ 98 w 128"/>
                <a:gd name="T43" fmla="*/ 28 h 140"/>
                <a:gd name="T44" fmla="*/ 98 w 128"/>
                <a:gd name="T45" fmla="*/ 26 h 140"/>
                <a:gd name="T46" fmla="*/ 99 w 128"/>
                <a:gd name="T47" fmla="*/ 25 h 140"/>
                <a:gd name="T48" fmla="*/ 99 w 128"/>
                <a:gd name="T49" fmla="*/ 24 h 140"/>
                <a:gd name="T50" fmla="*/ 100 w 128"/>
                <a:gd name="T51" fmla="*/ 23 h 140"/>
                <a:gd name="T52" fmla="*/ 100 w 128"/>
                <a:gd name="T53" fmla="*/ 22 h 140"/>
                <a:gd name="T54" fmla="*/ 101 w 128"/>
                <a:gd name="T55" fmla="*/ 21 h 140"/>
                <a:gd name="T56" fmla="*/ 102 w 128"/>
                <a:gd name="T57" fmla="*/ 20 h 140"/>
                <a:gd name="T58" fmla="*/ 103 w 128"/>
                <a:gd name="T59" fmla="*/ 20 h 140"/>
                <a:gd name="T60" fmla="*/ 104 w 128"/>
                <a:gd name="T61" fmla="*/ 19 h 140"/>
                <a:gd name="T62" fmla="*/ 105 w 128"/>
                <a:gd name="T63" fmla="*/ 18 h 140"/>
                <a:gd name="T64" fmla="*/ 106 w 128"/>
                <a:gd name="T65" fmla="*/ 18 h 140"/>
                <a:gd name="T66" fmla="*/ 110 w 128"/>
                <a:gd name="T67" fmla="*/ 17 h 140"/>
                <a:gd name="T68" fmla="*/ 110 w 128"/>
                <a:gd name="T69" fmla="*/ 17 h 140"/>
                <a:gd name="T70" fmla="*/ 98 w 128"/>
                <a:gd name="T71" fmla="*/ 6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28" h="140">
                  <a:moveTo>
                    <a:pt x="98" y="6"/>
                  </a:moveTo>
                  <a:cubicBezTo>
                    <a:pt x="91" y="0"/>
                    <a:pt x="87" y="11"/>
                    <a:pt x="79" y="11"/>
                  </a:cubicBezTo>
                  <a:cubicBezTo>
                    <a:pt x="71" y="11"/>
                    <a:pt x="64" y="16"/>
                    <a:pt x="62" y="26"/>
                  </a:cubicBezTo>
                  <a:cubicBezTo>
                    <a:pt x="60" y="36"/>
                    <a:pt x="57" y="37"/>
                    <a:pt x="47" y="37"/>
                  </a:cubicBezTo>
                  <a:cubicBezTo>
                    <a:pt x="37" y="37"/>
                    <a:pt x="31" y="37"/>
                    <a:pt x="29" y="31"/>
                  </a:cubicBezTo>
                  <a:cubicBezTo>
                    <a:pt x="28" y="26"/>
                    <a:pt x="23" y="27"/>
                    <a:pt x="11" y="27"/>
                  </a:cubicBezTo>
                  <a:cubicBezTo>
                    <a:pt x="5" y="27"/>
                    <a:pt x="2" y="30"/>
                    <a:pt x="0" y="32"/>
                  </a:cubicBezTo>
                  <a:cubicBezTo>
                    <a:pt x="1" y="33"/>
                    <a:pt x="1" y="33"/>
                    <a:pt x="2" y="33"/>
                  </a:cubicBezTo>
                  <a:cubicBezTo>
                    <a:pt x="10" y="36"/>
                    <a:pt x="17" y="43"/>
                    <a:pt x="17" y="56"/>
                  </a:cubicBezTo>
                  <a:cubicBezTo>
                    <a:pt x="17" y="69"/>
                    <a:pt x="15" y="103"/>
                    <a:pt x="23" y="115"/>
                  </a:cubicBezTo>
                  <a:cubicBezTo>
                    <a:pt x="24" y="116"/>
                    <a:pt x="26" y="118"/>
                    <a:pt x="27" y="119"/>
                  </a:cubicBezTo>
                  <a:cubicBezTo>
                    <a:pt x="26" y="117"/>
                    <a:pt x="26" y="115"/>
                    <a:pt x="26" y="113"/>
                  </a:cubicBezTo>
                  <a:cubicBezTo>
                    <a:pt x="26" y="103"/>
                    <a:pt x="31" y="103"/>
                    <a:pt x="39" y="112"/>
                  </a:cubicBezTo>
                  <a:cubicBezTo>
                    <a:pt x="47" y="122"/>
                    <a:pt x="49" y="120"/>
                    <a:pt x="51" y="129"/>
                  </a:cubicBezTo>
                  <a:cubicBezTo>
                    <a:pt x="51" y="134"/>
                    <a:pt x="52" y="137"/>
                    <a:pt x="54" y="140"/>
                  </a:cubicBezTo>
                  <a:cubicBezTo>
                    <a:pt x="56" y="139"/>
                    <a:pt x="57" y="139"/>
                    <a:pt x="58" y="138"/>
                  </a:cubicBezTo>
                  <a:cubicBezTo>
                    <a:pt x="64" y="135"/>
                    <a:pt x="73" y="125"/>
                    <a:pt x="82" y="118"/>
                  </a:cubicBezTo>
                  <a:cubicBezTo>
                    <a:pt x="91" y="111"/>
                    <a:pt x="99" y="93"/>
                    <a:pt x="103" y="81"/>
                  </a:cubicBezTo>
                  <a:cubicBezTo>
                    <a:pt x="108" y="69"/>
                    <a:pt x="112" y="68"/>
                    <a:pt x="120" y="65"/>
                  </a:cubicBezTo>
                  <a:cubicBezTo>
                    <a:pt x="128" y="63"/>
                    <a:pt x="128" y="55"/>
                    <a:pt x="128" y="48"/>
                  </a:cubicBezTo>
                  <a:cubicBezTo>
                    <a:pt x="128" y="41"/>
                    <a:pt x="117" y="43"/>
                    <a:pt x="108" y="43"/>
                  </a:cubicBezTo>
                  <a:cubicBezTo>
                    <a:pt x="99" y="43"/>
                    <a:pt x="98" y="34"/>
                    <a:pt x="98" y="28"/>
                  </a:cubicBezTo>
                  <a:cubicBezTo>
                    <a:pt x="98" y="27"/>
                    <a:pt x="98" y="27"/>
                    <a:pt x="98" y="26"/>
                  </a:cubicBezTo>
                  <a:cubicBezTo>
                    <a:pt x="98" y="26"/>
                    <a:pt x="98" y="25"/>
                    <a:pt x="99" y="25"/>
                  </a:cubicBezTo>
                  <a:cubicBezTo>
                    <a:pt x="99" y="25"/>
                    <a:pt x="99" y="24"/>
                    <a:pt x="99" y="24"/>
                  </a:cubicBezTo>
                  <a:cubicBezTo>
                    <a:pt x="99" y="24"/>
                    <a:pt x="99" y="23"/>
                    <a:pt x="100" y="23"/>
                  </a:cubicBezTo>
                  <a:cubicBezTo>
                    <a:pt x="100" y="23"/>
                    <a:pt x="100" y="22"/>
                    <a:pt x="100" y="22"/>
                  </a:cubicBezTo>
                  <a:cubicBezTo>
                    <a:pt x="101" y="22"/>
                    <a:pt x="101" y="22"/>
                    <a:pt x="101" y="21"/>
                  </a:cubicBezTo>
                  <a:cubicBezTo>
                    <a:pt x="101" y="21"/>
                    <a:pt x="102" y="21"/>
                    <a:pt x="102" y="20"/>
                  </a:cubicBezTo>
                  <a:cubicBezTo>
                    <a:pt x="102" y="20"/>
                    <a:pt x="103" y="20"/>
                    <a:pt x="103" y="20"/>
                  </a:cubicBezTo>
                  <a:cubicBezTo>
                    <a:pt x="103" y="19"/>
                    <a:pt x="104" y="19"/>
                    <a:pt x="104" y="19"/>
                  </a:cubicBezTo>
                  <a:cubicBezTo>
                    <a:pt x="104" y="19"/>
                    <a:pt x="105" y="19"/>
                    <a:pt x="105" y="18"/>
                  </a:cubicBezTo>
                  <a:cubicBezTo>
                    <a:pt x="106" y="18"/>
                    <a:pt x="106" y="18"/>
                    <a:pt x="106" y="18"/>
                  </a:cubicBezTo>
                  <a:cubicBezTo>
                    <a:pt x="107" y="18"/>
                    <a:pt x="109" y="17"/>
                    <a:pt x="110" y="17"/>
                  </a:cubicBezTo>
                  <a:cubicBezTo>
                    <a:pt x="110" y="17"/>
                    <a:pt x="110" y="17"/>
                    <a:pt x="110" y="17"/>
                  </a:cubicBezTo>
                  <a:cubicBezTo>
                    <a:pt x="106" y="14"/>
                    <a:pt x="102" y="9"/>
                    <a:pt x="98" y="6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492" name="Freeform 25687"/>
            <p:cNvSpPr>
              <a:spLocks/>
            </p:cNvSpPr>
            <p:nvPr/>
          </p:nvSpPr>
          <p:spPr bwMode="auto">
            <a:xfrm>
              <a:off x="4967690" y="3856262"/>
              <a:ext cx="50349" cy="42142"/>
            </a:xfrm>
            <a:custGeom>
              <a:avLst/>
              <a:gdLst>
                <a:gd name="T0" fmla="*/ 105 w 135"/>
                <a:gd name="T1" fmla="*/ 2 h 113"/>
                <a:gd name="T2" fmla="*/ 103 w 135"/>
                <a:gd name="T3" fmla="*/ 2 h 113"/>
                <a:gd name="T4" fmla="*/ 100 w 135"/>
                <a:gd name="T5" fmla="*/ 3 h 113"/>
                <a:gd name="T6" fmla="*/ 80 w 135"/>
                <a:gd name="T7" fmla="*/ 24 h 113"/>
                <a:gd name="T8" fmla="*/ 57 w 135"/>
                <a:gd name="T9" fmla="*/ 20 h 113"/>
                <a:gd name="T10" fmla="*/ 45 w 135"/>
                <a:gd name="T11" fmla="*/ 14 h 113"/>
                <a:gd name="T12" fmla="*/ 44 w 135"/>
                <a:gd name="T13" fmla="*/ 17 h 113"/>
                <a:gd name="T14" fmla="*/ 42 w 135"/>
                <a:gd name="T15" fmla="*/ 24 h 113"/>
                <a:gd name="T16" fmla="*/ 41 w 135"/>
                <a:gd name="T17" fmla="*/ 26 h 113"/>
                <a:gd name="T18" fmla="*/ 38 w 135"/>
                <a:gd name="T19" fmla="*/ 31 h 113"/>
                <a:gd name="T20" fmla="*/ 35 w 135"/>
                <a:gd name="T21" fmla="*/ 32 h 113"/>
                <a:gd name="T22" fmla="*/ 21 w 135"/>
                <a:gd name="T23" fmla="*/ 59 h 113"/>
                <a:gd name="T24" fmla="*/ 9 w 135"/>
                <a:gd name="T25" fmla="*/ 80 h 113"/>
                <a:gd name="T26" fmla="*/ 7 w 135"/>
                <a:gd name="T27" fmla="*/ 81 h 113"/>
                <a:gd name="T28" fmla="*/ 6 w 135"/>
                <a:gd name="T29" fmla="*/ 83 h 113"/>
                <a:gd name="T30" fmla="*/ 4 w 135"/>
                <a:gd name="T31" fmla="*/ 85 h 113"/>
                <a:gd name="T32" fmla="*/ 3 w 135"/>
                <a:gd name="T33" fmla="*/ 87 h 113"/>
                <a:gd name="T34" fmla="*/ 2 w 135"/>
                <a:gd name="T35" fmla="*/ 90 h 113"/>
                <a:gd name="T36" fmla="*/ 1 w 135"/>
                <a:gd name="T37" fmla="*/ 92 h 113"/>
                <a:gd name="T38" fmla="*/ 0 w 135"/>
                <a:gd name="T39" fmla="*/ 94 h 113"/>
                <a:gd name="T40" fmla="*/ 0 w 135"/>
                <a:gd name="T41" fmla="*/ 97 h 113"/>
                <a:gd name="T42" fmla="*/ 0 w 135"/>
                <a:gd name="T43" fmla="*/ 99 h 113"/>
                <a:gd name="T44" fmla="*/ 0 w 135"/>
                <a:gd name="T45" fmla="*/ 101 h 113"/>
                <a:gd name="T46" fmla="*/ 0 w 135"/>
                <a:gd name="T47" fmla="*/ 102 h 113"/>
                <a:gd name="T48" fmla="*/ 14 w 135"/>
                <a:gd name="T49" fmla="*/ 103 h 113"/>
                <a:gd name="T50" fmla="*/ 50 w 135"/>
                <a:gd name="T51" fmla="*/ 113 h 113"/>
                <a:gd name="T52" fmla="*/ 82 w 135"/>
                <a:gd name="T53" fmla="*/ 87 h 113"/>
                <a:gd name="T54" fmla="*/ 113 w 135"/>
                <a:gd name="T55" fmla="*/ 93 h 113"/>
                <a:gd name="T56" fmla="*/ 114 w 135"/>
                <a:gd name="T57" fmla="*/ 93 h 113"/>
                <a:gd name="T58" fmla="*/ 126 w 135"/>
                <a:gd name="T59" fmla="*/ 86 h 113"/>
                <a:gd name="T60" fmla="*/ 126 w 135"/>
                <a:gd name="T61" fmla="*/ 61 h 113"/>
                <a:gd name="T62" fmla="*/ 116 w 135"/>
                <a:gd name="T63" fmla="*/ 27 h 113"/>
                <a:gd name="T64" fmla="*/ 109 w 135"/>
                <a:gd name="T65" fmla="*/ 0 h 113"/>
                <a:gd name="T66" fmla="*/ 107 w 135"/>
                <a:gd name="T67" fmla="*/ 1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35" h="113">
                  <a:moveTo>
                    <a:pt x="107" y="1"/>
                  </a:moveTo>
                  <a:cubicBezTo>
                    <a:pt x="107" y="1"/>
                    <a:pt x="106" y="2"/>
                    <a:pt x="105" y="2"/>
                  </a:cubicBezTo>
                  <a:cubicBezTo>
                    <a:pt x="105" y="2"/>
                    <a:pt x="105" y="2"/>
                    <a:pt x="105" y="2"/>
                  </a:cubicBezTo>
                  <a:cubicBezTo>
                    <a:pt x="104" y="2"/>
                    <a:pt x="104" y="2"/>
                    <a:pt x="103" y="2"/>
                  </a:cubicBezTo>
                  <a:cubicBezTo>
                    <a:pt x="103" y="2"/>
                    <a:pt x="103" y="2"/>
                    <a:pt x="103" y="2"/>
                  </a:cubicBezTo>
                  <a:cubicBezTo>
                    <a:pt x="102" y="3"/>
                    <a:pt x="101" y="3"/>
                    <a:pt x="100" y="3"/>
                  </a:cubicBezTo>
                  <a:cubicBezTo>
                    <a:pt x="90" y="3"/>
                    <a:pt x="94" y="6"/>
                    <a:pt x="86" y="10"/>
                  </a:cubicBezTo>
                  <a:cubicBezTo>
                    <a:pt x="79" y="14"/>
                    <a:pt x="80" y="18"/>
                    <a:pt x="80" y="24"/>
                  </a:cubicBezTo>
                  <a:cubicBezTo>
                    <a:pt x="79" y="30"/>
                    <a:pt x="75" y="33"/>
                    <a:pt x="68" y="29"/>
                  </a:cubicBezTo>
                  <a:cubicBezTo>
                    <a:pt x="62" y="24"/>
                    <a:pt x="65" y="21"/>
                    <a:pt x="57" y="20"/>
                  </a:cubicBezTo>
                  <a:cubicBezTo>
                    <a:pt x="52" y="20"/>
                    <a:pt x="48" y="17"/>
                    <a:pt x="45" y="14"/>
                  </a:cubicBezTo>
                  <a:cubicBezTo>
                    <a:pt x="45" y="14"/>
                    <a:pt x="45" y="14"/>
                    <a:pt x="45" y="14"/>
                  </a:cubicBezTo>
                  <a:cubicBezTo>
                    <a:pt x="44" y="15"/>
                    <a:pt x="44" y="16"/>
                    <a:pt x="44" y="17"/>
                  </a:cubicBezTo>
                  <a:cubicBezTo>
                    <a:pt x="44" y="17"/>
                    <a:pt x="44" y="17"/>
                    <a:pt x="44" y="17"/>
                  </a:cubicBezTo>
                  <a:cubicBezTo>
                    <a:pt x="44" y="19"/>
                    <a:pt x="43" y="21"/>
                    <a:pt x="43" y="23"/>
                  </a:cubicBezTo>
                  <a:cubicBezTo>
                    <a:pt x="43" y="23"/>
                    <a:pt x="43" y="23"/>
                    <a:pt x="42" y="24"/>
                  </a:cubicBezTo>
                  <a:cubicBezTo>
                    <a:pt x="42" y="24"/>
                    <a:pt x="42" y="25"/>
                    <a:pt x="42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0" y="28"/>
                    <a:pt x="39" y="29"/>
                    <a:pt x="38" y="30"/>
                  </a:cubicBezTo>
                  <a:cubicBezTo>
                    <a:pt x="38" y="30"/>
                    <a:pt x="38" y="31"/>
                    <a:pt x="38" y="31"/>
                  </a:cubicBezTo>
                  <a:cubicBezTo>
                    <a:pt x="37" y="31"/>
                    <a:pt x="37" y="31"/>
                    <a:pt x="36" y="32"/>
                  </a:cubicBezTo>
                  <a:cubicBezTo>
                    <a:pt x="36" y="32"/>
                    <a:pt x="36" y="32"/>
                    <a:pt x="35" y="32"/>
                  </a:cubicBezTo>
                  <a:cubicBezTo>
                    <a:pt x="35" y="33"/>
                    <a:pt x="34" y="33"/>
                    <a:pt x="33" y="33"/>
                  </a:cubicBezTo>
                  <a:cubicBezTo>
                    <a:pt x="21" y="37"/>
                    <a:pt x="17" y="52"/>
                    <a:pt x="21" y="59"/>
                  </a:cubicBezTo>
                  <a:cubicBezTo>
                    <a:pt x="25" y="65"/>
                    <a:pt x="25" y="73"/>
                    <a:pt x="12" y="79"/>
                  </a:cubicBezTo>
                  <a:cubicBezTo>
                    <a:pt x="11" y="79"/>
                    <a:pt x="10" y="79"/>
                    <a:pt x="9" y="80"/>
                  </a:cubicBezTo>
                  <a:cubicBezTo>
                    <a:pt x="9" y="80"/>
                    <a:pt x="9" y="80"/>
                    <a:pt x="9" y="80"/>
                  </a:cubicBezTo>
                  <a:cubicBezTo>
                    <a:pt x="8" y="81"/>
                    <a:pt x="8" y="81"/>
                    <a:pt x="7" y="81"/>
                  </a:cubicBezTo>
                  <a:cubicBezTo>
                    <a:pt x="7" y="82"/>
                    <a:pt x="7" y="82"/>
                    <a:pt x="7" y="82"/>
                  </a:cubicBezTo>
                  <a:cubicBezTo>
                    <a:pt x="6" y="82"/>
                    <a:pt x="6" y="83"/>
                    <a:pt x="6" y="83"/>
                  </a:cubicBezTo>
                  <a:cubicBezTo>
                    <a:pt x="5" y="83"/>
                    <a:pt x="5" y="84"/>
                    <a:pt x="5" y="84"/>
                  </a:cubicBezTo>
                  <a:cubicBezTo>
                    <a:pt x="5" y="84"/>
                    <a:pt x="4" y="85"/>
                    <a:pt x="4" y="85"/>
                  </a:cubicBezTo>
                  <a:cubicBezTo>
                    <a:pt x="4" y="85"/>
                    <a:pt x="4" y="86"/>
                    <a:pt x="4" y="86"/>
                  </a:cubicBezTo>
                  <a:cubicBezTo>
                    <a:pt x="3" y="86"/>
                    <a:pt x="3" y="87"/>
                    <a:pt x="3" y="87"/>
                  </a:cubicBezTo>
                  <a:cubicBezTo>
                    <a:pt x="3" y="88"/>
                    <a:pt x="2" y="88"/>
                    <a:pt x="2" y="88"/>
                  </a:cubicBezTo>
                  <a:cubicBezTo>
                    <a:pt x="2" y="89"/>
                    <a:pt x="2" y="89"/>
                    <a:pt x="2" y="90"/>
                  </a:cubicBezTo>
                  <a:cubicBezTo>
                    <a:pt x="2" y="90"/>
                    <a:pt x="2" y="90"/>
                    <a:pt x="1" y="91"/>
                  </a:cubicBezTo>
                  <a:cubicBezTo>
                    <a:pt x="1" y="91"/>
                    <a:pt x="1" y="91"/>
                    <a:pt x="1" y="92"/>
                  </a:cubicBezTo>
                  <a:cubicBezTo>
                    <a:pt x="1" y="92"/>
                    <a:pt x="1" y="93"/>
                    <a:pt x="1" y="93"/>
                  </a:cubicBezTo>
                  <a:cubicBezTo>
                    <a:pt x="1" y="93"/>
                    <a:pt x="1" y="94"/>
                    <a:pt x="0" y="94"/>
                  </a:cubicBezTo>
                  <a:cubicBezTo>
                    <a:pt x="0" y="95"/>
                    <a:pt x="0" y="95"/>
                    <a:pt x="0" y="96"/>
                  </a:cubicBezTo>
                  <a:cubicBezTo>
                    <a:pt x="0" y="96"/>
                    <a:pt x="0" y="96"/>
                    <a:pt x="0" y="97"/>
                  </a:cubicBezTo>
                  <a:cubicBezTo>
                    <a:pt x="0" y="97"/>
                    <a:pt x="0" y="97"/>
                    <a:pt x="0" y="98"/>
                  </a:cubicBezTo>
                  <a:cubicBezTo>
                    <a:pt x="0" y="98"/>
                    <a:pt x="0" y="98"/>
                    <a:pt x="0" y="99"/>
                  </a:cubicBezTo>
                  <a:cubicBezTo>
                    <a:pt x="0" y="99"/>
                    <a:pt x="0" y="100"/>
                    <a:pt x="0" y="100"/>
                  </a:cubicBezTo>
                  <a:cubicBezTo>
                    <a:pt x="0" y="100"/>
                    <a:pt x="0" y="101"/>
                    <a:pt x="0" y="101"/>
                  </a:cubicBezTo>
                  <a:cubicBezTo>
                    <a:pt x="0" y="101"/>
                    <a:pt x="0" y="102"/>
                    <a:pt x="0" y="102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1" y="105"/>
                    <a:pt x="2" y="107"/>
                    <a:pt x="3" y="108"/>
                  </a:cubicBezTo>
                  <a:cubicBezTo>
                    <a:pt x="5" y="106"/>
                    <a:pt x="8" y="103"/>
                    <a:pt x="14" y="103"/>
                  </a:cubicBezTo>
                  <a:cubicBezTo>
                    <a:pt x="26" y="103"/>
                    <a:pt x="31" y="102"/>
                    <a:pt x="32" y="107"/>
                  </a:cubicBezTo>
                  <a:cubicBezTo>
                    <a:pt x="34" y="113"/>
                    <a:pt x="40" y="113"/>
                    <a:pt x="50" y="113"/>
                  </a:cubicBezTo>
                  <a:cubicBezTo>
                    <a:pt x="60" y="113"/>
                    <a:pt x="63" y="112"/>
                    <a:pt x="65" y="102"/>
                  </a:cubicBezTo>
                  <a:cubicBezTo>
                    <a:pt x="67" y="92"/>
                    <a:pt x="74" y="87"/>
                    <a:pt x="82" y="87"/>
                  </a:cubicBezTo>
                  <a:cubicBezTo>
                    <a:pt x="90" y="87"/>
                    <a:pt x="94" y="76"/>
                    <a:pt x="101" y="82"/>
                  </a:cubicBezTo>
                  <a:cubicBezTo>
                    <a:pt x="105" y="85"/>
                    <a:pt x="109" y="90"/>
                    <a:pt x="113" y="93"/>
                  </a:cubicBezTo>
                  <a:cubicBezTo>
                    <a:pt x="113" y="93"/>
                    <a:pt x="113" y="93"/>
                    <a:pt x="113" y="93"/>
                  </a:cubicBezTo>
                  <a:cubicBezTo>
                    <a:pt x="113" y="93"/>
                    <a:pt x="114" y="93"/>
                    <a:pt x="114" y="93"/>
                  </a:cubicBezTo>
                  <a:cubicBezTo>
                    <a:pt x="115" y="93"/>
                    <a:pt x="115" y="93"/>
                    <a:pt x="116" y="93"/>
                  </a:cubicBezTo>
                  <a:cubicBezTo>
                    <a:pt x="124" y="95"/>
                    <a:pt x="126" y="89"/>
                    <a:pt x="126" y="86"/>
                  </a:cubicBezTo>
                  <a:cubicBezTo>
                    <a:pt x="126" y="83"/>
                    <a:pt x="126" y="77"/>
                    <a:pt x="130" y="74"/>
                  </a:cubicBezTo>
                  <a:cubicBezTo>
                    <a:pt x="135" y="71"/>
                    <a:pt x="130" y="65"/>
                    <a:pt x="126" y="61"/>
                  </a:cubicBezTo>
                  <a:cubicBezTo>
                    <a:pt x="121" y="58"/>
                    <a:pt x="124" y="49"/>
                    <a:pt x="125" y="43"/>
                  </a:cubicBezTo>
                  <a:cubicBezTo>
                    <a:pt x="126" y="37"/>
                    <a:pt x="123" y="29"/>
                    <a:pt x="116" y="27"/>
                  </a:cubicBezTo>
                  <a:cubicBezTo>
                    <a:pt x="108" y="25"/>
                    <a:pt x="114" y="14"/>
                    <a:pt x="115" y="9"/>
                  </a:cubicBezTo>
                  <a:cubicBezTo>
                    <a:pt x="115" y="6"/>
                    <a:pt x="112" y="2"/>
                    <a:pt x="109" y="0"/>
                  </a:cubicBezTo>
                  <a:cubicBezTo>
                    <a:pt x="109" y="1"/>
                    <a:pt x="108" y="1"/>
                    <a:pt x="107" y="1"/>
                  </a:cubicBezTo>
                  <a:cubicBezTo>
                    <a:pt x="107" y="1"/>
                    <a:pt x="107" y="1"/>
                    <a:pt x="107" y="1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493" name="Freeform 25688"/>
            <p:cNvSpPr>
              <a:spLocks/>
            </p:cNvSpPr>
            <p:nvPr/>
          </p:nvSpPr>
          <p:spPr bwMode="auto">
            <a:xfrm>
              <a:off x="4573105" y="3702216"/>
              <a:ext cx="454562" cy="449669"/>
            </a:xfrm>
            <a:custGeom>
              <a:avLst/>
              <a:gdLst>
                <a:gd name="T0" fmla="*/ 322 w 1219"/>
                <a:gd name="T1" fmla="*/ 838 h 1206"/>
                <a:gd name="T2" fmla="*/ 453 w 1219"/>
                <a:gd name="T3" fmla="*/ 847 h 1206"/>
                <a:gd name="T4" fmla="*/ 542 w 1219"/>
                <a:gd name="T5" fmla="*/ 812 h 1206"/>
                <a:gd name="T6" fmla="*/ 614 w 1219"/>
                <a:gd name="T7" fmla="*/ 884 h 1206"/>
                <a:gd name="T8" fmla="*/ 638 w 1219"/>
                <a:gd name="T9" fmla="*/ 1006 h 1206"/>
                <a:gd name="T10" fmla="*/ 692 w 1219"/>
                <a:gd name="T11" fmla="*/ 1055 h 1206"/>
                <a:gd name="T12" fmla="*/ 737 w 1219"/>
                <a:gd name="T13" fmla="*/ 1045 h 1206"/>
                <a:gd name="T14" fmla="*/ 750 w 1219"/>
                <a:gd name="T15" fmla="*/ 1046 h 1206"/>
                <a:gd name="T16" fmla="*/ 757 w 1219"/>
                <a:gd name="T17" fmla="*/ 1047 h 1206"/>
                <a:gd name="T18" fmla="*/ 762 w 1219"/>
                <a:gd name="T19" fmla="*/ 1050 h 1206"/>
                <a:gd name="T20" fmla="*/ 766 w 1219"/>
                <a:gd name="T21" fmla="*/ 1053 h 1206"/>
                <a:gd name="T22" fmla="*/ 833 w 1219"/>
                <a:gd name="T23" fmla="*/ 1076 h 1206"/>
                <a:gd name="T24" fmla="*/ 920 w 1219"/>
                <a:gd name="T25" fmla="*/ 1123 h 1206"/>
                <a:gd name="T26" fmla="*/ 982 w 1219"/>
                <a:gd name="T27" fmla="*/ 1130 h 1206"/>
                <a:gd name="T28" fmla="*/ 1104 w 1219"/>
                <a:gd name="T29" fmla="*/ 1197 h 1206"/>
                <a:gd name="T30" fmla="*/ 1102 w 1219"/>
                <a:gd name="T31" fmla="*/ 1130 h 1206"/>
                <a:gd name="T32" fmla="*/ 1038 w 1219"/>
                <a:gd name="T33" fmla="*/ 1048 h 1206"/>
                <a:gd name="T34" fmla="*/ 1062 w 1219"/>
                <a:gd name="T35" fmla="*/ 903 h 1206"/>
                <a:gd name="T36" fmla="*/ 1159 w 1219"/>
                <a:gd name="T37" fmla="*/ 875 h 1206"/>
                <a:gd name="T38" fmla="*/ 1183 w 1219"/>
                <a:gd name="T39" fmla="*/ 868 h 1206"/>
                <a:gd name="T40" fmla="*/ 1112 w 1219"/>
                <a:gd name="T41" fmla="*/ 778 h 1206"/>
                <a:gd name="T42" fmla="*/ 1087 w 1219"/>
                <a:gd name="T43" fmla="*/ 646 h 1206"/>
                <a:gd name="T44" fmla="*/ 1063 w 1219"/>
                <a:gd name="T45" fmla="*/ 522 h 1206"/>
                <a:gd name="T46" fmla="*/ 1058 w 1219"/>
                <a:gd name="T47" fmla="*/ 513 h 1206"/>
                <a:gd name="T48" fmla="*/ 1058 w 1219"/>
                <a:gd name="T49" fmla="*/ 509 h 1206"/>
                <a:gd name="T50" fmla="*/ 1059 w 1219"/>
                <a:gd name="T51" fmla="*/ 504 h 1206"/>
                <a:gd name="T52" fmla="*/ 1062 w 1219"/>
                <a:gd name="T53" fmla="*/ 499 h 1206"/>
                <a:gd name="T54" fmla="*/ 1065 w 1219"/>
                <a:gd name="T55" fmla="*/ 495 h 1206"/>
                <a:gd name="T56" fmla="*/ 1070 w 1219"/>
                <a:gd name="T57" fmla="*/ 492 h 1206"/>
                <a:gd name="T58" fmla="*/ 1094 w 1219"/>
                <a:gd name="T59" fmla="*/ 445 h 1206"/>
                <a:gd name="T60" fmla="*/ 1100 w 1219"/>
                <a:gd name="T61" fmla="*/ 439 h 1206"/>
                <a:gd name="T62" fmla="*/ 1102 w 1219"/>
                <a:gd name="T63" fmla="*/ 430 h 1206"/>
                <a:gd name="T64" fmla="*/ 1107 w 1219"/>
                <a:gd name="T65" fmla="*/ 369 h 1206"/>
                <a:gd name="T66" fmla="*/ 1214 w 1219"/>
                <a:gd name="T67" fmla="*/ 208 h 1206"/>
                <a:gd name="T68" fmla="*/ 1191 w 1219"/>
                <a:gd name="T69" fmla="*/ 140 h 1206"/>
                <a:gd name="T70" fmla="*/ 1184 w 1219"/>
                <a:gd name="T71" fmla="*/ 117 h 1206"/>
                <a:gd name="T72" fmla="*/ 1181 w 1219"/>
                <a:gd name="T73" fmla="*/ 118 h 1206"/>
                <a:gd name="T74" fmla="*/ 1091 w 1219"/>
                <a:gd name="T75" fmla="*/ 58 h 1206"/>
                <a:gd name="T76" fmla="*/ 1000 w 1219"/>
                <a:gd name="T77" fmla="*/ 58 h 1206"/>
                <a:gd name="T78" fmla="*/ 965 w 1219"/>
                <a:gd name="T79" fmla="*/ 15 h 1206"/>
                <a:gd name="T80" fmla="*/ 960 w 1219"/>
                <a:gd name="T81" fmla="*/ 10 h 1206"/>
                <a:gd name="T82" fmla="*/ 954 w 1219"/>
                <a:gd name="T83" fmla="*/ 8 h 1206"/>
                <a:gd name="T84" fmla="*/ 950 w 1219"/>
                <a:gd name="T85" fmla="*/ 9 h 1206"/>
                <a:gd name="T86" fmla="*/ 946 w 1219"/>
                <a:gd name="T87" fmla="*/ 11 h 1206"/>
                <a:gd name="T88" fmla="*/ 942 w 1219"/>
                <a:gd name="T89" fmla="*/ 16 h 1206"/>
                <a:gd name="T90" fmla="*/ 838 w 1219"/>
                <a:gd name="T91" fmla="*/ 12 h 1206"/>
                <a:gd name="T92" fmla="*/ 754 w 1219"/>
                <a:gd name="T93" fmla="*/ 29 h 1206"/>
                <a:gd name="T94" fmla="*/ 623 w 1219"/>
                <a:gd name="T95" fmla="*/ 78 h 1206"/>
                <a:gd name="T96" fmla="*/ 495 w 1219"/>
                <a:gd name="T97" fmla="*/ 21 h 1206"/>
                <a:gd name="T98" fmla="*/ 410 w 1219"/>
                <a:gd name="T99" fmla="*/ 97 h 1206"/>
                <a:gd name="T100" fmla="*/ 410 w 1219"/>
                <a:gd name="T101" fmla="*/ 112 h 1206"/>
                <a:gd name="T102" fmla="*/ 406 w 1219"/>
                <a:gd name="T103" fmla="*/ 120 h 1206"/>
                <a:gd name="T104" fmla="*/ 338 w 1219"/>
                <a:gd name="T105" fmla="*/ 328 h 1206"/>
                <a:gd name="T106" fmla="*/ 246 w 1219"/>
                <a:gd name="T107" fmla="*/ 580 h 1206"/>
                <a:gd name="T108" fmla="*/ 180 w 1219"/>
                <a:gd name="T109" fmla="*/ 636 h 1206"/>
                <a:gd name="T110" fmla="*/ 88 w 1219"/>
                <a:gd name="T111" fmla="*/ 645 h 1206"/>
                <a:gd name="T112" fmla="*/ 55 w 1219"/>
                <a:gd name="T113" fmla="*/ 647 h 1206"/>
                <a:gd name="T114" fmla="*/ 52 w 1219"/>
                <a:gd name="T115" fmla="*/ 646 h 1206"/>
                <a:gd name="T116" fmla="*/ 48 w 1219"/>
                <a:gd name="T117" fmla="*/ 637 h 1206"/>
                <a:gd name="T118" fmla="*/ 18 w 1219"/>
                <a:gd name="T119" fmla="*/ 708 h 1206"/>
                <a:gd name="T120" fmla="*/ 156 w 1219"/>
                <a:gd name="T121" fmla="*/ 720 h 1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219" h="1206">
                  <a:moveTo>
                    <a:pt x="156" y="720"/>
                  </a:moveTo>
                  <a:cubicBezTo>
                    <a:pt x="182" y="722"/>
                    <a:pt x="269" y="708"/>
                    <a:pt x="277" y="730"/>
                  </a:cubicBezTo>
                  <a:cubicBezTo>
                    <a:pt x="285" y="752"/>
                    <a:pt x="284" y="770"/>
                    <a:pt x="294" y="781"/>
                  </a:cubicBezTo>
                  <a:cubicBezTo>
                    <a:pt x="303" y="792"/>
                    <a:pt x="311" y="827"/>
                    <a:pt x="322" y="838"/>
                  </a:cubicBezTo>
                  <a:cubicBezTo>
                    <a:pt x="332" y="850"/>
                    <a:pt x="344" y="861"/>
                    <a:pt x="360" y="861"/>
                  </a:cubicBezTo>
                  <a:cubicBezTo>
                    <a:pt x="375" y="861"/>
                    <a:pt x="381" y="864"/>
                    <a:pt x="389" y="858"/>
                  </a:cubicBezTo>
                  <a:cubicBezTo>
                    <a:pt x="397" y="852"/>
                    <a:pt x="406" y="851"/>
                    <a:pt x="418" y="856"/>
                  </a:cubicBezTo>
                  <a:cubicBezTo>
                    <a:pt x="430" y="862"/>
                    <a:pt x="452" y="862"/>
                    <a:pt x="453" y="847"/>
                  </a:cubicBezTo>
                  <a:cubicBezTo>
                    <a:pt x="454" y="832"/>
                    <a:pt x="453" y="829"/>
                    <a:pt x="460" y="823"/>
                  </a:cubicBezTo>
                  <a:cubicBezTo>
                    <a:pt x="466" y="817"/>
                    <a:pt x="457" y="792"/>
                    <a:pt x="471" y="790"/>
                  </a:cubicBezTo>
                  <a:cubicBezTo>
                    <a:pt x="485" y="788"/>
                    <a:pt x="510" y="789"/>
                    <a:pt x="521" y="788"/>
                  </a:cubicBezTo>
                  <a:cubicBezTo>
                    <a:pt x="532" y="788"/>
                    <a:pt x="524" y="811"/>
                    <a:pt x="542" y="812"/>
                  </a:cubicBezTo>
                  <a:cubicBezTo>
                    <a:pt x="560" y="812"/>
                    <a:pt x="610" y="807"/>
                    <a:pt x="611" y="817"/>
                  </a:cubicBezTo>
                  <a:cubicBezTo>
                    <a:pt x="612" y="827"/>
                    <a:pt x="618" y="834"/>
                    <a:pt x="610" y="838"/>
                  </a:cubicBezTo>
                  <a:cubicBezTo>
                    <a:pt x="601" y="841"/>
                    <a:pt x="602" y="852"/>
                    <a:pt x="606" y="856"/>
                  </a:cubicBezTo>
                  <a:cubicBezTo>
                    <a:pt x="611" y="861"/>
                    <a:pt x="614" y="873"/>
                    <a:pt x="614" y="884"/>
                  </a:cubicBezTo>
                  <a:cubicBezTo>
                    <a:pt x="614" y="896"/>
                    <a:pt x="616" y="908"/>
                    <a:pt x="614" y="916"/>
                  </a:cubicBezTo>
                  <a:cubicBezTo>
                    <a:pt x="612" y="924"/>
                    <a:pt x="608" y="933"/>
                    <a:pt x="610" y="944"/>
                  </a:cubicBezTo>
                  <a:cubicBezTo>
                    <a:pt x="612" y="954"/>
                    <a:pt x="613" y="968"/>
                    <a:pt x="624" y="976"/>
                  </a:cubicBezTo>
                  <a:cubicBezTo>
                    <a:pt x="634" y="983"/>
                    <a:pt x="636" y="996"/>
                    <a:pt x="638" y="1006"/>
                  </a:cubicBezTo>
                  <a:cubicBezTo>
                    <a:pt x="639" y="1016"/>
                    <a:pt x="644" y="1030"/>
                    <a:pt x="635" y="1036"/>
                  </a:cubicBezTo>
                  <a:cubicBezTo>
                    <a:pt x="626" y="1041"/>
                    <a:pt x="625" y="1046"/>
                    <a:pt x="630" y="1054"/>
                  </a:cubicBezTo>
                  <a:cubicBezTo>
                    <a:pt x="634" y="1061"/>
                    <a:pt x="647" y="1065"/>
                    <a:pt x="651" y="1057"/>
                  </a:cubicBezTo>
                  <a:cubicBezTo>
                    <a:pt x="655" y="1049"/>
                    <a:pt x="680" y="1055"/>
                    <a:pt x="692" y="1055"/>
                  </a:cubicBezTo>
                  <a:cubicBezTo>
                    <a:pt x="704" y="1055"/>
                    <a:pt x="712" y="1045"/>
                    <a:pt x="726" y="1045"/>
                  </a:cubicBezTo>
                  <a:cubicBezTo>
                    <a:pt x="728" y="1045"/>
                    <a:pt x="729" y="1045"/>
                    <a:pt x="731" y="1045"/>
                  </a:cubicBezTo>
                  <a:cubicBezTo>
                    <a:pt x="733" y="1045"/>
                    <a:pt x="734" y="1045"/>
                    <a:pt x="736" y="1045"/>
                  </a:cubicBezTo>
                  <a:cubicBezTo>
                    <a:pt x="736" y="1045"/>
                    <a:pt x="736" y="1045"/>
                    <a:pt x="737" y="1045"/>
                  </a:cubicBezTo>
                  <a:cubicBezTo>
                    <a:pt x="738" y="1045"/>
                    <a:pt x="740" y="1045"/>
                    <a:pt x="741" y="1045"/>
                  </a:cubicBezTo>
                  <a:cubicBezTo>
                    <a:pt x="742" y="1045"/>
                    <a:pt x="742" y="1045"/>
                    <a:pt x="742" y="1045"/>
                  </a:cubicBezTo>
                  <a:cubicBezTo>
                    <a:pt x="745" y="1045"/>
                    <a:pt x="747" y="1045"/>
                    <a:pt x="750" y="1046"/>
                  </a:cubicBezTo>
                  <a:cubicBezTo>
                    <a:pt x="750" y="1046"/>
                    <a:pt x="750" y="1046"/>
                    <a:pt x="750" y="1046"/>
                  </a:cubicBezTo>
                  <a:cubicBezTo>
                    <a:pt x="751" y="1046"/>
                    <a:pt x="752" y="1046"/>
                    <a:pt x="753" y="1046"/>
                  </a:cubicBezTo>
                  <a:cubicBezTo>
                    <a:pt x="753" y="1046"/>
                    <a:pt x="754" y="1046"/>
                    <a:pt x="754" y="1047"/>
                  </a:cubicBezTo>
                  <a:cubicBezTo>
                    <a:pt x="755" y="1047"/>
                    <a:pt x="755" y="1047"/>
                    <a:pt x="756" y="1047"/>
                  </a:cubicBezTo>
                  <a:cubicBezTo>
                    <a:pt x="756" y="1047"/>
                    <a:pt x="757" y="1047"/>
                    <a:pt x="757" y="1047"/>
                  </a:cubicBezTo>
                  <a:cubicBezTo>
                    <a:pt x="758" y="1048"/>
                    <a:pt x="758" y="1048"/>
                    <a:pt x="759" y="1048"/>
                  </a:cubicBezTo>
                  <a:cubicBezTo>
                    <a:pt x="759" y="1048"/>
                    <a:pt x="759" y="1048"/>
                    <a:pt x="760" y="1048"/>
                  </a:cubicBezTo>
                  <a:cubicBezTo>
                    <a:pt x="760" y="1049"/>
                    <a:pt x="761" y="1049"/>
                    <a:pt x="761" y="1049"/>
                  </a:cubicBezTo>
                  <a:cubicBezTo>
                    <a:pt x="761" y="1049"/>
                    <a:pt x="762" y="1049"/>
                    <a:pt x="762" y="1050"/>
                  </a:cubicBezTo>
                  <a:cubicBezTo>
                    <a:pt x="762" y="1050"/>
                    <a:pt x="763" y="1050"/>
                    <a:pt x="763" y="1051"/>
                  </a:cubicBezTo>
                  <a:cubicBezTo>
                    <a:pt x="764" y="1051"/>
                    <a:pt x="764" y="1051"/>
                    <a:pt x="764" y="1051"/>
                  </a:cubicBezTo>
                  <a:cubicBezTo>
                    <a:pt x="764" y="1051"/>
                    <a:pt x="765" y="1052"/>
                    <a:pt x="765" y="1052"/>
                  </a:cubicBezTo>
                  <a:cubicBezTo>
                    <a:pt x="765" y="1053"/>
                    <a:pt x="766" y="1053"/>
                    <a:pt x="766" y="1053"/>
                  </a:cubicBezTo>
                  <a:cubicBezTo>
                    <a:pt x="766" y="1054"/>
                    <a:pt x="767" y="1054"/>
                    <a:pt x="767" y="1055"/>
                  </a:cubicBezTo>
                  <a:cubicBezTo>
                    <a:pt x="772" y="1066"/>
                    <a:pt x="778" y="1081"/>
                    <a:pt x="790" y="1078"/>
                  </a:cubicBezTo>
                  <a:cubicBezTo>
                    <a:pt x="801" y="1076"/>
                    <a:pt x="791" y="1067"/>
                    <a:pt x="806" y="1067"/>
                  </a:cubicBezTo>
                  <a:cubicBezTo>
                    <a:pt x="820" y="1067"/>
                    <a:pt x="831" y="1067"/>
                    <a:pt x="833" y="1076"/>
                  </a:cubicBezTo>
                  <a:cubicBezTo>
                    <a:pt x="835" y="1086"/>
                    <a:pt x="835" y="1092"/>
                    <a:pt x="844" y="1095"/>
                  </a:cubicBezTo>
                  <a:cubicBezTo>
                    <a:pt x="854" y="1098"/>
                    <a:pt x="873" y="1097"/>
                    <a:pt x="875" y="1105"/>
                  </a:cubicBezTo>
                  <a:cubicBezTo>
                    <a:pt x="877" y="1113"/>
                    <a:pt x="886" y="1114"/>
                    <a:pt x="896" y="1114"/>
                  </a:cubicBezTo>
                  <a:cubicBezTo>
                    <a:pt x="905" y="1114"/>
                    <a:pt x="912" y="1123"/>
                    <a:pt x="920" y="1123"/>
                  </a:cubicBezTo>
                  <a:cubicBezTo>
                    <a:pt x="927" y="1123"/>
                    <a:pt x="930" y="1118"/>
                    <a:pt x="932" y="1107"/>
                  </a:cubicBezTo>
                  <a:cubicBezTo>
                    <a:pt x="933" y="1096"/>
                    <a:pt x="934" y="1092"/>
                    <a:pt x="944" y="1091"/>
                  </a:cubicBezTo>
                  <a:cubicBezTo>
                    <a:pt x="954" y="1090"/>
                    <a:pt x="960" y="1088"/>
                    <a:pt x="962" y="1100"/>
                  </a:cubicBezTo>
                  <a:cubicBezTo>
                    <a:pt x="964" y="1112"/>
                    <a:pt x="969" y="1126"/>
                    <a:pt x="982" y="1130"/>
                  </a:cubicBezTo>
                  <a:cubicBezTo>
                    <a:pt x="996" y="1135"/>
                    <a:pt x="1010" y="1140"/>
                    <a:pt x="1020" y="1145"/>
                  </a:cubicBezTo>
                  <a:cubicBezTo>
                    <a:pt x="1030" y="1150"/>
                    <a:pt x="1044" y="1162"/>
                    <a:pt x="1050" y="1178"/>
                  </a:cubicBezTo>
                  <a:cubicBezTo>
                    <a:pt x="1057" y="1194"/>
                    <a:pt x="1068" y="1206"/>
                    <a:pt x="1079" y="1206"/>
                  </a:cubicBezTo>
                  <a:cubicBezTo>
                    <a:pt x="1090" y="1205"/>
                    <a:pt x="1092" y="1196"/>
                    <a:pt x="1104" y="1197"/>
                  </a:cubicBezTo>
                  <a:cubicBezTo>
                    <a:pt x="1116" y="1198"/>
                    <a:pt x="1118" y="1194"/>
                    <a:pt x="1117" y="1182"/>
                  </a:cubicBezTo>
                  <a:cubicBezTo>
                    <a:pt x="1116" y="1169"/>
                    <a:pt x="1115" y="1166"/>
                    <a:pt x="1120" y="1156"/>
                  </a:cubicBezTo>
                  <a:cubicBezTo>
                    <a:pt x="1124" y="1145"/>
                    <a:pt x="1128" y="1136"/>
                    <a:pt x="1124" y="1129"/>
                  </a:cubicBezTo>
                  <a:cubicBezTo>
                    <a:pt x="1119" y="1122"/>
                    <a:pt x="1102" y="1121"/>
                    <a:pt x="1102" y="1130"/>
                  </a:cubicBezTo>
                  <a:cubicBezTo>
                    <a:pt x="1102" y="1138"/>
                    <a:pt x="1095" y="1147"/>
                    <a:pt x="1082" y="1144"/>
                  </a:cubicBezTo>
                  <a:cubicBezTo>
                    <a:pt x="1070" y="1140"/>
                    <a:pt x="1062" y="1128"/>
                    <a:pt x="1052" y="1118"/>
                  </a:cubicBezTo>
                  <a:cubicBezTo>
                    <a:pt x="1042" y="1108"/>
                    <a:pt x="1025" y="1096"/>
                    <a:pt x="1026" y="1084"/>
                  </a:cubicBezTo>
                  <a:cubicBezTo>
                    <a:pt x="1026" y="1072"/>
                    <a:pt x="1028" y="1058"/>
                    <a:pt x="1038" y="1048"/>
                  </a:cubicBezTo>
                  <a:cubicBezTo>
                    <a:pt x="1048" y="1039"/>
                    <a:pt x="1042" y="1020"/>
                    <a:pt x="1042" y="1010"/>
                  </a:cubicBezTo>
                  <a:cubicBezTo>
                    <a:pt x="1042" y="1000"/>
                    <a:pt x="1048" y="974"/>
                    <a:pt x="1042" y="960"/>
                  </a:cubicBezTo>
                  <a:cubicBezTo>
                    <a:pt x="1037" y="947"/>
                    <a:pt x="1030" y="940"/>
                    <a:pt x="1038" y="932"/>
                  </a:cubicBezTo>
                  <a:cubicBezTo>
                    <a:pt x="1047" y="924"/>
                    <a:pt x="1057" y="920"/>
                    <a:pt x="1062" y="903"/>
                  </a:cubicBezTo>
                  <a:cubicBezTo>
                    <a:pt x="1066" y="886"/>
                    <a:pt x="1068" y="880"/>
                    <a:pt x="1086" y="880"/>
                  </a:cubicBezTo>
                  <a:cubicBezTo>
                    <a:pt x="1104" y="879"/>
                    <a:pt x="1143" y="883"/>
                    <a:pt x="1155" y="877"/>
                  </a:cubicBezTo>
                  <a:cubicBezTo>
                    <a:pt x="1156" y="877"/>
                    <a:pt x="1157" y="876"/>
                    <a:pt x="1158" y="876"/>
                  </a:cubicBezTo>
                  <a:cubicBezTo>
                    <a:pt x="1158" y="875"/>
                    <a:pt x="1158" y="875"/>
                    <a:pt x="1159" y="875"/>
                  </a:cubicBezTo>
                  <a:cubicBezTo>
                    <a:pt x="1161" y="874"/>
                    <a:pt x="1163" y="873"/>
                    <a:pt x="1166" y="872"/>
                  </a:cubicBezTo>
                  <a:cubicBezTo>
                    <a:pt x="1166" y="872"/>
                    <a:pt x="1166" y="872"/>
                    <a:pt x="1166" y="872"/>
                  </a:cubicBezTo>
                  <a:cubicBezTo>
                    <a:pt x="1172" y="869"/>
                    <a:pt x="1179" y="867"/>
                    <a:pt x="1184" y="868"/>
                  </a:cubicBezTo>
                  <a:cubicBezTo>
                    <a:pt x="1184" y="868"/>
                    <a:pt x="1183" y="868"/>
                    <a:pt x="1183" y="868"/>
                  </a:cubicBezTo>
                  <a:cubicBezTo>
                    <a:pt x="1177" y="865"/>
                    <a:pt x="1168" y="865"/>
                    <a:pt x="1161" y="862"/>
                  </a:cubicBezTo>
                  <a:cubicBezTo>
                    <a:pt x="1152" y="857"/>
                    <a:pt x="1149" y="835"/>
                    <a:pt x="1146" y="823"/>
                  </a:cubicBezTo>
                  <a:cubicBezTo>
                    <a:pt x="1143" y="812"/>
                    <a:pt x="1132" y="800"/>
                    <a:pt x="1127" y="797"/>
                  </a:cubicBezTo>
                  <a:cubicBezTo>
                    <a:pt x="1122" y="795"/>
                    <a:pt x="1113" y="787"/>
                    <a:pt x="1112" y="778"/>
                  </a:cubicBezTo>
                  <a:cubicBezTo>
                    <a:pt x="1110" y="768"/>
                    <a:pt x="1093" y="753"/>
                    <a:pt x="1085" y="739"/>
                  </a:cubicBezTo>
                  <a:cubicBezTo>
                    <a:pt x="1078" y="725"/>
                    <a:pt x="1087" y="714"/>
                    <a:pt x="1094" y="708"/>
                  </a:cubicBezTo>
                  <a:cubicBezTo>
                    <a:pt x="1101" y="702"/>
                    <a:pt x="1094" y="691"/>
                    <a:pt x="1087" y="683"/>
                  </a:cubicBezTo>
                  <a:cubicBezTo>
                    <a:pt x="1080" y="674"/>
                    <a:pt x="1087" y="653"/>
                    <a:pt x="1087" y="646"/>
                  </a:cubicBezTo>
                  <a:cubicBezTo>
                    <a:pt x="1087" y="641"/>
                    <a:pt x="1088" y="621"/>
                    <a:pt x="1088" y="608"/>
                  </a:cubicBezTo>
                  <a:cubicBezTo>
                    <a:pt x="1087" y="607"/>
                    <a:pt x="1085" y="605"/>
                    <a:pt x="1084" y="604"/>
                  </a:cubicBezTo>
                  <a:cubicBezTo>
                    <a:pt x="1076" y="592"/>
                    <a:pt x="1078" y="558"/>
                    <a:pt x="1078" y="545"/>
                  </a:cubicBezTo>
                  <a:cubicBezTo>
                    <a:pt x="1078" y="532"/>
                    <a:pt x="1071" y="525"/>
                    <a:pt x="1063" y="522"/>
                  </a:cubicBezTo>
                  <a:cubicBezTo>
                    <a:pt x="1061" y="522"/>
                    <a:pt x="1059" y="519"/>
                    <a:pt x="1058" y="515"/>
                  </a:cubicBezTo>
                  <a:cubicBezTo>
                    <a:pt x="1058" y="515"/>
                    <a:pt x="1058" y="515"/>
                    <a:pt x="1058" y="515"/>
                  </a:cubicBezTo>
                  <a:cubicBezTo>
                    <a:pt x="1058" y="515"/>
                    <a:pt x="1058" y="514"/>
                    <a:pt x="1058" y="514"/>
                  </a:cubicBezTo>
                  <a:cubicBezTo>
                    <a:pt x="1058" y="514"/>
                    <a:pt x="1058" y="513"/>
                    <a:pt x="1058" y="513"/>
                  </a:cubicBezTo>
                  <a:cubicBezTo>
                    <a:pt x="1058" y="513"/>
                    <a:pt x="1058" y="512"/>
                    <a:pt x="1058" y="512"/>
                  </a:cubicBezTo>
                  <a:cubicBezTo>
                    <a:pt x="1058" y="511"/>
                    <a:pt x="1058" y="511"/>
                    <a:pt x="1058" y="511"/>
                  </a:cubicBezTo>
                  <a:cubicBezTo>
                    <a:pt x="1058" y="510"/>
                    <a:pt x="1058" y="510"/>
                    <a:pt x="1058" y="510"/>
                  </a:cubicBezTo>
                  <a:cubicBezTo>
                    <a:pt x="1058" y="509"/>
                    <a:pt x="1058" y="509"/>
                    <a:pt x="1058" y="509"/>
                  </a:cubicBezTo>
                  <a:cubicBezTo>
                    <a:pt x="1058" y="508"/>
                    <a:pt x="1058" y="508"/>
                    <a:pt x="1058" y="507"/>
                  </a:cubicBezTo>
                  <a:cubicBezTo>
                    <a:pt x="1059" y="507"/>
                    <a:pt x="1059" y="506"/>
                    <a:pt x="1059" y="506"/>
                  </a:cubicBezTo>
                  <a:cubicBezTo>
                    <a:pt x="1059" y="506"/>
                    <a:pt x="1059" y="505"/>
                    <a:pt x="1059" y="505"/>
                  </a:cubicBezTo>
                  <a:cubicBezTo>
                    <a:pt x="1059" y="504"/>
                    <a:pt x="1059" y="504"/>
                    <a:pt x="1059" y="504"/>
                  </a:cubicBezTo>
                  <a:cubicBezTo>
                    <a:pt x="1060" y="503"/>
                    <a:pt x="1060" y="503"/>
                    <a:pt x="1060" y="503"/>
                  </a:cubicBezTo>
                  <a:cubicBezTo>
                    <a:pt x="1060" y="502"/>
                    <a:pt x="1060" y="502"/>
                    <a:pt x="1060" y="501"/>
                  </a:cubicBezTo>
                  <a:cubicBezTo>
                    <a:pt x="1060" y="501"/>
                    <a:pt x="1061" y="501"/>
                    <a:pt x="1061" y="500"/>
                  </a:cubicBezTo>
                  <a:cubicBezTo>
                    <a:pt x="1061" y="500"/>
                    <a:pt x="1061" y="499"/>
                    <a:pt x="1062" y="499"/>
                  </a:cubicBezTo>
                  <a:cubicBezTo>
                    <a:pt x="1062" y="499"/>
                    <a:pt x="1062" y="498"/>
                    <a:pt x="1062" y="498"/>
                  </a:cubicBezTo>
                  <a:cubicBezTo>
                    <a:pt x="1062" y="498"/>
                    <a:pt x="1063" y="497"/>
                    <a:pt x="1063" y="497"/>
                  </a:cubicBezTo>
                  <a:cubicBezTo>
                    <a:pt x="1063" y="497"/>
                    <a:pt x="1063" y="496"/>
                    <a:pt x="1064" y="496"/>
                  </a:cubicBezTo>
                  <a:cubicBezTo>
                    <a:pt x="1064" y="496"/>
                    <a:pt x="1064" y="495"/>
                    <a:pt x="1065" y="495"/>
                  </a:cubicBezTo>
                  <a:cubicBezTo>
                    <a:pt x="1065" y="495"/>
                    <a:pt x="1065" y="495"/>
                    <a:pt x="1065" y="494"/>
                  </a:cubicBezTo>
                  <a:cubicBezTo>
                    <a:pt x="1066" y="494"/>
                    <a:pt x="1066" y="494"/>
                    <a:pt x="1067" y="493"/>
                  </a:cubicBezTo>
                  <a:cubicBezTo>
                    <a:pt x="1067" y="493"/>
                    <a:pt x="1067" y="493"/>
                    <a:pt x="1067" y="493"/>
                  </a:cubicBezTo>
                  <a:cubicBezTo>
                    <a:pt x="1068" y="492"/>
                    <a:pt x="1069" y="492"/>
                    <a:pt x="1070" y="492"/>
                  </a:cubicBezTo>
                  <a:cubicBezTo>
                    <a:pt x="1083" y="486"/>
                    <a:pt x="1083" y="478"/>
                    <a:pt x="1079" y="472"/>
                  </a:cubicBezTo>
                  <a:cubicBezTo>
                    <a:pt x="1075" y="465"/>
                    <a:pt x="1079" y="450"/>
                    <a:pt x="1091" y="446"/>
                  </a:cubicBezTo>
                  <a:cubicBezTo>
                    <a:pt x="1092" y="446"/>
                    <a:pt x="1093" y="446"/>
                    <a:pt x="1093" y="445"/>
                  </a:cubicBezTo>
                  <a:cubicBezTo>
                    <a:pt x="1094" y="445"/>
                    <a:pt x="1094" y="445"/>
                    <a:pt x="1094" y="445"/>
                  </a:cubicBezTo>
                  <a:cubicBezTo>
                    <a:pt x="1095" y="444"/>
                    <a:pt x="1095" y="444"/>
                    <a:pt x="1096" y="444"/>
                  </a:cubicBezTo>
                  <a:cubicBezTo>
                    <a:pt x="1096" y="444"/>
                    <a:pt x="1096" y="443"/>
                    <a:pt x="1096" y="443"/>
                  </a:cubicBezTo>
                  <a:cubicBezTo>
                    <a:pt x="1097" y="442"/>
                    <a:pt x="1098" y="441"/>
                    <a:pt x="1099" y="439"/>
                  </a:cubicBezTo>
                  <a:cubicBezTo>
                    <a:pt x="1099" y="439"/>
                    <a:pt x="1099" y="439"/>
                    <a:pt x="1100" y="439"/>
                  </a:cubicBezTo>
                  <a:cubicBezTo>
                    <a:pt x="1100" y="438"/>
                    <a:pt x="1100" y="437"/>
                    <a:pt x="1100" y="437"/>
                  </a:cubicBezTo>
                  <a:cubicBezTo>
                    <a:pt x="1101" y="436"/>
                    <a:pt x="1101" y="436"/>
                    <a:pt x="1101" y="436"/>
                  </a:cubicBezTo>
                  <a:cubicBezTo>
                    <a:pt x="1101" y="434"/>
                    <a:pt x="1102" y="432"/>
                    <a:pt x="1102" y="430"/>
                  </a:cubicBezTo>
                  <a:cubicBezTo>
                    <a:pt x="1102" y="430"/>
                    <a:pt x="1102" y="430"/>
                    <a:pt x="1102" y="430"/>
                  </a:cubicBezTo>
                  <a:cubicBezTo>
                    <a:pt x="1102" y="429"/>
                    <a:pt x="1102" y="428"/>
                    <a:pt x="1103" y="427"/>
                  </a:cubicBezTo>
                  <a:cubicBezTo>
                    <a:pt x="1103" y="427"/>
                    <a:pt x="1103" y="427"/>
                    <a:pt x="1103" y="427"/>
                  </a:cubicBezTo>
                  <a:cubicBezTo>
                    <a:pt x="1103" y="423"/>
                    <a:pt x="1103" y="418"/>
                    <a:pt x="1103" y="414"/>
                  </a:cubicBezTo>
                  <a:cubicBezTo>
                    <a:pt x="1103" y="402"/>
                    <a:pt x="1107" y="389"/>
                    <a:pt x="1107" y="369"/>
                  </a:cubicBezTo>
                  <a:cubicBezTo>
                    <a:pt x="1107" y="349"/>
                    <a:pt x="1120" y="320"/>
                    <a:pt x="1131" y="297"/>
                  </a:cubicBezTo>
                  <a:cubicBezTo>
                    <a:pt x="1142" y="274"/>
                    <a:pt x="1159" y="270"/>
                    <a:pt x="1166" y="260"/>
                  </a:cubicBezTo>
                  <a:cubicBezTo>
                    <a:pt x="1172" y="249"/>
                    <a:pt x="1187" y="246"/>
                    <a:pt x="1203" y="248"/>
                  </a:cubicBezTo>
                  <a:cubicBezTo>
                    <a:pt x="1219" y="249"/>
                    <a:pt x="1215" y="221"/>
                    <a:pt x="1214" y="208"/>
                  </a:cubicBezTo>
                  <a:cubicBezTo>
                    <a:pt x="1212" y="194"/>
                    <a:pt x="1203" y="204"/>
                    <a:pt x="1191" y="201"/>
                  </a:cubicBezTo>
                  <a:cubicBezTo>
                    <a:pt x="1179" y="198"/>
                    <a:pt x="1175" y="186"/>
                    <a:pt x="1182" y="180"/>
                  </a:cubicBezTo>
                  <a:cubicBezTo>
                    <a:pt x="1188" y="173"/>
                    <a:pt x="1183" y="169"/>
                    <a:pt x="1183" y="162"/>
                  </a:cubicBezTo>
                  <a:cubicBezTo>
                    <a:pt x="1183" y="156"/>
                    <a:pt x="1186" y="144"/>
                    <a:pt x="1191" y="140"/>
                  </a:cubicBezTo>
                  <a:cubicBezTo>
                    <a:pt x="1196" y="136"/>
                    <a:pt x="1196" y="132"/>
                    <a:pt x="1188" y="122"/>
                  </a:cubicBezTo>
                  <a:cubicBezTo>
                    <a:pt x="1187" y="121"/>
                    <a:pt x="1186" y="119"/>
                    <a:pt x="1186" y="117"/>
                  </a:cubicBezTo>
                  <a:cubicBezTo>
                    <a:pt x="1186" y="117"/>
                    <a:pt x="1186" y="117"/>
                    <a:pt x="1186" y="117"/>
                  </a:cubicBezTo>
                  <a:cubicBezTo>
                    <a:pt x="1185" y="117"/>
                    <a:pt x="1185" y="117"/>
                    <a:pt x="1184" y="117"/>
                  </a:cubicBezTo>
                  <a:cubicBezTo>
                    <a:pt x="1184" y="117"/>
                    <a:pt x="1184" y="117"/>
                    <a:pt x="1184" y="117"/>
                  </a:cubicBezTo>
                  <a:cubicBezTo>
                    <a:pt x="1184" y="118"/>
                    <a:pt x="1183" y="118"/>
                    <a:pt x="1183" y="118"/>
                  </a:cubicBezTo>
                  <a:cubicBezTo>
                    <a:pt x="1183" y="118"/>
                    <a:pt x="1182" y="118"/>
                    <a:pt x="1182" y="118"/>
                  </a:cubicBezTo>
                  <a:cubicBezTo>
                    <a:pt x="1182" y="118"/>
                    <a:pt x="1181" y="118"/>
                    <a:pt x="1181" y="118"/>
                  </a:cubicBezTo>
                  <a:cubicBezTo>
                    <a:pt x="1180" y="118"/>
                    <a:pt x="1180" y="118"/>
                    <a:pt x="1179" y="118"/>
                  </a:cubicBezTo>
                  <a:cubicBezTo>
                    <a:pt x="1166" y="118"/>
                    <a:pt x="1179" y="98"/>
                    <a:pt x="1156" y="96"/>
                  </a:cubicBezTo>
                  <a:cubicBezTo>
                    <a:pt x="1134" y="93"/>
                    <a:pt x="1132" y="80"/>
                    <a:pt x="1120" y="58"/>
                  </a:cubicBezTo>
                  <a:cubicBezTo>
                    <a:pt x="1108" y="37"/>
                    <a:pt x="1100" y="46"/>
                    <a:pt x="1091" y="58"/>
                  </a:cubicBezTo>
                  <a:cubicBezTo>
                    <a:pt x="1082" y="70"/>
                    <a:pt x="1075" y="65"/>
                    <a:pt x="1063" y="56"/>
                  </a:cubicBezTo>
                  <a:cubicBezTo>
                    <a:pt x="1051" y="46"/>
                    <a:pt x="1046" y="58"/>
                    <a:pt x="1043" y="68"/>
                  </a:cubicBezTo>
                  <a:cubicBezTo>
                    <a:pt x="1040" y="77"/>
                    <a:pt x="1028" y="72"/>
                    <a:pt x="1016" y="72"/>
                  </a:cubicBezTo>
                  <a:cubicBezTo>
                    <a:pt x="1004" y="72"/>
                    <a:pt x="1007" y="60"/>
                    <a:pt x="1000" y="58"/>
                  </a:cubicBezTo>
                  <a:cubicBezTo>
                    <a:pt x="994" y="57"/>
                    <a:pt x="986" y="49"/>
                    <a:pt x="986" y="37"/>
                  </a:cubicBezTo>
                  <a:cubicBezTo>
                    <a:pt x="986" y="25"/>
                    <a:pt x="971" y="30"/>
                    <a:pt x="967" y="18"/>
                  </a:cubicBezTo>
                  <a:cubicBezTo>
                    <a:pt x="967" y="17"/>
                    <a:pt x="966" y="16"/>
                    <a:pt x="965" y="15"/>
                  </a:cubicBezTo>
                  <a:cubicBezTo>
                    <a:pt x="965" y="15"/>
                    <a:pt x="965" y="15"/>
                    <a:pt x="965" y="15"/>
                  </a:cubicBezTo>
                  <a:cubicBezTo>
                    <a:pt x="965" y="14"/>
                    <a:pt x="964" y="13"/>
                    <a:pt x="963" y="12"/>
                  </a:cubicBezTo>
                  <a:cubicBezTo>
                    <a:pt x="963" y="12"/>
                    <a:pt x="963" y="12"/>
                    <a:pt x="963" y="12"/>
                  </a:cubicBezTo>
                  <a:cubicBezTo>
                    <a:pt x="962" y="11"/>
                    <a:pt x="961" y="10"/>
                    <a:pt x="961" y="10"/>
                  </a:cubicBezTo>
                  <a:cubicBezTo>
                    <a:pt x="960" y="10"/>
                    <a:pt x="960" y="10"/>
                    <a:pt x="960" y="10"/>
                  </a:cubicBezTo>
                  <a:cubicBezTo>
                    <a:pt x="959" y="9"/>
                    <a:pt x="958" y="9"/>
                    <a:pt x="957" y="8"/>
                  </a:cubicBezTo>
                  <a:cubicBezTo>
                    <a:pt x="957" y="8"/>
                    <a:pt x="956" y="8"/>
                    <a:pt x="956" y="8"/>
                  </a:cubicBezTo>
                  <a:cubicBezTo>
                    <a:pt x="955" y="8"/>
                    <a:pt x="955" y="8"/>
                    <a:pt x="955" y="8"/>
                  </a:cubicBezTo>
                  <a:cubicBezTo>
                    <a:pt x="955" y="8"/>
                    <a:pt x="954" y="8"/>
                    <a:pt x="954" y="8"/>
                  </a:cubicBezTo>
                  <a:cubicBezTo>
                    <a:pt x="953" y="8"/>
                    <a:pt x="953" y="8"/>
                    <a:pt x="953" y="8"/>
                  </a:cubicBezTo>
                  <a:cubicBezTo>
                    <a:pt x="953" y="8"/>
                    <a:pt x="952" y="8"/>
                    <a:pt x="952" y="8"/>
                  </a:cubicBezTo>
                  <a:cubicBezTo>
                    <a:pt x="951" y="8"/>
                    <a:pt x="951" y="8"/>
                    <a:pt x="951" y="8"/>
                  </a:cubicBezTo>
                  <a:cubicBezTo>
                    <a:pt x="951" y="8"/>
                    <a:pt x="950" y="9"/>
                    <a:pt x="950" y="9"/>
                  </a:cubicBezTo>
                  <a:cubicBezTo>
                    <a:pt x="949" y="9"/>
                    <a:pt x="949" y="9"/>
                    <a:pt x="949" y="9"/>
                  </a:cubicBezTo>
                  <a:cubicBezTo>
                    <a:pt x="949" y="9"/>
                    <a:pt x="948" y="10"/>
                    <a:pt x="948" y="10"/>
                  </a:cubicBezTo>
                  <a:cubicBezTo>
                    <a:pt x="947" y="10"/>
                    <a:pt x="947" y="10"/>
                    <a:pt x="947" y="10"/>
                  </a:cubicBezTo>
                  <a:cubicBezTo>
                    <a:pt x="947" y="10"/>
                    <a:pt x="946" y="11"/>
                    <a:pt x="946" y="11"/>
                  </a:cubicBezTo>
                  <a:cubicBezTo>
                    <a:pt x="946" y="11"/>
                    <a:pt x="945" y="11"/>
                    <a:pt x="945" y="12"/>
                  </a:cubicBezTo>
                  <a:cubicBezTo>
                    <a:pt x="945" y="12"/>
                    <a:pt x="944" y="12"/>
                    <a:pt x="944" y="13"/>
                  </a:cubicBezTo>
                  <a:cubicBezTo>
                    <a:pt x="944" y="13"/>
                    <a:pt x="944" y="13"/>
                    <a:pt x="943" y="13"/>
                  </a:cubicBezTo>
                  <a:cubicBezTo>
                    <a:pt x="943" y="14"/>
                    <a:pt x="942" y="15"/>
                    <a:pt x="942" y="16"/>
                  </a:cubicBezTo>
                  <a:cubicBezTo>
                    <a:pt x="934" y="28"/>
                    <a:pt x="923" y="22"/>
                    <a:pt x="907" y="24"/>
                  </a:cubicBezTo>
                  <a:cubicBezTo>
                    <a:pt x="891" y="25"/>
                    <a:pt x="895" y="16"/>
                    <a:pt x="876" y="12"/>
                  </a:cubicBezTo>
                  <a:cubicBezTo>
                    <a:pt x="858" y="8"/>
                    <a:pt x="863" y="8"/>
                    <a:pt x="859" y="4"/>
                  </a:cubicBezTo>
                  <a:cubicBezTo>
                    <a:pt x="855" y="0"/>
                    <a:pt x="838" y="1"/>
                    <a:pt x="838" y="12"/>
                  </a:cubicBezTo>
                  <a:cubicBezTo>
                    <a:pt x="838" y="22"/>
                    <a:pt x="828" y="18"/>
                    <a:pt x="822" y="26"/>
                  </a:cubicBezTo>
                  <a:cubicBezTo>
                    <a:pt x="815" y="34"/>
                    <a:pt x="802" y="37"/>
                    <a:pt x="798" y="32"/>
                  </a:cubicBezTo>
                  <a:cubicBezTo>
                    <a:pt x="794" y="26"/>
                    <a:pt x="788" y="18"/>
                    <a:pt x="776" y="17"/>
                  </a:cubicBezTo>
                  <a:cubicBezTo>
                    <a:pt x="764" y="16"/>
                    <a:pt x="770" y="28"/>
                    <a:pt x="754" y="29"/>
                  </a:cubicBezTo>
                  <a:cubicBezTo>
                    <a:pt x="738" y="30"/>
                    <a:pt x="743" y="34"/>
                    <a:pt x="727" y="45"/>
                  </a:cubicBezTo>
                  <a:cubicBezTo>
                    <a:pt x="711" y="56"/>
                    <a:pt x="708" y="48"/>
                    <a:pt x="694" y="40"/>
                  </a:cubicBezTo>
                  <a:cubicBezTo>
                    <a:pt x="679" y="32"/>
                    <a:pt x="663" y="50"/>
                    <a:pt x="662" y="68"/>
                  </a:cubicBezTo>
                  <a:cubicBezTo>
                    <a:pt x="660" y="85"/>
                    <a:pt x="643" y="88"/>
                    <a:pt x="623" y="78"/>
                  </a:cubicBezTo>
                  <a:cubicBezTo>
                    <a:pt x="603" y="69"/>
                    <a:pt x="604" y="77"/>
                    <a:pt x="583" y="74"/>
                  </a:cubicBezTo>
                  <a:cubicBezTo>
                    <a:pt x="562" y="72"/>
                    <a:pt x="562" y="66"/>
                    <a:pt x="547" y="66"/>
                  </a:cubicBezTo>
                  <a:cubicBezTo>
                    <a:pt x="532" y="66"/>
                    <a:pt x="526" y="64"/>
                    <a:pt x="522" y="52"/>
                  </a:cubicBezTo>
                  <a:cubicBezTo>
                    <a:pt x="518" y="40"/>
                    <a:pt x="510" y="34"/>
                    <a:pt x="495" y="21"/>
                  </a:cubicBezTo>
                  <a:cubicBezTo>
                    <a:pt x="480" y="8"/>
                    <a:pt x="452" y="14"/>
                    <a:pt x="443" y="29"/>
                  </a:cubicBezTo>
                  <a:cubicBezTo>
                    <a:pt x="434" y="44"/>
                    <a:pt x="443" y="42"/>
                    <a:pt x="416" y="56"/>
                  </a:cubicBezTo>
                  <a:cubicBezTo>
                    <a:pt x="390" y="69"/>
                    <a:pt x="407" y="77"/>
                    <a:pt x="410" y="93"/>
                  </a:cubicBezTo>
                  <a:cubicBezTo>
                    <a:pt x="410" y="94"/>
                    <a:pt x="410" y="96"/>
                    <a:pt x="410" y="97"/>
                  </a:cubicBezTo>
                  <a:cubicBezTo>
                    <a:pt x="410" y="97"/>
                    <a:pt x="410" y="98"/>
                    <a:pt x="410" y="98"/>
                  </a:cubicBezTo>
                  <a:cubicBezTo>
                    <a:pt x="411" y="100"/>
                    <a:pt x="411" y="103"/>
                    <a:pt x="411" y="105"/>
                  </a:cubicBezTo>
                  <a:cubicBezTo>
                    <a:pt x="411" y="106"/>
                    <a:pt x="411" y="106"/>
                    <a:pt x="411" y="106"/>
                  </a:cubicBezTo>
                  <a:cubicBezTo>
                    <a:pt x="411" y="108"/>
                    <a:pt x="410" y="110"/>
                    <a:pt x="410" y="112"/>
                  </a:cubicBezTo>
                  <a:cubicBezTo>
                    <a:pt x="410" y="113"/>
                    <a:pt x="410" y="113"/>
                    <a:pt x="410" y="113"/>
                  </a:cubicBezTo>
                  <a:cubicBezTo>
                    <a:pt x="409" y="115"/>
                    <a:pt x="409" y="116"/>
                    <a:pt x="408" y="118"/>
                  </a:cubicBezTo>
                  <a:cubicBezTo>
                    <a:pt x="408" y="118"/>
                    <a:pt x="408" y="118"/>
                    <a:pt x="407" y="118"/>
                  </a:cubicBezTo>
                  <a:cubicBezTo>
                    <a:pt x="407" y="119"/>
                    <a:pt x="407" y="120"/>
                    <a:pt x="406" y="120"/>
                  </a:cubicBezTo>
                  <a:cubicBezTo>
                    <a:pt x="408" y="128"/>
                    <a:pt x="408" y="136"/>
                    <a:pt x="408" y="142"/>
                  </a:cubicBezTo>
                  <a:cubicBezTo>
                    <a:pt x="408" y="154"/>
                    <a:pt x="406" y="165"/>
                    <a:pt x="384" y="184"/>
                  </a:cubicBezTo>
                  <a:cubicBezTo>
                    <a:pt x="363" y="202"/>
                    <a:pt x="370" y="217"/>
                    <a:pt x="368" y="246"/>
                  </a:cubicBezTo>
                  <a:cubicBezTo>
                    <a:pt x="367" y="276"/>
                    <a:pt x="351" y="304"/>
                    <a:pt x="338" y="328"/>
                  </a:cubicBezTo>
                  <a:cubicBezTo>
                    <a:pt x="324" y="352"/>
                    <a:pt x="316" y="364"/>
                    <a:pt x="311" y="388"/>
                  </a:cubicBezTo>
                  <a:cubicBezTo>
                    <a:pt x="306" y="412"/>
                    <a:pt x="286" y="436"/>
                    <a:pt x="266" y="453"/>
                  </a:cubicBezTo>
                  <a:cubicBezTo>
                    <a:pt x="246" y="470"/>
                    <a:pt x="255" y="509"/>
                    <a:pt x="255" y="529"/>
                  </a:cubicBezTo>
                  <a:cubicBezTo>
                    <a:pt x="255" y="549"/>
                    <a:pt x="256" y="562"/>
                    <a:pt x="246" y="580"/>
                  </a:cubicBezTo>
                  <a:cubicBezTo>
                    <a:pt x="235" y="597"/>
                    <a:pt x="228" y="593"/>
                    <a:pt x="210" y="596"/>
                  </a:cubicBezTo>
                  <a:cubicBezTo>
                    <a:pt x="191" y="598"/>
                    <a:pt x="204" y="613"/>
                    <a:pt x="211" y="620"/>
                  </a:cubicBezTo>
                  <a:cubicBezTo>
                    <a:pt x="218" y="626"/>
                    <a:pt x="218" y="632"/>
                    <a:pt x="216" y="641"/>
                  </a:cubicBezTo>
                  <a:cubicBezTo>
                    <a:pt x="215" y="650"/>
                    <a:pt x="200" y="640"/>
                    <a:pt x="180" y="636"/>
                  </a:cubicBezTo>
                  <a:cubicBezTo>
                    <a:pt x="160" y="632"/>
                    <a:pt x="172" y="642"/>
                    <a:pt x="160" y="656"/>
                  </a:cubicBezTo>
                  <a:cubicBezTo>
                    <a:pt x="148" y="669"/>
                    <a:pt x="143" y="656"/>
                    <a:pt x="143" y="644"/>
                  </a:cubicBezTo>
                  <a:cubicBezTo>
                    <a:pt x="143" y="632"/>
                    <a:pt x="143" y="628"/>
                    <a:pt x="122" y="624"/>
                  </a:cubicBezTo>
                  <a:cubicBezTo>
                    <a:pt x="100" y="620"/>
                    <a:pt x="108" y="628"/>
                    <a:pt x="88" y="645"/>
                  </a:cubicBezTo>
                  <a:cubicBezTo>
                    <a:pt x="68" y="662"/>
                    <a:pt x="78" y="654"/>
                    <a:pt x="60" y="649"/>
                  </a:cubicBezTo>
                  <a:cubicBezTo>
                    <a:pt x="59" y="649"/>
                    <a:pt x="58" y="648"/>
                    <a:pt x="58" y="648"/>
                  </a:cubicBezTo>
                  <a:cubicBezTo>
                    <a:pt x="57" y="648"/>
                    <a:pt x="57" y="648"/>
                    <a:pt x="57" y="648"/>
                  </a:cubicBezTo>
                  <a:cubicBezTo>
                    <a:pt x="56" y="648"/>
                    <a:pt x="56" y="648"/>
                    <a:pt x="55" y="647"/>
                  </a:cubicBezTo>
                  <a:cubicBezTo>
                    <a:pt x="55" y="647"/>
                    <a:pt x="55" y="647"/>
                    <a:pt x="55" y="647"/>
                  </a:cubicBezTo>
                  <a:cubicBezTo>
                    <a:pt x="54" y="647"/>
                    <a:pt x="54" y="647"/>
                    <a:pt x="54" y="647"/>
                  </a:cubicBezTo>
                  <a:cubicBezTo>
                    <a:pt x="53" y="647"/>
                    <a:pt x="53" y="646"/>
                    <a:pt x="53" y="646"/>
                  </a:cubicBezTo>
                  <a:cubicBezTo>
                    <a:pt x="53" y="646"/>
                    <a:pt x="53" y="646"/>
                    <a:pt x="52" y="646"/>
                  </a:cubicBezTo>
                  <a:cubicBezTo>
                    <a:pt x="52" y="646"/>
                    <a:pt x="52" y="646"/>
                    <a:pt x="52" y="646"/>
                  </a:cubicBezTo>
                  <a:cubicBezTo>
                    <a:pt x="51" y="645"/>
                    <a:pt x="51" y="645"/>
                    <a:pt x="50" y="644"/>
                  </a:cubicBezTo>
                  <a:cubicBezTo>
                    <a:pt x="50" y="644"/>
                    <a:pt x="50" y="644"/>
                    <a:pt x="50" y="644"/>
                  </a:cubicBezTo>
                  <a:cubicBezTo>
                    <a:pt x="49" y="643"/>
                    <a:pt x="50" y="641"/>
                    <a:pt x="48" y="637"/>
                  </a:cubicBezTo>
                  <a:cubicBezTo>
                    <a:pt x="48" y="637"/>
                    <a:pt x="48" y="637"/>
                    <a:pt x="48" y="637"/>
                  </a:cubicBezTo>
                  <a:cubicBezTo>
                    <a:pt x="44" y="643"/>
                    <a:pt x="42" y="651"/>
                    <a:pt x="39" y="656"/>
                  </a:cubicBezTo>
                  <a:cubicBezTo>
                    <a:pt x="35" y="662"/>
                    <a:pt x="26" y="665"/>
                    <a:pt x="22" y="670"/>
                  </a:cubicBezTo>
                  <a:cubicBezTo>
                    <a:pt x="18" y="674"/>
                    <a:pt x="19" y="693"/>
                    <a:pt x="18" y="708"/>
                  </a:cubicBezTo>
                  <a:cubicBezTo>
                    <a:pt x="17" y="717"/>
                    <a:pt x="8" y="719"/>
                    <a:pt x="0" y="719"/>
                  </a:cubicBezTo>
                  <a:cubicBezTo>
                    <a:pt x="0" y="723"/>
                    <a:pt x="0" y="726"/>
                    <a:pt x="0" y="729"/>
                  </a:cubicBezTo>
                  <a:cubicBezTo>
                    <a:pt x="13" y="726"/>
                    <a:pt x="44" y="720"/>
                    <a:pt x="62" y="720"/>
                  </a:cubicBezTo>
                  <a:cubicBezTo>
                    <a:pt x="84" y="720"/>
                    <a:pt x="131" y="718"/>
                    <a:pt x="156" y="72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494" name="Freeform 25689"/>
            <p:cNvSpPr>
              <a:spLocks/>
            </p:cNvSpPr>
            <p:nvPr/>
          </p:nvSpPr>
          <p:spPr bwMode="auto">
            <a:xfrm>
              <a:off x="4567580" y="3933443"/>
              <a:ext cx="23517" cy="36933"/>
            </a:xfrm>
            <a:custGeom>
              <a:avLst/>
              <a:gdLst>
                <a:gd name="T0" fmla="*/ 33 w 63"/>
                <a:gd name="T1" fmla="*/ 88 h 99"/>
                <a:gd name="T2" fmla="*/ 37 w 63"/>
                <a:gd name="T3" fmla="*/ 50 h 99"/>
                <a:gd name="T4" fmla="*/ 54 w 63"/>
                <a:gd name="T5" fmla="*/ 36 h 99"/>
                <a:gd name="T6" fmla="*/ 63 w 63"/>
                <a:gd name="T7" fmla="*/ 17 h 99"/>
                <a:gd name="T8" fmla="*/ 63 w 63"/>
                <a:gd name="T9" fmla="*/ 17 h 99"/>
                <a:gd name="T10" fmla="*/ 62 w 63"/>
                <a:gd name="T11" fmla="*/ 15 h 99"/>
                <a:gd name="T12" fmla="*/ 61 w 63"/>
                <a:gd name="T13" fmla="*/ 14 h 99"/>
                <a:gd name="T14" fmla="*/ 61 w 63"/>
                <a:gd name="T15" fmla="*/ 13 h 99"/>
                <a:gd name="T16" fmla="*/ 59 w 63"/>
                <a:gd name="T17" fmla="*/ 12 h 99"/>
                <a:gd name="T18" fmla="*/ 25 w 63"/>
                <a:gd name="T19" fmla="*/ 26 h 99"/>
                <a:gd name="T20" fmla="*/ 0 w 63"/>
                <a:gd name="T21" fmla="*/ 43 h 99"/>
                <a:gd name="T22" fmla="*/ 2 w 63"/>
                <a:gd name="T23" fmla="*/ 46 h 99"/>
                <a:gd name="T24" fmla="*/ 15 w 63"/>
                <a:gd name="T25" fmla="*/ 87 h 99"/>
                <a:gd name="T26" fmla="*/ 15 w 63"/>
                <a:gd name="T27" fmla="*/ 99 h 99"/>
                <a:gd name="T28" fmla="*/ 33 w 63"/>
                <a:gd name="T29" fmla="*/ 88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3" h="99">
                  <a:moveTo>
                    <a:pt x="33" y="88"/>
                  </a:moveTo>
                  <a:cubicBezTo>
                    <a:pt x="34" y="73"/>
                    <a:pt x="33" y="54"/>
                    <a:pt x="37" y="50"/>
                  </a:cubicBezTo>
                  <a:cubicBezTo>
                    <a:pt x="41" y="45"/>
                    <a:pt x="50" y="42"/>
                    <a:pt x="54" y="36"/>
                  </a:cubicBezTo>
                  <a:cubicBezTo>
                    <a:pt x="57" y="31"/>
                    <a:pt x="59" y="23"/>
                    <a:pt x="63" y="17"/>
                  </a:cubicBezTo>
                  <a:cubicBezTo>
                    <a:pt x="63" y="17"/>
                    <a:pt x="63" y="17"/>
                    <a:pt x="63" y="17"/>
                  </a:cubicBezTo>
                  <a:cubicBezTo>
                    <a:pt x="63" y="16"/>
                    <a:pt x="62" y="16"/>
                    <a:pt x="62" y="15"/>
                  </a:cubicBezTo>
                  <a:cubicBezTo>
                    <a:pt x="62" y="15"/>
                    <a:pt x="62" y="14"/>
                    <a:pt x="61" y="14"/>
                  </a:cubicBezTo>
                  <a:cubicBezTo>
                    <a:pt x="61" y="14"/>
                    <a:pt x="61" y="14"/>
                    <a:pt x="61" y="13"/>
                  </a:cubicBezTo>
                  <a:cubicBezTo>
                    <a:pt x="60" y="13"/>
                    <a:pt x="60" y="12"/>
                    <a:pt x="59" y="12"/>
                  </a:cubicBezTo>
                  <a:cubicBezTo>
                    <a:pt x="49" y="0"/>
                    <a:pt x="39" y="16"/>
                    <a:pt x="25" y="26"/>
                  </a:cubicBezTo>
                  <a:cubicBezTo>
                    <a:pt x="18" y="31"/>
                    <a:pt x="8" y="38"/>
                    <a:pt x="0" y="43"/>
                  </a:cubicBezTo>
                  <a:cubicBezTo>
                    <a:pt x="1" y="44"/>
                    <a:pt x="1" y="45"/>
                    <a:pt x="2" y="46"/>
                  </a:cubicBezTo>
                  <a:cubicBezTo>
                    <a:pt x="11" y="59"/>
                    <a:pt x="15" y="67"/>
                    <a:pt x="15" y="87"/>
                  </a:cubicBezTo>
                  <a:cubicBezTo>
                    <a:pt x="15" y="92"/>
                    <a:pt x="15" y="95"/>
                    <a:pt x="15" y="99"/>
                  </a:cubicBezTo>
                  <a:cubicBezTo>
                    <a:pt x="23" y="99"/>
                    <a:pt x="32" y="97"/>
                    <a:pt x="33" y="88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495" name="Freeform 25690"/>
            <p:cNvSpPr>
              <a:spLocks/>
            </p:cNvSpPr>
            <p:nvPr/>
          </p:nvSpPr>
          <p:spPr bwMode="auto">
            <a:xfrm>
              <a:off x="5050080" y="3047679"/>
              <a:ext cx="64081" cy="105591"/>
            </a:xfrm>
            <a:custGeom>
              <a:avLst/>
              <a:gdLst>
                <a:gd name="T0" fmla="*/ 167 w 172"/>
                <a:gd name="T1" fmla="*/ 178 h 283"/>
                <a:gd name="T2" fmla="*/ 168 w 172"/>
                <a:gd name="T3" fmla="*/ 176 h 283"/>
                <a:gd name="T4" fmla="*/ 168 w 172"/>
                <a:gd name="T5" fmla="*/ 174 h 283"/>
                <a:gd name="T6" fmla="*/ 169 w 172"/>
                <a:gd name="T7" fmla="*/ 173 h 283"/>
                <a:gd name="T8" fmla="*/ 169 w 172"/>
                <a:gd name="T9" fmla="*/ 170 h 283"/>
                <a:gd name="T10" fmla="*/ 169 w 172"/>
                <a:gd name="T11" fmla="*/ 170 h 283"/>
                <a:gd name="T12" fmla="*/ 167 w 172"/>
                <a:gd name="T13" fmla="*/ 155 h 283"/>
                <a:gd name="T14" fmla="*/ 167 w 172"/>
                <a:gd name="T15" fmla="*/ 155 h 283"/>
                <a:gd name="T16" fmla="*/ 167 w 172"/>
                <a:gd name="T17" fmla="*/ 154 h 283"/>
                <a:gd name="T18" fmla="*/ 167 w 172"/>
                <a:gd name="T19" fmla="*/ 153 h 283"/>
                <a:gd name="T20" fmla="*/ 167 w 172"/>
                <a:gd name="T21" fmla="*/ 152 h 283"/>
                <a:gd name="T22" fmla="*/ 167 w 172"/>
                <a:gd name="T23" fmla="*/ 151 h 283"/>
                <a:gd name="T24" fmla="*/ 166 w 172"/>
                <a:gd name="T25" fmla="*/ 149 h 283"/>
                <a:gd name="T26" fmla="*/ 166 w 172"/>
                <a:gd name="T27" fmla="*/ 149 h 283"/>
                <a:gd name="T28" fmla="*/ 166 w 172"/>
                <a:gd name="T29" fmla="*/ 147 h 283"/>
                <a:gd name="T30" fmla="*/ 166 w 172"/>
                <a:gd name="T31" fmla="*/ 147 h 283"/>
                <a:gd name="T32" fmla="*/ 166 w 172"/>
                <a:gd name="T33" fmla="*/ 144 h 283"/>
                <a:gd name="T34" fmla="*/ 166 w 172"/>
                <a:gd name="T35" fmla="*/ 144 h 283"/>
                <a:gd name="T36" fmla="*/ 165 w 172"/>
                <a:gd name="T37" fmla="*/ 142 h 283"/>
                <a:gd name="T38" fmla="*/ 165 w 172"/>
                <a:gd name="T39" fmla="*/ 141 h 283"/>
                <a:gd name="T40" fmla="*/ 165 w 172"/>
                <a:gd name="T41" fmla="*/ 139 h 283"/>
                <a:gd name="T42" fmla="*/ 164 w 172"/>
                <a:gd name="T43" fmla="*/ 138 h 283"/>
                <a:gd name="T44" fmla="*/ 164 w 172"/>
                <a:gd name="T45" fmla="*/ 136 h 283"/>
                <a:gd name="T46" fmla="*/ 163 w 172"/>
                <a:gd name="T47" fmla="*/ 135 h 283"/>
                <a:gd name="T48" fmla="*/ 163 w 172"/>
                <a:gd name="T49" fmla="*/ 133 h 283"/>
                <a:gd name="T50" fmla="*/ 162 w 172"/>
                <a:gd name="T51" fmla="*/ 131 h 283"/>
                <a:gd name="T52" fmla="*/ 162 w 172"/>
                <a:gd name="T53" fmla="*/ 129 h 283"/>
                <a:gd name="T54" fmla="*/ 161 w 172"/>
                <a:gd name="T55" fmla="*/ 128 h 283"/>
                <a:gd name="T56" fmla="*/ 161 w 172"/>
                <a:gd name="T57" fmla="*/ 126 h 283"/>
                <a:gd name="T58" fmla="*/ 160 w 172"/>
                <a:gd name="T59" fmla="*/ 124 h 283"/>
                <a:gd name="T60" fmla="*/ 159 w 172"/>
                <a:gd name="T61" fmla="*/ 123 h 283"/>
                <a:gd name="T62" fmla="*/ 159 w 172"/>
                <a:gd name="T63" fmla="*/ 121 h 283"/>
                <a:gd name="T64" fmla="*/ 158 w 172"/>
                <a:gd name="T65" fmla="*/ 120 h 283"/>
                <a:gd name="T66" fmla="*/ 157 w 172"/>
                <a:gd name="T67" fmla="*/ 118 h 283"/>
                <a:gd name="T68" fmla="*/ 156 w 172"/>
                <a:gd name="T69" fmla="*/ 117 h 283"/>
                <a:gd name="T70" fmla="*/ 155 w 172"/>
                <a:gd name="T71" fmla="*/ 115 h 283"/>
                <a:gd name="T72" fmla="*/ 155 w 172"/>
                <a:gd name="T73" fmla="*/ 114 h 283"/>
                <a:gd name="T74" fmla="*/ 154 w 172"/>
                <a:gd name="T75" fmla="*/ 112 h 283"/>
                <a:gd name="T76" fmla="*/ 153 w 172"/>
                <a:gd name="T77" fmla="*/ 111 h 283"/>
                <a:gd name="T78" fmla="*/ 152 w 172"/>
                <a:gd name="T79" fmla="*/ 110 h 283"/>
                <a:gd name="T80" fmla="*/ 151 w 172"/>
                <a:gd name="T81" fmla="*/ 109 h 283"/>
                <a:gd name="T82" fmla="*/ 149 w 172"/>
                <a:gd name="T83" fmla="*/ 107 h 283"/>
                <a:gd name="T84" fmla="*/ 136 w 172"/>
                <a:gd name="T85" fmla="*/ 63 h 283"/>
                <a:gd name="T86" fmla="*/ 140 w 172"/>
                <a:gd name="T87" fmla="*/ 24 h 283"/>
                <a:gd name="T88" fmla="*/ 144 w 172"/>
                <a:gd name="T89" fmla="*/ 0 h 283"/>
                <a:gd name="T90" fmla="*/ 119 w 172"/>
                <a:gd name="T91" fmla="*/ 31 h 283"/>
                <a:gd name="T92" fmla="*/ 74 w 172"/>
                <a:gd name="T93" fmla="*/ 38 h 283"/>
                <a:gd name="T94" fmla="*/ 40 w 172"/>
                <a:gd name="T95" fmla="*/ 41 h 283"/>
                <a:gd name="T96" fmla="*/ 13 w 172"/>
                <a:gd name="T97" fmla="*/ 38 h 283"/>
                <a:gd name="T98" fmla="*/ 8 w 172"/>
                <a:gd name="T99" fmla="*/ 64 h 283"/>
                <a:gd name="T100" fmla="*/ 16 w 172"/>
                <a:gd name="T101" fmla="*/ 107 h 283"/>
                <a:gd name="T102" fmla="*/ 24 w 172"/>
                <a:gd name="T103" fmla="*/ 137 h 283"/>
                <a:gd name="T104" fmla="*/ 43 w 172"/>
                <a:gd name="T105" fmla="*/ 175 h 283"/>
                <a:gd name="T106" fmla="*/ 69 w 172"/>
                <a:gd name="T107" fmla="*/ 226 h 283"/>
                <a:gd name="T108" fmla="*/ 105 w 172"/>
                <a:gd name="T109" fmla="*/ 264 h 283"/>
                <a:gd name="T110" fmla="*/ 130 w 172"/>
                <a:gd name="T111" fmla="*/ 274 h 283"/>
                <a:gd name="T112" fmla="*/ 143 w 172"/>
                <a:gd name="T113" fmla="*/ 247 h 283"/>
                <a:gd name="T114" fmla="*/ 149 w 172"/>
                <a:gd name="T115" fmla="*/ 217 h 283"/>
                <a:gd name="T116" fmla="*/ 160 w 172"/>
                <a:gd name="T117" fmla="*/ 185 h 283"/>
                <a:gd name="T118" fmla="*/ 164 w 172"/>
                <a:gd name="T119" fmla="*/ 185 h 283"/>
                <a:gd name="T120" fmla="*/ 166 w 172"/>
                <a:gd name="T121" fmla="*/ 180 h 283"/>
                <a:gd name="T122" fmla="*/ 167 w 172"/>
                <a:gd name="T123" fmla="*/ 178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72" h="283">
                  <a:moveTo>
                    <a:pt x="167" y="178"/>
                  </a:moveTo>
                  <a:cubicBezTo>
                    <a:pt x="167" y="177"/>
                    <a:pt x="167" y="177"/>
                    <a:pt x="168" y="176"/>
                  </a:cubicBezTo>
                  <a:cubicBezTo>
                    <a:pt x="168" y="175"/>
                    <a:pt x="168" y="174"/>
                    <a:pt x="168" y="174"/>
                  </a:cubicBezTo>
                  <a:cubicBezTo>
                    <a:pt x="168" y="173"/>
                    <a:pt x="169" y="173"/>
                    <a:pt x="169" y="173"/>
                  </a:cubicBezTo>
                  <a:cubicBezTo>
                    <a:pt x="169" y="172"/>
                    <a:pt x="169" y="171"/>
                    <a:pt x="169" y="170"/>
                  </a:cubicBezTo>
                  <a:cubicBezTo>
                    <a:pt x="169" y="170"/>
                    <a:pt x="169" y="170"/>
                    <a:pt x="169" y="170"/>
                  </a:cubicBezTo>
                  <a:cubicBezTo>
                    <a:pt x="172" y="160"/>
                    <a:pt x="168" y="159"/>
                    <a:pt x="167" y="155"/>
                  </a:cubicBezTo>
                  <a:cubicBezTo>
                    <a:pt x="167" y="155"/>
                    <a:pt x="167" y="155"/>
                    <a:pt x="167" y="155"/>
                  </a:cubicBezTo>
                  <a:cubicBezTo>
                    <a:pt x="167" y="154"/>
                    <a:pt x="167" y="154"/>
                    <a:pt x="167" y="154"/>
                  </a:cubicBezTo>
                  <a:cubicBezTo>
                    <a:pt x="167" y="154"/>
                    <a:pt x="167" y="153"/>
                    <a:pt x="167" y="153"/>
                  </a:cubicBezTo>
                  <a:cubicBezTo>
                    <a:pt x="167" y="153"/>
                    <a:pt x="167" y="152"/>
                    <a:pt x="167" y="152"/>
                  </a:cubicBezTo>
                  <a:cubicBezTo>
                    <a:pt x="167" y="152"/>
                    <a:pt x="167" y="151"/>
                    <a:pt x="167" y="151"/>
                  </a:cubicBezTo>
                  <a:cubicBezTo>
                    <a:pt x="167" y="150"/>
                    <a:pt x="167" y="150"/>
                    <a:pt x="166" y="149"/>
                  </a:cubicBezTo>
                  <a:cubicBezTo>
                    <a:pt x="166" y="149"/>
                    <a:pt x="166" y="149"/>
                    <a:pt x="166" y="149"/>
                  </a:cubicBezTo>
                  <a:cubicBezTo>
                    <a:pt x="166" y="148"/>
                    <a:pt x="166" y="148"/>
                    <a:pt x="166" y="147"/>
                  </a:cubicBezTo>
                  <a:cubicBezTo>
                    <a:pt x="166" y="147"/>
                    <a:pt x="166" y="147"/>
                    <a:pt x="166" y="147"/>
                  </a:cubicBezTo>
                  <a:cubicBezTo>
                    <a:pt x="166" y="146"/>
                    <a:pt x="166" y="145"/>
                    <a:pt x="166" y="144"/>
                  </a:cubicBezTo>
                  <a:cubicBezTo>
                    <a:pt x="166" y="144"/>
                    <a:pt x="166" y="144"/>
                    <a:pt x="166" y="144"/>
                  </a:cubicBezTo>
                  <a:cubicBezTo>
                    <a:pt x="166" y="143"/>
                    <a:pt x="165" y="142"/>
                    <a:pt x="165" y="142"/>
                  </a:cubicBezTo>
                  <a:cubicBezTo>
                    <a:pt x="165" y="141"/>
                    <a:pt x="165" y="141"/>
                    <a:pt x="165" y="141"/>
                  </a:cubicBezTo>
                  <a:cubicBezTo>
                    <a:pt x="165" y="140"/>
                    <a:pt x="165" y="139"/>
                    <a:pt x="165" y="139"/>
                  </a:cubicBezTo>
                  <a:cubicBezTo>
                    <a:pt x="165" y="138"/>
                    <a:pt x="164" y="138"/>
                    <a:pt x="164" y="138"/>
                  </a:cubicBezTo>
                  <a:cubicBezTo>
                    <a:pt x="164" y="137"/>
                    <a:pt x="164" y="136"/>
                    <a:pt x="164" y="136"/>
                  </a:cubicBezTo>
                  <a:cubicBezTo>
                    <a:pt x="164" y="135"/>
                    <a:pt x="164" y="135"/>
                    <a:pt x="163" y="135"/>
                  </a:cubicBezTo>
                  <a:cubicBezTo>
                    <a:pt x="163" y="134"/>
                    <a:pt x="163" y="133"/>
                    <a:pt x="163" y="133"/>
                  </a:cubicBezTo>
                  <a:cubicBezTo>
                    <a:pt x="163" y="132"/>
                    <a:pt x="163" y="132"/>
                    <a:pt x="162" y="131"/>
                  </a:cubicBezTo>
                  <a:cubicBezTo>
                    <a:pt x="162" y="131"/>
                    <a:pt x="162" y="130"/>
                    <a:pt x="162" y="129"/>
                  </a:cubicBezTo>
                  <a:cubicBezTo>
                    <a:pt x="162" y="129"/>
                    <a:pt x="161" y="128"/>
                    <a:pt x="161" y="128"/>
                  </a:cubicBezTo>
                  <a:cubicBezTo>
                    <a:pt x="161" y="127"/>
                    <a:pt x="161" y="127"/>
                    <a:pt x="161" y="126"/>
                  </a:cubicBezTo>
                  <a:cubicBezTo>
                    <a:pt x="160" y="126"/>
                    <a:pt x="160" y="125"/>
                    <a:pt x="160" y="124"/>
                  </a:cubicBezTo>
                  <a:cubicBezTo>
                    <a:pt x="160" y="124"/>
                    <a:pt x="160" y="123"/>
                    <a:pt x="159" y="123"/>
                  </a:cubicBezTo>
                  <a:cubicBezTo>
                    <a:pt x="159" y="122"/>
                    <a:pt x="159" y="122"/>
                    <a:pt x="159" y="121"/>
                  </a:cubicBezTo>
                  <a:cubicBezTo>
                    <a:pt x="158" y="121"/>
                    <a:pt x="158" y="120"/>
                    <a:pt x="158" y="120"/>
                  </a:cubicBezTo>
                  <a:cubicBezTo>
                    <a:pt x="158" y="119"/>
                    <a:pt x="157" y="119"/>
                    <a:pt x="157" y="118"/>
                  </a:cubicBezTo>
                  <a:cubicBezTo>
                    <a:pt x="157" y="118"/>
                    <a:pt x="157" y="117"/>
                    <a:pt x="156" y="117"/>
                  </a:cubicBezTo>
                  <a:cubicBezTo>
                    <a:pt x="156" y="116"/>
                    <a:pt x="156" y="116"/>
                    <a:pt x="155" y="115"/>
                  </a:cubicBezTo>
                  <a:cubicBezTo>
                    <a:pt x="155" y="115"/>
                    <a:pt x="155" y="114"/>
                    <a:pt x="155" y="114"/>
                  </a:cubicBezTo>
                  <a:cubicBezTo>
                    <a:pt x="154" y="113"/>
                    <a:pt x="154" y="113"/>
                    <a:pt x="154" y="112"/>
                  </a:cubicBezTo>
                  <a:cubicBezTo>
                    <a:pt x="154" y="112"/>
                    <a:pt x="153" y="112"/>
                    <a:pt x="153" y="111"/>
                  </a:cubicBezTo>
                  <a:cubicBezTo>
                    <a:pt x="153" y="111"/>
                    <a:pt x="152" y="110"/>
                    <a:pt x="152" y="110"/>
                  </a:cubicBezTo>
                  <a:cubicBezTo>
                    <a:pt x="152" y="109"/>
                    <a:pt x="151" y="109"/>
                    <a:pt x="151" y="109"/>
                  </a:cubicBezTo>
                  <a:cubicBezTo>
                    <a:pt x="151" y="108"/>
                    <a:pt x="150" y="107"/>
                    <a:pt x="149" y="107"/>
                  </a:cubicBezTo>
                  <a:cubicBezTo>
                    <a:pt x="139" y="96"/>
                    <a:pt x="147" y="79"/>
                    <a:pt x="136" y="63"/>
                  </a:cubicBezTo>
                  <a:cubicBezTo>
                    <a:pt x="125" y="47"/>
                    <a:pt x="131" y="36"/>
                    <a:pt x="140" y="24"/>
                  </a:cubicBezTo>
                  <a:cubicBezTo>
                    <a:pt x="145" y="17"/>
                    <a:pt x="145" y="8"/>
                    <a:pt x="144" y="0"/>
                  </a:cubicBezTo>
                  <a:cubicBezTo>
                    <a:pt x="135" y="16"/>
                    <a:pt x="128" y="13"/>
                    <a:pt x="119" y="31"/>
                  </a:cubicBezTo>
                  <a:cubicBezTo>
                    <a:pt x="109" y="51"/>
                    <a:pt x="76" y="44"/>
                    <a:pt x="74" y="38"/>
                  </a:cubicBezTo>
                  <a:cubicBezTo>
                    <a:pt x="73" y="32"/>
                    <a:pt x="47" y="29"/>
                    <a:pt x="40" y="41"/>
                  </a:cubicBezTo>
                  <a:cubicBezTo>
                    <a:pt x="33" y="52"/>
                    <a:pt x="26" y="44"/>
                    <a:pt x="13" y="38"/>
                  </a:cubicBezTo>
                  <a:cubicBezTo>
                    <a:pt x="0" y="32"/>
                    <a:pt x="7" y="46"/>
                    <a:pt x="8" y="64"/>
                  </a:cubicBezTo>
                  <a:cubicBezTo>
                    <a:pt x="10" y="81"/>
                    <a:pt x="16" y="84"/>
                    <a:pt x="16" y="107"/>
                  </a:cubicBezTo>
                  <a:cubicBezTo>
                    <a:pt x="16" y="130"/>
                    <a:pt x="21" y="121"/>
                    <a:pt x="24" y="137"/>
                  </a:cubicBezTo>
                  <a:cubicBezTo>
                    <a:pt x="27" y="152"/>
                    <a:pt x="27" y="160"/>
                    <a:pt x="43" y="175"/>
                  </a:cubicBezTo>
                  <a:cubicBezTo>
                    <a:pt x="59" y="191"/>
                    <a:pt x="62" y="208"/>
                    <a:pt x="69" y="226"/>
                  </a:cubicBezTo>
                  <a:cubicBezTo>
                    <a:pt x="76" y="243"/>
                    <a:pt x="90" y="246"/>
                    <a:pt x="105" y="264"/>
                  </a:cubicBezTo>
                  <a:cubicBezTo>
                    <a:pt x="119" y="283"/>
                    <a:pt x="129" y="283"/>
                    <a:pt x="130" y="274"/>
                  </a:cubicBezTo>
                  <a:cubicBezTo>
                    <a:pt x="132" y="266"/>
                    <a:pt x="143" y="263"/>
                    <a:pt x="143" y="247"/>
                  </a:cubicBezTo>
                  <a:cubicBezTo>
                    <a:pt x="143" y="231"/>
                    <a:pt x="136" y="226"/>
                    <a:pt x="149" y="217"/>
                  </a:cubicBezTo>
                  <a:cubicBezTo>
                    <a:pt x="162" y="208"/>
                    <a:pt x="149" y="190"/>
                    <a:pt x="160" y="185"/>
                  </a:cubicBezTo>
                  <a:cubicBezTo>
                    <a:pt x="162" y="185"/>
                    <a:pt x="163" y="185"/>
                    <a:pt x="164" y="185"/>
                  </a:cubicBezTo>
                  <a:cubicBezTo>
                    <a:pt x="165" y="183"/>
                    <a:pt x="166" y="182"/>
                    <a:pt x="166" y="180"/>
                  </a:cubicBezTo>
                  <a:cubicBezTo>
                    <a:pt x="167" y="179"/>
                    <a:pt x="167" y="179"/>
                    <a:pt x="167" y="178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496" name="Freeform 25691"/>
            <p:cNvSpPr>
              <a:spLocks/>
            </p:cNvSpPr>
            <p:nvPr/>
          </p:nvSpPr>
          <p:spPr bwMode="auto">
            <a:xfrm>
              <a:off x="4869201" y="3046890"/>
              <a:ext cx="264687" cy="261531"/>
            </a:xfrm>
            <a:custGeom>
              <a:avLst/>
              <a:gdLst>
                <a:gd name="T0" fmla="*/ 16 w 710"/>
                <a:gd name="T1" fmla="*/ 26 h 701"/>
                <a:gd name="T2" fmla="*/ 20 w 710"/>
                <a:gd name="T3" fmla="*/ 64 h 701"/>
                <a:gd name="T4" fmla="*/ 16 w 710"/>
                <a:gd name="T5" fmla="*/ 99 h 701"/>
                <a:gd name="T6" fmla="*/ 13 w 710"/>
                <a:gd name="T7" fmla="*/ 143 h 701"/>
                <a:gd name="T8" fmla="*/ 20 w 710"/>
                <a:gd name="T9" fmla="*/ 171 h 701"/>
                <a:gd name="T10" fmla="*/ 20 w 710"/>
                <a:gd name="T11" fmla="*/ 172 h 701"/>
                <a:gd name="T12" fmla="*/ 20 w 710"/>
                <a:gd name="T13" fmla="*/ 174 h 701"/>
                <a:gd name="T14" fmla="*/ 20 w 710"/>
                <a:gd name="T15" fmla="*/ 175 h 701"/>
                <a:gd name="T16" fmla="*/ 20 w 710"/>
                <a:gd name="T17" fmla="*/ 178 h 701"/>
                <a:gd name="T18" fmla="*/ 21 w 710"/>
                <a:gd name="T19" fmla="*/ 180 h 701"/>
                <a:gd name="T20" fmla="*/ 21 w 710"/>
                <a:gd name="T21" fmla="*/ 183 h 701"/>
                <a:gd name="T22" fmla="*/ 21 w 710"/>
                <a:gd name="T23" fmla="*/ 186 h 701"/>
                <a:gd name="T24" fmla="*/ 21 w 710"/>
                <a:gd name="T25" fmla="*/ 190 h 701"/>
                <a:gd name="T26" fmla="*/ 21 w 710"/>
                <a:gd name="T27" fmla="*/ 194 h 701"/>
                <a:gd name="T28" fmla="*/ 21 w 710"/>
                <a:gd name="T29" fmla="*/ 198 h 701"/>
                <a:gd name="T30" fmla="*/ 21 w 710"/>
                <a:gd name="T31" fmla="*/ 203 h 701"/>
                <a:gd name="T32" fmla="*/ 21 w 710"/>
                <a:gd name="T33" fmla="*/ 208 h 701"/>
                <a:gd name="T34" fmla="*/ 21 w 710"/>
                <a:gd name="T35" fmla="*/ 213 h 701"/>
                <a:gd name="T36" fmla="*/ 21 w 710"/>
                <a:gd name="T37" fmla="*/ 218 h 701"/>
                <a:gd name="T38" fmla="*/ 21 w 710"/>
                <a:gd name="T39" fmla="*/ 224 h 701"/>
                <a:gd name="T40" fmla="*/ 21 w 710"/>
                <a:gd name="T41" fmla="*/ 238 h 701"/>
                <a:gd name="T42" fmla="*/ 21 w 710"/>
                <a:gd name="T43" fmla="*/ 244 h 701"/>
                <a:gd name="T44" fmla="*/ 21 w 710"/>
                <a:gd name="T45" fmla="*/ 258 h 701"/>
                <a:gd name="T46" fmla="*/ 21 w 710"/>
                <a:gd name="T47" fmla="*/ 266 h 701"/>
                <a:gd name="T48" fmla="*/ 21 w 710"/>
                <a:gd name="T49" fmla="*/ 274 h 701"/>
                <a:gd name="T50" fmla="*/ 21 w 710"/>
                <a:gd name="T51" fmla="*/ 280 h 701"/>
                <a:gd name="T52" fmla="*/ 21 w 710"/>
                <a:gd name="T53" fmla="*/ 298 h 701"/>
                <a:gd name="T54" fmla="*/ 21 w 710"/>
                <a:gd name="T55" fmla="*/ 310 h 701"/>
                <a:gd name="T56" fmla="*/ 21 w 710"/>
                <a:gd name="T57" fmla="*/ 316 h 701"/>
                <a:gd name="T58" fmla="*/ 21 w 710"/>
                <a:gd name="T59" fmla="*/ 324 h 701"/>
                <a:gd name="T60" fmla="*/ 21 w 710"/>
                <a:gd name="T61" fmla="*/ 336 h 701"/>
                <a:gd name="T62" fmla="*/ 21 w 710"/>
                <a:gd name="T63" fmla="*/ 344 h 701"/>
                <a:gd name="T64" fmla="*/ 21 w 710"/>
                <a:gd name="T65" fmla="*/ 350 h 701"/>
                <a:gd name="T66" fmla="*/ 21 w 710"/>
                <a:gd name="T67" fmla="*/ 374 h 701"/>
                <a:gd name="T68" fmla="*/ 21 w 710"/>
                <a:gd name="T69" fmla="*/ 394 h 701"/>
                <a:gd name="T70" fmla="*/ 21 w 710"/>
                <a:gd name="T71" fmla="*/ 412 h 701"/>
                <a:gd name="T72" fmla="*/ 21 w 710"/>
                <a:gd name="T73" fmla="*/ 425 h 701"/>
                <a:gd name="T74" fmla="*/ 21 w 710"/>
                <a:gd name="T75" fmla="*/ 674 h 701"/>
                <a:gd name="T76" fmla="*/ 427 w 710"/>
                <a:gd name="T77" fmla="*/ 668 h 701"/>
                <a:gd name="T78" fmla="*/ 472 w 710"/>
                <a:gd name="T79" fmla="*/ 677 h 701"/>
                <a:gd name="T80" fmla="*/ 587 w 710"/>
                <a:gd name="T81" fmla="*/ 694 h 701"/>
                <a:gd name="T82" fmla="*/ 648 w 710"/>
                <a:gd name="T83" fmla="*/ 642 h 701"/>
                <a:gd name="T84" fmla="*/ 686 w 710"/>
                <a:gd name="T85" fmla="*/ 614 h 701"/>
                <a:gd name="T86" fmla="*/ 693 w 710"/>
                <a:gd name="T87" fmla="*/ 553 h 701"/>
                <a:gd name="T88" fmla="*/ 665 w 710"/>
                <a:gd name="T89" fmla="*/ 492 h 701"/>
                <a:gd name="T90" fmla="*/ 608 w 710"/>
                <a:gd name="T91" fmla="*/ 372 h 701"/>
                <a:gd name="T92" fmla="*/ 544 w 710"/>
                <a:gd name="T93" fmla="*/ 251 h 701"/>
                <a:gd name="T94" fmla="*/ 504 w 710"/>
                <a:gd name="T95" fmla="*/ 166 h 701"/>
                <a:gd name="T96" fmla="*/ 493 w 710"/>
                <a:gd name="T97" fmla="*/ 89 h 701"/>
                <a:gd name="T98" fmla="*/ 465 w 710"/>
                <a:gd name="T99" fmla="*/ 39 h 701"/>
                <a:gd name="T100" fmla="*/ 444 w 710"/>
                <a:gd name="T101" fmla="*/ 23 h 701"/>
                <a:gd name="T102" fmla="*/ 354 w 710"/>
                <a:gd name="T103" fmla="*/ 28 h 701"/>
                <a:gd name="T104" fmla="*/ 270 w 710"/>
                <a:gd name="T105" fmla="*/ 60 h 701"/>
                <a:gd name="T106" fmla="*/ 119 w 710"/>
                <a:gd name="T107" fmla="*/ 13 h 701"/>
                <a:gd name="T108" fmla="*/ 40 w 710"/>
                <a:gd name="T109" fmla="*/ 15 h 701"/>
                <a:gd name="T110" fmla="*/ 25 w 710"/>
                <a:gd name="T111" fmla="*/ 14 h 7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10" h="701">
                  <a:moveTo>
                    <a:pt x="25" y="14"/>
                  </a:moveTo>
                  <a:cubicBezTo>
                    <a:pt x="21" y="16"/>
                    <a:pt x="23" y="24"/>
                    <a:pt x="16" y="26"/>
                  </a:cubicBezTo>
                  <a:cubicBezTo>
                    <a:pt x="9" y="28"/>
                    <a:pt x="2" y="37"/>
                    <a:pt x="11" y="44"/>
                  </a:cubicBezTo>
                  <a:cubicBezTo>
                    <a:pt x="20" y="51"/>
                    <a:pt x="14" y="60"/>
                    <a:pt x="20" y="64"/>
                  </a:cubicBezTo>
                  <a:cubicBezTo>
                    <a:pt x="26" y="68"/>
                    <a:pt x="31" y="77"/>
                    <a:pt x="24" y="80"/>
                  </a:cubicBezTo>
                  <a:cubicBezTo>
                    <a:pt x="17" y="83"/>
                    <a:pt x="16" y="95"/>
                    <a:pt x="16" y="99"/>
                  </a:cubicBezTo>
                  <a:cubicBezTo>
                    <a:pt x="16" y="103"/>
                    <a:pt x="0" y="109"/>
                    <a:pt x="5" y="119"/>
                  </a:cubicBezTo>
                  <a:cubicBezTo>
                    <a:pt x="10" y="129"/>
                    <a:pt x="6" y="140"/>
                    <a:pt x="13" y="143"/>
                  </a:cubicBezTo>
                  <a:cubicBezTo>
                    <a:pt x="20" y="146"/>
                    <a:pt x="17" y="162"/>
                    <a:pt x="20" y="171"/>
                  </a:cubicBezTo>
                  <a:cubicBezTo>
                    <a:pt x="20" y="171"/>
                    <a:pt x="20" y="171"/>
                    <a:pt x="20" y="171"/>
                  </a:cubicBezTo>
                  <a:cubicBezTo>
                    <a:pt x="20" y="172"/>
                    <a:pt x="20" y="172"/>
                    <a:pt x="20" y="172"/>
                  </a:cubicBezTo>
                  <a:cubicBezTo>
                    <a:pt x="20" y="172"/>
                    <a:pt x="20" y="172"/>
                    <a:pt x="20" y="172"/>
                  </a:cubicBezTo>
                  <a:cubicBezTo>
                    <a:pt x="20" y="172"/>
                    <a:pt x="20" y="172"/>
                    <a:pt x="20" y="173"/>
                  </a:cubicBezTo>
                  <a:cubicBezTo>
                    <a:pt x="20" y="173"/>
                    <a:pt x="20" y="173"/>
                    <a:pt x="20" y="174"/>
                  </a:cubicBezTo>
                  <a:cubicBezTo>
                    <a:pt x="20" y="174"/>
                    <a:pt x="20" y="174"/>
                    <a:pt x="20" y="174"/>
                  </a:cubicBezTo>
                  <a:cubicBezTo>
                    <a:pt x="20" y="175"/>
                    <a:pt x="20" y="175"/>
                    <a:pt x="20" y="175"/>
                  </a:cubicBezTo>
                  <a:cubicBezTo>
                    <a:pt x="20" y="176"/>
                    <a:pt x="20" y="176"/>
                    <a:pt x="20" y="176"/>
                  </a:cubicBezTo>
                  <a:cubicBezTo>
                    <a:pt x="20" y="177"/>
                    <a:pt x="20" y="177"/>
                    <a:pt x="20" y="178"/>
                  </a:cubicBezTo>
                  <a:cubicBezTo>
                    <a:pt x="20" y="178"/>
                    <a:pt x="20" y="178"/>
                    <a:pt x="20" y="178"/>
                  </a:cubicBezTo>
                  <a:cubicBezTo>
                    <a:pt x="20" y="179"/>
                    <a:pt x="20" y="179"/>
                    <a:pt x="21" y="180"/>
                  </a:cubicBezTo>
                  <a:cubicBezTo>
                    <a:pt x="21" y="180"/>
                    <a:pt x="21" y="181"/>
                    <a:pt x="21" y="181"/>
                  </a:cubicBezTo>
                  <a:cubicBezTo>
                    <a:pt x="21" y="182"/>
                    <a:pt x="21" y="182"/>
                    <a:pt x="21" y="183"/>
                  </a:cubicBezTo>
                  <a:cubicBezTo>
                    <a:pt x="21" y="183"/>
                    <a:pt x="21" y="183"/>
                    <a:pt x="21" y="184"/>
                  </a:cubicBezTo>
                  <a:cubicBezTo>
                    <a:pt x="21" y="185"/>
                    <a:pt x="21" y="185"/>
                    <a:pt x="21" y="186"/>
                  </a:cubicBezTo>
                  <a:cubicBezTo>
                    <a:pt x="21" y="187"/>
                    <a:pt x="21" y="187"/>
                    <a:pt x="21" y="188"/>
                  </a:cubicBezTo>
                  <a:cubicBezTo>
                    <a:pt x="21" y="188"/>
                    <a:pt x="21" y="189"/>
                    <a:pt x="21" y="190"/>
                  </a:cubicBezTo>
                  <a:cubicBezTo>
                    <a:pt x="21" y="190"/>
                    <a:pt x="21" y="191"/>
                    <a:pt x="21" y="191"/>
                  </a:cubicBezTo>
                  <a:cubicBezTo>
                    <a:pt x="21" y="192"/>
                    <a:pt x="21" y="193"/>
                    <a:pt x="21" y="194"/>
                  </a:cubicBezTo>
                  <a:cubicBezTo>
                    <a:pt x="21" y="195"/>
                    <a:pt x="21" y="195"/>
                    <a:pt x="21" y="196"/>
                  </a:cubicBezTo>
                  <a:cubicBezTo>
                    <a:pt x="21" y="197"/>
                    <a:pt x="21" y="198"/>
                    <a:pt x="21" y="198"/>
                  </a:cubicBezTo>
                  <a:cubicBezTo>
                    <a:pt x="21" y="199"/>
                    <a:pt x="21" y="200"/>
                    <a:pt x="21" y="200"/>
                  </a:cubicBezTo>
                  <a:cubicBezTo>
                    <a:pt x="21" y="201"/>
                    <a:pt x="21" y="202"/>
                    <a:pt x="21" y="203"/>
                  </a:cubicBezTo>
                  <a:cubicBezTo>
                    <a:pt x="21" y="203"/>
                    <a:pt x="21" y="204"/>
                    <a:pt x="21" y="204"/>
                  </a:cubicBezTo>
                  <a:cubicBezTo>
                    <a:pt x="21" y="206"/>
                    <a:pt x="21" y="207"/>
                    <a:pt x="21" y="208"/>
                  </a:cubicBezTo>
                  <a:cubicBezTo>
                    <a:pt x="21" y="209"/>
                    <a:pt x="21" y="210"/>
                    <a:pt x="21" y="211"/>
                  </a:cubicBezTo>
                  <a:cubicBezTo>
                    <a:pt x="21" y="211"/>
                    <a:pt x="21" y="212"/>
                    <a:pt x="21" y="213"/>
                  </a:cubicBezTo>
                  <a:cubicBezTo>
                    <a:pt x="21" y="214"/>
                    <a:pt x="21" y="215"/>
                    <a:pt x="21" y="215"/>
                  </a:cubicBezTo>
                  <a:cubicBezTo>
                    <a:pt x="21" y="216"/>
                    <a:pt x="21" y="217"/>
                    <a:pt x="21" y="218"/>
                  </a:cubicBezTo>
                  <a:cubicBezTo>
                    <a:pt x="21" y="220"/>
                    <a:pt x="21" y="221"/>
                    <a:pt x="21" y="223"/>
                  </a:cubicBezTo>
                  <a:cubicBezTo>
                    <a:pt x="21" y="223"/>
                    <a:pt x="21" y="224"/>
                    <a:pt x="21" y="224"/>
                  </a:cubicBezTo>
                  <a:cubicBezTo>
                    <a:pt x="21" y="229"/>
                    <a:pt x="21" y="233"/>
                    <a:pt x="21" y="237"/>
                  </a:cubicBezTo>
                  <a:cubicBezTo>
                    <a:pt x="21" y="237"/>
                    <a:pt x="21" y="237"/>
                    <a:pt x="21" y="238"/>
                  </a:cubicBezTo>
                  <a:cubicBezTo>
                    <a:pt x="21" y="239"/>
                    <a:pt x="21" y="240"/>
                    <a:pt x="21" y="242"/>
                  </a:cubicBezTo>
                  <a:cubicBezTo>
                    <a:pt x="21" y="242"/>
                    <a:pt x="21" y="243"/>
                    <a:pt x="21" y="244"/>
                  </a:cubicBezTo>
                  <a:cubicBezTo>
                    <a:pt x="21" y="248"/>
                    <a:pt x="21" y="252"/>
                    <a:pt x="21" y="257"/>
                  </a:cubicBezTo>
                  <a:cubicBezTo>
                    <a:pt x="21" y="257"/>
                    <a:pt x="21" y="258"/>
                    <a:pt x="21" y="258"/>
                  </a:cubicBezTo>
                  <a:cubicBezTo>
                    <a:pt x="21" y="259"/>
                    <a:pt x="21" y="261"/>
                    <a:pt x="21" y="262"/>
                  </a:cubicBezTo>
                  <a:cubicBezTo>
                    <a:pt x="21" y="263"/>
                    <a:pt x="21" y="265"/>
                    <a:pt x="21" y="266"/>
                  </a:cubicBezTo>
                  <a:cubicBezTo>
                    <a:pt x="21" y="268"/>
                    <a:pt x="21" y="270"/>
                    <a:pt x="21" y="272"/>
                  </a:cubicBezTo>
                  <a:cubicBezTo>
                    <a:pt x="21" y="273"/>
                    <a:pt x="21" y="274"/>
                    <a:pt x="21" y="274"/>
                  </a:cubicBezTo>
                  <a:cubicBezTo>
                    <a:pt x="21" y="276"/>
                    <a:pt x="21" y="278"/>
                    <a:pt x="21" y="280"/>
                  </a:cubicBezTo>
                  <a:cubicBezTo>
                    <a:pt x="21" y="280"/>
                    <a:pt x="21" y="280"/>
                    <a:pt x="21" y="280"/>
                  </a:cubicBezTo>
                  <a:cubicBezTo>
                    <a:pt x="21" y="285"/>
                    <a:pt x="21" y="291"/>
                    <a:pt x="21" y="296"/>
                  </a:cubicBezTo>
                  <a:cubicBezTo>
                    <a:pt x="21" y="297"/>
                    <a:pt x="21" y="297"/>
                    <a:pt x="21" y="298"/>
                  </a:cubicBezTo>
                  <a:cubicBezTo>
                    <a:pt x="21" y="300"/>
                    <a:pt x="21" y="301"/>
                    <a:pt x="21" y="303"/>
                  </a:cubicBezTo>
                  <a:cubicBezTo>
                    <a:pt x="21" y="305"/>
                    <a:pt x="21" y="307"/>
                    <a:pt x="21" y="310"/>
                  </a:cubicBezTo>
                  <a:cubicBezTo>
                    <a:pt x="21" y="311"/>
                    <a:pt x="21" y="312"/>
                    <a:pt x="21" y="313"/>
                  </a:cubicBezTo>
                  <a:cubicBezTo>
                    <a:pt x="21" y="314"/>
                    <a:pt x="21" y="315"/>
                    <a:pt x="21" y="316"/>
                  </a:cubicBezTo>
                  <a:cubicBezTo>
                    <a:pt x="21" y="318"/>
                    <a:pt x="21" y="320"/>
                    <a:pt x="21" y="321"/>
                  </a:cubicBezTo>
                  <a:cubicBezTo>
                    <a:pt x="21" y="322"/>
                    <a:pt x="21" y="323"/>
                    <a:pt x="21" y="324"/>
                  </a:cubicBezTo>
                  <a:cubicBezTo>
                    <a:pt x="21" y="326"/>
                    <a:pt x="21" y="329"/>
                    <a:pt x="21" y="332"/>
                  </a:cubicBezTo>
                  <a:cubicBezTo>
                    <a:pt x="21" y="333"/>
                    <a:pt x="21" y="334"/>
                    <a:pt x="21" y="336"/>
                  </a:cubicBezTo>
                  <a:cubicBezTo>
                    <a:pt x="21" y="337"/>
                    <a:pt x="21" y="338"/>
                    <a:pt x="21" y="339"/>
                  </a:cubicBezTo>
                  <a:cubicBezTo>
                    <a:pt x="21" y="341"/>
                    <a:pt x="21" y="342"/>
                    <a:pt x="21" y="344"/>
                  </a:cubicBezTo>
                  <a:cubicBezTo>
                    <a:pt x="21" y="345"/>
                    <a:pt x="21" y="347"/>
                    <a:pt x="21" y="348"/>
                  </a:cubicBezTo>
                  <a:cubicBezTo>
                    <a:pt x="21" y="349"/>
                    <a:pt x="21" y="349"/>
                    <a:pt x="21" y="350"/>
                  </a:cubicBezTo>
                  <a:cubicBezTo>
                    <a:pt x="21" y="353"/>
                    <a:pt x="21" y="356"/>
                    <a:pt x="21" y="358"/>
                  </a:cubicBezTo>
                  <a:cubicBezTo>
                    <a:pt x="21" y="364"/>
                    <a:pt x="21" y="369"/>
                    <a:pt x="21" y="374"/>
                  </a:cubicBezTo>
                  <a:cubicBezTo>
                    <a:pt x="21" y="375"/>
                    <a:pt x="21" y="376"/>
                    <a:pt x="21" y="376"/>
                  </a:cubicBezTo>
                  <a:cubicBezTo>
                    <a:pt x="21" y="382"/>
                    <a:pt x="21" y="388"/>
                    <a:pt x="21" y="394"/>
                  </a:cubicBezTo>
                  <a:cubicBezTo>
                    <a:pt x="21" y="395"/>
                    <a:pt x="21" y="395"/>
                    <a:pt x="21" y="396"/>
                  </a:cubicBezTo>
                  <a:cubicBezTo>
                    <a:pt x="21" y="401"/>
                    <a:pt x="21" y="407"/>
                    <a:pt x="21" y="412"/>
                  </a:cubicBezTo>
                  <a:cubicBezTo>
                    <a:pt x="21" y="414"/>
                    <a:pt x="21" y="415"/>
                    <a:pt x="21" y="417"/>
                  </a:cubicBezTo>
                  <a:cubicBezTo>
                    <a:pt x="21" y="420"/>
                    <a:pt x="21" y="423"/>
                    <a:pt x="21" y="425"/>
                  </a:cubicBezTo>
                  <a:cubicBezTo>
                    <a:pt x="21" y="426"/>
                    <a:pt x="21" y="426"/>
                    <a:pt x="21" y="426"/>
                  </a:cubicBezTo>
                  <a:cubicBezTo>
                    <a:pt x="21" y="511"/>
                    <a:pt x="21" y="602"/>
                    <a:pt x="21" y="674"/>
                  </a:cubicBezTo>
                  <a:cubicBezTo>
                    <a:pt x="415" y="674"/>
                    <a:pt x="415" y="674"/>
                    <a:pt x="415" y="674"/>
                  </a:cubicBezTo>
                  <a:cubicBezTo>
                    <a:pt x="415" y="674"/>
                    <a:pt x="422" y="676"/>
                    <a:pt x="427" y="668"/>
                  </a:cubicBezTo>
                  <a:cubicBezTo>
                    <a:pt x="432" y="660"/>
                    <a:pt x="439" y="658"/>
                    <a:pt x="442" y="667"/>
                  </a:cubicBezTo>
                  <a:cubicBezTo>
                    <a:pt x="445" y="676"/>
                    <a:pt x="454" y="678"/>
                    <a:pt x="472" y="677"/>
                  </a:cubicBezTo>
                  <a:cubicBezTo>
                    <a:pt x="490" y="676"/>
                    <a:pt x="550" y="669"/>
                    <a:pt x="557" y="685"/>
                  </a:cubicBezTo>
                  <a:cubicBezTo>
                    <a:pt x="564" y="701"/>
                    <a:pt x="574" y="699"/>
                    <a:pt x="587" y="694"/>
                  </a:cubicBezTo>
                  <a:cubicBezTo>
                    <a:pt x="600" y="689"/>
                    <a:pt x="590" y="676"/>
                    <a:pt x="606" y="670"/>
                  </a:cubicBezTo>
                  <a:cubicBezTo>
                    <a:pt x="622" y="664"/>
                    <a:pt x="646" y="654"/>
                    <a:pt x="648" y="642"/>
                  </a:cubicBezTo>
                  <a:cubicBezTo>
                    <a:pt x="650" y="630"/>
                    <a:pt x="649" y="619"/>
                    <a:pt x="662" y="620"/>
                  </a:cubicBezTo>
                  <a:cubicBezTo>
                    <a:pt x="675" y="621"/>
                    <a:pt x="681" y="620"/>
                    <a:pt x="686" y="614"/>
                  </a:cubicBezTo>
                  <a:cubicBezTo>
                    <a:pt x="689" y="611"/>
                    <a:pt x="694" y="603"/>
                    <a:pt x="701" y="597"/>
                  </a:cubicBezTo>
                  <a:cubicBezTo>
                    <a:pt x="693" y="575"/>
                    <a:pt x="685" y="567"/>
                    <a:pt x="693" y="553"/>
                  </a:cubicBezTo>
                  <a:cubicBezTo>
                    <a:pt x="700" y="539"/>
                    <a:pt x="710" y="544"/>
                    <a:pt x="696" y="526"/>
                  </a:cubicBezTo>
                  <a:cubicBezTo>
                    <a:pt x="682" y="508"/>
                    <a:pt x="676" y="517"/>
                    <a:pt x="665" y="492"/>
                  </a:cubicBezTo>
                  <a:cubicBezTo>
                    <a:pt x="654" y="466"/>
                    <a:pt x="660" y="449"/>
                    <a:pt x="638" y="428"/>
                  </a:cubicBezTo>
                  <a:cubicBezTo>
                    <a:pt x="615" y="408"/>
                    <a:pt x="615" y="404"/>
                    <a:pt x="608" y="372"/>
                  </a:cubicBezTo>
                  <a:cubicBezTo>
                    <a:pt x="600" y="341"/>
                    <a:pt x="576" y="322"/>
                    <a:pt x="573" y="297"/>
                  </a:cubicBezTo>
                  <a:cubicBezTo>
                    <a:pt x="571" y="272"/>
                    <a:pt x="555" y="266"/>
                    <a:pt x="544" y="251"/>
                  </a:cubicBezTo>
                  <a:cubicBezTo>
                    <a:pt x="534" y="236"/>
                    <a:pt x="515" y="220"/>
                    <a:pt x="510" y="201"/>
                  </a:cubicBezTo>
                  <a:cubicBezTo>
                    <a:pt x="505" y="183"/>
                    <a:pt x="511" y="180"/>
                    <a:pt x="504" y="166"/>
                  </a:cubicBezTo>
                  <a:cubicBezTo>
                    <a:pt x="496" y="152"/>
                    <a:pt x="493" y="146"/>
                    <a:pt x="495" y="133"/>
                  </a:cubicBezTo>
                  <a:cubicBezTo>
                    <a:pt x="497" y="120"/>
                    <a:pt x="496" y="98"/>
                    <a:pt x="493" y="89"/>
                  </a:cubicBezTo>
                  <a:cubicBezTo>
                    <a:pt x="490" y="79"/>
                    <a:pt x="490" y="54"/>
                    <a:pt x="482" y="50"/>
                  </a:cubicBezTo>
                  <a:cubicBezTo>
                    <a:pt x="474" y="46"/>
                    <a:pt x="465" y="47"/>
                    <a:pt x="465" y="39"/>
                  </a:cubicBezTo>
                  <a:cubicBezTo>
                    <a:pt x="465" y="32"/>
                    <a:pt x="480" y="25"/>
                    <a:pt x="471" y="20"/>
                  </a:cubicBezTo>
                  <a:cubicBezTo>
                    <a:pt x="463" y="14"/>
                    <a:pt x="455" y="20"/>
                    <a:pt x="444" y="23"/>
                  </a:cubicBezTo>
                  <a:cubicBezTo>
                    <a:pt x="434" y="26"/>
                    <a:pt x="424" y="4"/>
                    <a:pt x="409" y="10"/>
                  </a:cubicBezTo>
                  <a:cubicBezTo>
                    <a:pt x="394" y="17"/>
                    <a:pt x="367" y="13"/>
                    <a:pt x="354" y="28"/>
                  </a:cubicBezTo>
                  <a:cubicBezTo>
                    <a:pt x="341" y="43"/>
                    <a:pt x="325" y="44"/>
                    <a:pt x="313" y="54"/>
                  </a:cubicBezTo>
                  <a:cubicBezTo>
                    <a:pt x="301" y="64"/>
                    <a:pt x="296" y="69"/>
                    <a:pt x="270" y="60"/>
                  </a:cubicBezTo>
                  <a:cubicBezTo>
                    <a:pt x="244" y="50"/>
                    <a:pt x="209" y="46"/>
                    <a:pt x="192" y="39"/>
                  </a:cubicBezTo>
                  <a:cubicBezTo>
                    <a:pt x="175" y="33"/>
                    <a:pt x="141" y="13"/>
                    <a:pt x="119" y="13"/>
                  </a:cubicBezTo>
                  <a:cubicBezTo>
                    <a:pt x="96" y="13"/>
                    <a:pt x="81" y="0"/>
                    <a:pt x="69" y="8"/>
                  </a:cubicBezTo>
                  <a:cubicBezTo>
                    <a:pt x="57" y="15"/>
                    <a:pt x="58" y="24"/>
                    <a:pt x="40" y="15"/>
                  </a:cubicBezTo>
                  <a:cubicBezTo>
                    <a:pt x="36" y="13"/>
                    <a:pt x="32" y="10"/>
                    <a:pt x="29" y="7"/>
                  </a:cubicBezTo>
                  <a:cubicBezTo>
                    <a:pt x="28" y="10"/>
                    <a:pt x="26" y="13"/>
                    <a:pt x="25" y="14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497" name="Freeform 25692"/>
            <p:cNvSpPr>
              <a:spLocks/>
            </p:cNvSpPr>
            <p:nvPr/>
          </p:nvSpPr>
          <p:spPr bwMode="auto">
            <a:xfrm>
              <a:off x="4801806" y="3269593"/>
              <a:ext cx="398215" cy="478079"/>
            </a:xfrm>
            <a:custGeom>
              <a:avLst/>
              <a:gdLst>
                <a:gd name="T0" fmla="*/ 768 w 1068"/>
                <a:gd name="T1" fmla="*/ 97 h 1282"/>
                <a:gd name="T2" fmla="*/ 608 w 1068"/>
                <a:gd name="T3" fmla="*/ 71 h 1282"/>
                <a:gd name="T4" fmla="*/ 201 w 1068"/>
                <a:gd name="T5" fmla="*/ 205 h 1282"/>
                <a:gd name="T6" fmla="*/ 135 w 1068"/>
                <a:gd name="T7" fmla="*/ 237 h 1282"/>
                <a:gd name="T8" fmla="*/ 68 w 1068"/>
                <a:gd name="T9" fmla="*/ 513 h 1282"/>
                <a:gd name="T10" fmla="*/ 36 w 1068"/>
                <a:gd name="T11" fmla="*/ 574 h 1282"/>
                <a:gd name="T12" fmla="*/ 15 w 1068"/>
                <a:gd name="T13" fmla="*/ 656 h 1282"/>
                <a:gd name="T14" fmla="*/ 40 w 1068"/>
                <a:gd name="T15" fmla="*/ 724 h 1282"/>
                <a:gd name="T16" fmla="*/ 70 w 1068"/>
                <a:gd name="T17" fmla="*/ 788 h 1282"/>
                <a:gd name="T18" fmla="*/ 66 w 1068"/>
                <a:gd name="T19" fmla="*/ 805 h 1282"/>
                <a:gd name="T20" fmla="*/ 67 w 1068"/>
                <a:gd name="T21" fmla="*/ 811 h 1282"/>
                <a:gd name="T22" fmla="*/ 69 w 1068"/>
                <a:gd name="T23" fmla="*/ 816 h 1282"/>
                <a:gd name="T24" fmla="*/ 74 w 1068"/>
                <a:gd name="T25" fmla="*/ 822 h 1282"/>
                <a:gd name="T26" fmla="*/ 111 w 1068"/>
                <a:gd name="T27" fmla="*/ 910 h 1282"/>
                <a:gd name="T28" fmla="*/ 163 w 1068"/>
                <a:gd name="T29" fmla="*/ 978 h 1282"/>
                <a:gd name="T30" fmla="*/ 235 w 1068"/>
                <a:gd name="T31" fmla="*/ 1044 h 1282"/>
                <a:gd name="T32" fmla="*/ 332 w 1068"/>
                <a:gd name="T33" fmla="*/ 1136 h 1282"/>
                <a:gd name="T34" fmla="*/ 350 w 1068"/>
                <a:gd name="T35" fmla="*/ 1172 h 1282"/>
                <a:gd name="T36" fmla="*/ 354 w 1068"/>
                <a:gd name="T37" fmla="*/ 1178 h 1282"/>
                <a:gd name="T38" fmla="*/ 430 w 1068"/>
                <a:gd name="T39" fmla="*/ 1228 h 1282"/>
                <a:gd name="T40" fmla="*/ 543 w 1068"/>
                <a:gd name="T41" fmla="*/ 1256 h 1282"/>
                <a:gd name="T42" fmla="*/ 570 w 1068"/>
                <a:gd name="T43" fmla="*/ 1278 h 1282"/>
                <a:gd name="T44" fmla="*/ 573 w 1068"/>
                <a:gd name="T45" fmla="*/ 1277 h 1282"/>
                <a:gd name="T46" fmla="*/ 583 w 1068"/>
                <a:gd name="T47" fmla="*/ 1268 h 1282"/>
                <a:gd name="T48" fmla="*/ 590 w 1068"/>
                <a:gd name="T49" fmla="*/ 1266 h 1282"/>
                <a:gd name="T50" fmla="*/ 642 w 1068"/>
                <a:gd name="T51" fmla="*/ 1269 h 1282"/>
                <a:gd name="T52" fmla="*/ 758 w 1068"/>
                <a:gd name="T53" fmla="*/ 1249 h 1282"/>
                <a:gd name="T54" fmla="*/ 763 w 1068"/>
                <a:gd name="T55" fmla="*/ 1243 h 1282"/>
                <a:gd name="T56" fmla="*/ 768 w 1068"/>
                <a:gd name="T57" fmla="*/ 1240 h 1282"/>
                <a:gd name="T58" fmla="*/ 778 w 1068"/>
                <a:gd name="T59" fmla="*/ 1237 h 1282"/>
                <a:gd name="T60" fmla="*/ 780 w 1068"/>
                <a:gd name="T61" fmla="*/ 1236 h 1282"/>
                <a:gd name="T62" fmla="*/ 782 w 1068"/>
                <a:gd name="T63" fmla="*/ 1233 h 1282"/>
                <a:gd name="T64" fmla="*/ 845 w 1068"/>
                <a:gd name="T65" fmla="*/ 1190 h 1282"/>
                <a:gd name="T66" fmla="*/ 889 w 1068"/>
                <a:gd name="T67" fmla="*/ 1174 h 1282"/>
                <a:gd name="T68" fmla="*/ 798 w 1068"/>
                <a:gd name="T69" fmla="*/ 1063 h 1282"/>
                <a:gd name="T70" fmla="*/ 721 w 1068"/>
                <a:gd name="T71" fmla="*/ 1010 h 1282"/>
                <a:gd name="T72" fmla="*/ 780 w 1068"/>
                <a:gd name="T73" fmla="*/ 960 h 1282"/>
                <a:gd name="T74" fmla="*/ 798 w 1068"/>
                <a:gd name="T75" fmla="*/ 817 h 1282"/>
                <a:gd name="T76" fmla="*/ 840 w 1068"/>
                <a:gd name="T77" fmla="*/ 771 h 1282"/>
                <a:gd name="T78" fmla="*/ 916 w 1068"/>
                <a:gd name="T79" fmla="*/ 661 h 1282"/>
                <a:gd name="T80" fmla="*/ 929 w 1068"/>
                <a:gd name="T81" fmla="*/ 626 h 1282"/>
                <a:gd name="T82" fmla="*/ 930 w 1068"/>
                <a:gd name="T83" fmla="*/ 616 h 1282"/>
                <a:gd name="T84" fmla="*/ 931 w 1068"/>
                <a:gd name="T85" fmla="*/ 606 h 1282"/>
                <a:gd name="T86" fmla="*/ 931 w 1068"/>
                <a:gd name="T87" fmla="*/ 596 h 1282"/>
                <a:gd name="T88" fmla="*/ 935 w 1068"/>
                <a:gd name="T89" fmla="*/ 521 h 1282"/>
                <a:gd name="T90" fmla="*/ 965 w 1068"/>
                <a:gd name="T91" fmla="*/ 419 h 1282"/>
                <a:gd name="T92" fmla="*/ 1044 w 1068"/>
                <a:gd name="T93" fmla="*/ 369 h 1282"/>
                <a:gd name="T94" fmla="*/ 993 w 1068"/>
                <a:gd name="T95" fmla="*/ 271 h 1282"/>
                <a:gd name="T96" fmla="*/ 954 w 1068"/>
                <a:gd name="T97" fmla="*/ 62 h 1282"/>
                <a:gd name="T98" fmla="*/ 867 w 1068"/>
                <a:gd name="T99" fmla="*/ 17 h 1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68" h="1282">
                  <a:moveTo>
                    <a:pt x="843" y="23"/>
                  </a:moveTo>
                  <a:cubicBezTo>
                    <a:pt x="830" y="22"/>
                    <a:pt x="831" y="33"/>
                    <a:pt x="829" y="45"/>
                  </a:cubicBezTo>
                  <a:cubicBezTo>
                    <a:pt x="827" y="57"/>
                    <a:pt x="803" y="67"/>
                    <a:pt x="787" y="73"/>
                  </a:cubicBezTo>
                  <a:cubicBezTo>
                    <a:pt x="771" y="79"/>
                    <a:pt x="781" y="92"/>
                    <a:pt x="768" y="97"/>
                  </a:cubicBezTo>
                  <a:cubicBezTo>
                    <a:pt x="755" y="102"/>
                    <a:pt x="745" y="104"/>
                    <a:pt x="738" y="88"/>
                  </a:cubicBezTo>
                  <a:cubicBezTo>
                    <a:pt x="731" y="72"/>
                    <a:pt x="671" y="79"/>
                    <a:pt x="653" y="80"/>
                  </a:cubicBezTo>
                  <a:cubicBezTo>
                    <a:pt x="635" y="81"/>
                    <a:pt x="626" y="79"/>
                    <a:pt x="623" y="70"/>
                  </a:cubicBezTo>
                  <a:cubicBezTo>
                    <a:pt x="620" y="61"/>
                    <a:pt x="613" y="63"/>
                    <a:pt x="608" y="71"/>
                  </a:cubicBezTo>
                  <a:cubicBezTo>
                    <a:pt x="603" y="79"/>
                    <a:pt x="596" y="77"/>
                    <a:pt x="596" y="77"/>
                  </a:cubicBezTo>
                  <a:cubicBezTo>
                    <a:pt x="202" y="77"/>
                    <a:pt x="202" y="77"/>
                    <a:pt x="202" y="77"/>
                  </a:cubicBezTo>
                  <a:cubicBezTo>
                    <a:pt x="202" y="81"/>
                    <a:pt x="202" y="85"/>
                    <a:pt x="202" y="89"/>
                  </a:cubicBezTo>
                  <a:cubicBezTo>
                    <a:pt x="201" y="150"/>
                    <a:pt x="201" y="194"/>
                    <a:pt x="201" y="205"/>
                  </a:cubicBezTo>
                  <a:cubicBezTo>
                    <a:pt x="201" y="207"/>
                    <a:pt x="201" y="207"/>
                    <a:pt x="201" y="208"/>
                  </a:cubicBezTo>
                  <a:cubicBezTo>
                    <a:pt x="201" y="208"/>
                    <a:pt x="201" y="208"/>
                    <a:pt x="201" y="208"/>
                  </a:cubicBezTo>
                  <a:cubicBezTo>
                    <a:pt x="135" y="210"/>
                    <a:pt x="135" y="210"/>
                    <a:pt x="135" y="210"/>
                  </a:cubicBezTo>
                  <a:cubicBezTo>
                    <a:pt x="135" y="237"/>
                    <a:pt x="135" y="237"/>
                    <a:pt x="135" y="237"/>
                  </a:cubicBezTo>
                  <a:cubicBezTo>
                    <a:pt x="135" y="490"/>
                    <a:pt x="135" y="490"/>
                    <a:pt x="135" y="490"/>
                  </a:cubicBezTo>
                  <a:cubicBezTo>
                    <a:pt x="135" y="490"/>
                    <a:pt x="112" y="482"/>
                    <a:pt x="105" y="490"/>
                  </a:cubicBezTo>
                  <a:cubicBezTo>
                    <a:pt x="98" y="498"/>
                    <a:pt x="93" y="498"/>
                    <a:pt x="81" y="498"/>
                  </a:cubicBezTo>
                  <a:cubicBezTo>
                    <a:pt x="69" y="498"/>
                    <a:pt x="62" y="504"/>
                    <a:pt x="68" y="513"/>
                  </a:cubicBezTo>
                  <a:cubicBezTo>
                    <a:pt x="74" y="522"/>
                    <a:pt x="76" y="531"/>
                    <a:pt x="66" y="534"/>
                  </a:cubicBezTo>
                  <a:cubicBezTo>
                    <a:pt x="56" y="537"/>
                    <a:pt x="53" y="542"/>
                    <a:pt x="53" y="549"/>
                  </a:cubicBezTo>
                  <a:cubicBezTo>
                    <a:pt x="53" y="556"/>
                    <a:pt x="56" y="562"/>
                    <a:pt x="47" y="562"/>
                  </a:cubicBezTo>
                  <a:cubicBezTo>
                    <a:pt x="38" y="562"/>
                    <a:pt x="36" y="567"/>
                    <a:pt x="36" y="574"/>
                  </a:cubicBezTo>
                  <a:cubicBezTo>
                    <a:pt x="36" y="581"/>
                    <a:pt x="51" y="596"/>
                    <a:pt x="38" y="600"/>
                  </a:cubicBezTo>
                  <a:cubicBezTo>
                    <a:pt x="25" y="604"/>
                    <a:pt x="18" y="603"/>
                    <a:pt x="18" y="616"/>
                  </a:cubicBezTo>
                  <a:cubicBezTo>
                    <a:pt x="18" y="629"/>
                    <a:pt x="13" y="631"/>
                    <a:pt x="19" y="634"/>
                  </a:cubicBezTo>
                  <a:cubicBezTo>
                    <a:pt x="25" y="637"/>
                    <a:pt x="26" y="651"/>
                    <a:pt x="15" y="656"/>
                  </a:cubicBezTo>
                  <a:cubicBezTo>
                    <a:pt x="4" y="661"/>
                    <a:pt x="2" y="667"/>
                    <a:pt x="2" y="674"/>
                  </a:cubicBezTo>
                  <a:cubicBezTo>
                    <a:pt x="2" y="681"/>
                    <a:pt x="0" y="690"/>
                    <a:pt x="11" y="690"/>
                  </a:cubicBezTo>
                  <a:cubicBezTo>
                    <a:pt x="22" y="690"/>
                    <a:pt x="38" y="692"/>
                    <a:pt x="36" y="700"/>
                  </a:cubicBezTo>
                  <a:cubicBezTo>
                    <a:pt x="34" y="708"/>
                    <a:pt x="38" y="712"/>
                    <a:pt x="40" y="724"/>
                  </a:cubicBezTo>
                  <a:cubicBezTo>
                    <a:pt x="42" y="736"/>
                    <a:pt x="39" y="760"/>
                    <a:pt x="51" y="765"/>
                  </a:cubicBezTo>
                  <a:cubicBezTo>
                    <a:pt x="63" y="770"/>
                    <a:pt x="74" y="778"/>
                    <a:pt x="71" y="785"/>
                  </a:cubicBezTo>
                  <a:cubicBezTo>
                    <a:pt x="71" y="786"/>
                    <a:pt x="70" y="787"/>
                    <a:pt x="70" y="787"/>
                  </a:cubicBezTo>
                  <a:cubicBezTo>
                    <a:pt x="70" y="787"/>
                    <a:pt x="70" y="788"/>
                    <a:pt x="70" y="788"/>
                  </a:cubicBezTo>
                  <a:cubicBezTo>
                    <a:pt x="70" y="789"/>
                    <a:pt x="69" y="790"/>
                    <a:pt x="69" y="791"/>
                  </a:cubicBezTo>
                  <a:cubicBezTo>
                    <a:pt x="69" y="791"/>
                    <a:pt x="69" y="791"/>
                    <a:pt x="69" y="791"/>
                  </a:cubicBezTo>
                  <a:cubicBezTo>
                    <a:pt x="68" y="793"/>
                    <a:pt x="67" y="796"/>
                    <a:pt x="67" y="799"/>
                  </a:cubicBezTo>
                  <a:cubicBezTo>
                    <a:pt x="66" y="801"/>
                    <a:pt x="66" y="803"/>
                    <a:pt x="66" y="805"/>
                  </a:cubicBezTo>
                  <a:cubicBezTo>
                    <a:pt x="66" y="805"/>
                    <a:pt x="66" y="805"/>
                    <a:pt x="66" y="805"/>
                  </a:cubicBezTo>
                  <a:cubicBezTo>
                    <a:pt x="66" y="806"/>
                    <a:pt x="66" y="807"/>
                    <a:pt x="66" y="808"/>
                  </a:cubicBezTo>
                  <a:cubicBezTo>
                    <a:pt x="66" y="808"/>
                    <a:pt x="66" y="808"/>
                    <a:pt x="66" y="809"/>
                  </a:cubicBezTo>
                  <a:cubicBezTo>
                    <a:pt x="66" y="809"/>
                    <a:pt x="67" y="810"/>
                    <a:pt x="67" y="811"/>
                  </a:cubicBezTo>
                  <a:cubicBezTo>
                    <a:pt x="67" y="811"/>
                    <a:pt x="67" y="811"/>
                    <a:pt x="67" y="812"/>
                  </a:cubicBezTo>
                  <a:cubicBezTo>
                    <a:pt x="67" y="812"/>
                    <a:pt x="67" y="813"/>
                    <a:pt x="68" y="813"/>
                  </a:cubicBezTo>
                  <a:cubicBezTo>
                    <a:pt x="68" y="814"/>
                    <a:pt x="68" y="814"/>
                    <a:pt x="68" y="814"/>
                  </a:cubicBezTo>
                  <a:cubicBezTo>
                    <a:pt x="68" y="815"/>
                    <a:pt x="69" y="816"/>
                    <a:pt x="69" y="816"/>
                  </a:cubicBezTo>
                  <a:cubicBezTo>
                    <a:pt x="69" y="816"/>
                    <a:pt x="69" y="817"/>
                    <a:pt x="69" y="817"/>
                  </a:cubicBezTo>
                  <a:cubicBezTo>
                    <a:pt x="70" y="818"/>
                    <a:pt x="70" y="818"/>
                    <a:pt x="71" y="819"/>
                  </a:cubicBezTo>
                  <a:cubicBezTo>
                    <a:pt x="71" y="819"/>
                    <a:pt x="71" y="819"/>
                    <a:pt x="71" y="820"/>
                  </a:cubicBezTo>
                  <a:cubicBezTo>
                    <a:pt x="72" y="820"/>
                    <a:pt x="73" y="821"/>
                    <a:pt x="74" y="822"/>
                  </a:cubicBezTo>
                  <a:cubicBezTo>
                    <a:pt x="88" y="833"/>
                    <a:pt x="101" y="843"/>
                    <a:pt x="101" y="852"/>
                  </a:cubicBezTo>
                  <a:cubicBezTo>
                    <a:pt x="101" y="861"/>
                    <a:pt x="108" y="867"/>
                    <a:pt x="114" y="868"/>
                  </a:cubicBezTo>
                  <a:cubicBezTo>
                    <a:pt x="120" y="869"/>
                    <a:pt x="118" y="881"/>
                    <a:pt x="118" y="889"/>
                  </a:cubicBezTo>
                  <a:cubicBezTo>
                    <a:pt x="118" y="897"/>
                    <a:pt x="121" y="905"/>
                    <a:pt x="111" y="910"/>
                  </a:cubicBezTo>
                  <a:cubicBezTo>
                    <a:pt x="101" y="915"/>
                    <a:pt x="97" y="921"/>
                    <a:pt x="98" y="929"/>
                  </a:cubicBezTo>
                  <a:cubicBezTo>
                    <a:pt x="99" y="937"/>
                    <a:pt x="93" y="947"/>
                    <a:pt x="113" y="947"/>
                  </a:cubicBezTo>
                  <a:cubicBezTo>
                    <a:pt x="133" y="947"/>
                    <a:pt x="147" y="942"/>
                    <a:pt x="147" y="953"/>
                  </a:cubicBezTo>
                  <a:cubicBezTo>
                    <a:pt x="147" y="964"/>
                    <a:pt x="144" y="978"/>
                    <a:pt x="163" y="978"/>
                  </a:cubicBezTo>
                  <a:cubicBezTo>
                    <a:pt x="182" y="978"/>
                    <a:pt x="187" y="971"/>
                    <a:pt x="190" y="982"/>
                  </a:cubicBezTo>
                  <a:cubicBezTo>
                    <a:pt x="193" y="993"/>
                    <a:pt x="198" y="998"/>
                    <a:pt x="209" y="999"/>
                  </a:cubicBezTo>
                  <a:cubicBezTo>
                    <a:pt x="220" y="1000"/>
                    <a:pt x="219" y="1012"/>
                    <a:pt x="219" y="1021"/>
                  </a:cubicBezTo>
                  <a:cubicBezTo>
                    <a:pt x="219" y="1030"/>
                    <a:pt x="225" y="1038"/>
                    <a:pt x="235" y="1044"/>
                  </a:cubicBezTo>
                  <a:cubicBezTo>
                    <a:pt x="245" y="1050"/>
                    <a:pt x="251" y="1056"/>
                    <a:pt x="262" y="1058"/>
                  </a:cubicBezTo>
                  <a:cubicBezTo>
                    <a:pt x="273" y="1060"/>
                    <a:pt x="287" y="1069"/>
                    <a:pt x="287" y="1081"/>
                  </a:cubicBezTo>
                  <a:cubicBezTo>
                    <a:pt x="287" y="1093"/>
                    <a:pt x="281" y="1104"/>
                    <a:pt x="293" y="1112"/>
                  </a:cubicBezTo>
                  <a:cubicBezTo>
                    <a:pt x="305" y="1120"/>
                    <a:pt x="329" y="1129"/>
                    <a:pt x="332" y="1136"/>
                  </a:cubicBezTo>
                  <a:cubicBezTo>
                    <a:pt x="335" y="1142"/>
                    <a:pt x="347" y="1146"/>
                    <a:pt x="344" y="1168"/>
                  </a:cubicBezTo>
                  <a:cubicBezTo>
                    <a:pt x="345" y="1169"/>
                    <a:pt x="346" y="1169"/>
                    <a:pt x="347" y="1170"/>
                  </a:cubicBezTo>
                  <a:cubicBezTo>
                    <a:pt x="347" y="1170"/>
                    <a:pt x="347" y="1170"/>
                    <a:pt x="348" y="1170"/>
                  </a:cubicBezTo>
                  <a:cubicBezTo>
                    <a:pt x="348" y="1170"/>
                    <a:pt x="349" y="1171"/>
                    <a:pt x="350" y="1172"/>
                  </a:cubicBezTo>
                  <a:cubicBezTo>
                    <a:pt x="350" y="1172"/>
                    <a:pt x="350" y="1172"/>
                    <a:pt x="350" y="1172"/>
                  </a:cubicBezTo>
                  <a:cubicBezTo>
                    <a:pt x="351" y="1173"/>
                    <a:pt x="352" y="1174"/>
                    <a:pt x="352" y="1175"/>
                  </a:cubicBezTo>
                  <a:cubicBezTo>
                    <a:pt x="352" y="1175"/>
                    <a:pt x="352" y="1175"/>
                    <a:pt x="352" y="1175"/>
                  </a:cubicBezTo>
                  <a:cubicBezTo>
                    <a:pt x="353" y="1176"/>
                    <a:pt x="354" y="1177"/>
                    <a:pt x="354" y="1178"/>
                  </a:cubicBezTo>
                  <a:cubicBezTo>
                    <a:pt x="358" y="1190"/>
                    <a:pt x="373" y="1185"/>
                    <a:pt x="373" y="1197"/>
                  </a:cubicBezTo>
                  <a:cubicBezTo>
                    <a:pt x="373" y="1209"/>
                    <a:pt x="381" y="1217"/>
                    <a:pt x="387" y="1218"/>
                  </a:cubicBezTo>
                  <a:cubicBezTo>
                    <a:pt x="394" y="1220"/>
                    <a:pt x="391" y="1232"/>
                    <a:pt x="403" y="1232"/>
                  </a:cubicBezTo>
                  <a:cubicBezTo>
                    <a:pt x="415" y="1232"/>
                    <a:pt x="427" y="1237"/>
                    <a:pt x="430" y="1228"/>
                  </a:cubicBezTo>
                  <a:cubicBezTo>
                    <a:pt x="433" y="1218"/>
                    <a:pt x="438" y="1206"/>
                    <a:pt x="450" y="1216"/>
                  </a:cubicBezTo>
                  <a:cubicBezTo>
                    <a:pt x="462" y="1225"/>
                    <a:pt x="469" y="1230"/>
                    <a:pt x="478" y="1218"/>
                  </a:cubicBezTo>
                  <a:cubicBezTo>
                    <a:pt x="487" y="1206"/>
                    <a:pt x="495" y="1197"/>
                    <a:pt x="507" y="1218"/>
                  </a:cubicBezTo>
                  <a:cubicBezTo>
                    <a:pt x="519" y="1240"/>
                    <a:pt x="521" y="1253"/>
                    <a:pt x="543" y="1256"/>
                  </a:cubicBezTo>
                  <a:cubicBezTo>
                    <a:pt x="566" y="1258"/>
                    <a:pt x="553" y="1278"/>
                    <a:pt x="566" y="1278"/>
                  </a:cubicBezTo>
                  <a:cubicBezTo>
                    <a:pt x="567" y="1278"/>
                    <a:pt x="567" y="1278"/>
                    <a:pt x="568" y="1278"/>
                  </a:cubicBezTo>
                  <a:cubicBezTo>
                    <a:pt x="568" y="1278"/>
                    <a:pt x="569" y="1278"/>
                    <a:pt x="569" y="1278"/>
                  </a:cubicBezTo>
                  <a:cubicBezTo>
                    <a:pt x="569" y="1278"/>
                    <a:pt x="570" y="1278"/>
                    <a:pt x="570" y="1278"/>
                  </a:cubicBezTo>
                  <a:cubicBezTo>
                    <a:pt x="570" y="1278"/>
                    <a:pt x="571" y="1278"/>
                    <a:pt x="571" y="1277"/>
                  </a:cubicBezTo>
                  <a:cubicBezTo>
                    <a:pt x="571" y="1277"/>
                    <a:pt x="571" y="1277"/>
                    <a:pt x="571" y="1277"/>
                  </a:cubicBezTo>
                  <a:cubicBezTo>
                    <a:pt x="572" y="1277"/>
                    <a:pt x="572" y="1277"/>
                    <a:pt x="573" y="1277"/>
                  </a:cubicBezTo>
                  <a:cubicBezTo>
                    <a:pt x="573" y="1277"/>
                    <a:pt x="573" y="1277"/>
                    <a:pt x="573" y="1277"/>
                  </a:cubicBezTo>
                  <a:cubicBezTo>
                    <a:pt x="576" y="1275"/>
                    <a:pt x="578" y="1271"/>
                    <a:pt x="581" y="1269"/>
                  </a:cubicBezTo>
                  <a:cubicBezTo>
                    <a:pt x="581" y="1269"/>
                    <a:pt x="581" y="1269"/>
                    <a:pt x="581" y="1269"/>
                  </a:cubicBezTo>
                  <a:cubicBezTo>
                    <a:pt x="582" y="1269"/>
                    <a:pt x="582" y="1268"/>
                    <a:pt x="583" y="1268"/>
                  </a:cubicBezTo>
                  <a:cubicBezTo>
                    <a:pt x="583" y="1268"/>
                    <a:pt x="583" y="1268"/>
                    <a:pt x="583" y="1268"/>
                  </a:cubicBezTo>
                  <a:cubicBezTo>
                    <a:pt x="584" y="1267"/>
                    <a:pt x="585" y="1267"/>
                    <a:pt x="587" y="1266"/>
                  </a:cubicBezTo>
                  <a:cubicBezTo>
                    <a:pt x="587" y="1266"/>
                    <a:pt x="587" y="1266"/>
                    <a:pt x="587" y="1266"/>
                  </a:cubicBezTo>
                  <a:cubicBezTo>
                    <a:pt x="588" y="1266"/>
                    <a:pt x="588" y="1266"/>
                    <a:pt x="589" y="1266"/>
                  </a:cubicBezTo>
                  <a:cubicBezTo>
                    <a:pt x="589" y="1266"/>
                    <a:pt x="589" y="1266"/>
                    <a:pt x="590" y="1266"/>
                  </a:cubicBezTo>
                  <a:cubicBezTo>
                    <a:pt x="590" y="1266"/>
                    <a:pt x="591" y="1266"/>
                    <a:pt x="592" y="1266"/>
                  </a:cubicBezTo>
                  <a:cubicBezTo>
                    <a:pt x="592" y="1266"/>
                    <a:pt x="592" y="1266"/>
                    <a:pt x="592" y="1266"/>
                  </a:cubicBezTo>
                  <a:cubicBezTo>
                    <a:pt x="593" y="1266"/>
                    <a:pt x="594" y="1266"/>
                    <a:pt x="595" y="1266"/>
                  </a:cubicBezTo>
                  <a:cubicBezTo>
                    <a:pt x="614" y="1269"/>
                    <a:pt x="634" y="1260"/>
                    <a:pt x="642" y="1269"/>
                  </a:cubicBezTo>
                  <a:cubicBezTo>
                    <a:pt x="650" y="1278"/>
                    <a:pt x="658" y="1282"/>
                    <a:pt x="665" y="1276"/>
                  </a:cubicBezTo>
                  <a:cubicBezTo>
                    <a:pt x="671" y="1269"/>
                    <a:pt x="670" y="1262"/>
                    <a:pt x="685" y="1262"/>
                  </a:cubicBezTo>
                  <a:cubicBezTo>
                    <a:pt x="699" y="1262"/>
                    <a:pt x="711" y="1250"/>
                    <a:pt x="721" y="1258"/>
                  </a:cubicBezTo>
                  <a:cubicBezTo>
                    <a:pt x="730" y="1266"/>
                    <a:pt x="743" y="1268"/>
                    <a:pt x="758" y="1249"/>
                  </a:cubicBezTo>
                  <a:cubicBezTo>
                    <a:pt x="759" y="1248"/>
                    <a:pt x="760" y="1247"/>
                    <a:pt x="760" y="1246"/>
                  </a:cubicBezTo>
                  <a:cubicBezTo>
                    <a:pt x="761" y="1246"/>
                    <a:pt x="761" y="1246"/>
                    <a:pt x="761" y="1245"/>
                  </a:cubicBezTo>
                  <a:cubicBezTo>
                    <a:pt x="762" y="1245"/>
                    <a:pt x="762" y="1244"/>
                    <a:pt x="763" y="1244"/>
                  </a:cubicBezTo>
                  <a:cubicBezTo>
                    <a:pt x="763" y="1244"/>
                    <a:pt x="763" y="1243"/>
                    <a:pt x="763" y="1243"/>
                  </a:cubicBezTo>
                  <a:cubicBezTo>
                    <a:pt x="764" y="1243"/>
                    <a:pt x="765" y="1242"/>
                    <a:pt x="765" y="1242"/>
                  </a:cubicBezTo>
                  <a:cubicBezTo>
                    <a:pt x="765" y="1242"/>
                    <a:pt x="765" y="1242"/>
                    <a:pt x="765" y="1242"/>
                  </a:cubicBezTo>
                  <a:cubicBezTo>
                    <a:pt x="766" y="1241"/>
                    <a:pt x="767" y="1241"/>
                    <a:pt x="767" y="1240"/>
                  </a:cubicBezTo>
                  <a:cubicBezTo>
                    <a:pt x="768" y="1240"/>
                    <a:pt x="768" y="1240"/>
                    <a:pt x="768" y="1240"/>
                  </a:cubicBezTo>
                  <a:cubicBezTo>
                    <a:pt x="768" y="1240"/>
                    <a:pt x="769" y="1240"/>
                    <a:pt x="769" y="1239"/>
                  </a:cubicBezTo>
                  <a:cubicBezTo>
                    <a:pt x="770" y="1239"/>
                    <a:pt x="770" y="1239"/>
                    <a:pt x="770" y="1239"/>
                  </a:cubicBezTo>
                  <a:cubicBezTo>
                    <a:pt x="773" y="1238"/>
                    <a:pt x="776" y="1238"/>
                    <a:pt x="778" y="1237"/>
                  </a:cubicBezTo>
                  <a:cubicBezTo>
                    <a:pt x="778" y="1237"/>
                    <a:pt x="778" y="1237"/>
                    <a:pt x="778" y="1237"/>
                  </a:cubicBezTo>
                  <a:cubicBezTo>
                    <a:pt x="778" y="1237"/>
                    <a:pt x="779" y="1237"/>
                    <a:pt x="779" y="1237"/>
                  </a:cubicBezTo>
                  <a:cubicBezTo>
                    <a:pt x="779" y="1237"/>
                    <a:pt x="779" y="1237"/>
                    <a:pt x="779" y="1237"/>
                  </a:cubicBezTo>
                  <a:cubicBezTo>
                    <a:pt x="779" y="1236"/>
                    <a:pt x="780" y="1236"/>
                    <a:pt x="780" y="1236"/>
                  </a:cubicBezTo>
                  <a:cubicBezTo>
                    <a:pt x="780" y="1236"/>
                    <a:pt x="780" y="1236"/>
                    <a:pt x="780" y="1236"/>
                  </a:cubicBezTo>
                  <a:cubicBezTo>
                    <a:pt x="780" y="1236"/>
                    <a:pt x="781" y="1235"/>
                    <a:pt x="781" y="1235"/>
                  </a:cubicBezTo>
                  <a:cubicBezTo>
                    <a:pt x="781" y="1235"/>
                    <a:pt x="781" y="1235"/>
                    <a:pt x="781" y="1235"/>
                  </a:cubicBezTo>
                  <a:cubicBezTo>
                    <a:pt x="781" y="1235"/>
                    <a:pt x="781" y="1234"/>
                    <a:pt x="782" y="1234"/>
                  </a:cubicBezTo>
                  <a:cubicBezTo>
                    <a:pt x="782" y="1233"/>
                    <a:pt x="782" y="1233"/>
                    <a:pt x="782" y="1233"/>
                  </a:cubicBezTo>
                  <a:cubicBezTo>
                    <a:pt x="782" y="1233"/>
                    <a:pt x="782" y="1232"/>
                    <a:pt x="783" y="1232"/>
                  </a:cubicBezTo>
                  <a:cubicBezTo>
                    <a:pt x="783" y="1231"/>
                    <a:pt x="783" y="1230"/>
                    <a:pt x="783" y="1229"/>
                  </a:cubicBezTo>
                  <a:cubicBezTo>
                    <a:pt x="787" y="1213"/>
                    <a:pt x="794" y="1204"/>
                    <a:pt x="809" y="1204"/>
                  </a:cubicBezTo>
                  <a:cubicBezTo>
                    <a:pt x="823" y="1204"/>
                    <a:pt x="829" y="1190"/>
                    <a:pt x="845" y="1190"/>
                  </a:cubicBezTo>
                  <a:cubicBezTo>
                    <a:pt x="861" y="1190"/>
                    <a:pt x="859" y="1196"/>
                    <a:pt x="865" y="1204"/>
                  </a:cubicBezTo>
                  <a:cubicBezTo>
                    <a:pt x="870" y="1212"/>
                    <a:pt x="882" y="1214"/>
                    <a:pt x="887" y="1213"/>
                  </a:cubicBezTo>
                  <a:cubicBezTo>
                    <a:pt x="888" y="1213"/>
                    <a:pt x="888" y="1213"/>
                    <a:pt x="888" y="1213"/>
                  </a:cubicBezTo>
                  <a:cubicBezTo>
                    <a:pt x="889" y="1201"/>
                    <a:pt x="889" y="1181"/>
                    <a:pt x="889" y="1174"/>
                  </a:cubicBezTo>
                  <a:cubicBezTo>
                    <a:pt x="889" y="1163"/>
                    <a:pt x="882" y="1163"/>
                    <a:pt x="863" y="1160"/>
                  </a:cubicBezTo>
                  <a:cubicBezTo>
                    <a:pt x="844" y="1157"/>
                    <a:pt x="848" y="1152"/>
                    <a:pt x="843" y="1145"/>
                  </a:cubicBezTo>
                  <a:cubicBezTo>
                    <a:pt x="838" y="1138"/>
                    <a:pt x="836" y="1117"/>
                    <a:pt x="831" y="1101"/>
                  </a:cubicBezTo>
                  <a:cubicBezTo>
                    <a:pt x="826" y="1085"/>
                    <a:pt x="812" y="1067"/>
                    <a:pt x="798" y="1063"/>
                  </a:cubicBezTo>
                  <a:cubicBezTo>
                    <a:pt x="784" y="1059"/>
                    <a:pt x="775" y="1048"/>
                    <a:pt x="773" y="1039"/>
                  </a:cubicBezTo>
                  <a:cubicBezTo>
                    <a:pt x="771" y="1030"/>
                    <a:pt x="770" y="1025"/>
                    <a:pt x="758" y="1025"/>
                  </a:cubicBezTo>
                  <a:cubicBezTo>
                    <a:pt x="746" y="1025"/>
                    <a:pt x="747" y="1015"/>
                    <a:pt x="743" y="1012"/>
                  </a:cubicBezTo>
                  <a:cubicBezTo>
                    <a:pt x="739" y="1009"/>
                    <a:pt x="731" y="1010"/>
                    <a:pt x="721" y="1010"/>
                  </a:cubicBezTo>
                  <a:cubicBezTo>
                    <a:pt x="711" y="1010"/>
                    <a:pt x="705" y="997"/>
                    <a:pt x="714" y="992"/>
                  </a:cubicBezTo>
                  <a:cubicBezTo>
                    <a:pt x="723" y="987"/>
                    <a:pt x="718" y="978"/>
                    <a:pt x="721" y="969"/>
                  </a:cubicBezTo>
                  <a:cubicBezTo>
                    <a:pt x="724" y="960"/>
                    <a:pt x="735" y="961"/>
                    <a:pt x="747" y="967"/>
                  </a:cubicBezTo>
                  <a:cubicBezTo>
                    <a:pt x="759" y="973"/>
                    <a:pt x="772" y="968"/>
                    <a:pt x="780" y="960"/>
                  </a:cubicBezTo>
                  <a:cubicBezTo>
                    <a:pt x="788" y="952"/>
                    <a:pt x="783" y="905"/>
                    <a:pt x="782" y="889"/>
                  </a:cubicBezTo>
                  <a:cubicBezTo>
                    <a:pt x="781" y="873"/>
                    <a:pt x="786" y="867"/>
                    <a:pt x="794" y="859"/>
                  </a:cubicBezTo>
                  <a:cubicBezTo>
                    <a:pt x="802" y="851"/>
                    <a:pt x="797" y="845"/>
                    <a:pt x="793" y="838"/>
                  </a:cubicBezTo>
                  <a:cubicBezTo>
                    <a:pt x="789" y="831"/>
                    <a:pt x="796" y="821"/>
                    <a:pt x="798" y="817"/>
                  </a:cubicBezTo>
                  <a:cubicBezTo>
                    <a:pt x="800" y="813"/>
                    <a:pt x="805" y="807"/>
                    <a:pt x="816" y="808"/>
                  </a:cubicBezTo>
                  <a:cubicBezTo>
                    <a:pt x="827" y="809"/>
                    <a:pt x="818" y="826"/>
                    <a:pt x="831" y="820"/>
                  </a:cubicBezTo>
                  <a:cubicBezTo>
                    <a:pt x="844" y="814"/>
                    <a:pt x="838" y="801"/>
                    <a:pt x="834" y="792"/>
                  </a:cubicBezTo>
                  <a:cubicBezTo>
                    <a:pt x="830" y="783"/>
                    <a:pt x="841" y="779"/>
                    <a:pt x="840" y="771"/>
                  </a:cubicBezTo>
                  <a:cubicBezTo>
                    <a:pt x="839" y="763"/>
                    <a:pt x="842" y="755"/>
                    <a:pt x="850" y="750"/>
                  </a:cubicBezTo>
                  <a:cubicBezTo>
                    <a:pt x="858" y="745"/>
                    <a:pt x="862" y="730"/>
                    <a:pt x="870" y="712"/>
                  </a:cubicBezTo>
                  <a:cubicBezTo>
                    <a:pt x="878" y="694"/>
                    <a:pt x="888" y="692"/>
                    <a:pt x="904" y="692"/>
                  </a:cubicBezTo>
                  <a:cubicBezTo>
                    <a:pt x="920" y="692"/>
                    <a:pt x="914" y="672"/>
                    <a:pt x="916" y="661"/>
                  </a:cubicBezTo>
                  <a:cubicBezTo>
                    <a:pt x="918" y="650"/>
                    <a:pt x="917" y="644"/>
                    <a:pt x="925" y="633"/>
                  </a:cubicBezTo>
                  <a:cubicBezTo>
                    <a:pt x="926" y="632"/>
                    <a:pt x="926" y="631"/>
                    <a:pt x="927" y="630"/>
                  </a:cubicBezTo>
                  <a:cubicBezTo>
                    <a:pt x="927" y="630"/>
                    <a:pt x="927" y="629"/>
                    <a:pt x="927" y="629"/>
                  </a:cubicBezTo>
                  <a:cubicBezTo>
                    <a:pt x="928" y="628"/>
                    <a:pt x="928" y="627"/>
                    <a:pt x="929" y="626"/>
                  </a:cubicBezTo>
                  <a:cubicBezTo>
                    <a:pt x="929" y="625"/>
                    <a:pt x="929" y="625"/>
                    <a:pt x="929" y="625"/>
                  </a:cubicBezTo>
                  <a:cubicBezTo>
                    <a:pt x="929" y="624"/>
                    <a:pt x="929" y="623"/>
                    <a:pt x="930" y="622"/>
                  </a:cubicBezTo>
                  <a:cubicBezTo>
                    <a:pt x="930" y="621"/>
                    <a:pt x="930" y="621"/>
                    <a:pt x="930" y="621"/>
                  </a:cubicBezTo>
                  <a:cubicBezTo>
                    <a:pt x="930" y="619"/>
                    <a:pt x="930" y="618"/>
                    <a:pt x="930" y="616"/>
                  </a:cubicBezTo>
                  <a:cubicBezTo>
                    <a:pt x="930" y="616"/>
                    <a:pt x="930" y="616"/>
                    <a:pt x="931" y="616"/>
                  </a:cubicBezTo>
                  <a:cubicBezTo>
                    <a:pt x="931" y="614"/>
                    <a:pt x="931" y="613"/>
                    <a:pt x="931" y="612"/>
                  </a:cubicBezTo>
                  <a:cubicBezTo>
                    <a:pt x="931" y="611"/>
                    <a:pt x="931" y="611"/>
                    <a:pt x="931" y="611"/>
                  </a:cubicBezTo>
                  <a:cubicBezTo>
                    <a:pt x="931" y="609"/>
                    <a:pt x="931" y="608"/>
                    <a:pt x="931" y="606"/>
                  </a:cubicBezTo>
                  <a:cubicBezTo>
                    <a:pt x="931" y="606"/>
                    <a:pt x="931" y="606"/>
                    <a:pt x="931" y="606"/>
                  </a:cubicBezTo>
                  <a:cubicBezTo>
                    <a:pt x="931" y="604"/>
                    <a:pt x="931" y="603"/>
                    <a:pt x="931" y="601"/>
                  </a:cubicBezTo>
                  <a:cubicBezTo>
                    <a:pt x="931" y="601"/>
                    <a:pt x="931" y="601"/>
                    <a:pt x="931" y="601"/>
                  </a:cubicBezTo>
                  <a:cubicBezTo>
                    <a:pt x="931" y="599"/>
                    <a:pt x="931" y="598"/>
                    <a:pt x="931" y="596"/>
                  </a:cubicBezTo>
                  <a:cubicBezTo>
                    <a:pt x="931" y="596"/>
                    <a:pt x="931" y="596"/>
                    <a:pt x="931" y="596"/>
                  </a:cubicBezTo>
                  <a:cubicBezTo>
                    <a:pt x="931" y="592"/>
                    <a:pt x="931" y="588"/>
                    <a:pt x="931" y="585"/>
                  </a:cubicBezTo>
                  <a:cubicBezTo>
                    <a:pt x="931" y="571"/>
                    <a:pt x="935" y="552"/>
                    <a:pt x="929" y="541"/>
                  </a:cubicBezTo>
                  <a:cubicBezTo>
                    <a:pt x="923" y="530"/>
                    <a:pt x="929" y="526"/>
                    <a:pt x="935" y="521"/>
                  </a:cubicBezTo>
                  <a:cubicBezTo>
                    <a:pt x="941" y="516"/>
                    <a:pt x="945" y="507"/>
                    <a:pt x="945" y="499"/>
                  </a:cubicBezTo>
                  <a:cubicBezTo>
                    <a:pt x="945" y="491"/>
                    <a:pt x="950" y="484"/>
                    <a:pt x="955" y="476"/>
                  </a:cubicBezTo>
                  <a:cubicBezTo>
                    <a:pt x="960" y="468"/>
                    <a:pt x="968" y="458"/>
                    <a:pt x="965" y="450"/>
                  </a:cubicBezTo>
                  <a:cubicBezTo>
                    <a:pt x="962" y="442"/>
                    <a:pt x="964" y="430"/>
                    <a:pt x="965" y="419"/>
                  </a:cubicBezTo>
                  <a:cubicBezTo>
                    <a:pt x="966" y="408"/>
                    <a:pt x="972" y="408"/>
                    <a:pt x="983" y="406"/>
                  </a:cubicBezTo>
                  <a:cubicBezTo>
                    <a:pt x="994" y="404"/>
                    <a:pt x="998" y="403"/>
                    <a:pt x="998" y="394"/>
                  </a:cubicBezTo>
                  <a:cubicBezTo>
                    <a:pt x="998" y="385"/>
                    <a:pt x="1003" y="382"/>
                    <a:pt x="1012" y="382"/>
                  </a:cubicBezTo>
                  <a:cubicBezTo>
                    <a:pt x="1021" y="382"/>
                    <a:pt x="1031" y="373"/>
                    <a:pt x="1044" y="369"/>
                  </a:cubicBezTo>
                  <a:cubicBezTo>
                    <a:pt x="1057" y="365"/>
                    <a:pt x="1061" y="353"/>
                    <a:pt x="1061" y="347"/>
                  </a:cubicBezTo>
                  <a:cubicBezTo>
                    <a:pt x="1061" y="344"/>
                    <a:pt x="1064" y="341"/>
                    <a:pt x="1068" y="337"/>
                  </a:cubicBezTo>
                  <a:cubicBezTo>
                    <a:pt x="1065" y="333"/>
                    <a:pt x="1062" y="330"/>
                    <a:pt x="1059" y="327"/>
                  </a:cubicBezTo>
                  <a:cubicBezTo>
                    <a:pt x="1047" y="315"/>
                    <a:pt x="998" y="298"/>
                    <a:pt x="993" y="271"/>
                  </a:cubicBezTo>
                  <a:cubicBezTo>
                    <a:pt x="988" y="244"/>
                    <a:pt x="984" y="207"/>
                    <a:pt x="984" y="184"/>
                  </a:cubicBezTo>
                  <a:cubicBezTo>
                    <a:pt x="984" y="160"/>
                    <a:pt x="994" y="148"/>
                    <a:pt x="984" y="132"/>
                  </a:cubicBezTo>
                  <a:cubicBezTo>
                    <a:pt x="975" y="116"/>
                    <a:pt x="967" y="115"/>
                    <a:pt x="967" y="99"/>
                  </a:cubicBezTo>
                  <a:cubicBezTo>
                    <a:pt x="967" y="83"/>
                    <a:pt x="968" y="71"/>
                    <a:pt x="954" y="62"/>
                  </a:cubicBezTo>
                  <a:cubicBezTo>
                    <a:pt x="940" y="54"/>
                    <a:pt x="926" y="32"/>
                    <a:pt x="911" y="30"/>
                  </a:cubicBezTo>
                  <a:cubicBezTo>
                    <a:pt x="896" y="28"/>
                    <a:pt x="891" y="22"/>
                    <a:pt x="882" y="0"/>
                  </a:cubicBezTo>
                  <a:cubicBezTo>
                    <a:pt x="882" y="0"/>
                    <a:pt x="882" y="0"/>
                    <a:pt x="882" y="0"/>
                  </a:cubicBezTo>
                  <a:cubicBezTo>
                    <a:pt x="875" y="6"/>
                    <a:pt x="870" y="14"/>
                    <a:pt x="867" y="17"/>
                  </a:cubicBezTo>
                  <a:cubicBezTo>
                    <a:pt x="862" y="23"/>
                    <a:pt x="856" y="24"/>
                    <a:pt x="843" y="23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498" name="Freeform 25693"/>
            <p:cNvSpPr>
              <a:spLocks/>
            </p:cNvSpPr>
            <p:nvPr/>
          </p:nvSpPr>
          <p:spPr bwMode="auto">
            <a:xfrm>
              <a:off x="5064600" y="3472410"/>
              <a:ext cx="365859" cy="281260"/>
            </a:xfrm>
            <a:custGeom>
              <a:avLst/>
              <a:gdLst>
                <a:gd name="T0" fmla="*/ 226 w 981"/>
                <a:gd name="T1" fmla="*/ 62 h 754"/>
                <a:gd name="T2" fmla="*/ 226 w 981"/>
                <a:gd name="T3" fmla="*/ 68 h 754"/>
                <a:gd name="T4" fmla="*/ 225 w 981"/>
                <a:gd name="T5" fmla="*/ 77 h 754"/>
                <a:gd name="T6" fmla="*/ 224 w 981"/>
                <a:gd name="T7" fmla="*/ 82 h 754"/>
                <a:gd name="T8" fmla="*/ 220 w 981"/>
                <a:gd name="T9" fmla="*/ 89 h 754"/>
                <a:gd name="T10" fmla="*/ 165 w 981"/>
                <a:gd name="T11" fmla="*/ 168 h 754"/>
                <a:gd name="T12" fmla="*/ 129 w 981"/>
                <a:gd name="T13" fmla="*/ 248 h 754"/>
                <a:gd name="T14" fmla="*/ 93 w 981"/>
                <a:gd name="T15" fmla="*/ 273 h 754"/>
                <a:gd name="T16" fmla="*/ 77 w 981"/>
                <a:gd name="T17" fmla="*/ 345 h 754"/>
                <a:gd name="T18" fmla="*/ 16 w 981"/>
                <a:gd name="T19" fmla="*/ 425 h 754"/>
                <a:gd name="T20" fmla="*/ 38 w 981"/>
                <a:gd name="T21" fmla="*/ 468 h 754"/>
                <a:gd name="T22" fmla="*/ 93 w 981"/>
                <a:gd name="T23" fmla="*/ 519 h 754"/>
                <a:gd name="T24" fmla="*/ 158 w 981"/>
                <a:gd name="T25" fmla="*/ 616 h 754"/>
                <a:gd name="T26" fmla="*/ 183 w 981"/>
                <a:gd name="T27" fmla="*/ 669 h 754"/>
                <a:gd name="T28" fmla="*/ 185 w 981"/>
                <a:gd name="T29" fmla="*/ 670 h 754"/>
                <a:gd name="T30" fmla="*/ 186 w 981"/>
                <a:gd name="T31" fmla="*/ 671 h 754"/>
                <a:gd name="T32" fmla="*/ 187 w 981"/>
                <a:gd name="T33" fmla="*/ 672 h 754"/>
                <a:gd name="T34" fmla="*/ 189 w 981"/>
                <a:gd name="T35" fmla="*/ 674 h 754"/>
                <a:gd name="T36" fmla="*/ 190 w 981"/>
                <a:gd name="T37" fmla="*/ 676 h 754"/>
                <a:gd name="T38" fmla="*/ 193 w 981"/>
                <a:gd name="T39" fmla="*/ 678 h 754"/>
                <a:gd name="T40" fmla="*/ 195 w 981"/>
                <a:gd name="T41" fmla="*/ 679 h 754"/>
                <a:gd name="T42" fmla="*/ 199 w 981"/>
                <a:gd name="T43" fmla="*/ 680 h 754"/>
                <a:gd name="T44" fmla="*/ 203 w 981"/>
                <a:gd name="T45" fmla="*/ 681 h 754"/>
                <a:gd name="T46" fmla="*/ 330 w 981"/>
                <a:gd name="T47" fmla="*/ 729 h 754"/>
                <a:gd name="T48" fmla="*/ 470 w 981"/>
                <a:gd name="T49" fmla="*/ 704 h 754"/>
                <a:gd name="T50" fmla="*/ 537 w 981"/>
                <a:gd name="T51" fmla="*/ 710 h 754"/>
                <a:gd name="T52" fmla="*/ 565 w 981"/>
                <a:gd name="T53" fmla="*/ 713 h 754"/>
                <a:gd name="T54" fmla="*/ 571 w 981"/>
                <a:gd name="T55" fmla="*/ 712 h 754"/>
                <a:gd name="T56" fmla="*/ 576 w 981"/>
                <a:gd name="T57" fmla="*/ 708 h 754"/>
                <a:gd name="T58" fmla="*/ 716 w 981"/>
                <a:gd name="T59" fmla="*/ 648 h 754"/>
                <a:gd name="T60" fmla="*/ 929 w 981"/>
                <a:gd name="T61" fmla="*/ 490 h 754"/>
                <a:gd name="T62" fmla="*/ 716 w 981"/>
                <a:gd name="T63" fmla="*/ 390 h 754"/>
                <a:gd name="T64" fmla="*/ 629 w 981"/>
                <a:gd name="T65" fmla="*/ 273 h 754"/>
                <a:gd name="T66" fmla="*/ 636 w 981"/>
                <a:gd name="T67" fmla="*/ 266 h 754"/>
                <a:gd name="T68" fmla="*/ 639 w 981"/>
                <a:gd name="T69" fmla="*/ 262 h 754"/>
                <a:gd name="T70" fmla="*/ 642 w 981"/>
                <a:gd name="T71" fmla="*/ 256 h 754"/>
                <a:gd name="T72" fmla="*/ 644 w 981"/>
                <a:gd name="T73" fmla="*/ 252 h 754"/>
                <a:gd name="T74" fmla="*/ 623 w 981"/>
                <a:gd name="T75" fmla="*/ 249 h 754"/>
                <a:gd name="T76" fmla="*/ 573 w 981"/>
                <a:gd name="T77" fmla="*/ 258 h 754"/>
                <a:gd name="T78" fmla="*/ 600 w 981"/>
                <a:gd name="T79" fmla="*/ 176 h 754"/>
                <a:gd name="T80" fmla="*/ 563 w 981"/>
                <a:gd name="T81" fmla="*/ 114 h 754"/>
                <a:gd name="T82" fmla="*/ 494 w 981"/>
                <a:gd name="T83" fmla="*/ 51 h 754"/>
                <a:gd name="T84" fmla="*/ 401 w 981"/>
                <a:gd name="T85" fmla="*/ 30 h 754"/>
                <a:gd name="T86" fmla="*/ 330 w 981"/>
                <a:gd name="T87" fmla="*/ 13 h 754"/>
                <a:gd name="T88" fmla="*/ 299 w 981"/>
                <a:gd name="T89" fmla="*/ 60 h 754"/>
                <a:gd name="T90" fmla="*/ 261 w 981"/>
                <a:gd name="T91" fmla="*/ 43 h 754"/>
                <a:gd name="T92" fmla="*/ 226 w 981"/>
                <a:gd name="T93" fmla="*/ 57 h 7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981" h="754">
                  <a:moveTo>
                    <a:pt x="226" y="57"/>
                  </a:moveTo>
                  <a:cubicBezTo>
                    <a:pt x="226" y="57"/>
                    <a:pt x="226" y="57"/>
                    <a:pt x="226" y="57"/>
                  </a:cubicBezTo>
                  <a:cubicBezTo>
                    <a:pt x="226" y="59"/>
                    <a:pt x="226" y="60"/>
                    <a:pt x="226" y="62"/>
                  </a:cubicBezTo>
                  <a:cubicBezTo>
                    <a:pt x="226" y="62"/>
                    <a:pt x="226" y="62"/>
                    <a:pt x="226" y="62"/>
                  </a:cubicBezTo>
                  <a:cubicBezTo>
                    <a:pt x="226" y="64"/>
                    <a:pt x="226" y="65"/>
                    <a:pt x="226" y="67"/>
                  </a:cubicBezTo>
                  <a:cubicBezTo>
                    <a:pt x="226" y="67"/>
                    <a:pt x="226" y="67"/>
                    <a:pt x="226" y="68"/>
                  </a:cubicBezTo>
                  <a:cubicBezTo>
                    <a:pt x="226" y="69"/>
                    <a:pt x="226" y="70"/>
                    <a:pt x="226" y="72"/>
                  </a:cubicBezTo>
                  <a:cubicBezTo>
                    <a:pt x="225" y="72"/>
                    <a:pt x="225" y="72"/>
                    <a:pt x="225" y="72"/>
                  </a:cubicBezTo>
                  <a:cubicBezTo>
                    <a:pt x="225" y="74"/>
                    <a:pt x="225" y="75"/>
                    <a:pt x="225" y="77"/>
                  </a:cubicBezTo>
                  <a:cubicBezTo>
                    <a:pt x="225" y="77"/>
                    <a:pt x="225" y="77"/>
                    <a:pt x="225" y="78"/>
                  </a:cubicBezTo>
                  <a:cubicBezTo>
                    <a:pt x="224" y="79"/>
                    <a:pt x="224" y="80"/>
                    <a:pt x="224" y="81"/>
                  </a:cubicBezTo>
                  <a:cubicBezTo>
                    <a:pt x="224" y="81"/>
                    <a:pt x="224" y="81"/>
                    <a:pt x="224" y="82"/>
                  </a:cubicBezTo>
                  <a:cubicBezTo>
                    <a:pt x="223" y="83"/>
                    <a:pt x="223" y="84"/>
                    <a:pt x="222" y="85"/>
                  </a:cubicBezTo>
                  <a:cubicBezTo>
                    <a:pt x="222" y="85"/>
                    <a:pt x="222" y="86"/>
                    <a:pt x="222" y="86"/>
                  </a:cubicBezTo>
                  <a:cubicBezTo>
                    <a:pt x="221" y="87"/>
                    <a:pt x="221" y="88"/>
                    <a:pt x="220" y="89"/>
                  </a:cubicBezTo>
                  <a:cubicBezTo>
                    <a:pt x="212" y="100"/>
                    <a:pt x="213" y="106"/>
                    <a:pt x="211" y="117"/>
                  </a:cubicBezTo>
                  <a:cubicBezTo>
                    <a:pt x="209" y="128"/>
                    <a:pt x="215" y="148"/>
                    <a:pt x="199" y="148"/>
                  </a:cubicBezTo>
                  <a:cubicBezTo>
                    <a:pt x="183" y="148"/>
                    <a:pt x="173" y="150"/>
                    <a:pt x="165" y="168"/>
                  </a:cubicBezTo>
                  <a:cubicBezTo>
                    <a:pt x="157" y="186"/>
                    <a:pt x="153" y="201"/>
                    <a:pt x="145" y="206"/>
                  </a:cubicBezTo>
                  <a:cubicBezTo>
                    <a:pt x="137" y="211"/>
                    <a:pt x="134" y="219"/>
                    <a:pt x="135" y="227"/>
                  </a:cubicBezTo>
                  <a:cubicBezTo>
                    <a:pt x="136" y="235"/>
                    <a:pt x="125" y="239"/>
                    <a:pt x="129" y="248"/>
                  </a:cubicBezTo>
                  <a:cubicBezTo>
                    <a:pt x="133" y="257"/>
                    <a:pt x="139" y="270"/>
                    <a:pt x="126" y="276"/>
                  </a:cubicBezTo>
                  <a:cubicBezTo>
                    <a:pt x="113" y="282"/>
                    <a:pt x="122" y="265"/>
                    <a:pt x="111" y="264"/>
                  </a:cubicBezTo>
                  <a:cubicBezTo>
                    <a:pt x="100" y="263"/>
                    <a:pt x="95" y="269"/>
                    <a:pt x="93" y="273"/>
                  </a:cubicBezTo>
                  <a:cubicBezTo>
                    <a:pt x="91" y="277"/>
                    <a:pt x="84" y="287"/>
                    <a:pt x="88" y="294"/>
                  </a:cubicBezTo>
                  <a:cubicBezTo>
                    <a:pt x="92" y="301"/>
                    <a:pt x="97" y="307"/>
                    <a:pt x="89" y="315"/>
                  </a:cubicBezTo>
                  <a:cubicBezTo>
                    <a:pt x="81" y="323"/>
                    <a:pt x="76" y="329"/>
                    <a:pt x="77" y="345"/>
                  </a:cubicBezTo>
                  <a:cubicBezTo>
                    <a:pt x="78" y="361"/>
                    <a:pt x="83" y="408"/>
                    <a:pt x="75" y="416"/>
                  </a:cubicBezTo>
                  <a:cubicBezTo>
                    <a:pt x="67" y="424"/>
                    <a:pt x="54" y="429"/>
                    <a:pt x="42" y="423"/>
                  </a:cubicBezTo>
                  <a:cubicBezTo>
                    <a:pt x="30" y="417"/>
                    <a:pt x="19" y="416"/>
                    <a:pt x="16" y="425"/>
                  </a:cubicBezTo>
                  <a:cubicBezTo>
                    <a:pt x="13" y="434"/>
                    <a:pt x="18" y="443"/>
                    <a:pt x="9" y="448"/>
                  </a:cubicBezTo>
                  <a:cubicBezTo>
                    <a:pt x="0" y="453"/>
                    <a:pt x="6" y="466"/>
                    <a:pt x="16" y="466"/>
                  </a:cubicBezTo>
                  <a:cubicBezTo>
                    <a:pt x="26" y="466"/>
                    <a:pt x="34" y="465"/>
                    <a:pt x="38" y="468"/>
                  </a:cubicBezTo>
                  <a:cubicBezTo>
                    <a:pt x="42" y="471"/>
                    <a:pt x="41" y="481"/>
                    <a:pt x="53" y="481"/>
                  </a:cubicBezTo>
                  <a:cubicBezTo>
                    <a:pt x="65" y="481"/>
                    <a:pt x="66" y="486"/>
                    <a:pt x="68" y="495"/>
                  </a:cubicBezTo>
                  <a:cubicBezTo>
                    <a:pt x="70" y="504"/>
                    <a:pt x="79" y="515"/>
                    <a:pt x="93" y="519"/>
                  </a:cubicBezTo>
                  <a:cubicBezTo>
                    <a:pt x="107" y="523"/>
                    <a:pt x="121" y="541"/>
                    <a:pt x="126" y="557"/>
                  </a:cubicBezTo>
                  <a:cubicBezTo>
                    <a:pt x="131" y="573"/>
                    <a:pt x="133" y="594"/>
                    <a:pt x="138" y="601"/>
                  </a:cubicBezTo>
                  <a:cubicBezTo>
                    <a:pt x="143" y="608"/>
                    <a:pt x="139" y="613"/>
                    <a:pt x="158" y="616"/>
                  </a:cubicBezTo>
                  <a:cubicBezTo>
                    <a:pt x="177" y="619"/>
                    <a:pt x="184" y="619"/>
                    <a:pt x="184" y="630"/>
                  </a:cubicBezTo>
                  <a:cubicBezTo>
                    <a:pt x="184" y="637"/>
                    <a:pt x="184" y="657"/>
                    <a:pt x="183" y="669"/>
                  </a:cubicBezTo>
                  <a:cubicBezTo>
                    <a:pt x="183" y="669"/>
                    <a:pt x="183" y="669"/>
                    <a:pt x="183" y="669"/>
                  </a:cubicBezTo>
                  <a:cubicBezTo>
                    <a:pt x="184" y="669"/>
                    <a:pt x="184" y="669"/>
                    <a:pt x="184" y="669"/>
                  </a:cubicBezTo>
                  <a:cubicBezTo>
                    <a:pt x="184" y="669"/>
                    <a:pt x="184" y="669"/>
                    <a:pt x="184" y="669"/>
                  </a:cubicBezTo>
                  <a:cubicBezTo>
                    <a:pt x="184" y="669"/>
                    <a:pt x="185" y="669"/>
                    <a:pt x="185" y="670"/>
                  </a:cubicBezTo>
                  <a:cubicBezTo>
                    <a:pt x="185" y="670"/>
                    <a:pt x="185" y="670"/>
                    <a:pt x="185" y="670"/>
                  </a:cubicBezTo>
                  <a:cubicBezTo>
                    <a:pt x="185" y="670"/>
                    <a:pt x="185" y="670"/>
                    <a:pt x="185" y="670"/>
                  </a:cubicBezTo>
                  <a:cubicBezTo>
                    <a:pt x="186" y="670"/>
                    <a:pt x="186" y="671"/>
                    <a:pt x="186" y="671"/>
                  </a:cubicBezTo>
                  <a:cubicBezTo>
                    <a:pt x="186" y="671"/>
                    <a:pt x="186" y="671"/>
                    <a:pt x="186" y="671"/>
                  </a:cubicBezTo>
                  <a:cubicBezTo>
                    <a:pt x="186" y="671"/>
                    <a:pt x="187" y="672"/>
                    <a:pt x="187" y="672"/>
                  </a:cubicBezTo>
                  <a:cubicBezTo>
                    <a:pt x="187" y="672"/>
                    <a:pt x="187" y="672"/>
                    <a:pt x="187" y="672"/>
                  </a:cubicBezTo>
                  <a:cubicBezTo>
                    <a:pt x="187" y="673"/>
                    <a:pt x="187" y="673"/>
                    <a:pt x="188" y="673"/>
                  </a:cubicBezTo>
                  <a:cubicBezTo>
                    <a:pt x="188" y="673"/>
                    <a:pt x="188" y="673"/>
                    <a:pt x="188" y="674"/>
                  </a:cubicBezTo>
                  <a:cubicBezTo>
                    <a:pt x="188" y="674"/>
                    <a:pt x="188" y="674"/>
                    <a:pt x="189" y="674"/>
                  </a:cubicBezTo>
                  <a:cubicBezTo>
                    <a:pt x="189" y="674"/>
                    <a:pt x="189" y="675"/>
                    <a:pt x="189" y="675"/>
                  </a:cubicBezTo>
                  <a:cubicBezTo>
                    <a:pt x="189" y="675"/>
                    <a:pt x="189" y="675"/>
                    <a:pt x="190" y="675"/>
                  </a:cubicBezTo>
                  <a:cubicBezTo>
                    <a:pt x="190" y="676"/>
                    <a:pt x="190" y="676"/>
                    <a:pt x="190" y="676"/>
                  </a:cubicBezTo>
                  <a:cubicBezTo>
                    <a:pt x="190" y="676"/>
                    <a:pt x="191" y="676"/>
                    <a:pt x="191" y="677"/>
                  </a:cubicBezTo>
                  <a:cubicBezTo>
                    <a:pt x="191" y="677"/>
                    <a:pt x="191" y="677"/>
                    <a:pt x="192" y="677"/>
                  </a:cubicBezTo>
                  <a:cubicBezTo>
                    <a:pt x="192" y="677"/>
                    <a:pt x="192" y="677"/>
                    <a:pt x="193" y="678"/>
                  </a:cubicBezTo>
                  <a:cubicBezTo>
                    <a:pt x="193" y="678"/>
                    <a:pt x="193" y="678"/>
                    <a:pt x="193" y="678"/>
                  </a:cubicBezTo>
                  <a:cubicBezTo>
                    <a:pt x="194" y="678"/>
                    <a:pt x="194" y="678"/>
                    <a:pt x="194" y="679"/>
                  </a:cubicBezTo>
                  <a:cubicBezTo>
                    <a:pt x="195" y="679"/>
                    <a:pt x="195" y="679"/>
                    <a:pt x="195" y="679"/>
                  </a:cubicBezTo>
                  <a:cubicBezTo>
                    <a:pt x="196" y="679"/>
                    <a:pt x="196" y="679"/>
                    <a:pt x="196" y="680"/>
                  </a:cubicBezTo>
                  <a:cubicBezTo>
                    <a:pt x="197" y="680"/>
                    <a:pt x="197" y="680"/>
                    <a:pt x="197" y="680"/>
                  </a:cubicBezTo>
                  <a:cubicBezTo>
                    <a:pt x="198" y="680"/>
                    <a:pt x="198" y="680"/>
                    <a:pt x="199" y="680"/>
                  </a:cubicBezTo>
                  <a:cubicBezTo>
                    <a:pt x="199" y="680"/>
                    <a:pt x="200" y="680"/>
                    <a:pt x="200" y="680"/>
                  </a:cubicBezTo>
                  <a:cubicBezTo>
                    <a:pt x="201" y="681"/>
                    <a:pt x="201" y="681"/>
                    <a:pt x="202" y="681"/>
                  </a:cubicBezTo>
                  <a:cubicBezTo>
                    <a:pt x="202" y="681"/>
                    <a:pt x="203" y="681"/>
                    <a:pt x="203" y="681"/>
                  </a:cubicBezTo>
                  <a:cubicBezTo>
                    <a:pt x="204" y="681"/>
                    <a:pt x="205" y="681"/>
                    <a:pt x="206" y="681"/>
                  </a:cubicBezTo>
                  <a:cubicBezTo>
                    <a:pt x="226" y="681"/>
                    <a:pt x="253" y="668"/>
                    <a:pt x="277" y="692"/>
                  </a:cubicBezTo>
                  <a:cubicBezTo>
                    <a:pt x="301" y="716"/>
                    <a:pt x="308" y="722"/>
                    <a:pt x="330" y="729"/>
                  </a:cubicBezTo>
                  <a:cubicBezTo>
                    <a:pt x="353" y="736"/>
                    <a:pt x="361" y="733"/>
                    <a:pt x="378" y="736"/>
                  </a:cubicBezTo>
                  <a:cubicBezTo>
                    <a:pt x="396" y="738"/>
                    <a:pt x="425" y="754"/>
                    <a:pt x="441" y="730"/>
                  </a:cubicBezTo>
                  <a:cubicBezTo>
                    <a:pt x="457" y="706"/>
                    <a:pt x="450" y="705"/>
                    <a:pt x="470" y="704"/>
                  </a:cubicBezTo>
                  <a:cubicBezTo>
                    <a:pt x="490" y="702"/>
                    <a:pt x="485" y="686"/>
                    <a:pt x="504" y="689"/>
                  </a:cubicBezTo>
                  <a:cubicBezTo>
                    <a:pt x="522" y="692"/>
                    <a:pt x="516" y="706"/>
                    <a:pt x="533" y="709"/>
                  </a:cubicBezTo>
                  <a:cubicBezTo>
                    <a:pt x="534" y="709"/>
                    <a:pt x="536" y="709"/>
                    <a:pt x="537" y="710"/>
                  </a:cubicBezTo>
                  <a:cubicBezTo>
                    <a:pt x="537" y="710"/>
                    <a:pt x="538" y="710"/>
                    <a:pt x="539" y="710"/>
                  </a:cubicBezTo>
                  <a:cubicBezTo>
                    <a:pt x="539" y="710"/>
                    <a:pt x="540" y="710"/>
                    <a:pt x="540" y="710"/>
                  </a:cubicBezTo>
                  <a:cubicBezTo>
                    <a:pt x="549" y="712"/>
                    <a:pt x="558" y="714"/>
                    <a:pt x="565" y="713"/>
                  </a:cubicBezTo>
                  <a:cubicBezTo>
                    <a:pt x="565" y="713"/>
                    <a:pt x="565" y="713"/>
                    <a:pt x="565" y="713"/>
                  </a:cubicBezTo>
                  <a:cubicBezTo>
                    <a:pt x="567" y="713"/>
                    <a:pt x="569" y="713"/>
                    <a:pt x="571" y="712"/>
                  </a:cubicBezTo>
                  <a:cubicBezTo>
                    <a:pt x="571" y="712"/>
                    <a:pt x="571" y="712"/>
                    <a:pt x="571" y="712"/>
                  </a:cubicBezTo>
                  <a:cubicBezTo>
                    <a:pt x="572" y="711"/>
                    <a:pt x="573" y="711"/>
                    <a:pt x="573" y="710"/>
                  </a:cubicBezTo>
                  <a:cubicBezTo>
                    <a:pt x="574" y="710"/>
                    <a:pt x="574" y="710"/>
                    <a:pt x="574" y="710"/>
                  </a:cubicBezTo>
                  <a:cubicBezTo>
                    <a:pt x="575" y="709"/>
                    <a:pt x="575" y="709"/>
                    <a:pt x="576" y="708"/>
                  </a:cubicBezTo>
                  <a:cubicBezTo>
                    <a:pt x="582" y="697"/>
                    <a:pt x="592" y="694"/>
                    <a:pt x="612" y="694"/>
                  </a:cubicBezTo>
                  <a:cubicBezTo>
                    <a:pt x="632" y="694"/>
                    <a:pt x="641" y="682"/>
                    <a:pt x="650" y="676"/>
                  </a:cubicBezTo>
                  <a:cubicBezTo>
                    <a:pt x="660" y="669"/>
                    <a:pt x="666" y="644"/>
                    <a:pt x="716" y="648"/>
                  </a:cubicBezTo>
                  <a:cubicBezTo>
                    <a:pt x="765" y="652"/>
                    <a:pt x="770" y="654"/>
                    <a:pt x="792" y="624"/>
                  </a:cubicBezTo>
                  <a:cubicBezTo>
                    <a:pt x="813" y="593"/>
                    <a:pt x="833" y="577"/>
                    <a:pt x="854" y="561"/>
                  </a:cubicBezTo>
                  <a:cubicBezTo>
                    <a:pt x="876" y="545"/>
                    <a:pt x="908" y="504"/>
                    <a:pt x="929" y="490"/>
                  </a:cubicBezTo>
                  <a:cubicBezTo>
                    <a:pt x="950" y="477"/>
                    <a:pt x="981" y="446"/>
                    <a:pt x="938" y="452"/>
                  </a:cubicBezTo>
                  <a:cubicBezTo>
                    <a:pt x="896" y="457"/>
                    <a:pt x="886" y="449"/>
                    <a:pt x="864" y="440"/>
                  </a:cubicBezTo>
                  <a:cubicBezTo>
                    <a:pt x="841" y="430"/>
                    <a:pt x="740" y="405"/>
                    <a:pt x="716" y="390"/>
                  </a:cubicBezTo>
                  <a:cubicBezTo>
                    <a:pt x="692" y="376"/>
                    <a:pt x="666" y="368"/>
                    <a:pt x="665" y="353"/>
                  </a:cubicBezTo>
                  <a:cubicBezTo>
                    <a:pt x="664" y="338"/>
                    <a:pt x="649" y="329"/>
                    <a:pt x="641" y="321"/>
                  </a:cubicBezTo>
                  <a:cubicBezTo>
                    <a:pt x="633" y="313"/>
                    <a:pt x="614" y="285"/>
                    <a:pt x="629" y="273"/>
                  </a:cubicBezTo>
                  <a:cubicBezTo>
                    <a:pt x="630" y="272"/>
                    <a:pt x="631" y="271"/>
                    <a:pt x="632" y="270"/>
                  </a:cubicBezTo>
                  <a:cubicBezTo>
                    <a:pt x="633" y="270"/>
                    <a:pt x="633" y="269"/>
                    <a:pt x="633" y="269"/>
                  </a:cubicBezTo>
                  <a:cubicBezTo>
                    <a:pt x="634" y="268"/>
                    <a:pt x="635" y="267"/>
                    <a:pt x="636" y="266"/>
                  </a:cubicBezTo>
                  <a:cubicBezTo>
                    <a:pt x="636" y="266"/>
                    <a:pt x="636" y="266"/>
                    <a:pt x="636" y="266"/>
                  </a:cubicBezTo>
                  <a:cubicBezTo>
                    <a:pt x="637" y="265"/>
                    <a:pt x="638" y="264"/>
                    <a:pt x="638" y="263"/>
                  </a:cubicBezTo>
                  <a:cubicBezTo>
                    <a:pt x="638" y="263"/>
                    <a:pt x="639" y="263"/>
                    <a:pt x="639" y="262"/>
                  </a:cubicBezTo>
                  <a:cubicBezTo>
                    <a:pt x="639" y="261"/>
                    <a:pt x="640" y="260"/>
                    <a:pt x="640" y="259"/>
                  </a:cubicBezTo>
                  <a:cubicBezTo>
                    <a:pt x="641" y="259"/>
                    <a:pt x="641" y="259"/>
                    <a:pt x="641" y="259"/>
                  </a:cubicBezTo>
                  <a:cubicBezTo>
                    <a:pt x="641" y="258"/>
                    <a:pt x="642" y="257"/>
                    <a:pt x="642" y="256"/>
                  </a:cubicBezTo>
                  <a:cubicBezTo>
                    <a:pt x="642" y="256"/>
                    <a:pt x="642" y="256"/>
                    <a:pt x="642" y="256"/>
                  </a:cubicBezTo>
                  <a:cubicBezTo>
                    <a:pt x="643" y="255"/>
                    <a:pt x="643" y="254"/>
                    <a:pt x="643" y="253"/>
                  </a:cubicBezTo>
                  <a:cubicBezTo>
                    <a:pt x="644" y="253"/>
                    <a:pt x="644" y="252"/>
                    <a:pt x="644" y="252"/>
                  </a:cubicBezTo>
                  <a:cubicBezTo>
                    <a:pt x="644" y="251"/>
                    <a:pt x="644" y="251"/>
                    <a:pt x="644" y="250"/>
                  </a:cubicBezTo>
                  <a:cubicBezTo>
                    <a:pt x="645" y="249"/>
                    <a:pt x="645" y="248"/>
                    <a:pt x="646" y="246"/>
                  </a:cubicBezTo>
                  <a:cubicBezTo>
                    <a:pt x="638" y="247"/>
                    <a:pt x="630" y="249"/>
                    <a:pt x="623" y="249"/>
                  </a:cubicBezTo>
                  <a:cubicBezTo>
                    <a:pt x="613" y="249"/>
                    <a:pt x="616" y="257"/>
                    <a:pt x="608" y="257"/>
                  </a:cubicBezTo>
                  <a:cubicBezTo>
                    <a:pt x="600" y="256"/>
                    <a:pt x="592" y="252"/>
                    <a:pt x="589" y="263"/>
                  </a:cubicBezTo>
                  <a:cubicBezTo>
                    <a:pt x="586" y="274"/>
                    <a:pt x="581" y="265"/>
                    <a:pt x="573" y="258"/>
                  </a:cubicBezTo>
                  <a:cubicBezTo>
                    <a:pt x="565" y="251"/>
                    <a:pt x="566" y="231"/>
                    <a:pt x="566" y="220"/>
                  </a:cubicBezTo>
                  <a:cubicBezTo>
                    <a:pt x="566" y="209"/>
                    <a:pt x="579" y="198"/>
                    <a:pt x="587" y="193"/>
                  </a:cubicBezTo>
                  <a:cubicBezTo>
                    <a:pt x="595" y="188"/>
                    <a:pt x="597" y="184"/>
                    <a:pt x="600" y="176"/>
                  </a:cubicBezTo>
                  <a:cubicBezTo>
                    <a:pt x="601" y="173"/>
                    <a:pt x="602" y="167"/>
                    <a:pt x="603" y="163"/>
                  </a:cubicBezTo>
                  <a:cubicBezTo>
                    <a:pt x="595" y="156"/>
                    <a:pt x="589" y="146"/>
                    <a:pt x="585" y="141"/>
                  </a:cubicBezTo>
                  <a:cubicBezTo>
                    <a:pt x="580" y="134"/>
                    <a:pt x="569" y="122"/>
                    <a:pt x="563" y="114"/>
                  </a:cubicBezTo>
                  <a:cubicBezTo>
                    <a:pt x="557" y="107"/>
                    <a:pt x="540" y="97"/>
                    <a:pt x="534" y="93"/>
                  </a:cubicBezTo>
                  <a:cubicBezTo>
                    <a:pt x="529" y="88"/>
                    <a:pt x="517" y="71"/>
                    <a:pt x="514" y="63"/>
                  </a:cubicBezTo>
                  <a:cubicBezTo>
                    <a:pt x="510" y="56"/>
                    <a:pt x="498" y="51"/>
                    <a:pt x="494" y="51"/>
                  </a:cubicBezTo>
                  <a:cubicBezTo>
                    <a:pt x="490" y="51"/>
                    <a:pt x="483" y="54"/>
                    <a:pt x="477" y="41"/>
                  </a:cubicBezTo>
                  <a:cubicBezTo>
                    <a:pt x="471" y="28"/>
                    <a:pt x="437" y="33"/>
                    <a:pt x="424" y="33"/>
                  </a:cubicBezTo>
                  <a:cubicBezTo>
                    <a:pt x="411" y="33"/>
                    <a:pt x="405" y="37"/>
                    <a:pt x="401" y="30"/>
                  </a:cubicBezTo>
                  <a:cubicBezTo>
                    <a:pt x="397" y="23"/>
                    <a:pt x="385" y="19"/>
                    <a:pt x="380" y="27"/>
                  </a:cubicBezTo>
                  <a:cubicBezTo>
                    <a:pt x="375" y="35"/>
                    <a:pt x="370" y="35"/>
                    <a:pt x="356" y="33"/>
                  </a:cubicBezTo>
                  <a:cubicBezTo>
                    <a:pt x="342" y="31"/>
                    <a:pt x="339" y="26"/>
                    <a:pt x="330" y="13"/>
                  </a:cubicBezTo>
                  <a:cubicBezTo>
                    <a:pt x="321" y="0"/>
                    <a:pt x="310" y="9"/>
                    <a:pt x="312" y="23"/>
                  </a:cubicBezTo>
                  <a:cubicBezTo>
                    <a:pt x="314" y="37"/>
                    <a:pt x="307" y="33"/>
                    <a:pt x="304" y="44"/>
                  </a:cubicBezTo>
                  <a:cubicBezTo>
                    <a:pt x="301" y="55"/>
                    <a:pt x="309" y="59"/>
                    <a:pt x="299" y="60"/>
                  </a:cubicBezTo>
                  <a:cubicBezTo>
                    <a:pt x="289" y="61"/>
                    <a:pt x="296" y="50"/>
                    <a:pt x="289" y="45"/>
                  </a:cubicBezTo>
                  <a:cubicBezTo>
                    <a:pt x="282" y="40"/>
                    <a:pt x="297" y="38"/>
                    <a:pt x="281" y="32"/>
                  </a:cubicBezTo>
                  <a:cubicBezTo>
                    <a:pt x="265" y="26"/>
                    <a:pt x="272" y="47"/>
                    <a:pt x="261" y="43"/>
                  </a:cubicBezTo>
                  <a:cubicBezTo>
                    <a:pt x="250" y="39"/>
                    <a:pt x="239" y="36"/>
                    <a:pt x="234" y="44"/>
                  </a:cubicBezTo>
                  <a:cubicBezTo>
                    <a:pt x="232" y="48"/>
                    <a:pt x="229" y="50"/>
                    <a:pt x="226" y="52"/>
                  </a:cubicBezTo>
                  <a:cubicBezTo>
                    <a:pt x="226" y="54"/>
                    <a:pt x="226" y="55"/>
                    <a:pt x="226" y="57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499" name="Freeform 25694"/>
            <p:cNvSpPr>
              <a:spLocks/>
            </p:cNvSpPr>
            <p:nvPr/>
          </p:nvSpPr>
          <p:spPr bwMode="auto">
            <a:xfrm>
              <a:off x="3968758" y="2934670"/>
              <a:ext cx="290099" cy="217495"/>
            </a:xfrm>
            <a:custGeom>
              <a:avLst/>
              <a:gdLst>
                <a:gd name="T0" fmla="*/ 290 w 778"/>
                <a:gd name="T1" fmla="*/ 581 h 583"/>
                <a:gd name="T2" fmla="*/ 290 w 778"/>
                <a:gd name="T3" fmla="*/ 573 h 583"/>
                <a:gd name="T4" fmla="*/ 290 w 778"/>
                <a:gd name="T5" fmla="*/ 569 h 583"/>
                <a:gd name="T6" fmla="*/ 290 w 778"/>
                <a:gd name="T7" fmla="*/ 565 h 583"/>
                <a:gd name="T8" fmla="*/ 290 w 778"/>
                <a:gd name="T9" fmla="*/ 560 h 583"/>
                <a:gd name="T10" fmla="*/ 290 w 778"/>
                <a:gd name="T11" fmla="*/ 556 h 583"/>
                <a:gd name="T12" fmla="*/ 291 w 778"/>
                <a:gd name="T13" fmla="*/ 552 h 583"/>
                <a:gd name="T14" fmla="*/ 291 w 778"/>
                <a:gd name="T15" fmla="*/ 548 h 583"/>
                <a:gd name="T16" fmla="*/ 335 w 778"/>
                <a:gd name="T17" fmla="*/ 487 h 583"/>
                <a:gd name="T18" fmla="*/ 380 w 778"/>
                <a:gd name="T19" fmla="*/ 453 h 583"/>
                <a:gd name="T20" fmla="*/ 435 w 778"/>
                <a:gd name="T21" fmla="*/ 440 h 583"/>
                <a:gd name="T22" fmla="*/ 511 w 778"/>
                <a:gd name="T23" fmla="*/ 418 h 583"/>
                <a:gd name="T24" fmla="*/ 552 w 778"/>
                <a:gd name="T25" fmla="*/ 378 h 583"/>
                <a:gd name="T26" fmla="*/ 605 w 778"/>
                <a:gd name="T27" fmla="*/ 358 h 583"/>
                <a:gd name="T28" fmla="*/ 602 w 778"/>
                <a:gd name="T29" fmla="*/ 322 h 583"/>
                <a:gd name="T30" fmla="*/ 635 w 778"/>
                <a:gd name="T31" fmla="*/ 302 h 583"/>
                <a:gd name="T32" fmla="*/ 675 w 778"/>
                <a:gd name="T33" fmla="*/ 272 h 583"/>
                <a:gd name="T34" fmla="*/ 760 w 778"/>
                <a:gd name="T35" fmla="*/ 278 h 583"/>
                <a:gd name="T36" fmla="*/ 764 w 778"/>
                <a:gd name="T37" fmla="*/ 237 h 583"/>
                <a:gd name="T38" fmla="*/ 743 w 778"/>
                <a:gd name="T39" fmla="*/ 200 h 583"/>
                <a:gd name="T40" fmla="*/ 735 w 778"/>
                <a:gd name="T41" fmla="*/ 150 h 583"/>
                <a:gd name="T42" fmla="*/ 734 w 778"/>
                <a:gd name="T43" fmla="*/ 88 h 583"/>
                <a:gd name="T44" fmla="*/ 705 w 778"/>
                <a:gd name="T45" fmla="*/ 58 h 583"/>
                <a:gd name="T46" fmla="*/ 614 w 778"/>
                <a:gd name="T47" fmla="*/ 42 h 583"/>
                <a:gd name="T48" fmla="*/ 515 w 778"/>
                <a:gd name="T49" fmla="*/ 21 h 583"/>
                <a:gd name="T50" fmla="*/ 463 w 778"/>
                <a:gd name="T51" fmla="*/ 14 h 583"/>
                <a:gd name="T52" fmla="*/ 421 w 778"/>
                <a:gd name="T53" fmla="*/ 108 h 583"/>
                <a:gd name="T54" fmla="*/ 297 w 778"/>
                <a:gd name="T55" fmla="*/ 199 h 583"/>
                <a:gd name="T56" fmla="*/ 248 w 778"/>
                <a:gd name="T57" fmla="*/ 271 h 583"/>
                <a:gd name="T58" fmla="*/ 222 w 778"/>
                <a:gd name="T59" fmla="*/ 333 h 583"/>
                <a:gd name="T60" fmla="*/ 231 w 778"/>
                <a:gd name="T61" fmla="*/ 409 h 583"/>
                <a:gd name="T62" fmla="*/ 134 w 778"/>
                <a:gd name="T63" fmla="*/ 513 h 583"/>
                <a:gd name="T64" fmla="*/ 2 w 778"/>
                <a:gd name="T65" fmla="*/ 578 h 583"/>
                <a:gd name="T66" fmla="*/ 290 w 778"/>
                <a:gd name="T67" fmla="*/ 583 h 5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778" h="583">
                  <a:moveTo>
                    <a:pt x="290" y="582"/>
                  </a:moveTo>
                  <a:cubicBezTo>
                    <a:pt x="290" y="582"/>
                    <a:pt x="290" y="581"/>
                    <a:pt x="290" y="581"/>
                  </a:cubicBezTo>
                  <a:cubicBezTo>
                    <a:pt x="290" y="579"/>
                    <a:pt x="290" y="577"/>
                    <a:pt x="290" y="575"/>
                  </a:cubicBezTo>
                  <a:cubicBezTo>
                    <a:pt x="290" y="575"/>
                    <a:pt x="290" y="574"/>
                    <a:pt x="290" y="573"/>
                  </a:cubicBezTo>
                  <a:cubicBezTo>
                    <a:pt x="290" y="573"/>
                    <a:pt x="290" y="572"/>
                    <a:pt x="290" y="571"/>
                  </a:cubicBezTo>
                  <a:cubicBezTo>
                    <a:pt x="290" y="570"/>
                    <a:pt x="290" y="570"/>
                    <a:pt x="290" y="569"/>
                  </a:cubicBezTo>
                  <a:cubicBezTo>
                    <a:pt x="290" y="568"/>
                    <a:pt x="290" y="567"/>
                    <a:pt x="290" y="567"/>
                  </a:cubicBezTo>
                  <a:cubicBezTo>
                    <a:pt x="290" y="566"/>
                    <a:pt x="290" y="565"/>
                    <a:pt x="290" y="565"/>
                  </a:cubicBezTo>
                  <a:cubicBezTo>
                    <a:pt x="290" y="564"/>
                    <a:pt x="290" y="563"/>
                    <a:pt x="290" y="562"/>
                  </a:cubicBezTo>
                  <a:cubicBezTo>
                    <a:pt x="290" y="562"/>
                    <a:pt x="290" y="561"/>
                    <a:pt x="290" y="560"/>
                  </a:cubicBezTo>
                  <a:cubicBezTo>
                    <a:pt x="290" y="560"/>
                    <a:pt x="290" y="559"/>
                    <a:pt x="290" y="558"/>
                  </a:cubicBezTo>
                  <a:cubicBezTo>
                    <a:pt x="290" y="558"/>
                    <a:pt x="290" y="557"/>
                    <a:pt x="290" y="556"/>
                  </a:cubicBezTo>
                  <a:cubicBezTo>
                    <a:pt x="290" y="556"/>
                    <a:pt x="290" y="555"/>
                    <a:pt x="290" y="555"/>
                  </a:cubicBezTo>
                  <a:cubicBezTo>
                    <a:pt x="291" y="554"/>
                    <a:pt x="291" y="553"/>
                    <a:pt x="291" y="552"/>
                  </a:cubicBezTo>
                  <a:cubicBezTo>
                    <a:pt x="291" y="552"/>
                    <a:pt x="291" y="551"/>
                    <a:pt x="291" y="551"/>
                  </a:cubicBezTo>
                  <a:cubicBezTo>
                    <a:pt x="291" y="550"/>
                    <a:pt x="291" y="549"/>
                    <a:pt x="291" y="548"/>
                  </a:cubicBezTo>
                  <a:cubicBezTo>
                    <a:pt x="292" y="506"/>
                    <a:pt x="291" y="511"/>
                    <a:pt x="303" y="506"/>
                  </a:cubicBezTo>
                  <a:cubicBezTo>
                    <a:pt x="315" y="502"/>
                    <a:pt x="325" y="493"/>
                    <a:pt x="335" y="487"/>
                  </a:cubicBezTo>
                  <a:cubicBezTo>
                    <a:pt x="346" y="481"/>
                    <a:pt x="346" y="472"/>
                    <a:pt x="354" y="470"/>
                  </a:cubicBezTo>
                  <a:cubicBezTo>
                    <a:pt x="362" y="469"/>
                    <a:pt x="372" y="466"/>
                    <a:pt x="380" y="453"/>
                  </a:cubicBezTo>
                  <a:cubicBezTo>
                    <a:pt x="388" y="440"/>
                    <a:pt x="401" y="451"/>
                    <a:pt x="411" y="452"/>
                  </a:cubicBezTo>
                  <a:cubicBezTo>
                    <a:pt x="421" y="454"/>
                    <a:pt x="427" y="448"/>
                    <a:pt x="435" y="440"/>
                  </a:cubicBezTo>
                  <a:cubicBezTo>
                    <a:pt x="442" y="431"/>
                    <a:pt x="470" y="430"/>
                    <a:pt x="484" y="430"/>
                  </a:cubicBezTo>
                  <a:cubicBezTo>
                    <a:pt x="498" y="430"/>
                    <a:pt x="508" y="424"/>
                    <a:pt x="511" y="418"/>
                  </a:cubicBezTo>
                  <a:cubicBezTo>
                    <a:pt x="513" y="411"/>
                    <a:pt x="519" y="404"/>
                    <a:pt x="525" y="394"/>
                  </a:cubicBezTo>
                  <a:cubicBezTo>
                    <a:pt x="531" y="384"/>
                    <a:pt x="543" y="380"/>
                    <a:pt x="552" y="378"/>
                  </a:cubicBezTo>
                  <a:cubicBezTo>
                    <a:pt x="561" y="376"/>
                    <a:pt x="570" y="378"/>
                    <a:pt x="577" y="368"/>
                  </a:cubicBezTo>
                  <a:cubicBezTo>
                    <a:pt x="585" y="359"/>
                    <a:pt x="596" y="362"/>
                    <a:pt x="605" y="358"/>
                  </a:cubicBezTo>
                  <a:cubicBezTo>
                    <a:pt x="615" y="355"/>
                    <a:pt x="610" y="346"/>
                    <a:pt x="606" y="342"/>
                  </a:cubicBezTo>
                  <a:cubicBezTo>
                    <a:pt x="602" y="338"/>
                    <a:pt x="603" y="327"/>
                    <a:pt x="602" y="322"/>
                  </a:cubicBezTo>
                  <a:cubicBezTo>
                    <a:pt x="601" y="316"/>
                    <a:pt x="601" y="307"/>
                    <a:pt x="607" y="306"/>
                  </a:cubicBezTo>
                  <a:cubicBezTo>
                    <a:pt x="613" y="304"/>
                    <a:pt x="631" y="310"/>
                    <a:pt x="635" y="302"/>
                  </a:cubicBezTo>
                  <a:cubicBezTo>
                    <a:pt x="640" y="295"/>
                    <a:pt x="653" y="295"/>
                    <a:pt x="654" y="288"/>
                  </a:cubicBezTo>
                  <a:cubicBezTo>
                    <a:pt x="655" y="282"/>
                    <a:pt x="668" y="277"/>
                    <a:pt x="675" y="272"/>
                  </a:cubicBezTo>
                  <a:cubicBezTo>
                    <a:pt x="683" y="268"/>
                    <a:pt x="703" y="270"/>
                    <a:pt x="715" y="276"/>
                  </a:cubicBezTo>
                  <a:cubicBezTo>
                    <a:pt x="726" y="282"/>
                    <a:pt x="742" y="278"/>
                    <a:pt x="760" y="278"/>
                  </a:cubicBezTo>
                  <a:cubicBezTo>
                    <a:pt x="778" y="279"/>
                    <a:pt x="773" y="263"/>
                    <a:pt x="775" y="253"/>
                  </a:cubicBezTo>
                  <a:cubicBezTo>
                    <a:pt x="777" y="243"/>
                    <a:pt x="769" y="240"/>
                    <a:pt x="764" y="237"/>
                  </a:cubicBezTo>
                  <a:cubicBezTo>
                    <a:pt x="759" y="234"/>
                    <a:pt x="753" y="228"/>
                    <a:pt x="753" y="221"/>
                  </a:cubicBezTo>
                  <a:cubicBezTo>
                    <a:pt x="753" y="214"/>
                    <a:pt x="749" y="208"/>
                    <a:pt x="743" y="200"/>
                  </a:cubicBezTo>
                  <a:cubicBezTo>
                    <a:pt x="736" y="192"/>
                    <a:pt x="741" y="175"/>
                    <a:pt x="738" y="168"/>
                  </a:cubicBezTo>
                  <a:cubicBezTo>
                    <a:pt x="735" y="162"/>
                    <a:pt x="728" y="156"/>
                    <a:pt x="735" y="150"/>
                  </a:cubicBezTo>
                  <a:cubicBezTo>
                    <a:pt x="741" y="145"/>
                    <a:pt x="735" y="124"/>
                    <a:pt x="739" y="117"/>
                  </a:cubicBezTo>
                  <a:cubicBezTo>
                    <a:pt x="743" y="110"/>
                    <a:pt x="735" y="94"/>
                    <a:pt x="734" y="88"/>
                  </a:cubicBezTo>
                  <a:cubicBezTo>
                    <a:pt x="733" y="81"/>
                    <a:pt x="725" y="75"/>
                    <a:pt x="713" y="70"/>
                  </a:cubicBezTo>
                  <a:cubicBezTo>
                    <a:pt x="708" y="68"/>
                    <a:pt x="705" y="63"/>
                    <a:pt x="705" y="58"/>
                  </a:cubicBezTo>
                  <a:cubicBezTo>
                    <a:pt x="692" y="58"/>
                    <a:pt x="682" y="55"/>
                    <a:pt x="672" y="48"/>
                  </a:cubicBezTo>
                  <a:cubicBezTo>
                    <a:pt x="658" y="37"/>
                    <a:pt x="630" y="39"/>
                    <a:pt x="614" y="42"/>
                  </a:cubicBezTo>
                  <a:cubicBezTo>
                    <a:pt x="598" y="46"/>
                    <a:pt x="576" y="61"/>
                    <a:pt x="554" y="48"/>
                  </a:cubicBezTo>
                  <a:cubicBezTo>
                    <a:pt x="531" y="35"/>
                    <a:pt x="520" y="30"/>
                    <a:pt x="515" y="21"/>
                  </a:cubicBezTo>
                  <a:cubicBezTo>
                    <a:pt x="509" y="11"/>
                    <a:pt x="509" y="3"/>
                    <a:pt x="491" y="1"/>
                  </a:cubicBezTo>
                  <a:cubicBezTo>
                    <a:pt x="473" y="0"/>
                    <a:pt x="466" y="0"/>
                    <a:pt x="463" y="14"/>
                  </a:cubicBezTo>
                  <a:cubicBezTo>
                    <a:pt x="460" y="28"/>
                    <a:pt x="460" y="47"/>
                    <a:pt x="449" y="67"/>
                  </a:cubicBezTo>
                  <a:cubicBezTo>
                    <a:pt x="438" y="87"/>
                    <a:pt x="431" y="98"/>
                    <a:pt x="421" y="108"/>
                  </a:cubicBezTo>
                  <a:cubicBezTo>
                    <a:pt x="412" y="118"/>
                    <a:pt x="389" y="143"/>
                    <a:pt x="373" y="149"/>
                  </a:cubicBezTo>
                  <a:cubicBezTo>
                    <a:pt x="357" y="154"/>
                    <a:pt x="309" y="178"/>
                    <a:pt x="297" y="199"/>
                  </a:cubicBezTo>
                  <a:cubicBezTo>
                    <a:pt x="297" y="199"/>
                    <a:pt x="275" y="225"/>
                    <a:pt x="269" y="233"/>
                  </a:cubicBezTo>
                  <a:cubicBezTo>
                    <a:pt x="262" y="240"/>
                    <a:pt x="251" y="255"/>
                    <a:pt x="248" y="271"/>
                  </a:cubicBezTo>
                  <a:cubicBezTo>
                    <a:pt x="245" y="287"/>
                    <a:pt x="231" y="280"/>
                    <a:pt x="228" y="296"/>
                  </a:cubicBezTo>
                  <a:cubicBezTo>
                    <a:pt x="225" y="312"/>
                    <a:pt x="228" y="320"/>
                    <a:pt x="222" y="333"/>
                  </a:cubicBezTo>
                  <a:cubicBezTo>
                    <a:pt x="217" y="345"/>
                    <a:pt x="214" y="355"/>
                    <a:pt x="222" y="370"/>
                  </a:cubicBezTo>
                  <a:cubicBezTo>
                    <a:pt x="231" y="385"/>
                    <a:pt x="236" y="394"/>
                    <a:pt x="231" y="409"/>
                  </a:cubicBezTo>
                  <a:cubicBezTo>
                    <a:pt x="226" y="424"/>
                    <a:pt x="208" y="455"/>
                    <a:pt x="189" y="476"/>
                  </a:cubicBezTo>
                  <a:cubicBezTo>
                    <a:pt x="170" y="496"/>
                    <a:pt x="150" y="497"/>
                    <a:pt x="134" y="513"/>
                  </a:cubicBezTo>
                  <a:cubicBezTo>
                    <a:pt x="118" y="529"/>
                    <a:pt x="113" y="545"/>
                    <a:pt x="79" y="550"/>
                  </a:cubicBezTo>
                  <a:cubicBezTo>
                    <a:pt x="46" y="554"/>
                    <a:pt x="15" y="562"/>
                    <a:pt x="2" y="578"/>
                  </a:cubicBezTo>
                  <a:cubicBezTo>
                    <a:pt x="1" y="579"/>
                    <a:pt x="0" y="580"/>
                    <a:pt x="0" y="581"/>
                  </a:cubicBezTo>
                  <a:cubicBezTo>
                    <a:pt x="290" y="583"/>
                    <a:pt x="290" y="583"/>
                    <a:pt x="290" y="583"/>
                  </a:cubicBezTo>
                  <a:cubicBezTo>
                    <a:pt x="290" y="583"/>
                    <a:pt x="290" y="583"/>
                    <a:pt x="290" y="582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500" name="Freeform 25695"/>
            <p:cNvSpPr>
              <a:spLocks/>
            </p:cNvSpPr>
            <p:nvPr/>
          </p:nvSpPr>
          <p:spPr bwMode="auto">
            <a:xfrm>
              <a:off x="4459780" y="2894422"/>
              <a:ext cx="97699" cy="191294"/>
            </a:xfrm>
            <a:custGeom>
              <a:avLst/>
              <a:gdLst>
                <a:gd name="T0" fmla="*/ 73 w 262"/>
                <a:gd name="T1" fmla="*/ 44 h 513"/>
                <a:gd name="T2" fmla="*/ 56 w 262"/>
                <a:gd name="T3" fmla="*/ 56 h 513"/>
                <a:gd name="T4" fmla="*/ 47 w 262"/>
                <a:gd name="T5" fmla="*/ 69 h 513"/>
                <a:gd name="T6" fmla="*/ 57 w 262"/>
                <a:gd name="T7" fmla="*/ 93 h 513"/>
                <a:gd name="T8" fmla="*/ 53 w 262"/>
                <a:gd name="T9" fmla="*/ 121 h 513"/>
                <a:gd name="T10" fmla="*/ 59 w 262"/>
                <a:gd name="T11" fmla="*/ 145 h 513"/>
                <a:gd name="T12" fmla="*/ 59 w 262"/>
                <a:gd name="T13" fmla="*/ 179 h 513"/>
                <a:gd name="T14" fmla="*/ 43 w 262"/>
                <a:gd name="T15" fmla="*/ 214 h 513"/>
                <a:gd name="T16" fmla="*/ 22 w 262"/>
                <a:gd name="T17" fmla="*/ 226 h 513"/>
                <a:gd name="T18" fmla="*/ 0 w 262"/>
                <a:gd name="T19" fmla="*/ 245 h 513"/>
                <a:gd name="T20" fmla="*/ 10 w 262"/>
                <a:gd name="T21" fmla="*/ 277 h 513"/>
                <a:gd name="T22" fmla="*/ 30 w 262"/>
                <a:gd name="T23" fmla="*/ 314 h 513"/>
                <a:gd name="T24" fmla="*/ 54 w 262"/>
                <a:gd name="T25" fmla="*/ 330 h 513"/>
                <a:gd name="T26" fmla="*/ 75 w 262"/>
                <a:gd name="T27" fmla="*/ 368 h 513"/>
                <a:gd name="T28" fmla="*/ 106 w 262"/>
                <a:gd name="T29" fmla="*/ 395 h 513"/>
                <a:gd name="T30" fmla="*/ 111 w 262"/>
                <a:gd name="T31" fmla="*/ 431 h 513"/>
                <a:gd name="T32" fmla="*/ 121 w 262"/>
                <a:gd name="T33" fmla="*/ 463 h 513"/>
                <a:gd name="T34" fmla="*/ 131 w 262"/>
                <a:gd name="T35" fmla="*/ 495 h 513"/>
                <a:gd name="T36" fmla="*/ 132 w 262"/>
                <a:gd name="T37" fmla="*/ 496 h 513"/>
                <a:gd name="T38" fmla="*/ 132 w 262"/>
                <a:gd name="T39" fmla="*/ 497 h 513"/>
                <a:gd name="T40" fmla="*/ 132 w 262"/>
                <a:gd name="T41" fmla="*/ 498 h 513"/>
                <a:gd name="T42" fmla="*/ 132 w 262"/>
                <a:gd name="T43" fmla="*/ 498 h 513"/>
                <a:gd name="T44" fmla="*/ 136 w 262"/>
                <a:gd name="T45" fmla="*/ 512 h 513"/>
                <a:gd name="T46" fmla="*/ 136 w 262"/>
                <a:gd name="T47" fmla="*/ 512 h 513"/>
                <a:gd name="T48" fmla="*/ 157 w 262"/>
                <a:gd name="T49" fmla="*/ 508 h 513"/>
                <a:gd name="T50" fmla="*/ 171 w 262"/>
                <a:gd name="T51" fmla="*/ 493 h 513"/>
                <a:gd name="T52" fmla="*/ 183 w 262"/>
                <a:gd name="T53" fmla="*/ 472 h 513"/>
                <a:gd name="T54" fmla="*/ 178 w 262"/>
                <a:gd name="T55" fmla="*/ 452 h 513"/>
                <a:gd name="T56" fmla="*/ 172 w 262"/>
                <a:gd name="T57" fmla="*/ 431 h 513"/>
                <a:gd name="T58" fmla="*/ 181 w 262"/>
                <a:gd name="T59" fmla="*/ 417 h 513"/>
                <a:gd name="T60" fmla="*/ 200 w 262"/>
                <a:gd name="T61" fmla="*/ 405 h 513"/>
                <a:gd name="T62" fmla="*/ 226 w 262"/>
                <a:gd name="T63" fmla="*/ 383 h 513"/>
                <a:gd name="T64" fmla="*/ 258 w 262"/>
                <a:gd name="T65" fmla="*/ 363 h 513"/>
                <a:gd name="T66" fmla="*/ 262 w 262"/>
                <a:gd name="T67" fmla="*/ 304 h 513"/>
                <a:gd name="T68" fmla="*/ 258 w 262"/>
                <a:gd name="T69" fmla="*/ 303 h 513"/>
                <a:gd name="T70" fmla="*/ 236 w 262"/>
                <a:gd name="T71" fmla="*/ 285 h 513"/>
                <a:gd name="T72" fmla="*/ 199 w 262"/>
                <a:gd name="T73" fmla="*/ 273 h 513"/>
                <a:gd name="T74" fmla="*/ 183 w 262"/>
                <a:gd name="T75" fmla="*/ 233 h 513"/>
                <a:gd name="T76" fmla="*/ 216 w 262"/>
                <a:gd name="T77" fmla="*/ 191 h 513"/>
                <a:gd name="T78" fmla="*/ 236 w 262"/>
                <a:gd name="T79" fmla="*/ 159 h 513"/>
                <a:gd name="T80" fmla="*/ 219 w 262"/>
                <a:gd name="T81" fmla="*/ 120 h 513"/>
                <a:gd name="T82" fmla="*/ 199 w 262"/>
                <a:gd name="T83" fmla="*/ 82 h 513"/>
                <a:gd name="T84" fmla="*/ 233 w 262"/>
                <a:gd name="T85" fmla="*/ 45 h 513"/>
                <a:gd name="T86" fmla="*/ 222 w 262"/>
                <a:gd name="T87" fmla="*/ 26 h 513"/>
                <a:gd name="T88" fmla="*/ 191 w 262"/>
                <a:gd name="T89" fmla="*/ 44 h 513"/>
                <a:gd name="T90" fmla="*/ 164 w 262"/>
                <a:gd name="T91" fmla="*/ 8 h 513"/>
                <a:gd name="T92" fmla="*/ 123 w 262"/>
                <a:gd name="T93" fmla="*/ 8 h 513"/>
                <a:gd name="T94" fmla="*/ 77 w 262"/>
                <a:gd name="T95" fmla="*/ 29 h 513"/>
                <a:gd name="T96" fmla="*/ 73 w 262"/>
                <a:gd name="T97" fmla="*/ 44 h 5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62" h="513">
                  <a:moveTo>
                    <a:pt x="73" y="44"/>
                  </a:moveTo>
                  <a:cubicBezTo>
                    <a:pt x="61" y="45"/>
                    <a:pt x="55" y="50"/>
                    <a:pt x="56" y="56"/>
                  </a:cubicBezTo>
                  <a:cubicBezTo>
                    <a:pt x="57" y="62"/>
                    <a:pt x="41" y="62"/>
                    <a:pt x="47" y="69"/>
                  </a:cubicBezTo>
                  <a:cubicBezTo>
                    <a:pt x="53" y="76"/>
                    <a:pt x="57" y="81"/>
                    <a:pt x="57" y="93"/>
                  </a:cubicBezTo>
                  <a:cubicBezTo>
                    <a:pt x="57" y="105"/>
                    <a:pt x="50" y="115"/>
                    <a:pt x="53" y="121"/>
                  </a:cubicBezTo>
                  <a:cubicBezTo>
                    <a:pt x="56" y="127"/>
                    <a:pt x="57" y="129"/>
                    <a:pt x="59" y="145"/>
                  </a:cubicBezTo>
                  <a:cubicBezTo>
                    <a:pt x="61" y="161"/>
                    <a:pt x="65" y="171"/>
                    <a:pt x="59" y="179"/>
                  </a:cubicBezTo>
                  <a:cubicBezTo>
                    <a:pt x="53" y="187"/>
                    <a:pt x="56" y="214"/>
                    <a:pt x="43" y="214"/>
                  </a:cubicBezTo>
                  <a:cubicBezTo>
                    <a:pt x="30" y="214"/>
                    <a:pt x="24" y="220"/>
                    <a:pt x="22" y="226"/>
                  </a:cubicBezTo>
                  <a:cubicBezTo>
                    <a:pt x="20" y="232"/>
                    <a:pt x="0" y="232"/>
                    <a:pt x="0" y="245"/>
                  </a:cubicBezTo>
                  <a:cubicBezTo>
                    <a:pt x="0" y="258"/>
                    <a:pt x="3" y="272"/>
                    <a:pt x="10" y="277"/>
                  </a:cubicBezTo>
                  <a:cubicBezTo>
                    <a:pt x="17" y="282"/>
                    <a:pt x="15" y="313"/>
                    <a:pt x="30" y="314"/>
                  </a:cubicBezTo>
                  <a:cubicBezTo>
                    <a:pt x="45" y="315"/>
                    <a:pt x="54" y="315"/>
                    <a:pt x="54" y="330"/>
                  </a:cubicBezTo>
                  <a:cubicBezTo>
                    <a:pt x="54" y="345"/>
                    <a:pt x="56" y="362"/>
                    <a:pt x="75" y="368"/>
                  </a:cubicBezTo>
                  <a:cubicBezTo>
                    <a:pt x="94" y="374"/>
                    <a:pt x="102" y="383"/>
                    <a:pt x="106" y="395"/>
                  </a:cubicBezTo>
                  <a:cubicBezTo>
                    <a:pt x="110" y="407"/>
                    <a:pt x="106" y="417"/>
                    <a:pt x="111" y="431"/>
                  </a:cubicBezTo>
                  <a:cubicBezTo>
                    <a:pt x="116" y="445"/>
                    <a:pt x="118" y="449"/>
                    <a:pt x="121" y="463"/>
                  </a:cubicBezTo>
                  <a:cubicBezTo>
                    <a:pt x="124" y="477"/>
                    <a:pt x="128" y="488"/>
                    <a:pt x="131" y="495"/>
                  </a:cubicBezTo>
                  <a:cubicBezTo>
                    <a:pt x="131" y="495"/>
                    <a:pt x="131" y="496"/>
                    <a:pt x="132" y="496"/>
                  </a:cubicBezTo>
                  <a:cubicBezTo>
                    <a:pt x="132" y="496"/>
                    <a:pt x="132" y="496"/>
                    <a:pt x="132" y="497"/>
                  </a:cubicBezTo>
                  <a:cubicBezTo>
                    <a:pt x="132" y="497"/>
                    <a:pt x="132" y="497"/>
                    <a:pt x="132" y="498"/>
                  </a:cubicBezTo>
                  <a:cubicBezTo>
                    <a:pt x="132" y="498"/>
                    <a:pt x="132" y="498"/>
                    <a:pt x="132" y="498"/>
                  </a:cubicBezTo>
                  <a:cubicBezTo>
                    <a:pt x="135" y="502"/>
                    <a:pt x="139" y="507"/>
                    <a:pt x="136" y="512"/>
                  </a:cubicBezTo>
                  <a:cubicBezTo>
                    <a:pt x="136" y="512"/>
                    <a:pt x="136" y="512"/>
                    <a:pt x="136" y="512"/>
                  </a:cubicBezTo>
                  <a:cubicBezTo>
                    <a:pt x="143" y="513"/>
                    <a:pt x="155" y="513"/>
                    <a:pt x="157" y="508"/>
                  </a:cubicBezTo>
                  <a:cubicBezTo>
                    <a:pt x="159" y="500"/>
                    <a:pt x="162" y="498"/>
                    <a:pt x="171" y="493"/>
                  </a:cubicBezTo>
                  <a:cubicBezTo>
                    <a:pt x="180" y="487"/>
                    <a:pt x="183" y="484"/>
                    <a:pt x="183" y="472"/>
                  </a:cubicBezTo>
                  <a:cubicBezTo>
                    <a:pt x="182" y="461"/>
                    <a:pt x="185" y="457"/>
                    <a:pt x="178" y="452"/>
                  </a:cubicBezTo>
                  <a:cubicBezTo>
                    <a:pt x="171" y="446"/>
                    <a:pt x="170" y="438"/>
                    <a:pt x="172" y="431"/>
                  </a:cubicBezTo>
                  <a:cubicBezTo>
                    <a:pt x="174" y="425"/>
                    <a:pt x="172" y="419"/>
                    <a:pt x="181" y="417"/>
                  </a:cubicBezTo>
                  <a:cubicBezTo>
                    <a:pt x="190" y="415"/>
                    <a:pt x="195" y="412"/>
                    <a:pt x="200" y="405"/>
                  </a:cubicBezTo>
                  <a:cubicBezTo>
                    <a:pt x="205" y="397"/>
                    <a:pt x="211" y="388"/>
                    <a:pt x="226" y="383"/>
                  </a:cubicBezTo>
                  <a:cubicBezTo>
                    <a:pt x="241" y="378"/>
                    <a:pt x="255" y="372"/>
                    <a:pt x="258" y="363"/>
                  </a:cubicBezTo>
                  <a:cubicBezTo>
                    <a:pt x="259" y="356"/>
                    <a:pt x="261" y="320"/>
                    <a:pt x="262" y="304"/>
                  </a:cubicBezTo>
                  <a:cubicBezTo>
                    <a:pt x="260" y="303"/>
                    <a:pt x="259" y="303"/>
                    <a:pt x="258" y="303"/>
                  </a:cubicBezTo>
                  <a:cubicBezTo>
                    <a:pt x="241" y="301"/>
                    <a:pt x="245" y="292"/>
                    <a:pt x="236" y="285"/>
                  </a:cubicBezTo>
                  <a:cubicBezTo>
                    <a:pt x="228" y="277"/>
                    <a:pt x="209" y="277"/>
                    <a:pt x="199" y="273"/>
                  </a:cubicBezTo>
                  <a:cubicBezTo>
                    <a:pt x="188" y="269"/>
                    <a:pt x="170" y="251"/>
                    <a:pt x="183" y="233"/>
                  </a:cubicBezTo>
                  <a:cubicBezTo>
                    <a:pt x="195" y="215"/>
                    <a:pt x="212" y="205"/>
                    <a:pt x="216" y="191"/>
                  </a:cubicBezTo>
                  <a:cubicBezTo>
                    <a:pt x="220" y="177"/>
                    <a:pt x="242" y="178"/>
                    <a:pt x="236" y="159"/>
                  </a:cubicBezTo>
                  <a:cubicBezTo>
                    <a:pt x="231" y="140"/>
                    <a:pt x="239" y="127"/>
                    <a:pt x="219" y="120"/>
                  </a:cubicBezTo>
                  <a:cubicBezTo>
                    <a:pt x="199" y="114"/>
                    <a:pt x="187" y="101"/>
                    <a:pt x="199" y="82"/>
                  </a:cubicBezTo>
                  <a:cubicBezTo>
                    <a:pt x="210" y="62"/>
                    <a:pt x="231" y="54"/>
                    <a:pt x="233" y="45"/>
                  </a:cubicBezTo>
                  <a:cubicBezTo>
                    <a:pt x="235" y="36"/>
                    <a:pt x="233" y="14"/>
                    <a:pt x="222" y="26"/>
                  </a:cubicBezTo>
                  <a:cubicBezTo>
                    <a:pt x="212" y="37"/>
                    <a:pt x="199" y="64"/>
                    <a:pt x="191" y="44"/>
                  </a:cubicBezTo>
                  <a:cubicBezTo>
                    <a:pt x="184" y="23"/>
                    <a:pt x="175" y="13"/>
                    <a:pt x="164" y="8"/>
                  </a:cubicBezTo>
                  <a:cubicBezTo>
                    <a:pt x="153" y="4"/>
                    <a:pt x="135" y="0"/>
                    <a:pt x="123" y="8"/>
                  </a:cubicBezTo>
                  <a:cubicBezTo>
                    <a:pt x="114" y="15"/>
                    <a:pt x="97" y="25"/>
                    <a:pt x="77" y="29"/>
                  </a:cubicBezTo>
                  <a:cubicBezTo>
                    <a:pt x="79" y="36"/>
                    <a:pt x="79" y="43"/>
                    <a:pt x="73" y="44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501" name="Freeform 25696"/>
            <p:cNvSpPr>
              <a:spLocks/>
            </p:cNvSpPr>
            <p:nvPr/>
          </p:nvSpPr>
          <p:spPr bwMode="auto">
            <a:xfrm>
              <a:off x="4504605" y="3007746"/>
              <a:ext cx="376118" cy="350233"/>
            </a:xfrm>
            <a:custGeom>
              <a:avLst/>
              <a:gdLst>
                <a:gd name="T0" fmla="*/ 61 w 1009"/>
                <a:gd name="T1" fmla="*/ 113 h 939"/>
                <a:gd name="T2" fmla="*/ 63 w 1009"/>
                <a:gd name="T3" fmla="*/ 168 h 939"/>
                <a:gd name="T4" fmla="*/ 16 w 1009"/>
                <a:gd name="T5" fmla="*/ 208 h 939"/>
                <a:gd name="T6" fmla="*/ 14 w 1009"/>
                <a:gd name="T7" fmla="*/ 210 h 939"/>
                <a:gd name="T8" fmla="*/ 27 w 1009"/>
                <a:gd name="T9" fmla="*/ 263 h 939"/>
                <a:gd name="T10" fmla="*/ 35 w 1009"/>
                <a:gd name="T11" fmla="*/ 359 h 939"/>
                <a:gd name="T12" fmla="*/ 26 w 1009"/>
                <a:gd name="T13" fmla="*/ 426 h 939"/>
                <a:gd name="T14" fmla="*/ 13 w 1009"/>
                <a:gd name="T15" fmla="*/ 483 h 939"/>
                <a:gd name="T16" fmla="*/ 49 w 1009"/>
                <a:gd name="T17" fmla="*/ 570 h 939"/>
                <a:gd name="T18" fmla="*/ 172 w 1009"/>
                <a:gd name="T19" fmla="*/ 678 h 939"/>
                <a:gd name="T20" fmla="*/ 226 w 1009"/>
                <a:gd name="T21" fmla="*/ 691 h 939"/>
                <a:gd name="T22" fmla="*/ 343 w 1009"/>
                <a:gd name="T23" fmla="*/ 719 h 939"/>
                <a:gd name="T24" fmla="*/ 351 w 1009"/>
                <a:gd name="T25" fmla="*/ 716 h 939"/>
                <a:gd name="T26" fmla="*/ 355 w 1009"/>
                <a:gd name="T27" fmla="*/ 714 h 939"/>
                <a:gd name="T28" fmla="*/ 359 w 1009"/>
                <a:gd name="T29" fmla="*/ 712 h 939"/>
                <a:gd name="T30" fmla="*/ 362 w 1009"/>
                <a:gd name="T31" fmla="*/ 710 h 939"/>
                <a:gd name="T32" fmla="*/ 364 w 1009"/>
                <a:gd name="T33" fmla="*/ 707 h 939"/>
                <a:gd name="T34" fmla="*/ 367 w 1009"/>
                <a:gd name="T35" fmla="*/ 705 h 939"/>
                <a:gd name="T36" fmla="*/ 369 w 1009"/>
                <a:gd name="T37" fmla="*/ 703 h 939"/>
                <a:gd name="T38" fmla="*/ 373 w 1009"/>
                <a:gd name="T39" fmla="*/ 700 h 939"/>
                <a:gd name="T40" fmla="*/ 376 w 1009"/>
                <a:gd name="T41" fmla="*/ 698 h 939"/>
                <a:gd name="T42" fmla="*/ 383 w 1009"/>
                <a:gd name="T43" fmla="*/ 695 h 939"/>
                <a:gd name="T44" fmla="*/ 932 w 1009"/>
                <a:gd name="T45" fmla="*/ 912 h 939"/>
                <a:gd name="T46" fmla="*/ 998 w 1009"/>
                <a:gd name="T47" fmla="*/ 907 h 939"/>
                <a:gd name="T48" fmla="*/ 999 w 1009"/>
                <a:gd name="T49" fmla="*/ 531 h 939"/>
                <a:gd name="T50" fmla="*/ 999 w 1009"/>
                <a:gd name="T51" fmla="*/ 517 h 939"/>
                <a:gd name="T52" fmla="*/ 999 w 1009"/>
                <a:gd name="T53" fmla="*/ 481 h 939"/>
                <a:gd name="T54" fmla="*/ 999 w 1009"/>
                <a:gd name="T55" fmla="*/ 455 h 939"/>
                <a:gd name="T56" fmla="*/ 999 w 1009"/>
                <a:gd name="T57" fmla="*/ 444 h 939"/>
                <a:gd name="T58" fmla="*/ 999 w 1009"/>
                <a:gd name="T59" fmla="*/ 429 h 939"/>
                <a:gd name="T60" fmla="*/ 999 w 1009"/>
                <a:gd name="T61" fmla="*/ 418 h 939"/>
                <a:gd name="T62" fmla="*/ 999 w 1009"/>
                <a:gd name="T63" fmla="*/ 403 h 939"/>
                <a:gd name="T64" fmla="*/ 999 w 1009"/>
                <a:gd name="T65" fmla="*/ 385 h 939"/>
                <a:gd name="T66" fmla="*/ 999 w 1009"/>
                <a:gd name="T67" fmla="*/ 371 h 939"/>
                <a:gd name="T68" fmla="*/ 999 w 1009"/>
                <a:gd name="T69" fmla="*/ 362 h 939"/>
                <a:gd name="T70" fmla="*/ 999 w 1009"/>
                <a:gd name="T71" fmla="*/ 343 h 939"/>
                <a:gd name="T72" fmla="*/ 999 w 1009"/>
                <a:gd name="T73" fmla="*/ 328 h 939"/>
                <a:gd name="T74" fmla="*/ 999 w 1009"/>
                <a:gd name="T75" fmla="*/ 318 h 939"/>
                <a:gd name="T76" fmla="*/ 999 w 1009"/>
                <a:gd name="T77" fmla="*/ 309 h 939"/>
                <a:gd name="T78" fmla="*/ 999 w 1009"/>
                <a:gd name="T79" fmla="*/ 303 h 939"/>
                <a:gd name="T80" fmla="*/ 999 w 1009"/>
                <a:gd name="T81" fmla="*/ 296 h 939"/>
                <a:gd name="T82" fmla="*/ 999 w 1009"/>
                <a:gd name="T83" fmla="*/ 291 h 939"/>
                <a:gd name="T84" fmla="*/ 999 w 1009"/>
                <a:gd name="T85" fmla="*/ 286 h 939"/>
                <a:gd name="T86" fmla="*/ 998 w 1009"/>
                <a:gd name="T87" fmla="*/ 283 h 939"/>
                <a:gd name="T88" fmla="*/ 998 w 1009"/>
                <a:gd name="T89" fmla="*/ 279 h 939"/>
                <a:gd name="T90" fmla="*/ 998 w 1009"/>
                <a:gd name="T91" fmla="*/ 277 h 939"/>
                <a:gd name="T92" fmla="*/ 998 w 1009"/>
                <a:gd name="T93" fmla="*/ 276 h 939"/>
                <a:gd name="T94" fmla="*/ 994 w 1009"/>
                <a:gd name="T95" fmla="*/ 204 h 939"/>
                <a:gd name="T96" fmla="*/ 989 w 1009"/>
                <a:gd name="T97" fmla="*/ 149 h 939"/>
                <a:gd name="T98" fmla="*/ 1007 w 1009"/>
                <a:gd name="T99" fmla="*/ 112 h 939"/>
                <a:gd name="T100" fmla="*/ 893 w 1009"/>
                <a:gd name="T101" fmla="*/ 73 h 939"/>
                <a:gd name="T102" fmla="*/ 708 w 1009"/>
                <a:gd name="T103" fmla="*/ 57 h 939"/>
                <a:gd name="T104" fmla="*/ 686 w 1009"/>
                <a:gd name="T105" fmla="*/ 170 h 939"/>
                <a:gd name="T106" fmla="*/ 456 w 1009"/>
                <a:gd name="T107" fmla="*/ 141 h 939"/>
                <a:gd name="T108" fmla="*/ 321 w 1009"/>
                <a:gd name="T109" fmla="*/ 41 h 939"/>
                <a:gd name="T110" fmla="*/ 142 w 1009"/>
                <a:gd name="T111" fmla="*/ 0 h 9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009" h="939">
                  <a:moveTo>
                    <a:pt x="106" y="79"/>
                  </a:moveTo>
                  <a:cubicBezTo>
                    <a:pt x="91" y="84"/>
                    <a:pt x="85" y="93"/>
                    <a:pt x="80" y="101"/>
                  </a:cubicBezTo>
                  <a:cubicBezTo>
                    <a:pt x="75" y="108"/>
                    <a:pt x="70" y="111"/>
                    <a:pt x="61" y="113"/>
                  </a:cubicBezTo>
                  <a:cubicBezTo>
                    <a:pt x="52" y="115"/>
                    <a:pt x="54" y="121"/>
                    <a:pt x="52" y="127"/>
                  </a:cubicBezTo>
                  <a:cubicBezTo>
                    <a:pt x="50" y="134"/>
                    <a:pt x="51" y="142"/>
                    <a:pt x="58" y="148"/>
                  </a:cubicBezTo>
                  <a:cubicBezTo>
                    <a:pt x="65" y="153"/>
                    <a:pt x="62" y="157"/>
                    <a:pt x="63" y="168"/>
                  </a:cubicBezTo>
                  <a:cubicBezTo>
                    <a:pt x="63" y="180"/>
                    <a:pt x="60" y="183"/>
                    <a:pt x="51" y="189"/>
                  </a:cubicBezTo>
                  <a:cubicBezTo>
                    <a:pt x="42" y="194"/>
                    <a:pt x="39" y="196"/>
                    <a:pt x="37" y="204"/>
                  </a:cubicBezTo>
                  <a:cubicBezTo>
                    <a:pt x="35" y="209"/>
                    <a:pt x="23" y="209"/>
                    <a:pt x="16" y="208"/>
                  </a:cubicBezTo>
                  <a:cubicBezTo>
                    <a:pt x="16" y="208"/>
                    <a:pt x="16" y="208"/>
                    <a:pt x="16" y="208"/>
                  </a:cubicBezTo>
                  <a:cubicBezTo>
                    <a:pt x="15" y="209"/>
                    <a:pt x="15" y="209"/>
                    <a:pt x="14" y="210"/>
                  </a:cubicBezTo>
                  <a:cubicBezTo>
                    <a:pt x="14" y="210"/>
                    <a:pt x="14" y="210"/>
                    <a:pt x="14" y="210"/>
                  </a:cubicBezTo>
                  <a:cubicBezTo>
                    <a:pt x="13" y="211"/>
                    <a:pt x="13" y="211"/>
                    <a:pt x="12" y="212"/>
                  </a:cubicBezTo>
                  <a:cubicBezTo>
                    <a:pt x="2" y="220"/>
                    <a:pt x="2" y="233"/>
                    <a:pt x="13" y="240"/>
                  </a:cubicBezTo>
                  <a:cubicBezTo>
                    <a:pt x="24" y="247"/>
                    <a:pt x="25" y="256"/>
                    <a:pt x="27" y="263"/>
                  </a:cubicBezTo>
                  <a:cubicBezTo>
                    <a:pt x="29" y="270"/>
                    <a:pt x="39" y="280"/>
                    <a:pt x="37" y="295"/>
                  </a:cubicBezTo>
                  <a:cubicBezTo>
                    <a:pt x="35" y="310"/>
                    <a:pt x="42" y="322"/>
                    <a:pt x="35" y="333"/>
                  </a:cubicBezTo>
                  <a:cubicBezTo>
                    <a:pt x="28" y="344"/>
                    <a:pt x="29" y="354"/>
                    <a:pt x="35" y="359"/>
                  </a:cubicBezTo>
                  <a:cubicBezTo>
                    <a:pt x="41" y="364"/>
                    <a:pt x="47" y="375"/>
                    <a:pt x="42" y="385"/>
                  </a:cubicBezTo>
                  <a:cubicBezTo>
                    <a:pt x="37" y="395"/>
                    <a:pt x="35" y="402"/>
                    <a:pt x="30" y="404"/>
                  </a:cubicBezTo>
                  <a:cubicBezTo>
                    <a:pt x="25" y="406"/>
                    <a:pt x="19" y="419"/>
                    <a:pt x="26" y="426"/>
                  </a:cubicBezTo>
                  <a:cubicBezTo>
                    <a:pt x="33" y="433"/>
                    <a:pt x="35" y="436"/>
                    <a:pt x="36" y="445"/>
                  </a:cubicBezTo>
                  <a:cubicBezTo>
                    <a:pt x="37" y="454"/>
                    <a:pt x="43" y="467"/>
                    <a:pt x="31" y="469"/>
                  </a:cubicBezTo>
                  <a:cubicBezTo>
                    <a:pt x="19" y="471"/>
                    <a:pt x="20" y="481"/>
                    <a:pt x="13" y="483"/>
                  </a:cubicBezTo>
                  <a:cubicBezTo>
                    <a:pt x="6" y="485"/>
                    <a:pt x="0" y="496"/>
                    <a:pt x="11" y="507"/>
                  </a:cubicBezTo>
                  <a:cubicBezTo>
                    <a:pt x="22" y="518"/>
                    <a:pt x="29" y="536"/>
                    <a:pt x="36" y="540"/>
                  </a:cubicBezTo>
                  <a:cubicBezTo>
                    <a:pt x="43" y="544"/>
                    <a:pt x="49" y="553"/>
                    <a:pt x="49" y="570"/>
                  </a:cubicBezTo>
                  <a:cubicBezTo>
                    <a:pt x="49" y="587"/>
                    <a:pt x="57" y="612"/>
                    <a:pt x="84" y="613"/>
                  </a:cubicBezTo>
                  <a:cubicBezTo>
                    <a:pt x="111" y="614"/>
                    <a:pt x="136" y="616"/>
                    <a:pt x="143" y="626"/>
                  </a:cubicBezTo>
                  <a:cubicBezTo>
                    <a:pt x="148" y="633"/>
                    <a:pt x="164" y="662"/>
                    <a:pt x="172" y="678"/>
                  </a:cubicBezTo>
                  <a:cubicBezTo>
                    <a:pt x="173" y="678"/>
                    <a:pt x="173" y="678"/>
                    <a:pt x="174" y="678"/>
                  </a:cubicBezTo>
                  <a:cubicBezTo>
                    <a:pt x="175" y="678"/>
                    <a:pt x="176" y="678"/>
                    <a:pt x="176" y="678"/>
                  </a:cubicBezTo>
                  <a:cubicBezTo>
                    <a:pt x="207" y="678"/>
                    <a:pt x="214" y="686"/>
                    <a:pt x="226" y="691"/>
                  </a:cubicBezTo>
                  <a:cubicBezTo>
                    <a:pt x="238" y="696"/>
                    <a:pt x="267" y="690"/>
                    <a:pt x="279" y="704"/>
                  </a:cubicBezTo>
                  <a:cubicBezTo>
                    <a:pt x="291" y="719"/>
                    <a:pt x="300" y="734"/>
                    <a:pt x="312" y="735"/>
                  </a:cubicBezTo>
                  <a:cubicBezTo>
                    <a:pt x="324" y="736"/>
                    <a:pt x="319" y="726"/>
                    <a:pt x="343" y="719"/>
                  </a:cubicBezTo>
                  <a:cubicBezTo>
                    <a:pt x="345" y="719"/>
                    <a:pt x="346" y="718"/>
                    <a:pt x="347" y="718"/>
                  </a:cubicBezTo>
                  <a:cubicBezTo>
                    <a:pt x="348" y="718"/>
                    <a:pt x="348" y="717"/>
                    <a:pt x="349" y="717"/>
                  </a:cubicBezTo>
                  <a:cubicBezTo>
                    <a:pt x="349" y="717"/>
                    <a:pt x="350" y="717"/>
                    <a:pt x="351" y="716"/>
                  </a:cubicBezTo>
                  <a:cubicBezTo>
                    <a:pt x="351" y="716"/>
                    <a:pt x="352" y="716"/>
                    <a:pt x="352" y="716"/>
                  </a:cubicBezTo>
                  <a:cubicBezTo>
                    <a:pt x="353" y="715"/>
                    <a:pt x="353" y="715"/>
                    <a:pt x="354" y="715"/>
                  </a:cubicBezTo>
                  <a:cubicBezTo>
                    <a:pt x="354" y="715"/>
                    <a:pt x="355" y="715"/>
                    <a:pt x="355" y="714"/>
                  </a:cubicBezTo>
                  <a:cubicBezTo>
                    <a:pt x="356" y="714"/>
                    <a:pt x="356" y="714"/>
                    <a:pt x="356" y="714"/>
                  </a:cubicBezTo>
                  <a:cubicBezTo>
                    <a:pt x="357" y="713"/>
                    <a:pt x="357" y="713"/>
                    <a:pt x="358" y="713"/>
                  </a:cubicBezTo>
                  <a:cubicBezTo>
                    <a:pt x="358" y="713"/>
                    <a:pt x="358" y="712"/>
                    <a:pt x="359" y="712"/>
                  </a:cubicBezTo>
                  <a:cubicBezTo>
                    <a:pt x="359" y="712"/>
                    <a:pt x="359" y="712"/>
                    <a:pt x="360" y="711"/>
                  </a:cubicBezTo>
                  <a:cubicBezTo>
                    <a:pt x="360" y="711"/>
                    <a:pt x="360" y="711"/>
                    <a:pt x="361" y="710"/>
                  </a:cubicBezTo>
                  <a:cubicBezTo>
                    <a:pt x="361" y="710"/>
                    <a:pt x="361" y="710"/>
                    <a:pt x="362" y="710"/>
                  </a:cubicBezTo>
                  <a:cubicBezTo>
                    <a:pt x="362" y="709"/>
                    <a:pt x="362" y="709"/>
                    <a:pt x="362" y="709"/>
                  </a:cubicBezTo>
                  <a:cubicBezTo>
                    <a:pt x="363" y="709"/>
                    <a:pt x="363" y="708"/>
                    <a:pt x="363" y="708"/>
                  </a:cubicBezTo>
                  <a:cubicBezTo>
                    <a:pt x="364" y="708"/>
                    <a:pt x="364" y="708"/>
                    <a:pt x="364" y="707"/>
                  </a:cubicBezTo>
                  <a:cubicBezTo>
                    <a:pt x="364" y="707"/>
                    <a:pt x="365" y="707"/>
                    <a:pt x="365" y="707"/>
                  </a:cubicBezTo>
                  <a:cubicBezTo>
                    <a:pt x="365" y="707"/>
                    <a:pt x="365" y="706"/>
                    <a:pt x="366" y="706"/>
                  </a:cubicBezTo>
                  <a:cubicBezTo>
                    <a:pt x="366" y="706"/>
                    <a:pt x="366" y="705"/>
                    <a:pt x="367" y="705"/>
                  </a:cubicBezTo>
                  <a:cubicBezTo>
                    <a:pt x="367" y="705"/>
                    <a:pt x="367" y="705"/>
                    <a:pt x="367" y="704"/>
                  </a:cubicBezTo>
                  <a:cubicBezTo>
                    <a:pt x="368" y="704"/>
                    <a:pt x="368" y="704"/>
                    <a:pt x="368" y="703"/>
                  </a:cubicBezTo>
                  <a:cubicBezTo>
                    <a:pt x="369" y="703"/>
                    <a:pt x="369" y="703"/>
                    <a:pt x="369" y="703"/>
                  </a:cubicBezTo>
                  <a:cubicBezTo>
                    <a:pt x="370" y="702"/>
                    <a:pt x="370" y="702"/>
                    <a:pt x="370" y="702"/>
                  </a:cubicBezTo>
                  <a:cubicBezTo>
                    <a:pt x="371" y="702"/>
                    <a:pt x="371" y="701"/>
                    <a:pt x="371" y="701"/>
                  </a:cubicBezTo>
                  <a:cubicBezTo>
                    <a:pt x="372" y="701"/>
                    <a:pt x="372" y="700"/>
                    <a:pt x="373" y="700"/>
                  </a:cubicBezTo>
                  <a:cubicBezTo>
                    <a:pt x="373" y="700"/>
                    <a:pt x="373" y="700"/>
                    <a:pt x="374" y="700"/>
                  </a:cubicBezTo>
                  <a:cubicBezTo>
                    <a:pt x="374" y="699"/>
                    <a:pt x="375" y="699"/>
                    <a:pt x="375" y="699"/>
                  </a:cubicBezTo>
                  <a:cubicBezTo>
                    <a:pt x="376" y="698"/>
                    <a:pt x="376" y="698"/>
                    <a:pt x="376" y="698"/>
                  </a:cubicBezTo>
                  <a:cubicBezTo>
                    <a:pt x="377" y="698"/>
                    <a:pt x="378" y="697"/>
                    <a:pt x="379" y="697"/>
                  </a:cubicBezTo>
                  <a:cubicBezTo>
                    <a:pt x="379" y="697"/>
                    <a:pt x="379" y="697"/>
                    <a:pt x="379" y="697"/>
                  </a:cubicBezTo>
                  <a:cubicBezTo>
                    <a:pt x="380" y="696"/>
                    <a:pt x="382" y="695"/>
                    <a:pt x="383" y="695"/>
                  </a:cubicBezTo>
                  <a:cubicBezTo>
                    <a:pt x="404" y="687"/>
                    <a:pt x="415" y="670"/>
                    <a:pt x="443" y="686"/>
                  </a:cubicBezTo>
                  <a:cubicBezTo>
                    <a:pt x="468" y="700"/>
                    <a:pt x="861" y="902"/>
                    <a:pt x="932" y="939"/>
                  </a:cubicBezTo>
                  <a:cubicBezTo>
                    <a:pt x="932" y="912"/>
                    <a:pt x="932" y="912"/>
                    <a:pt x="932" y="912"/>
                  </a:cubicBezTo>
                  <a:cubicBezTo>
                    <a:pt x="998" y="910"/>
                    <a:pt x="998" y="910"/>
                    <a:pt x="998" y="910"/>
                  </a:cubicBezTo>
                  <a:cubicBezTo>
                    <a:pt x="998" y="910"/>
                    <a:pt x="998" y="910"/>
                    <a:pt x="998" y="910"/>
                  </a:cubicBezTo>
                  <a:cubicBezTo>
                    <a:pt x="998" y="909"/>
                    <a:pt x="998" y="909"/>
                    <a:pt x="998" y="907"/>
                  </a:cubicBezTo>
                  <a:cubicBezTo>
                    <a:pt x="998" y="896"/>
                    <a:pt x="998" y="852"/>
                    <a:pt x="999" y="791"/>
                  </a:cubicBezTo>
                  <a:cubicBezTo>
                    <a:pt x="999" y="787"/>
                    <a:pt x="999" y="783"/>
                    <a:pt x="999" y="779"/>
                  </a:cubicBezTo>
                  <a:cubicBezTo>
                    <a:pt x="999" y="707"/>
                    <a:pt x="999" y="616"/>
                    <a:pt x="999" y="531"/>
                  </a:cubicBezTo>
                  <a:cubicBezTo>
                    <a:pt x="999" y="531"/>
                    <a:pt x="999" y="531"/>
                    <a:pt x="999" y="530"/>
                  </a:cubicBezTo>
                  <a:cubicBezTo>
                    <a:pt x="999" y="528"/>
                    <a:pt x="999" y="525"/>
                    <a:pt x="999" y="522"/>
                  </a:cubicBezTo>
                  <a:cubicBezTo>
                    <a:pt x="999" y="520"/>
                    <a:pt x="999" y="519"/>
                    <a:pt x="999" y="517"/>
                  </a:cubicBezTo>
                  <a:cubicBezTo>
                    <a:pt x="999" y="512"/>
                    <a:pt x="999" y="506"/>
                    <a:pt x="999" y="501"/>
                  </a:cubicBezTo>
                  <a:cubicBezTo>
                    <a:pt x="999" y="500"/>
                    <a:pt x="999" y="500"/>
                    <a:pt x="999" y="499"/>
                  </a:cubicBezTo>
                  <a:cubicBezTo>
                    <a:pt x="999" y="493"/>
                    <a:pt x="999" y="487"/>
                    <a:pt x="999" y="481"/>
                  </a:cubicBezTo>
                  <a:cubicBezTo>
                    <a:pt x="999" y="481"/>
                    <a:pt x="999" y="480"/>
                    <a:pt x="999" y="479"/>
                  </a:cubicBezTo>
                  <a:cubicBezTo>
                    <a:pt x="999" y="474"/>
                    <a:pt x="999" y="469"/>
                    <a:pt x="999" y="463"/>
                  </a:cubicBezTo>
                  <a:cubicBezTo>
                    <a:pt x="999" y="461"/>
                    <a:pt x="999" y="458"/>
                    <a:pt x="999" y="455"/>
                  </a:cubicBezTo>
                  <a:cubicBezTo>
                    <a:pt x="999" y="454"/>
                    <a:pt x="999" y="454"/>
                    <a:pt x="999" y="453"/>
                  </a:cubicBezTo>
                  <a:cubicBezTo>
                    <a:pt x="999" y="452"/>
                    <a:pt x="999" y="450"/>
                    <a:pt x="999" y="449"/>
                  </a:cubicBezTo>
                  <a:cubicBezTo>
                    <a:pt x="999" y="447"/>
                    <a:pt x="999" y="446"/>
                    <a:pt x="999" y="444"/>
                  </a:cubicBezTo>
                  <a:cubicBezTo>
                    <a:pt x="999" y="443"/>
                    <a:pt x="999" y="442"/>
                    <a:pt x="999" y="441"/>
                  </a:cubicBezTo>
                  <a:cubicBezTo>
                    <a:pt x="999" y="439"/>
                    <a:pt x="999" y="438"/>
                    <a:pt x="999" y="437"/>
                  </a:cubicBezTo>
                  <a:cubicBezTo>
                    <a:pt x="999" y="434"/>
                    <a:pt x="999" y="431"/>
                    <a:pt x="999" y="429"/>
                  </a:cubicBezTo>
                  <a:cubicBezTo>
                    <a:pt x="999" y="428"/>
                    <a:pt x="999" y="427"/>
                    <a:pt x="999" y="426"/>
                  </a:cubicBezTo>
                  <a:cubicBezTo>
                    <a:pt x="999" y="425"/>
                    <a:pt x="999" y="423"/>
                    <a:pt x="999" y="421"/>
                  </a:cubicBezTo>
                  <a:cubicBezTo>
                    <a:pt x="999" y="420"/>
                    <a:pt x="999" y="419"/>
                    <a:pt x="999" y="418"/>
                  </a:cubicBezTo>
                  <a:cubicBezTo>
                    <a:pt x="999" y="417"/>
                    <a:pt x="999" y="416"/>
                    <a:pt x="999" y="415"/>
                  </a:cubicBezTo>
                  <a:cubicBezTo>
                    <a:pt x="999" y="412"/>
                    <a:pt x="999" y="410"/>
                    <a:pt x="999" y="408"/>
                  </a:cubicBezTo>
                  <a:cubicBezTo>
                    <a:pt x="999" y="406"/>
                    <a:pt x="999" y="405"/>
                    <a:pt x="999" y="403"/>
                  </a:cubicBezTo>
                  <a:cubicBezTo>
                    <a:pt x="999" y="402"/>
                    <a:pt x="999" y="402"/>
                    <a:pt x="999" y="401"/>
                  </a:cubicBezTo>
                  <a:cubicBezTo>
                    <a:pt x="999" y="396"/>
                    <a:pt x="999" y="390"/>
                    <a:pt x="999" y="385"/>
                  </a:cubicBezTo>
                  <a:cubicBezTo>
                    <a:pt x="999" y="385"/>
                    <a:pt x="999" y="385"/>
                    <a:pt x="999" y="385"/>
                  </a:cubicBezTo>
                  <a:cubicBezTo>
                    <a:pt x="999" y="383"/>
                    <a:pt x="999" y="381"/>
                    <a:pt x="999" y="379"/>
                  </a:cubicBezTo>
                  <a:cubicBezTo>
                    <a:pt x="999" y="379"/>
                    <a:pt x="999" y="378"/>
                    <a:pt x="999" y="377"/>
                  </a:cubicBezTo>
                  <a:cubicBezTo>
                    <a:pt x="999" y="375"/>
                    <a:pt x="999" y="373"/>
                    <a:pt x="999" y="371"/>
                  </a:cubicBezTo>
                  <a:cubicBezTo>
                    <a:pt x="999" y="370"/>
                    <a:pt x="999" y="368"/>
                    <a:pt x="999" y="367"/>
                  </a:cubicBezTo>
                  <a:cubicBezTo>
                    <a:pt x="999" y="366"/>
                    <a:pt x="999" y="364"/>
                    <a:pt x="999" y="363"/>
                  </a:cubicBezTo>
                  <a:cubicBezTo>
                    <a:pt x="999" y="363"/>
                    <a:pt x="999" y="362"/>
                    <a:pt x="999" y="362"/>
                  </a:cubicBezTo>
                  <a:cubicBezTo>
                    <a:pt x="999" y="357"/>
                    <a:pt x="999" y="353"/>
                    <a:pt x="999" y="349"/>
                  </a:cubicBezTo>
                  <a:cubicBezTo>
                    <a:pt x="999" y="348"/>
                    <a:pt x="999" y="347"/>
                    <a:pt x="999" y="347"/>
                  </a:cubicBezTo>
                  <a:cubicBezTo>
                    <a:pt x="999" y="345"/>
                    <a:pt x="999" y="344"/>
                    <a:pt x="999" y="343"/>
                  </a:cubicBezTo>
                  <a:cubicBezTo>
                    <a:pt x="999" y="342"/>
                    <a:pt x="999" y="342"/>
                    <a:pt x="999" y="342"/>
                  </a:cubicBezTo>
                  <a:cubicBezTo>
                    <a:pt x="999" y="338"/>
                    <a:pt x="999" y="334"/>
                    <a:pt x="999" y="329"/>
                  </a:cubicBezTo>
                  <a:cubicBezTo>
                    <a:pt x="999" y="329"/>
                    <a:pt x="999" y="328"/>
                    <a:pt x="999" y="328"/>
                  </a:cubicBezTo>
                  <a:cubicBezTo>
                    <a:pt x="999" y="326"/>
                    <a:pt x="999" y="325"/>
                    <a:pt x="999" y="323"/>
                  </a:cubicBezTo>
                  <a:cubicBezTo>
                    <a:pt x="999" y="322"/>
                    <a:pt x="999" y="321"/>
                    <a:pt x="999" y="320"/>
                  </a:cubicBezTo>
                  <a:cubicBezTo>
                    <a:pt x="999" y="320"/>
                    <a:pt x="999" y="319"/>
                    <a:pt x="999" y="318"/>
                  </a:cubicBezTo>
                  <a:cubicBezTo>
                    <a:pt x="999" y="317"/>
                    <a:pt x="999" y="316"/>
                    <a:pt x="999" y="316"/>
                  </a:cubicBezTo>
                  <a:cubicBezTo>
                    <a:pt x="999" y="315"/>
                    <a:pt x="999" y="314"/>
                    <a:pt x="999" y="313"/>
                  </a:cubicBezTo>
                  <a:cubicBezTo>
                    <a:pt x="999" y="312"/>
                    <a:pt x="999" y="311"/>
                    <a:pt x="999" y="309"/>
                  </a:cubicBezTo>
                  <a:cubicBezTo>
                    <a:pt x="999" y="309"/>
                    <a:pt x="999" y="308"/>
                    <a:pt x="999" y="308"/>
                  </a:cubicBezTo>
                  <a:cubicBezTo>
                    <a:pt x="999" y="307"/>
                    <a:pt x="999" y="306"/>
                    <a:pt x="999" y="305"/>
                  </a:cubicBezTo>
                  <a:cubicBezTo>
                    <a:pt x="999" y="305"/>
                    <a:pt x="999" y="304"/>
                    <a:pt x="999" y="303"/>
                  </a:cubicBezTo>
                  <a:cubicBezTo>
                    <a:pt x="999" y="303"/>
                    <a:pt x="999" y="302"/>
                    <a:pt x="999" y="301"/>
                  </a:cubicBezTo>
                  <a:cubicBezTo>
                    <a:pt x="999" y="300"/>
                    <a:pt x="999" y="300"/>
                    <a:pt x="999" y="299"/>
                  </a:cubicBezTo>
                  <a:cubicBezTo>
                    <a:pt x="999" y="298"/>
                    <a:pt x="999" y="297"/>
                    <a:pt x="999" y="296"/>
                  </a:cubicBezTo>
                  <a:cubicBezTo>
                    <a:pt x="999" y="296"/>
                    <a:pt x="999" y="295"/>
                    <a:pt x="999" y="295"/>
                  </a:cubicBezTo>
                  <a:cubicBezTo>
                    <a:pt x="999" y="294"/>
                    <a:pt x="999" y="293"/>
                    <a:pt x="999" y="293"/>
                  </a:cubicBezTo>
                  <a:cubicBezTo>
                    <a:pt x="999" y="292"/>
                    <a:pt x="999" y="292"/>
                    <a:pt x="999" y="291"/>
                  </a:cubicBezTo>
                  <a:cubicBezTo>
                    <a:pt x="999" y="291"/>
                    <a:pt x="999" y="290"/>
                    <a:pt x="999" y="289"/>
                  </a:cubicBezTo>
                  <a:cubicBezTo>
                    <a:pt x="999" y="288"/>
                    <a:pt x="999" y="288"/>
                    <a:pt x="999" y="288"/>
                  </a:cubicBezTo>
                  <a:cubicBezTo>
                    <a:pt x="999" y="287"/>
                    <a:pt x="999" y="287"/>
                    <a:pt x="999" y="286"/>
                  </a:cubicBezTo>
                  <a:cubicBezTo>
                    <a:pt x="999" y="286"/>
                    <a:pt x="999" y="285"/>
                    <a:pt x="999" y="285"/>
                  </a:cubicBezTo>
                  <a:cubicBezTo>
                    <a:pt x="998" y="284"/>
                    <a:pt x="998" y="284"/>
                    <a:pt x="998" y="283"/>
                  </a:cubicBezTo>
                  <a:cubicBezTo>
                    <a:pt x="998" y="283"/>
                    <a:pt x="998" y="283"/>
                    <a:pt x="998" y="283"/>
                  </a:cubicBezTo>
                  <a:cubicBezTo>
                    <a:pt x="998" y="282"/>
                    <a:pt x="998" y="282"/>
                    <a:pt x="998" y="281"/>
                  </a:cubicBezTo>
                  <a:cubicBezTo>
                    <a:pt x="998" y="281"/>
                    <a:pt x="998" y="281"/>
                    <a:pt x="998" y="280"/>
                  </a:cubicBezTo>
                  <a:cubicBezTo>
                    <a:pt x="998" y="280"/>
                    <a:pt x="998" y="280"/>
                    <a:pt x="998" y="279"/>
                  </a:cubicBezTo>
                  <a:cubicBezTo>
                    <a:pt x="998" y="279"/>
                    <a:pt x="998" y="279"/>
                    <a:pt x="998" y="279"/>
                  </a:cubicBezTo>
                  <a:cubicBezTo>
                    <a:pt x="998" y="278"/>
                    <a:pt x="998" y="278"/>
                    <a:pt x="998" y="278"/>
                  </a:cubicBezTo>
                  <a:cubicBezTo>
                    <a:pt x="998" y="277"/>
                    <a:pt x="998" y="277"/>
                    <a:pt x="998" y="277"/>
                  </a:cubicBezTo>
                  <a:cubicBezTo>
                    <a:pt x="998" y="277"/>
                    <a:pt x="998" y="277"/>
                    <a:pt x="998" y="277"/>
                  </a:cubicBezTo>
                  <a:cubicBezTo>
                    <a:pt x="998" y="277"/>
                    <a:pt x="998" y="277"/>
                    <a:pt x="998" y="276"/>
                  </a:cubicBezTo>
                  <a:cubicBezTo>
                    <a:pt x="998" y="276"/>
                    <a:pt x="998" y="276"/>
                    <a:pt x="998" y="276"/>
                  </a:cubicBezTo>
                  <a:cubicBezTo>
                    <a:pt x="995" y="267"/>
                    <a:pt x="998" y="251"/>
                    <a:pt x="991" y="248"/>
                  </a:cubicBezTo>
                  <a:cubicBezTo>
                    <a:pt x="984" y="245"/>
                    <a:pt x="988" y="234"/>
                    <a:pt x="983" y="224"/>
                  </a:cubicBezTo>
                  <a:cubicBezTo>
                    <a:pt x="978" y="214"/>
                    <a:pt x="994" y="208"/>
                    <a:pt x="994" y="204"/>
                  </a:cubicBezTo>
                  <a:cubicBezTo>
                    <a:pt x="994" y="200"/>
                    <a:pt x="995" y="188"/>
                    <a:pt x="1002" y="185"/>
                  </a:cubicBezTo>
                  <a:cubicBezTo>
                    <a:pt x="1009" y="182"/>
                    <a:pt x="1004" y="173"/>
                    <a:pt x="998" y="169"/>
                  </a:cubicBezTo>
                  <a:cubicBezTo>
                    <a:pt x="992" y="165"/>
                    <a:pt x="998" y="156"/>
                    <a:pt x="989" y="149"/>
                  </a:cubicBezTo>
                  <a:cubicBezTo>
                    <a:pt x="980" y="142"/>
                    <a:pt x="987" y="133"/>
                    <a:pt x="994" y="131"/>
                  </a:cubicBezTo>
                  <a:cubicBezTo>
                    <a:pt x="1001" y="129"/>
                    <a:pt x="999" y="121"/>
                    <a:pt x="1003" y="119"/>
                  </a:cubicBezTo>
                  <a:cubicBezTo>
                    <a:pt x="1004" y="118"/>
                    <a:pt x="1006" y="115"/>
                    <a:pt x="1007" y="112"/>
                  </a:cubicBezTo>
                  <a:cubicBezTo>
                    <a:pt x="997" y="101"/>
                    <a:pt x="991" y="87"/>
                    <a:pt x="976" y="87"/>
                  </a:cubicBezTo>
                  <a:cubicBezTo>
                    <a:pt x="957" y="87"/>
                    <a:pt x="949" y="95"/>
                    <a:pt x="936" y="86"/>
                  </a:cubicBezTo>
                  <a:cubicBezTo>
                    <a:pt x="924" y="77"/>
                    <a:pt x="905" y="73"/>
                    <a:pt x="893" y="73"/>
                  </a:cubicBezTo>
                  <a:cubicBezTo>
                    <a:pt x="882" y="73"/>
                    <a:pt x="896" y="47"/>
                    <a:pt x="863" y="40"/>
                  </a:cubicBezTo>
                  <a:cubicBezTo>
                    <a:pt x="831" y="32"/>
                    <a:pt x="816" y="18"/>
                    <a:pt x="788" y="26"/>
                  </a:cubicBezTo>
                  <a:cubicBezTo>
                    <a:pt x="760" y="33"/>
                    <a:pt x="718" y="42"/>
                    <a:pt x="708" y="57"/>
                  </a:cubicBezTo>
                  <a:cubicBezTo>
                    <a:pt x="697" y="72"/>
                    <a:pt x="676" y="77"/>
                    <a:pt x="676" y="92"/>
                  </a:cubicBezTo>
                  <a:cubicBezTo>
                    <a:pt x="676" y="108"/>
                    <a:pt x="675" y="118"/>
                    <a:pt x="683" y="131"/>
                  </a:cubicBezTo>
                  <a:cubicBezTo>
                    <a:pt x="690" y="144"/>
                    <a:pt x="702" y="153"/>
                    <a:pt x="686" y="170"/>
                  </a:cubicBezTo>
                  <a:cubicBezTo>
                    <a:pt x="670" y="187"/>
                    <a:pt x="649" y="220"/>
                    <a:pt x="626" y="209"/>
                  </a:cubicBezTo>
                  <a:cubicBezTo>
                    <a:pt x="602" y="197"/>
                    <a:pt x="563" y="160"/>
                    <a:pt x="526" y="153"/>
                  </a:cubicBezTo>
                  <a:cubicBezTo>
                    <a:pt x="488" y="145"/>
                    <a:pt x="477" y="141"/>
                    <a:pt x="456" y="141"/>
                  </a:cubicBezTo>
                  <a:cubicBezTo>
                    <a:pt x="434" y="141"/>
                    <a:pt x="415" y="151"/>
                    <a:pt x="404" y="125"/>
                  </a:cubicBezTo>
                  <a:cubicBezTo>
                    <a:pt x="394" y="99"/>
                    <a:pt x="396" y="66"/>
                    <a:pt x="369" y="59"/>
                  </a:cubicBezTo>
                  <a:cubicBezTo>
                    <a:pt x="342" y="53"/>
                    <a:pt x="337" y="52"/>
                    <a:pt x="321" y="41"/>
                  </a:cubicBezTo>
                  <a:cubicBezTo>
                    <a:pt x="304" y="30"/>
                    <a:pt x="280" y="20"/>
                    <a:pt x="258" y="25"/>
                  </a:cubicBezTo>
                  <a:cubicBezTo>
                    <a:pt x="237" y="29"/>
                    <a:pt x="211" y="34"/>
                    <a:pt x="192" y="24"/>
                  </a:cubicBezTo>
                  <a:cubicBezTo>
                    <a:pt x="174" y="14"/>
                    <a:pt x="158" y="3"/>
                    <a:pt x="142" y="0"/>
                  </a:cubicBezTo>
                  <a:cubicBezTo>
                    <a:pt x="141" y="16"/>
                    <a:pt x="139" y="52"/>
                    <a:pt x="138" y="59"/>
                  </a:cubicBezTo>
                  <a:cubicBezTo>
                    <a:pt x="135" y="68"/>
                    <a:pt x="121" y="74"/>
                    <a:pt x="106" y="7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502" name="Freeform 25697"/>
            <p:cNvSpPr>
              <a:spLocks/>
            </p:cNvSpPr>
            <p:nvPr/>
          </p:nvSpPr>
          <p:spPr bwMode="auto">
            <a:xfrm>
              <a:off x="3967180" y="3588102"/>
              <a:ext cx="70078" cy="73867"/>
            </a:xfrm>
            <a:custGeom>
              <a:avLst/>
              <a:gdLst>
                <a:gd name="T0" fmla="*/ 133 w 188"/>
                <a:gd name="T1" fmla="*/ 180 h 198"/>
                <a:gd name="T2" fmla="*/ 149 w 188"/>
                <a:gd name="T3" fmla="*/ 161 h 198"/>
                <a:gd name="T4" fmla="*/ 166 w 188"/>
                <a:gd name="T5" fmla="*/ 145 h 198"/>
                <a:gd name="T6" fmla="*/ 186 w 188"/>
                <a:gd name="T7" fmla="*/ 121 h 198"/>
                <a:gd name="T8" fmla="*/ 187 w 188"/>
                <a:gd name="T9" fmla="*/ 119 h 198"/>
                <a:gd name="T10" fmla="*/ 187 w 188"/>
                <a:gd name="T11" fmla="*/ 119 h 198"/>
                <a:gd name="T12" fmla="*/ 187 w 188"/>
                <a:gd name="T13" fmla="*/ 117 h 198"/>
                <a:gd name="T14" fmla="*/ 187 w 188"/>
                <a:gd name="T15" fmla="*/ 117 h 198"/>
                <a:gd name="T16" fmla="*/ 188 w 188"/>
                <a:gd name="T17" fmla="*/ 115 h 198"/>
                <a:gd name="T18" fmla="*/ 188 w 188"/>
                <a:gd name="T19" fmla="*/ 115 h 198"/>
                <a:gd name="T20" fmla="*/ 187 w 188"/>
                <a:gd name="T21" fmla="*/ 113 h 198"/>
                <a:gd name="T22" fmla="*/ 187 w 188"/>
                <a:gd name="T23" fmla="*/ 113 h 198"/>
                <a:gd name="T24" fmla="*/ 187 w 188"/>
                <a:gd name="T25" fmla="*/ 112 h 198"/>
                <a:gd name="T26" fmla="*/ 187 w 188"/>
                <a:gd name="T27" fmla="*/ 111 h 198"/>
                <a:gd name="T28" fmla="*/ 186 w 188"/>
                <a:gd name="T29" fmla="*/ 110 h 198"/>
                <a:gd name="T30" fmla="*/ 186 w 188"/>
                <a:gd name="T31" fmla="*/ 109 h 198"/>
                <a:gd name="T32" fmla="*/ 186 w 188"/>
                <a:gd name="T33" fmla="*/ 108 h 198"/>
                <a:gd name="T34" fmla="*/ 185 w 188"/>
                <a:gd name="T35" fmla="*/ 108 h 198"/>
                <a:gd name="T36" fmla="*/ 185 w 188"/>
                <a:gd name="T37" fmla="*/ 107 h 198"/>
                <a:gd name="T38" fmla="*/ 184 w 188"/>
                <a:gd name="T39" fmla="*/ 106 h 198"/>
                <a:gd name="T40" fmla="*/ 184 w 188"/>
                <a:gd name="T41" fmla="*/ 105 h 198"/>
                <a:gd name="T42" fmla="*/ 183 w 188"/>
                <a:gd name="T43" fmla="*/ 105 h 198"/>
                <a:gd name="T44" fmla="*/ 182 w 188"/>
                <a:gd name="T45" fmla="*/ 104 h 198"/>
                <a:gd name="T46" fmla="*/ 182 w 188"/>
                <a:gd name="T47" fmla="*/ 103 h 198"/>
                <a:gd name="T48" fmla="*/ 181 w 188"/>
                <a:gd name="T49" fmla="*/ 102 h 198"/>
                <a:gd name="T50" fmla="*/ 181 w 188"/>
                <a:gd name="T51" fmla="*/ 102 h 198"/>
                <a:gd name="T52" fmla="*/ 180 w 188"/>
                <a:gd name="T53" fmla="*/ 101 h 198"/>
                <a:gd name="T54" fmla="*/ 180 w 188"/>
                <a:gd name="T55" fmla="*/ 101 h 198"/>
                <a:gd name="T56" fmla="*/ 178 w 188"/>
                <a:gd name="T57" fmla="*/ 99 h 198"/>
                <a:gd name="T58" fmla="*/ 177 w 188"/>
                <a:gd name="T59" fmla="*/ 98 h 198"/>
                <a:gd name="T60" fmla="*/ 173 w 188"/>
                <a:gd name="T61" fmla="*/ 66 h 198"/>
                <a:gd name="T62" fmla="*/ 162 w 188"/>
                <a:gd name="T63" fmla="*/ 49 h 198"/>
                <a:gd name="T64" fmla="*/ 151 w 188"/>
                <a:gd name="T65" fmla="*/ 24 h 198"/>
                <a:gd name="T66" fmla="*/ 131 w 188"/>
                <a:gd name="T67" fmla="*/ 6 h 198"/>
                <a:gd name="T68" fmla="*/ 105 w 188"/>
                <a:gd name="T69" fmla="*/ 2 h 198"/>
                <a:gd name="T70" fmla="*/ 84 w 188"/>
                <a:gd name="T71" fmla="*/ 9 h 198"/>
                <a:gd name="T72" fmla="*/ 61 w 188"/>
                <a:gd name="T73" fmla="*/ 10 h 198"/>
                <a:gd name="T74" fmla="*/ 45 w 188"/>
                <a:gd name="T75" fmla="*/ 21 h 198"/>
                <a:gd name="T76" fmla="*/ 29 w 188"/>
                <a:gd name="T77" fmla="*/ 44 h 198"/>
                <a:gd name="T78" fmla="*/ 15 w 188"/>
                <a:gd name="T79" fmla="*/ 59 h 198"/>
                <a:gd name="T80" fmla="*/ 0 w 188"/>
                <a:gd name="T81" fmla="*/ 64 h 198"/>
                <a:gd name="T82" fmla="*/ 4 w 188"/>
                <a:gd name="T83" fmla="*/ 84 h 198"/>
                <a:gd name="T84" fmla="*/ 44 w 188"/>
                <a:gd name="T85" fmla="*/ 155 h 198"/>
                <a:gd name="T86" fmla="*/ 97 w 188"/>
                <a:gd name="T87" fmla="*/ 188 h 198"/>
                <a:gd name="T88" fmla="*/ 116 w 188"/>
                <a:gd name="T89" fmla="*/ 198 h 198"/>
                <a:gd name="T90" fmla="*/ 133 w 188"/>
                <a:gd name="T91" fmla="*/ 18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88" h="198">
                  <a:moveTo>
                    <a:pt x="133" y="180"/>
                  </a:moveTo>
                  <a:cubicBezTo>
                    <a:pt x="136" y="175"/>
                    <a:pt x="143" y="164"/>
                    <a:pt x="149" y="161"/>
                  </a:cubicBezTo>
                  <a:cubicBezTo>
                    <a:pt x="155" y="158"/>
                    <a:pt x="165" y="152"/>
                    <a:pt x="166" y="145"/>
                  </a:cubicBezTo>
                  <a:cubicBezTo>
                    <a:pt x="167" y="138"/>
                    <a:pt x="180" y="132"/>
                    <a:pt x="186" y="121"/>
                  </a:cubicBezTo>
                  <a:cubicBezTo>
                    <a:pt x="186" y="120"/>
                    <a:pt x="187" y="120"/>
                    <a:pt x="187" y="119"/>
                  </a:cubicBezTo>
                  <a:cubicBezTo>
                    <a:pt x="187" y="119"/>
                    <a:pt x="187" y="119"/>
                    <a:pt x="187" y="119"/>
                  </a:cubicBezTo>
                  <a:cubicBezTo>
                    <a:pt x="187" y="118"/>
                    <a:pt x="187" y="118"/>
                    <a:pt x="187" y="117"/>
                  </a:cubicBezTo>
                  <a:cubicBezTo>
                    <a:pt x="187" y="117"/>
                    <a:pt x="187" y="117"/>
                    <a:pt x="187" y="117"/>
                  </a:cubicBezTo>
                  <a:cubicBezTo>
                    <a:pt x="188" y="116"/>
                    <a:pt x="188" y="116"/>
                    <a:pt x="188" y="115"/>
                  </a:cubicBezTo>
                  <a:cubicBezTo>
                    <a:pt x="188" y="115"/>
                    <a:pt x="188" y="115"/>
                    <a:pt x="188" y="115"/>
                  </a:cubicBezTo>
                  <a:cubicBezTo>
                    <a:pt x="188" y="114"/>
                    <a:pt x="188" y="114"/>
                    <a:pt x="187" y="113"/>
                  </a:cubicBezTo>
                  <a:cubicBezTo>
                    <a:pt x="187" y="113"/>
                    <a:pt x="187" y="113"/>
                    <a:pt x="187" y="113"/>
                  </a:cubicBezTo>
                  <a:cubicBezTo>
                    <a:pt x="187" y="112"/>
                    <a:pt x="187" y="112"/>
                    <a:pt x="187" y="112"/>
                  </a:cubicBezTo>
                  <a:cubicBezTo>
                    <a:pt x="187" y="111"/>
                    <a:pt x="187" y="111"/>
                    <a:pt x="187" y="111"/>
                  </a:cubicBezTo>
                  <a:cubicBezTo>
                    <a:pt x="187" y="111"/>
                    <a:pt x="187" y="110"/>
                    <a:pt x="186" y="110"/>
                  </a:cubicBezTo>
                  <a:cubicBezTo>
                    <a:pt x="186" y="110"/>
                    <a:pt x="186" y="110"/>
                    <a:pt x="186" y="109"/>
                  </a:cubicBezTo>
                  <a:cubicBezTo>
                    <a:pt x="186" y="109"/>
                    <a:pt x="186" y="108"/>
                    <a:pt x="186" y="108"/>
                  </a:cubicBezTo>
                  <a:cubicBezTo>
                    <a:pt x="186" y="108"/>
                    <a:pt x="185" y="108"/>
                    <a:pt x="185" y="108"/>
                  </a:cubicBezTo>
                  <a:cubicBezTo>
                    <a:pt x="185" y="107"/>
                    <a:pt x="185" y="107"/>
                    <a:pt x="185" y="107"/>
                  </a:cubicBezTo>
                  <a:cubicBezTo>
                    <a:pt x="185" y="106"/>
                    <a:pt x="185" y="106"/>
                    <a:pt x="184" y="106"/>
                  </a:cubicBezTo>
                  <a:cubicBezTo>
                    <a:pt x="184" y="106"/>
                    <a:pt x="184" y="105"/>
                    <a:pt x="184" y="105"/>
                  </a:cubicBezTo>
                  <a:cubicBezTo>
                    <a:pt x="184" y="105"/>
                    <a:pt x="184" y="105"/>
                    <a:pt x="183" y="105"/>
                  </a:cubicBezTo>
                  <a:cubicBezTo>
                    <a:pt x="183" y="104"/>
                    <a:pt x="183" y="104"/>
                    <a:pt x="182" y="104"/>
                  </a:cubicBezTo>
                  <a:cubicBezTo>
                    <a:pt x="182" y="103"/>
                    <a:pt x="182" y="103"/>
                    <a:pt x="182" y="103"/>
                  </a:cubicBezTo>
                  <a:cubicBezTo>
                    <a:pt x="182" y="103"/>
                    <a:pt x="182" y="103"/>
                    <a:pt x="181" y="102"/>
                  </a:cubicBezTo>
                  <a:cubicBezTo>
                    <a:pt x="181" y="102"/>
                    <a:pt x="181" y="102"/>
                    <a:pt x="181" y="102"/>
                  </a:cubicBezTo>
                  <a:cubicBezTo>
                    <a:pt x="181" y="102"/>
                    <a:pt x="181" y="102"/>
                    <a:pt x="180" y="101"/>
                  </a:cubicBezTo>
                  <a:cubicBezTo>
                    <a:pt x="180" y="101"/>
                    <a:pt x="180" y="101"/>
                    <a:pt x="180" y="101"/>
                  </a:cubicBezTo>
                  <a:cubicBezTo>
                    <a:pt x="179" y="100"/>
                    <a:pt x="179" y="100"/>
                    <a:pt x="178" y="99"/>
                  </a:cubicBezTo>
                  <a:cubicBezTo>
                    <a:pt x="177" y="99"/>
                    <a:pt x="177" y="98"/>
                    <a:pt x="177" y="98"/>
                  </a:cubicBezTo>
                  <a:cubicBezTo>
                    <a:pt x="174" y="94"/>
                    <a:pt x="175" y="70"/>
                    <a:pt x="173" y="66"/>
                  </a:cubicBezTo>
                  <a:cubicBezTo>
                    <a:pt x="172" y="61"/>
                    <a:pt x="169" y="54"/>
                    <a:pt x="162" y="49"/>
                  </a:cubicBezTo>
                  <a:cubicBezTo>
                    <a:pt x="155" y="44"/>
                    <a:pt x="152" y="32"/>
                    <a:pt x="151" y="24"/>
                  </a:cubicBezTo>
                  <a:cubicBezTo>
                    <a:pt x="149" y="17"/>
                    <a:pt x="135" y="13"/>
                    <a:pt x="131" y="6"/>
                  </a:cubicBezTo>
                  <a:cubicBezTo>
                    <a:pt x="128" y="0"/>
                    <a:pt x="112" y="2"/>
                    <a:pt x="105" y="2"/>
                  </a:cubicBezTo>
                  <a:cubicBezTo>
                    <a:pt x="99" y="2"/>
                    <a:pt x="90" y="4"/>
                    <a:pt x="84" y="9"/>
                  </a:cubicBezTo>
                  <a:cubicBezTo>
                    <a:pt x="78" y="14"/>
                    <a:pt x="72" y="14"/>
                    <a:pt x="61" y="10"/>
                  </a:cubicBezTo>
                  <a:cubicBezTo>
                    <a:pt x="51" y="7"/>
                    <a:pt x="47" y="10"/>
                    <a:pt x="45" y="21"/>
                  </a:cubicBezTo>
                  <a:cubicBezTo>
                    <a:pt x="43" y="32"/>
                    <a:pt x="38" y="40"/>
                    <a:pt x="29" y="44"/>
                  </a:cubicBezTo>
                  <a:cubicBezTo>
                    <a:pt x="19" y="48"/>
                    <a:pt x="20" y="51"/>
                    <a:pt x="15" y="59"/>
                  </a:cubicBezTo>
                  <a:cubicBezTo>
                    <a:pt x="12" y="63"/>
                    <a:pt x="5" y="64"/>
                    <a:pt x="0" y="64"/>
                  </a:cubicBezTo>
                  <a:cubicBezTo>
                    <a:pt x="1" y="70"/>
                    <a:pt x="2" y="77"/>
                    <a:pt x="4" y="84"/>
                  </a:cubicBezTo>
                  <a:cubicBezTo>
                    <a:pt x="10" y="116"/>
                    <a:pt x="20" y="148"/>
                    <a:pt x="44" y="155"/>
                  </a:cubicBezTo>
                  <a:cubicBezTo>
                    <a:pt x="67" y="163"/>
                    <a:pt x="75" y="178"/>
                    <a:pt x="97" y="188"/>
                  </a:cubicBezTo>
                  <a:cubicBezTo>
                    <a:pt x="104" y="191"/>
                    <a:pt x="110" y="194"/>
                    <a:pt x="116" y="198"/>
                  </a:cubicBezTo>
                  <a:cubicBezTo>
                    <a:pt x="122" y="188"/>
                    <a:pt x="130" y="185"/>
                    <a:pt x="133" y="18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503" name="Freeform 25698"/>
            <p:cNvSpPr>
              <a:spLocks/>
            </p:cNvSpPr>
            <p:nvPr/>
          </p:nvSpPr>
          <p:spPr bwMode="auto">
            <a:xfrm>
              <a:off x="3927721" y="3524337"/>
              <a:ext cx="173775" cy="135421"/>
            </a:xfrm>
            <a:custGeom>
              <a:avLst/>
              <a:gdLst>
                <a:gd name="T0" fmla="*/ 135 w 466"/>
                <a:gd name="T1" fmla="*/ 215 h 363"/>
                <a:gd name="T2" fmla="*/ 167 w 466"/>
                <a:gd name="T3" fmla="*/ 181 h 363"/>
                <a:gd name="T4" fmla="*/ 211 w 466"/>
                <a:gd name="T5" fmla="*/ 173 h 363"/>
                <a:gd name="T6" fmla="*/ 257 w 466"/>
                <a:gd name="T7" fmla="*/ 195 h 363"/>
                <a:gd name="T8" fmla="*/ 279 w 466"/>
                <a:gd name="T9" fmla="*/ 237 h 363"/>
                <a:gd name="T10" fmla="*/ 284 w 466"/>
                <a:gd name="T11" fmla="*/ 270 h 363"/>
                <a:gd name="T12" fmla="*/ 296 w 466"/>
                <a:gd name="T13" fmla="*/ 269 h 363"/>
                <a:gd name="T14" fmla="*/ 336 w 466"/>
                <a:gd name="T15" fmla="*/ 270 h 363"/>
                <a:gd name="T16" fmla="*/ 349 w 466"/>
                <a:gd name="T17" fmla="*/ 308 h 363"/>
                <a:gd name="T18" fmla="*/ 351 w 466"/>
                <a:gd name="T19" fmla="*/ 345 h 363"/>
                <a:gd name="T20" fmla="*/ 393 w 466"/>
                <a:gd name="T21" fmla="*/ 341 h 363"/>
                <a:gd name="T22" fmla="*/ 406 w 466"/>
                <a:gd name="T23" fmla="*/ 327 h 363"/>
                <a:gd name="T24" fmla="*/ 408 w 466"/>
                <a:gd name="T25" fmla="*/ 328 h 363"/>
                <a:gd name="T26" fmla="*/ 409 w 466"/>
                <a:gd name="T27" fmla="*/ 330 h 363"/>
                <a:gd name="T28" fmla="*/ 416 w 466"/>
                <a:gd name="T29" fmla="*/ 339 h 363"/>
                <a:gd name="T30" fmla="*/ 432 w 466"/>
                <a:gd name="T31" fmla="*/ 325 h 363"/>
                <a:gd name="T32" fmla="*/ 447 w 466"/>
                <a:gd name="T33" fmla="*/ 303 h 363"/>
                <a:gd name="T34" fmla="*/ 432 w 466"/>
                <a:gd name="T35" fmla="*/ 274 h 363"/>
                <a:gd name="T36" fmla="*/ 464 w 466"/>
                <a:gd name="T37" fmla="*/ 277 h 363"/>
                <a:gd name="T38" fmla="*/ 447 w 466"/>
                <a:gd name="T39" fmla="*/ 252 h 363"/>
                <a:gd name="T40" fmla="*/ 453 w 466"/>
                <a:gd name="T41" fmla="*/ 227 h 363"/>
                <a:gd name="T42" fmla="*/ 429 w 466"/>
                <a:gd name="T43" fmla="*/ 199 h 363"/>
                <a:gd name="T44" fmla="*/ 436 w 466"/>
                <a:gd name="T45" fmla="*/ 156 h 363"/>
                <a:gd name="T46" fmla="*/ 426 w 466"/>
                <a:gd name="T47" fmla="*/ 139 h 363"/>
                <a:gd name="T48" fmla="*/ 405 w 466"/>
                <a:gd name="T49" fmla="*/ 110 h 363"/>
                <a:gd name="T50" fmla="*/ 407 w 466"/>
                <a:gd name="T51" fmla="*/ 80 h 363"/>
                <a:gd name="T52" fmla="*/ 388 w 466"/>
                <a:gd name="T53" fmla="*/ 44 h 363"/>
                <a:gd name="T54" fmla="*/ 358 w 466"/>
                <a:gd name="T55" fmla="*/ 22 h 363"/>
                <a:gd name="T56" fmla="*/ 332 w 466"/>
                <a:gd name="T57" fmla="*/ 46 h 363"/>
                <a:gd name="T58" fmla="*/ 296 w 466"/>
                <a:gd name="T59" fmla="*/ 33 h 363"/>
                <a:gd name="T60" fmla="*/ 268 w 466"/>
                <a:gd name="T61" fmla="*/ 52 h 363"/>
                <a:gd name="T62" fmla="*/ 247 w 466"/>
                <a:gd name="T63" fmla="*/ 40 h 363"/>
                <a:gd name="T64" fmla="*/ 221 w 466"/>
                <a:gd name="T65" fmla="*/ 24 h 363"/>
                <a:gd name="T66" fmla="*/ 220 w 466"/>
                <a:gd name="T67" fmla="*/ 21 h 363"/>
                <a:gd name="T68" fmla="*/ 218 w 466"/>
                <a:gd name="T69" fmla="*/ 20 h 363"/>
                <a:gd name="T70" fmla="*/ 217 w 466"/>
                <a:gd name="T71" fmla="*/ 19 h 363"/>
                <a:gd name="T72" fmla="*/ 215 w 466"/>
                <a:gd name="T73" fmla="*/ 19 h 363"/>
                <a:gd name="T74" fmla="*/ 212 w 466"/>
                <a:gd name="T75" fmla="*/ 18 h 363"/>
                <a:gd name="T76" fmla="*/ 210 w 466"/>
                <a:gd name="T77" fmla="*/ 18 h 363"/>
                <a:gd name="T78" fmla="*/ 207 w 466"/>
                <a:gd name="T79" fmla="*/ 18 h 363"/>
                <a:gd name="T80" fmla="*/ 205 w 466"/>
                <a:gd name="T81" fmla="*/ 18 h 363"/>
                <a:gd name="T82" fmla="*/ 201 w 466"/>
                <a:gd name="T83" fmla="*/ 18 h 363"/>
                <a:gd name="T84" fmla="*/ 198 w 466"/>
                <a:gd name="T85" fmla="*/ 18 h 363"/>
                <a:gd name="T86" fmla="*/ 195 w 466"/>
                <a:gd name="T87" fmla="*/ 18 h 363"/>
                <a:gd name="T88" fmla="*/ 191 w 466"/>
                <a:gd name="T89" fmla="*/ 19 h 363"/>
                <a:gd name="T90" fmla="*/ 188 w 466"/>
                <a:gd name="T91" fmla="*/ 19 h 363"/>
                <a:gd name="T92" fmla="*/ 186 w 466"/>
                <a:gd name="T93" fmla="*/ 19 h 363"/>
                <a:gd name="T94" fmla="*/ 163 w 466"/>
                <a:gd name="T95" fmla="*/ 29 h 363"/>
                <a:gd name="T96" fmla="*/ 126 w 466"/>
                <a:gd name="T97" fmla="*/ 13 h 363"/>
                <a:gd name="T98" fmla="*/ 93 w 466"/>
                <a:gd name="T99" fmla="*/ 1 h 363"/>
                <a:gd name="T100" fmla="*/ 91 w 466"/>
                <a:gd name="T101" fmla="*/ 0 h 363"/>
                <a:gd name="T102" fmla="*/ 84 w 466"/>
                <a:gd name="T103" fmla="*/ 2 h 363"/>
                <a:gd name="T104" fmla="*/ 68 w 466"/>
                <a:gd name="T105" fmla="*/ 34 h 363"/>
                <a:gd name="T106" fmla="*/ 65 w 466"/>
                <a:gd name="T107" fmla="*/ 66 h 363"/>
                <a:gd name="T108" fmla="*/ 14 w 466"/>
                <a:gd name="T109" fmla="*/ 88 h 363"/>
                <a:gd name="T110" fmla="*/ 16 w 466"/>
                <a:gd name="T111" fmla="*/ 120 h 363"/>
                <a:gd name="T112" fmla="*/ 88 w 466"/>
                <a:gd name="T113" fmla="*/ 188 h 363"/>
                <a:gd name="T114" fmla="*/ 121 w 466"/>
                <a:gd name="T115" fmla="*/ 230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6" h="363">
                  <a:moveTo>
                    <a:pt x="121" y="230"/>
                  </a:moveTo>
                  <a:cubicBezTo>
                    <a:pt x="126" y="222"/>
                    <a:pt x="125" y="219"/>
                    <a:pt x="135" y="215"/>
                  </a:cubicBezTo>
                  <a:cubicBezTo>
                    <a:pt x="144" y="211"/>
                    <a:pt x="149" y="203"/>
                    <a:pt x="151" y="192"/>
                  </a:cubicBezTo>
                  <a:cubicBezTo>
                    <a:pt x="153" y="181"/>
                    <a:pt x="157" y="178"/>
                    <a:pt x="167" y="181"/>
                  </a:cubicBezTo>
                  <a:cubicBezTo>
                    <a:pt x="178" y="185"/>
                    <a:pt x="184" y="185"/>
                    <a:pt x="190" y="180"/>
                  </a:cubicBezTo>
                  <a:cubicBezTo>
                    <a:pt x="196" y="175"/>
                    <a:pt x="205" y="173"/>
                    <a:pt x="211" y="173"/>
                  </a:cubicBezTo>
                  <a:cubicBezTo>
                    <a:pt x="218" y="173"/>
                    <a:pt x="234" y="171"/>
                    <a:pt x="237" y="177"/>
                  </a:cubicBezTo>
                  <a:cubicBezTo>
                    <a:pt x="241" y="184"/>
                    <a:pt x="255" y="188"/>
                    <a:pt x="257" y="195"/>
                  </a:cubicBezTo>
                  <a:cubicBezTo>
                    <a:pt x="258" y="203"/>
                    <a:pt x="261" y="215"/>
                    <a:pt x="268" y="220"/>
                  </a:cubicBezTo>
                  <a:cubicBezTo>
                    <a:pt x="275" y="225"/>
                    <a:pt x="278" y="232"/>
                    <a:pt x="279" y="237"/>
                  </a:cubicBezTo>
                  <a:cubicBezTo>
                    <a:pt x="281" y="241"/>
                    <a:pt x="280" y="265"/>
                    <a:pt x="283" y="269"/>
                  </a:cubicBezTo>
                  <a:cubicBezTo>
                    <a:pt x="283" y="269"/>
                    <a:pt x="283" y="270"/>
                    <a:pt x="284" y="270"/>
                  </a:cubicBezTo>
                  <a:cubicBezTo>
                    <a:pt x="285" y="271"/>
                    <a:pt x="285" y="271"/>
                    <a:pt x="286" y="272"/>
                  </a:cubicBezTo>
                  <a:cubicBezTo>
                    <a:pt x="289" y="270"/>
                    <a:pt x="292" y="268"/>
                    <a:pt x="296" y="269"/>
                  </a:cubicBezTo>
                  <a:cubicBezTo>
                    <a:pt x="304" y="273"/>
                    <a:pt x="307" y="278"/>
                    <a:pt x="314" y="274"/>
                  </a:cubicBezTo>
                  <a:cubicBezTo>
                    <a:pt x="321" y="270"/>
                    <a:pt x="329" y="265"/>
                    <a:pt x="336" y="270"/>
                  </a:cubicBezTo>
                  <a:cubicBezTo>
                    <a:pt x="343" y="275"/>
                    <a:pt x="349" y="280"/>
                    <a:pt x="348" y="289"/>
                  </a:cubicBezTo>
                  <a:cubicBezTo>
                    <a:pt x="347" y="297"/>
                    <a:pt x="343" y="304"/>
                    <a:pt x="349" y="308"/>
                  </a:cubicBezTo>
                  <a:cubicBezTo>
                    <a:pt x="355" y="312"/>
                    <a:pt x="355" y="316"/>
                    <a:pt x="355" y="322"/>
                  </a:cubicBezTo>
                  <a:cubicBezTo>
                    <a:pt x="354" y="328"/>
                    <a:pt x="340" y="347"/>
                    <a:pt x="351" y="345"/>
                  </a:cubicBezTo>
                  <a:cubicBezTo>
                    <a:pt x="363" y="343"/>
                    <a:pt x="367" y="363"/>
                    <a:pt x="371" y="356"/>
                  </a:cubicBezTo>
                  <a:cubicBezTo>
                    <a:pt x="375" y="349"/>
                    <a:pt x="392" y="352"/>
                    <a:pt x="393" y="341"/>
                  </a:cubicBezTo>
                  <a:cubicBezTo>
                    <a:pt x="395" y="329"/>
                    <a:pt x="395" y="317"/>
                    <a:pt x="405" y="325"/>
                  </a:cubicBezTo>
                  <a:cubicBezTo>
                    <a:pt x="405" y="326"/>
                    <a:pt x="406" y="326"/>
                    <a:pt x="406" y="327"/>
                  </a:cubicBezTo>
                  <a:cubicBezTo>
                    <a:pt x="406" y="327"/>
                    <a:pt x="406" y="327"/>
                    <a:pt x="407" y="327"/>
                  </a:cubicBezTo>
                  <a:cubicBezTo>
                    <a:pt x="407" y="328"/>
                    <a:pt x="407" y="328"/>
                    <a:pt x="408" y="328"/>
                  </a:cubicBezTo>
                  <a:cubicBezTo>
                    <a:pt x="408" y="328"/>
                    <a:pt x="408" y="328"/>
                    <a:pt x="408" y="329"/>
                  </a:cubicBezTo>
                  <a:cubicBezTo>
                    <a:pt x="408" y="329"/>
                    <a:pt x="408" y="329"/>
                    <a:pt x="409" y="330"/>
                  </a:cubicBezTo>
                  <a:cubicBezTo>
                    <a:pt x="409" y="330"/>
                    <a:pt x="409" y="330"/>
                    <a:pt x="409" y="330"/>
                  </a:cubicBezTo>
                  <a:cubicBezTo>
                    <a:pt x="412" y="336"/>
                    <a:pt x="411" y="340"/>
                    <a:pt x="416" y="339"/>
                  </a:cubicBezTo>
                  <a:cubicBezTo>
                    <a:pt x="417" y="339"/>
                    <a:pt x="417" y="339"/>
                    <a:pt x="417" y="339"/>
                  </a:cubicBezTo>
                  <a:cubicBezTo>
                    <a:pt x="426" y="337"/>
                    <a:pt x="424" y="325"/>
                    <a:pt x="432" y="325"/>
                  </a:cubicBezTo>
                  <a:cubicBezTo>
                    <a:pt x="440" y="325"/>
                    <a:pt x="433" y="315"/>
                    <a:pt x="437" y="313"/>
                  </a:cubicBezTo>
                  <a:cubicBezTo>
                    <a:pt x="441" y="311"/>
                    <a:pt x="448" y="312"/>
                    <a:pt x="447" y="303"/>
                  </a:cubicBezTo>
                  <a:cubicBezTo>
                    <a:pt x="447" y="295"/>
                    <a:pt x="437" y="301"/>
                    <a:pt x="431" y="291"/>
                  </a:cubicBezTo>
                  <a:cubicBezTo>
                    <a:pt x="426" y="281"/>
                    <a:pt x="417" y="271"/>
                    <a:pt x="432" y="274"/>
                  </a:cubicBezTo>
                  <a:cubicBezTo>
                    <a:pt x="447" y="277"/>
                    <a:pt x="445" y="269"/>
                    <a:pt x="453" y="278"/>
                  </a:cubicBezTo>
                  <a:cubicBezTo>
                    <a:pt x="460" y="287"/>
                    <a:pt x="464" y="283"/>
                    <a:pt x="464" y="277"/>
                  </a:cubicBezTo>
                  <a:cubicBezTo>
                    <a:pt x="464" y="271"/>
                    <a:pt x="466" y="265"/>
                    <a:pt x="459" y="262"/>
                  </a:cubicBezTo>
                  <a:cubicBezTo>
                    <a:pt x="451" y="259"/>
                    <a:pt x="455" y="253"/>
                    <a:pt x="447" y="252"/>
                  </a:cubicBezTo>
                  <a:cubicBezTo>
                    <a:pt x="440" y="251"/>
                    <a:pt x="439" y="242"/>
                    <a:pt x="446" y="240"/>
                  </a:cubicBezTo>
                  <a:cubicBezTo>
                    <a:pt x="453" y="238"/>
                    <a:pt x="453" y="233"/>
                    <a:pt x="453" y="227"/>
                  </a:cubicBezTo>
                  <a:cubicBezTo>
                    <a:pt x="453" y="221"/>
                    <a:pt x="455" y="211"/>
                    <a:pt x="446" y="211"/>
                  </a:cubicBezTo>
                  <a:cubicBezTo>
                    <a:pt x="437" y="211"/>
                    <a:pt x="427" y="205"/>
                    <a:pt x="429" y="199"/>
                  </a:cubicBezTo>
                  <a:cubicBezTo>
                    <a:pt x="431" y="193"/>
                    <a:pt x="432" y="191"/>
                    <a:pt x="432" y="181"/>
                  </a:cubicBezTo>
                  <a:cubicBezTo>
                    <a:pt x="432" y="173"/>
                    <a:pt x="432" y="164"/>
                    <a:pt x="436" y="156"/>
                  </a:cubicBezTo>
                  <a:cubicBezTo>
                    <a:pt x="436" y="156"/>
                    <a:pt x="436" y="156"/>
                    <a:pt x="436" y="156"/>
                  </a:cubicBezTo>
                  <a:cubicBezTo>
                    <a:pt x="429" y="146"/>
                    <a:pt x="438" y="144"/>
                    <a:pt x="426" y="139"/>
                  </a:cubicBezTo>
                  <a:cubicBezTo>
                    <a:pt x="414" y="135"/>
                    <a:pt x="424" y="124"/>
                    <a:pt x="423" y="116"/>
                  </a:cubicBezTo>
                  <a:cubicBezTo>
                    <a:pt x="421" y="107"/>
                    <a:pt x="414" y="112"/>
                    <a:pt x="405" y="110"/>
                  </a:cubicBezTo>
                  <a:cubicBezTo>
                    <a:pt x="396" y="109"/>
                    <a:pt x="411" y="96"/>
                    <a:pt x="415" y="91"/>
                  </a:cubicBezTo>
                  <a:cubicBezTo>
                    <a:pt x="419" y="86"/>
                    <a:pt x="420" y="81"/>
                    <a:pt x="407" y="80"/>
                  </a:cubicBezTo>
                  <a:cubicBezTo>
                    <a:pt x="394" y="79"/>
                    <a:pt x="396" y="70"/>
                    <a:pt x="396" y="65"/>
                  </a:cubicBezTo>
                  <a:cubicBezTo>
                    <a:pt x="396" y="60"/>
                    <a:pt x="396" y="47"/>
                    <a:pt x="388" y="44"/>
                  </a:cubicBezTo>
                  <a:cubicBezTo>
                    <a:pt x="381" y="41"/>
                    <a:pt x="384" y="33"/>
                    <a:pt x="379" y="21"/>
                  </a:cubicBezTo>
                  <a:cubicBezTo>
                    <a:pt x="374" y="9"/>
                    <a:pt x="358" y="16"/>
                    <a:pt x="358" y="22"/>
                  </a:cubicBezTo>
                  <a:cubicBezTo>
                    <a:pt x="358" y="28"/>
                    <a:pt x="354" y="28"/>
                    <a:pt x="348" y="28"/>
                  </a:cubicBezTo>
                  <a:cubicBezTo>
                    <a:pt x="342" y="28"/>
                    <a:pt x="340" y="45"/>
                    <a:pt x="332" y="46"/>
                  </a:cubicBezTo>
                  <a:cubicBezTo>
                    <a:pt x="324" y="47"/>
                    <a:pt x="321" y="46"/>
                    <a:pt x="316" y="40"/>
                  </a:cubicBezTo>
                  <a:cubicBezTo>
                    <a:pt x="311" y="34"/>
                    <a:pt x="309" y="34"/>
                    <a:pt x="296" y="33"/>
                  </a:cubicBezTo>
                  <a:cubicBezTo>
                    <a:pt x="283" y="32"/>
                    <a:pt x="286" y="36"/>
                    <a:pt x="284" y="44"/>
                  </a:cubicBezTo>
                  <a:cubicBezTo>
                    <a:pt x="282" y="52"/>
                    <a:pt x="277" y="54"/>
                    <a:pt x="268" y="52"/>
                  </a:cubicBezTo>
                  <a:cubicBezTo>
                    <a:pt x="259" y="50"/>
                    <a:pt x="263" y="45"/>
                    <a:pt x="262" y="37"/>
                  </a:cubicBezTo>
                  <a:cubicBezTo>
                    <a:pt x="261" y="29"/>
                    <a:pt x="249" y="31"/>
                    <a:pt x="247" y="40"/>
                  </a:cubicBezTo>
                  <a:cubicBezTo>
                    <a:pt x="245" y="49"/>
                    <a:pt x="234" y="46"/>
                    <a:pt x="227" y="45"/>
                  </a:cubicBezTo>
                  <a:cubicBezTo>
                    <a:pt x="220" y="44"/>
                    <a:pt x="222" y="34"/>
                    <a:pt x="221" y="24"/>
                  </a:cubicBezTo>
                  <a:cubicBezTo>
                    <a:pt x="221" y="23"/>
                    <a:pt x="221" y="23"/>
                    <a:pt x="221" y="22"/>
                  </a:cubicBezTo>
                  <a:cubicBezTo>
                    <a:pt x="220" y="22"/>
                    <a:pt x="220" y="21"/>
                    <a:pt x="220" y="21"/>
                  </a:cubicBezTo>
                  <a:cubicBezTo>
                    <a:pt x="219" y="21"/>
                    <a:pt x="219" y="21"/>
                    <a:pt x="219" y="21"/>
                  </a:cubicBezTo>
                  <a:cubicBezTo>
                    <a:pt x="219" y="20"/>
                    <a:pt x="219" y="20"/>
                    <a:pt x="218" y="20"/>
                  </a:cubicBezTo>
                  <a:cubicBezTo>
                    <a:pt x="218" y="20"/>
                    <a:pt x="218" y="20"/>
                    <a:pt x="218" y="20"/>
                  </a:cubicBezTo>
                  <a:cubicBezTo>
                    <a:pt x="217" y="19"/>
                    <a:pt x="217" y="19"/>
                    <a:pt x="217" y="19"/>
                  </a:cubicBezTo>
                  <a:cubicBezTo>
                    <a:pt x="216" y="19"/>
                    <a:pt x="216" y="19"/>
                    <a:pt x="216" y="19"/>
                  </a:cubicBezTo>
                  <a:cubicBezTo>
                    <a:pt x="215" y="19"/>
                    <a:pt x="215" y="19"/>
                    <a:pt x="215" y="19"/>
                  </a:cubicBezTo>
                  <a:cubicBezTo>
                    <a:pt x="214" y="18"/>
                    <a:pt x="214" y="18"/>
                    <a:pt x="214" y="18"/>
                  </a:cubicBezTo>
                  <a:cubicBezTo>
                    <a:pt x="213" y="18"/>
                    <a:pt x="213" y="18"/>
                    <a:pt x="212" y="18"/>
                  </a:cubicBezTo>
                  <a:cubicBezTo>
                    <a:pt x="212" y="18"/>
                    <a:pt x="212" y="18"/>
                    <a:pt x="211" y="18"/>
                  </a:cubicBezTo>
                  <a:cubicBezTo>
                    <a:pt x="211" y="18"/>
                    <a:pt x="210" y="18"/>
                    <a:pt x="210" y="18"/>
                  </a:cubicBezTo>
                  <a:cubicBezTo>
                    <a:pt x="210" y="18"/>
                    <a:pt x="209" y="18"/>
                    <a:pt x="209" y="18"/>
                  </a:cubicBezTo>
                  <a:cubicBezTo>
                    <a:pt x="208" y="18"/>
                    <a:pt x="208" y="18"/>
                    <a:pt x="207" y="18"/>
                  </a:cubicBezTo>
                  <a:cubicBezTo>
                    <a:pt x="207" y="18"/>
                    <a:pt x="206" y="18"/>
                    <a:pt x="206" y="18"/>
                  </a:cubicBezTo>
                  <a:cubicBezTo>
                    <a:pt x="206" y="18"/>
                    <a:pt x="205" y="18"/>
                    <a:pt x="205" y="18"/>
                  </a:cubicBezTo>
                  <a:cubicBezTo>
                    <a:pt x="204" y="18"/>
                    <a:pt x="203" y="18"/>
                    <a:pt x="202" y="18"/>
                  </a:cubicBezTo>
                  <a:cubicBezTo>
                    <a:pt x="201" y="18"/>
                    <a:pt x="201" y="18"/>
                    <a:pt x="201" y="18"/>
                  </a:cubicBezTo>
                  <a:cubicBezTo>
                    <a:pt x="200" y="18"/>
                    <a:pt x="199" y="18"/>
                    <a:pt x="199" y="18"/>
                  </a:cubicBezTo>
                  <a:cubicBezTo>
                    <a:pt x="198" y="18"/>
                    <a:pt x="198" y="18"/>
                    <a:pt x="198" y="18"/>
                  </a:cubicBezTo>
                  <a:cubicBezTo>
                    <a:pt x="197" y="18"/>
                    <a:pt x="196" y="18"/>
                    <a:pt x="196" y="18"/>
                  </a:cubicBezTo>
                  <a:cubicBezTo>
                    <a:pt x="196" y="18"/>
                    <a:pt x="195" y="18"/>
                    <a:pt x="195" y="18"/>
                  </a:cubicBezTo>
                  <a:cubicBezTo>
                    <a:pt x="194" y="18"/>
                    <a:pt x="193" y="18"/>
                    <a:pt x="192" y="19"/>
                  </a:cubicBezTo>
                  <a:cubicBezTo>
                    <a:pt x="192" y="19"/>
                    <a:pt x="191" y="19"/>
                    <a:pt x="191" y="19"/>
                  </a:cubicBezTo>
                  <a:cubicBezTo>
                    <a:pt x="191" y="19"/>
                    <a:pt x="190" y="19"/>
                    <a:pt x="189" y="19"/>
                  </a:cubicBezTo>
                  <a:cubicBezTo>
                    <a:pt x="189" y="19"/>
                    <a:pt x="189" y="19"/>
                    <a:pt x="188" y="19"/>
                  </a:cubicBezTo>
                  <a:cubicBezTo>
                    <a:pt x="188" y="19"/>
                    <a:pt x="187" y="19"/>
                    <a:pt x="187" y="19"/>
                  </a:cubicBezTo>
                  <a:cubicBezTo>
                    <a:pt x="187" y="19"/>
                    <a:pt x="186" y="19"/>
                    <a:pt x="186" y="19"/>
                  </a:cubicBezTo>
                  <a:cubicBezTo>
                    <a:pt x="185" y="19"/>
                    <a:pt x="185" y="19"/>
                    <a:pt x="184" y="19"/>
                  </a:cubicBezTo>
                  <a:cubicBezTo>
                    <a:pt x="173" y="19"/>
                    <a:pt x="169" y="30"/>
                    <a:pt x="163" y="29"/>
                  </a:cubicBezTo>
                  <a:cubicBezTo>
                    <a:pt x="157" y="28"/>
                    <a:pt x="157" y="21"/>
                    <a:pt x="147" y="21"/>
                  </a:cubicBezTo>
                  <a:cubicBezTo>
                    <a:pt x="137" y="21"/>
                    <a:pt x="133" y="21"/>
                    <a:pt x="126" y="13"/>
                  </a:cubicBezTo>
                  <a:cubicBezTo>
                    <a:pt x="119" y="5"/>
                    <a:pt x="107" y="3"/>
                    <a:pt x="95" y="1"/>
                  </a:cubicBezTo>
                  <a:cubicBezTo>
                    <a:pt x="94" y="1"/>
                    <a:pt x="94" y="1"/>
                    <a:pt x="93" y="1"/>
                  </a:cubicBezTo>
                  <a:cubicBezTo>
                    <a:pt x="92" y="1"/>
                    <a:pt x="92" y="1"/>
                    <a:pt x="92" y="1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88" y="0"/>
                    <a:pt x="86" y="0"/>
                    <a:pt x="84" y="2"/>
                  </a:cubicBezTo>
                  <a:cubicBezTo>
                    <a:pt x="84" y="2"/>
                    <a:pt x="84" y="2"/>
                    <a:pt x="84" y="2"/>
                  </a:cubicBezTo>
                  <a:cubicBezTo>
                    <a:pt x="82" y="4"/>
                    <a:pt x="82" y="7"/>
                    <a:pt x="82" y="14"/>
                  </a:cubicBezTo>
                  <a:cubicBezTo>
                    <a:pt x="82" y="27"/>
                    <a:pt x="77" y="28"/>
                    <a:pt x="68" y="34"/>
                  </a:cubicBezTo>
                  <a:cubicBezTo>
                    <a:pt x="59" y="40"/>
                    <a:pt x="73" y="43"/>
                    <a:pt x="78" y="51"/>
                  </a:cubicBezTo>
                  <a:cubicBezTo>
                    <a:pt x="83" y="59"/>
                    <a:pt x="74" y="66"/>
                    <a:pt x="65" y="66"/>
                  </a:cubicBezTo>
                  <a:cubicBezTo>
                    <a:pt x="56" y="66"/>
                    <a:pt x="50" y="70"/>
                    <a:pt x="35" y="72"/>
                  </a:cubicBezTo>
                  <a:cubicBezTo>
                    <a:pt x="20" y="74"/>
                    <a:pt x="31" y="82"/>
                    <a:pt x="14" y="88"/>
                  </a:cubicBezTo>
                  <a:cubicBezTo>
                    <a:pt x="7" y="91"/>
                    <a:pt x="2" y="97"/>
                    <a:pt x="0" y="103"/>
                  </a:cubicBezTo>
                  <a:cubicBezTo>
                    <a:pt x="8" y="107"/>
                    <a:pt x="15" y="111"/>
                    <a:pt x="16" y="120"/>
                  </a:cubicBezTo>
                  <a:cubicBezTo>
                    <a:pt x="19" y="135"/>
                    <a:pt x="26" y="149"/>
                    <a:pt x="41" y="157"/>
                  </a:cubicBezTo>
                  <a:cubicBezTo>
                    <a:pt x="56" y="164"/>
                    <a:pt x="78" y="172"/>
                    <a:pt x="88" y="188"/>
                  </a:cubicBezTo>
                  <a:cubicBezTo>
                    <a:pt x="97" y="200"/>
                    <a:pt x="101" y="215"/>
                    <a:pt x="106" y="235"/>
                  </a:cubicBezTo>
                  <a:cubicBezTo>
                    <a:pt x="111" y="235"/>
                    <a:pt x="118" y="234"/>
                    <a:pt x="121" y="23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504" name="Freeform 25699"/>
            <p:cNvSpPr>
              <a:spLocks/>
            </p:cNvSpPr>
            <p:nvPr/>
          </p:nvSpPr>
          <p:spPr bwMode="auto">
            <a:xfrm>
              <a:off x="4010427" y="3623142"/>
              <a:ext cx="98488" cy="99909"/>
            </a:xfrm>
            <a:custGeom>
              <a:avLst/>
              <a:gdLst>
                <a:gd name="T0" fmla="*/ 255 w 264"/>
                <a:gd name="T1" fmla="*/ 218 h 268"/>
                <a:gd name="T2" fmla="*/ 259 w 264"/>
                <a:gd name="T3" fmla="*/ 187 h 268"/>
                <a:gd name="T4" fmla="*/ 245 w 264"/>
                <a:gd name="T5" fmla="*/ 174 h 268"/>
                <a:gd name="T6" fmla="*/ 230 w 264"/>
                <a:gd name="T7" fmla="*/ 159 h 268"/>
                <a:gd name="T8" fmla="*/ 208 w 264"/>
                <a:gd name="T9" fmla="*/ 152 h 268"/>
                <a:gd name="T10" fmla="*/ 189 w 264"/>
                <a:gd name="T11" fmla="*/ 140 h 268"/>
                <a:gd name="T12" fmla="*/ 189 w 264"/>
                <a:gd name="T13" fmla="*/ 127 h 268"/>
                <a:gd name="T14" fmla="*/ 200 w 264"/>
                <a:gd name="T15" fmla="*/ 109 h 268"/>
                <a:gd name="T16" fmla="*/ 198 w 264"/>
                <a:gd name="T17" fmla="*/ 90 h 268"/>
                <a:gd name="T18" fmla="*/ 194 w 264"/>
                <a:gd name="T19" fmla="*/ 74 h 268"/>
                <a:gd name="T20" fmla="*/ 187 w 264"/>
                <a:gd name="T21" fmla="*/ 65 h 268"/>
                <a:gd name="T22" fmla="*/ 187 w 264"/>
                <a:gd name="T23" fmla="*/ 65 h 268"/>
                <a:gd name="T24" fmla="*/ 186 w 264"/>
                <a:gd name="T25" fmla="*/ 64 h 268"/>
                <a:gd name="T26" fmla="*/ 186 w 264"/>
                <a:gd name="T27" fmla="*/ 63 h 268"/>
                <a:gd name="T28" fmla="*/ 185 w 264"/>
                <a:gd name="T29" fmla="*/ 62 h 268"/>
                <a:gd name="T30" fmla="*/ 184 w 264"/>
                <a:gd name="T31" fmla="*/ 62 h 268"/>
                <a:gd name="T32" fmla="*/ 183 w 264"/>
                <a:gd name="T33" fmla="*/ 60 h 268"/>
                <a:gd name="T34" fmla="*/ 171 w 264"/>
                <a:gd name="T35" fmla="*/ 76 h 268"/>
                <a:gd name="T36" fmla="*/ 149 w 264"/>
                <a:gd name="T37" fmla="*/ 91 h 268"/>
                <a:gd name="T38" fmla="*/ 129 w 264"/>
                <a:gd name="T39" fmla="*/ 80 h 268"/>
                <a:gd name="T40" fmla="*/ 133 w 264"/>
                <a:gd name="T41" fmla="*/ 57 h 268"/>
                <a:gd name="T42" fmla="*/ 127 w 264"/>
                <a:gd name="T43" fmla="*/ 43 h 268"/>
                <a:gd name="T44" fmla="*/ 126 w 264"/>
                <a:gd name="T45" fmla="*/ 24 h 268"/>
                <a:gd name="T46" fmla="*/ 114 w 264"/>
                <a:gd name="T47" fmla="*/ 5 h 268"/>
                <a:gd name="T48" fmla="*/ 92 w 264"/>
                <a:gd name="T49" fmla="*/ 9 h 268"/>
                <a:gd name="T50" fmla="*/ 74 w 264"/>
                <a:gd name="T51" fmla="*/ 4 h 268"/>
                <a:gd name="T52" fmla="*/ 64 w 264"/>
                <a:gd name="T53" fmla="*/ 7 h 268"/>
                <a:gd name="T54" fmla="*/ 64 w 264"/>
                <a:gd name="T55" fmla="*/ 7 h 268"/>
                <a:gd name="T56" fmla="*/ 65 w 264"/>
                <a:gd name="T57" fmla="*/ 8 h 268"/>
                <a:gd name="T58" fmla="*/ 65 w 264"/>
                <a:gd name="T59" fmla="*/ 8 h 268"/>
                <a:gd name="T60" fmla="*/ 66 w 264"/>
                <a:gd name="T61" fmla="*/ 9 h 268"/>
                <a:gd name="T62" fmla="*/ 66 w 264"/>
                <a:gd name="T63" fmla="*/ 10 h 268"/>
                <a:gd name="T64" fmla="*/ 67 w 264"/>
                <a:gd name="T65" fmla="*/ 11 h 268"/>
                <a:gd name="T66" fmla="*/ 68 w 264"/>
                <a:gd name="T67" fmla="*/ 11 h 268"/>
                <a:gd name="T68" fmla="*/ 68 w 264"/>
                <a:gd name="T69" fmla="*/ 12 h 268"/>
                <a:gd name="T70" fmla="*/ 69 w 264"/>
                <a:gd name="T71" fmla="*/ 13 h 268"/>
                <a:gd name="T72" fmla="*/ 69 w 264"/>
                <a:gd name="T73" fmla="*/ 14 h 268"/>
                <a:gd name="T74" fmla="*/ 70 w 264"/>
                <a:gd name="T75" fmla="*/ 14 h 268"/>
                <a:gd name="T76" fmla="*/ 70 w 264"/>
                <a:gd name="T77" fmla="*/ 15 h 268"/>
                <a:gd name="T78" fmla="*/ 70 w 264"/>
                <a:gd name="T79" fmla="*/ 16 h 268"/>
                <a:gd name="T80" fmla="*/ 71 w 264"/>
                <a:gd name="T81" fmla="*/ 17 h 268"/>
                <a:gd name="T82" fmla="*/ 71 w 264"/>
                <a:gd name="T83" fmla="*/ 18 h 268"/>
                <a:gd name="T84" fmla="*/ 71 w 264"/>
                <a:gd name="T85" fmla="*/ 19 h 268"/>
                <a:gd name="T86" fmla="*/ 71 w 264"/>
                <a:gd name="T87" fmla="*/ 19 h 268"/>
                <a:gd name="T88" fmla="*/ 72 w 264"/>
                <a:gd name="T89" fmla="*/ 21 h 268"/>
                <a:gd name="T90" fmla="*/ 72 w 264"/>
                <a:gd name="T91" fmla="*/ 21 h 268"/>
                <a:gd name="T92" fmla="*/ 71 w 264"/>
                <a:gd name="T93" fmla="*/ 23 h 268"/>
                <a:gd name="T94" fmla="*/ 71 w 264"/>
                <a:gd name="T95" fmla="*/ 23 h 268"/>
                <a:gd name="T96" fmla="*/ 71 w 264"/>
                <a:gd name="T97" fmla="*/ 25 h 268"/>
                <a:gd name="T98" fmla="*/ 71 w 264"/>
                <a:gd name="T99" fmla="*/ 25 h 268"/>
                <a:gd name="T100" fmla="*/ 70 w 264"/>
                <a:gd name="T101" fmla="*/ 27 h 268"/>
                <a:gd name="T102" fmla="*/ 50 w 264"/>
                <a:gd name="T103" fmla="*/ 51 h 268"/>
                <a:gd name="T104" fmla="*/ 33 w 264"/>
                <a:gd name="T105" fmla="*/ 67 h 268"/>
                <a:gd name="T106" fmla="*/ 17 w 264"/>
                <a:gd name="T107" fmla="*/ 86 h 268"/>
                <a:gd name="T108" fmla="*/ 0 w 264"/>
                <a:gd name="T109" fmla="*/ 104 h 268"/>
                <a:gd name="T110" fmla="*/ 49 w 264"/>
                <a:gd name="T111" fmla="*/ 145 h 268"/>
                <a:gd name="T112" fmla="*/ 133 w 264"/>
                <a:gd name="T113" fmla="*/ 213 h 268"/>
                <a:gd name="T114" fmla="*/ 210 w 264"/>
                <a:gd name="T115" fmla="*/ 257 h 268"/>
                <a:gd name="T116" fmla="*/ 248 w 264"/>
                <a:gd name="T117" fmla="*/ 268 h 268"/>
                <a:gd name="T118" fmla="*/ 245 w 264"/>
                <a:gd name="T119" fmla="*/ 236 h 268"/>
                <a:gd name="T120" fmla="*/ 255 w 264"/>
                <a:gd name="T121" fmla="*/ 218 h 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64" h="268">
                  <a:moveTo>
                    <a:pt x="255" y="218"/>
                  </a:moveTo>
                  <a:cubicBezTo>
                    <a:pt x="264" y="215"/>
                    <a:pt x="259" y="192"/>
                    <a:pt x="259" y="187"/>
                  </a:cubicBezTo>
                  <a:cubicBezTo>
                    <a:pt x="259" y="182"/>
                    <a:pt x="254" y="176"/>
                    <a:pt x="245" y="174"/>
                  </a:cubicBezTo>
                  <a:cubicBezTo>
                    <a:pt x="235" y="172"/>
                    <a:pt x="231" y="166"/>
                    <a:pt x="230" y="159"/>
                  </a:cubicBezTo>
                  <a:cubicBezTo>
                    <a:pt x="229" y="152"/>
                    <a:pt x="219" y="153"/>
                    <a:pt x="208" y="152"/>
                  </a:cubicBezTo>
                  <a:cubicBezTo>
                    <a:pt x="197" y="150"/>
                    <a:pt x="203" y="142"/>
                    <a:pt x="189" y="140"/>
                  </a:cubicBezTo>
                  <a:cubicBezTo>
                    <a:pt x="175" y="139"/>
                    <a:pt x="180" y="130"/>
                    <a:pt x="189" y="127"/>
                  </a:cubicBezTo>
                  <a:cubicBezTo>
                    <a:pt x="197" y="124"/>
                    <a:pt x="197" y="115"/>
                    <a:pt x="200" y="109"/>
                  </a:cubicBezTo>
                  <a:cubicBezTo>
                    <a:pt x="203" y="103"/>
                    <a:pt x="205" y="96"/>
                    <a:pt x="198" y="90"/>
                  </a:cubicBezTo>
                  <a:cubicBezTo>
                    <a:pt x="195" y="88"/>
                    <a:pt x="194" y="81"/>
                    <a:pt x="194" y="74"/>
                  </a:cubicBezTo>
                  <a:cubicBezTo>
                    <a:pt x="189" y="75"/>
                    <a:pt x="190" y="71"/>
                    <a:pt x="187" y="65"/>
                  </a:cubicBezTo>
                  <a:cubicBezTo>
                    <a:pt x="187" y="65"/>
                    <a:pt x="187" y="65"/>
                    <a:pt x="187" y="65"/>
                  </a:cubicBezTo>
                  <a:cubicBezTo>
                    <a:pt x="186" y="64"/>
                    <a:pt x="186" y="64"/>
                    <a:pt x="186" y="64"/>
                  </a:cubicBezTo>
                  <a:cubicBezTo>
                    <a:pt x="186" y="63"/>
                    <a:pt x="186" y="63"/>
                    <a:pt x="186" y="63"/>
                  </a:cubicBezTo>
                  <a:cubicBezTo>
                    <a:pt x="185" y="63"/>
                    <a:pt x="185" y="63"/>
                    <a:pt x="185" y="62"/>
                  </a:cubicBezTo>
                  <a:cubicBezTo>
                    <a:pt x="184" y="62"/>
                    <a:pt x="184" y="62"/>
                    <a:pt x="184" y="62"/>
                  </a:cubicBezTo>
                  <a:cubicBezTo>
                    <a:pt x="184" y="61"/>
                    <a:pt x="183" y="61"/>
                    <a:pt x="183" y="60"/>
                  </a:cubicBezTo>
                  <a:cubicBezTo>
                    <a:pt x="173" y="52"/>
                    <a:pt x="173" y="64"/>
                    <a:pt x="171" y="76"/>
                  </a:cubicBezTo>
                  <a:cubicBezTo>
                    <a:pt x="170" y="87"/>
                    <a:pt x="153" y="84"/>
                    <a:pt x="149" y="91"/>
                  </a:cubicBezTo>
                  <a:cubicBezTo>
                    <a:pt x="145" y="98"/>
                    <a:pt x="141" y="78"/>
                    <a:pt x="129" y="80"/>
                  </a:cubicBezTo>
                  <a:cubicBezTo>
                    <a:pt x="118" y="82"/>
                    <a:pt x="132" y="63"/>
                    <a:pt x="133" y="57"/>
                  </a:cubicBezTo>
                  <a:cubicBezTo>
                    <a:pt x="133" y="51"/>
                    <a:pt x="133" y="47"/>
                    <a:pt x="127" y="43"/>
                  </a:cubicBezTo>
                  <a:cubicBezTo>
                    <a:pt x="121" y="39"/>
                    <a:pt x="125" y="32"/>
                    <a:pt x="126" y="24"/>
                  </a:cubicBezTo>
                  <a:cubicBezTo>
                    <a:pt x="127" y="15"/>
                    <a:pt x="121" y="10"/>
                    <a:pt x="114" y="5"/>
                  </a:cubicBezTo>
                  <a:cubicBezTo>
                    <a:pt x="107" y="0"/>
                    <a:pt x="99" y="5"/>
                    <a:pt x="92" y="9"/>
                  </a:cubicBezTo>
                  <a:cubicBezTo>
                    <a:pt x="85" y="13"/>
                    <a:pt x="82" y="8"/>
                    <a:pt x="74" y="4"/>
                  </a:cubicBezTo>
                  <a:cubicBezTo>
                    <a:pt x="70" y="3"/>
                    <a:pt x="67" y="5"/>
                    <a:pt x="64" y="7"/>
                  </a:cubicBezTo>
                  <a:cubicBezTo>
                    <a:pt x="64" y="7"/>
                    <a:pt x="64" y="7"/>
                    <a:pt x="64" y="7"/>
                  </a:cubicBezTo>
                  <a:cubicBezTo>
                    <a:pt x="65" y="8"/>
                    <a:pt x="65" y="8"/>
                    <a:pt x="65" y="8"/>
                  </a:cubicBezTo>
                  <a:cubicBezTo>
                    <a:pt x="65" y="8"/>
                    <a:pt x="65" y="8"/>
                    <a:pt x="65" y="8"/>
                  </a:cubicBezTo>
                  <a:cubicBezTo>
                    <a:pt x="66" y="9"/>
                    <a:pt x="66" y="9"/>
                    <a:pt x="66" y="9"/>
                  </a:cubicBezTo>
                  <a:cubicBezTo>
                    <a:pt x="66" y="9"/>
                    <a:pt x="66" y="9"/>
                    <a:pt x="66" y="10"/>
                  </a:cubicBezTo>
                  <a:cubicBezTo>
                    <a:pt x="67" y="10"/>
                    <a:pt x="67" y="10"/>
                    <a:pt x="67" y="11"/>
                  </a:cubicBezTo>
                  <a:cubicBezTo>
                    <a:pt x="68" y="11"/>
                    <a:pt x="68" y="11"/>
                    <a:pt x="68" y="11"/>
                  </a:cubicBezTo>
                  <a:cubicBezTo>
                    <a:pt x="68" y="11"/>
                    <a:pt x="68" y="12"/>
                    <a:pt x="68" y="12"/>
                  </a:cubicBezTo>
                  <a:cubicBezTo>
                    <a:pt x="69" y="12"/>
                    <a:pt x="69" y="12"/>
                    <a:pt x="69" y="13"/>
                  </a:cubicBezTo>
                  <a:cubicBezTo>
                    <a:pt x="69" y="13"/>
                    <a:pt x="69" y="13"/>
                    <a:pt x="69" y="14"/>
                  </a:cubicBezTo>
                  <a:cubicBezTo>
                    <a:pt x="69" y="14"/>
                    <a:pt x="70" y="14"/>
                    <a:pt x="70" y="14"/>
                  </a:cubicBezTo>
                  <a:cubicBezTo>
                    <a:pt x="70" y="14"/>
                    <a:pt x="70" y="15"/>
                    <a:pt x="70" y="15"/>
                  </a:cubicBezTo>
                  <a:cubicBezTo>
                    <a:pt x="70" y="16"/>
                    <a:pt x="70" y="16"/>
                    <a:pt x="70" y="16"/>
                  </a:cubicBezTo>
                  <a:cubicBezTo>
                    <a:pt x="71" y="16"/>
                    <a:pt x="71" y="17"/>
                    <a:pt x="71" y="17"/>
                  </a:cubicBezTo>
                  <a:cubicBezTo>
                    <a:pt x="71" y="17"/>
                    <a:pt x="71" y="17"/>
                    <a:pt x="71" y="18"/>
                  </a:cubicBezTo>
                  <a:cubicBezTo>
                    <a:pt x="71" y="18"/>
                    <a:pt x="71" y="18"/>
                    <a:pt x="71" y="19"/>
                  </a:cubicBezTo>
                  <a:cubicBezTo>
                    <a:pt x="71" y="19"/>
                    <a:pt x="71" y="19"/>
                    <a:pt x="71" y="19"/>
                  </a:cubicBezTo>
                  <a:cubicBezTo>
                    <a:pt x="72" y="20"/>
                    <a:pt x="72" y="20"/>
                    <a:pt x="72" y="21"/>
                  </a:cubicBezTo>
                  <a:cubicBezTo>
                    <a:pt x="72" y="21"/>
                    <a:pt x="72" y="21"/>
                    <a:pt x="72" y="21"/>
                  </a:cubicBezTo>
                  <a:cubicBezTo>
                    <a:pt x="72" y="22"/>
                    <a:pt x="72" y="22"/>
                    <a:pt x="71" y="23"/>
                  </a:cubicBezTo>
                  <a:cubicBezTo>
                    <a:pt x="71" y="23"/>
                    <a:pt x="71" y="23"/>
                    <a:pt x="71" y="23"/>
                  </a:cubicBezTo>
                  <a:cubicBezTo>
                    <a:pt x="71" y="24"/>
                    <a:pt x="71" y="24"/>
                    <a:pt x="71" y="25"/>
                  </a:cubicBezTo>
                  <a:cubicBezTo>
                    <a:pt x="71" y="25"/>
                    <a:pt x="71" y="25"/>
                    <a:pt x="71" y="25"/>
                  </a:cubicBezTo>
                  <a:cubicBezTo>
                    <a:pt x="71" y="26"/>
                    <a:pt x="70" y="26"/>
                    <a:pt x="70" y="27"/>
                  </a:cubicBezTo>
                  <a:cubicBezTo>
                    <a:pt x="64" y="38"/>
                    <a:pt x="51" y="44"/>
                    <a:pt x="50" y="51"/>
                  </a:cubicBezTo>
                  <a:cubicBezTo>
                    <a:pt x="49" y="58"/>
                    <a:pt x="39" y="64"/>
                    <a:pt x="33" y="67"/>
                  </a:cubicBezTo>
                  <a:cubicBezTo>
                    <a:pt x="27" y="70"/>
                    <a:pt x="20" y="81"/>
                    <a:pt x="17" y="86"/>
                  </a:cubicBezTo>
                  <a:cubicBezTo>
                    <a:pt x="14" y="91"/>
                    <a:pt x="6" y="94"/>
                    <a:pt x="0" y="104"/>
                  </a:cubicBezTo>
                  <a:cubicBezTo>
                    <a:pt x="14" y="114"/>
                    <a:pt x="28" y="127"/>
                    <a:pt x="49" y="145"/>
                  </a:cubicBezTo>
                  <a:cubicBezTo>
                    <a:pt x="79" y="171"/>
                    <a:pt x="113" y="196"/>
                    <a:pt x="133" y="213"/>
                  </a:cubicBezTo>
                  <a:cubicBezTo>
                    <a:pt x="153" y="230"/>
                    <a:pt x="189" y="244"/>
                    <a:pt x="210" y="257"/>
                  </a:cubicBezTo>
                  <a:cubicBezTo>
                    <a:pt x="222" y="264"/>
                    <a:pt x="235" y="268"/>
                    <a:pt x="248" y="268"/>
                  </a:cubicBezTo>
                  <a:cubicBezTo>
                    <a:pt x="247" y="257"/>
                    <a:pt x="246" y="240"/>
                    <a:pt x="245" y="236"/>
                  </a:cubicBezTo>
                  <a:cubicBezTo>
                    <a:pt x="244" y="230"/>
                    <a:pt x="247" y="222"/>
                    <a:pt x="255" y="218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505" name="Freeform 25700"/>
            <p:cNvSpPr>
              <a:spLocks/>
            </p:cNvSpPr>
            <p:nvPr/>
          </p:nvSpPr>
          <p:spPr bwMode="auto">
            <a:xfrm>
              <a:off x="4075770" y="3575002"/>
              <a:ext cx="148364" cy="148522"/>
            </a:xfrm>
            <a:custGeom>
              <a:avLst/>
              <a:gdLst>
                <a:gd name="T0" fmla="*/ 382 w 398"/>
                <a:gd name="T1" fmla="*/ 330 h 398"/>
                <a:gd name="T2" fmla="*/ 362 w 398"/>
                <a:gd name="T3" fmla="*/ 307 h 398"/>
                <a:gd name="T4" fmla="*/ 349 w 398"/>
                <a:gd name="T5" fmla="*/ 271 h 398"/>
                <a:gd name="T6" fmla="*/ 360 w 398"/>
                <a:gd name="T7" fmla="*/ 229 h 398"/>
                <a:gd name="T8" fmla="*/ 371 w 398"/>
                <a:gd name="T9" fmla="*/ 188 h 398"/>
                <a:gd name="T10" fmla="*/ 397 w 398"/>
                <a:gd name="T11" fmla="*/ 135 h 398"/>
                <a:gd name="T12" fmla="*/ 384 w 398"/>
                <a:gd name="T13" fmla="*/ 104 h 398"/>
                <a:gd name="T14" fmla="*/ 374 w 398"/>
                <a:gd name="T15" fmla="*/ 73 h 398"/>
                <a:gd name="T16" fmla="*/ 361 w 398"/>
                <a:gd name="T17" fmla="*/ 57 h 398"/>
                <a:gd name="T18" fmla="*/ 334 w 398"/>
                <a:gd name="T19" fmla="*/ 43 h 398"/>
                <a:gd name="T20" fmla="*/ 300 w 398"/>
                <a:gd name="T21" fmla="*/ 48 h 398"/>
                <a:gd name="T22" fmla="*/ 270 w 398"/>
                <a:gd name="T23" fmla="*/ 65 h 398"/>
                <a:gd name="T24" fmla="*/ 245 w 398"/>
                <a:gd name="T25" fmla="*/ 50 h 398"/>
                <a:gd name="T26" fmla="*/ 226 w 398"/>
                <a:gd name="T27" fmla="*/ 26 h 398"/>
                <a:gd name="T28" fmla="*/ 215 w 398"/>
                <a:gd name="T29" fmla="*/ 16 h 398"/>
                <a:gd name="T30" fmla="*/ 213 w 398"/>
                <a:gd name="T31" fmla="*/ 15 h 398"/>
                <a:gd name="T32" fmla="*/ 211 w 398"/>
                <a:gd name="T33" fmla="*/ 14 h 398"/>
                <a:gd name="T34" fmla="*/ 209 w 398"/>
                <a:gd name="T35" fmla="*/ 13 h 398"/>
                <a:gd name="T36" fmla="*/ 199 w 398"/>
                <a:gd name="T37" fmla="*/ 11 h 398"/>
                <a:gd name="T38" fmla="*/ 195 w 398"/>
                <a:gd name="T39" fmla="*/ 11 h 398"/>
                <a:gd name="T40" fmla="*/ 160 w 398"/>
                <a:gd name="T41" fmla="*/ 25 h 398"/>
                <a:gd name="T42" fmla="*/ 139 w 398"/>
                <a:gd name="T43" fmla="*/ 0 h 398"/>
                <a:gd name="T44" fmla="*/ 114 w 398"/>
                <a:gd name="T45" fmla="*/ 19 h 398"/>
                <a:gd name="T46" fmla="*/ 82 w 398"/>
                <a:gd name="T47" fmla="*/ 18 h 398"/>
                <a:gd name="T48" fmla="*/ 56 w 398"/>
                <a:gd name="T49" fmla="*/ 23 h 398"/>
                <a:gd name="T50" fmla="*/ 55 w 398"/>
                <a:gd name="T51" fmla="*/ 25 h 398"/>
                <a:gd name="T52" fmla="*/ 54 w 398"/>
                <a:gd name="T53" fmla="*/ 26 h 398"/>
                <a:gd name="T54" fmla="*/ 52 w 398"/>
                <a:gd name="T55" fmla="*/ 27 h 398"/>
                <a:gd name="T56" fmla="*/ 51 w 398"/>
                <a:gd name="T57" fmla="*/ 28 h 398"/>
                <a:gd name="T58" fmla="*/ 50 w 398"/>
                <a:gd name="T59" fmla="*/ 28 h 398"/>
                <a:gd name="T60" fmla="*/ 49 w 398"/>
                <a:gd name="T61" fmla="*/ 29 h 398"/>
                <a:gd name="T62" fmla="*/ 48 w 398"/>
                <a:gd name="T63" fmla="*/ 28 h 398"/>
                <a:gd name="T64" fmla="*/ 47 w 398"/>
                <a:gd name="T65" fmla="*/ 28 h 398"/>
                <a:gd name="T66" fmla="*/ 46 w 398"/>
                <a:gd name="T67" fmla="*/ 27 h 398"/>
                <a:gd name="T68" fmla="*/ 45 w 398"/>
                <a:gd name="T69" fmla="*/ 27 h 398"/>
                <a:gd name="T70" fmla="*/ 39 w 398"/>
                <a:gd name="T71" fmla="*/ 20 h 398"/>
                <a:gd name="T72" fmla="*/ 32 w 398"/>
                <a:gd name="T73" fmla="*/ 63 h 398"/>
                <a:gd name="T74" fmla="*/ 56 w 398"/>
                <a:gd name="T75" fmla="*/ 91 h 398"/>
                <a:gd name="T76" fmla="*/ 50 w 398"/>
                <a:gd name="T77" fmla="*/ 116 h 398"/>
                <a:gd name="T78" fmla="*/ 67 w 398"/>
                <a:gd name="T79" fmla="*/ 141 h 398"/>
                <a:gd name="T80" fmla="*/ 35 w 398"/>
                <a:gd name="T81" fmla="*/ 138 h 398"/>
                <a:gd name="T82" fmla="*/ 50 w 398"/>
                <a:gd name="T83" fmla="*/ 167 h 398"/>
                <a:gd name="T84" fmla="*/ 35 w 398"/>
                <a:gd name="T85" fmla="*/ 189 h 398"/>
                <a:gd name="T86" fmla="*/ 19 w 398"/>
                <a:gd name="T87" fmla="*/ 203 h 398"/>
                <a:gd name="T88" fmla="*/ 25 w 398"/>
                <a:gd name="T89" fmla="*/ 238 h 398"/>
                <a:gd name="T90" fmla="*/ 14 w 398"/>
                <a:gd name="T91" fmla="*/ 269 h 398"/>
                <a:gd name="T92" fmla="*/ 55 w 398"/>
                <a:gd name="T93" fmla="*/ 288 h 398"/>
                <a:gd name="T94" fmla="*/ 84 w 398"/>
                <a:gd name="T95" fmla="*/ 316 h 398"/>
                <a:gd name="T96" fmla="*/ 70 w 398"/>
                <a:gd name="T97" fmla="*/ 365 h 398"/>
                <a:gd name="T98" fmla="*/ 106 w 398"/>
                <a:gd name="T99" fmla="*/ 390 h 398"/>
                <a:gd name="T100" fmla="*/ 232 w 398"/>
                <a:gd name="T101" fmla="*/ 345 h 398"/>
                <a:gd name="T102" fmla="*/ 365 w 398"/>
                <a:gd name="T103" fmla="*/ 353 h 3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98" h="398">
                  <a:moveTo>
                    <a:pt x="375" y="345"/>
                  </a:moveTo>
                  <a:cubicBezTo>
                    <a:pt x="383" y="343"/>
                    <a:pt x="382" y="336"/>
                    <a:pt x="382" y="330"/>
                  </a:cubicBezTo>
                  <a:cubicBezTo>
                    <a:pt x="382" y="324"/>
                    <a:pt x="372" y="322"/>
                    <a:pt x="366" y="322"/>
                  </a:cubicBezTo>
                  <a:cubicBezTo>
                    <a:pt x="359" y="322"/>
                    <a:pt x="362" y="311"/>
                    <a:pt x="362" y="307"/>
                  </a:cubicBezTo>
                  <a:cubicBezTo>
                    <a:pt x="362" y="302"/>
                    <a:pt x="361" y="296"/>
                    <a:pt x="355" y="291"/>
                  </a:cubicBezTo>
                  <a:cubicBezTo>
                    <a:pt x="348" y="286"/>
                    <a:pt x="353" y="276"/>
                    <a:pt x="349" y="271"/>
                  </a:cubicBezTo>
                  <a:cubicBezTo>
                    <a:pt x="345" y="267"/>
                    <a:pt x="348" y="255"/>
                    <a:pt x="348" y="250"/>
                  </a:cubicBezTo>
                  <a:cubicBezTo>
                    <a:pt x="348" y="244"/>
                    <a:pt x="360" y="233"/>
                    <a:pt x="360" y="229"/>
                  </a:cubicBezTo>
                  <a:cubicBezTo>
                    <a:pt x="360" y="225"/>
                    <a:pt x="361" y="217"/>
                    <a:pt x="365" y="213"/>
                  </a:cubicBezTo>
                  <a:cubicBezTo>
                    <a:pt x="370" y="208"/>
                    <a:pt x="371" y="198"/>
                    <a:pt x="371" y="188"/>
                  </a:cubicBezTo>
                  <a:cubicBezTo>
                    <a:pt x="372" y="178"/>
                    <a:pt x="384" y="164"/>
                    <a:pt x="391" y="159"/>
                  </a:cubicBezTo>
                  <a:cubicBezTo>
                    <a:pt x="398" y="154"/>
                    <a:pt x="397" y="142"/>
                    <a:pt x="397" y="135"/>
                  </a:cubicBezTo>
                  <a:cubicBezTo>
                    <a:pt x="397" y="127"/>
                    <a:pt x="392" y="125"/>
                    <a:pt x="387" y="122"/>
                  </a:cubicBezTo>
                  <a:cubicBezTo>
                    <a:pt x="382" y="119"/>
                    <a:pt x="388" y="107"/>
                    <a:pt x="384" y="104"/>
                  </a:cubicBezTo>
                  <a:cubicBezTo>
                    <a:pt x="380" y="101"/>
                    <a:pt x="380" y="94"/>
                    <a:pt x="380" y="87"/>
                  </a:cubicBezTo>
                  <a:cubicBezTo>
                    <a:pt x="379" y="80"/>
                    <a:pt x="379" y="74"/>
                    <a:pt x="374" y="73"/>
                  </a:cubicBezTo>
                  <a:cubicBezTo>
                    <a:pt x="370" y="72"/>
                    <a:pt x="364" y="63"/>
                    <a:pt x="361" y="58"/>
                  </a:cubicBezTo>
                  <a:cubicBezTo>
                    <a:pt x="361" y="58"/>
                    <a:pt x="361" y="57"/>
                    <a:pt x="361" y="57"/>
                  </a:cubicBezTo>
                  <a:cubicBezTo>
                    <a:pt x="359" y="52"/>
                    <a:pt x="355" y="52"/>
                    <a:pt x="347" y="51"/>
                  </a:cubicBezTo>
                  <a:cubicBezTo>
                    <a:pt x="340" y="51"/>
                    <a:pt x="337" y="50"/>
                    <a:pt x="334" y="43"/>
                  </a:cubicBezTo>
                  <a:cubicBezTo>
                    <a:pt x="330" y="35"/>
                    <a:pt x="322" y="35"/>
                    <a:pt x="317" y="40"/>
                  </a:cubicBezTo>
                  <a:cubicBezTo>
                    <a:pt x="312" y="44"/>
                    <a:pt x="306" y="47"/>
                    <a:pt x="300" y="48"/>
                  </a:cubicBezTo>
                  <a:cubicBezTo>
                    <a:pt x="294" y="49"/>
                    <a:pt x="288" y="52"/>
                    <a:pt x="286" y="62"/>
                  </a:cubicBezTo>
                  <a:cubicBezTo>
                    <a:pt x="284" y="72"/>
                    <a:pt x="276" y="71"/>
                    <a:pt x="270" y="65"/>
                  </a:cubicBezTo>
                  <a:cubicBezTo>
                    <a:pt x="265" y="60"/>
                    <a:pt x="263" y="57"/>
                    <a:pt x="259" y="57"/>
                  </a:cubicBezTo>
                  <a:cubicBezTo>
                    <a:pt x="254" y="57"/>
                    <a:pt x="248" y="50"/>
                    <a:pt x="245" y="50"/>
                  </a:cubicBezTo>
                  <a:cubicBezTo>
                    <a:pt x="242" y="50"/>
                    <a:pt x="237" y="41"/>
                    <a:pt x="235" y="37"/>
                  </a:cubicBezTo>
                  <a:cubicBezTo>
                    <a:pt x="233" y="34"/>
                    <a:pt x="228" y="26"/>
                    <a:pt x="226" y="26"/>
                  </a:cubicBezTo>
                  <a:cubicBezTo>
                    <a:pt x="223" y="26"/>
                    <a:pt x="218" y="23"/>
                    <a:pt x="216" y="18"/>
                  </a:cubicBezTo>
                  <a:cubicBezTo>
                    <a:pt x="215" y="17"/>
                    <a:pt x="215" y="17"/>
                    <a:pt x="215" y="16"/>
                  </a:cubicBezTo>
                  <a:cubicBezTo>
                    <a:pt x="214" y="16"/>
                    <a:pt x="214" y="16"/>
                    <a:pt x="214" y="16"/>
                  </a:cubicBezTo>
                  <a:cubicBezTo>
                    <a:pt x="214" y="16"/>
                    <a:pt x="214" y="15"/>
                    <a:pt x="213" y="15"/>
                  </a:cubicBezTo>
                  <a:cubicBezTo>
                    <a:pt x="213" y="15"/>
                    <a:pt x="213" y="15"/>
                    <a:pt x="213" y="15"/>
                  </a:cubicBezTo>
                  <a:cubicBezTo>
                    <a:pt x="212" y="14"/>
                    <a:pt x="212" y="14"/>
                    <a:pt x="211" y="14"/>
                  </a:cubicBezTo>
                  <a:cubicBezTo>
                    <a:pt x="211" y="14"/>
                    <a:pt x="210" y="13"/>
                    <a:pt x="210" y="13"/>
                  </a:cubicBezTo>
                  <a:cubicBezTo>
                    <a:pt x="210" y="13"/>
                    <a:pt x="209" y="13"/>
                    <a:pt x="209" y="13"/>
                  </a:cubicBezTo>
                  <a:cubicBezTo>
                    <a:pt x="207" y="12"/>
                    <a:pt x="206" y="12"/>
                    <a:pt x="203" y="11"/>
                  </a:cubicBezTo>
                  <a:cubicBezTo>
                    <a:pt x="202" y="11"/>
                    <a:pt x="201" y="11"/>
                    <a:pt x="199" y="11"/>
                  </a:cubicBezTo>
                  <a:cubicBezTo>
                    <a:pt x="199" y="11"/>
                    <a:pt x="199" y="11"/>
                    <a:pt x="199" y="11"/>
                  </a:cubicBezTo>
                  <a:cubicBezTo>
                    <a:pt x="198" y="11"/>
                    <a:pt x="196" y="11"/>
                    <a:pt x="195" y="11"/>
                  </a:cubicBezTo>
                  <a:cubicBezTo>
                    <a:pt x="184" y="10"/>
                    <a:pt x="179" y="11"/>
                    <a:pt x="177" y="19"/>
                  </a:cubicBezTo>
                  <a:cubicBezTo>
                    <a:pt x="175" y="26"/>
                    <a:pt x="169" y="25"/>
                    <a:pt x="160" y="25"/>
                  </a:cubicBezTo>
                  <a:cubicBezTo>
                    <a:pt x="152" y="25"/>
                    <a:pt x="154" y="21"/>
                    <a:pt x="155" y="10"/>
                  </a:cubicBezTo>
                  <a:cubicBezTo>
                    <a:pt x="155" y="0"/>
                    <a:pt x="149" y="0"/>
                    <a:pt x="139" y="0"/>
                  </a:cubicBezTo>
                  <a:cubicBezTo>
                    <a:pt x="129" y="0"/>
                    <a:pt x="129" y="1"/>
                    <a:pt x="129" y="11"/>
                  </a:cubicBezTo>
                  <a:cubicBezTo>
                    <a:pt x="129" y="20"/>
                    <a:pt x="114" y="11"/>
                    <a:pt x="114" y="19"/>
                  </a:cubicBezTo>
                  <a:cubicBezTo>
                    <a:pt x="113" y="27"/>
                    <a:pt x="101" y="25"/>
                    <a:pt x="92" y="25"/>
                  </a:cubicBezTo>
                  <a:cubicBezTo>
                    <a:pt x="83" y="25"/>
                    <a:pt x="82" y="22"/>
                    <a:pt x="82" y="18"/>
                  </a:cubicBezTo>
                  <a:cubicBezTo>
                    <a:pt x="82" y="14"/>
                    <a:pt x="79" y="10"/>
                    <a:pt x="73" y="10"/>
                  </a:cubicBezTo>
                  <a:cubicBezTo>
                    <a:pt x="67" y="10"/>
                    <a:pt x="61" y="14"/>
                    <a:pt x="56" y="23"/>
                  </a:cubicBezTo>
                  <a:cubicBezTo>
                    <a:pt x="56" y="24"/>
                    <a:pt x="55" y="24"/>
                    <a:pt x="55" y="25"/>
                  </a:cubicBezTo>
                  <a:cubicBezTo>
                    <a:pt x="55" y="25"/>
                    <a:pt x="55" y="25"/>
                    <a:pt x="55" y="25"/>
                  </a:cubicBezTo>
                  <a:cubicBezTo>
                    <a:pt x="54" y="25"/>
                    <a:pt x="54" y="26"/>
                    <a:pt x="54" y="26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3" y="27"/>
                    <a:pt x="53" y="27"/>
                    <a:pt x="53" y="27"/>
                  </a:cubicBezTo>
                  <a:cubicBezTo>
                    <a:pt x="53" y="27"/>
                    <a:pt x="53" y="27"/>
                    <a:pt x="52" y="27"/>
                  </a:cubicBezTo>
                  <a:cubicBezTo>
                    <a:pt x="52" y="27"/>
                    <a:pt x="52" y="28"/>
                    <a:pt x="52" y="28"/>
                  </a:cubicBezTo>
                  <a:cubicBezTo>
                    <a:pt x="52" y="28"/>
                    <a:pt x="52" y="28"/>
                    <a:pt x="51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1" y="28"/>
                    <a:pt x="51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9"/>
                    <a:pt x="50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8"/>
                    <a:pt x="48" y="28"/>
                  </a:cubicBezTo>
                  <a:cubicBezTo>
                    <a:pt x="48" y="28"/>
                    <a:pt x="48" y="28"/>
                    <a:pt x="48" y="28"/>
                  </a:cubicBezTo>
                  <a:cubicBezTo>
                    <a:pt x="48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6" y="28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5" y="27"/>
                    <a:pt x="45" y="27"/>
                  </a:cubicBezTo>
                  <a:cubicBezTo>
                    <a:pt x="45" y="27"/>
                    <a:pt x="45" y="27"/>
                    <a:pt x="45" y="27"/>
                  </a:cubicBezTo>
                  <a:cubicBezTo>
                    <a:pt x="43" y="25"/>
                    <a:pt x="41" y="23"/>
                    <a:pt x="39" y="20"/>
                  </a:cubicBezTo>
                  <a:cubicBezTo>
                    <a:pt x="35" y="28"/>
                    <a:pt x="35" y="37"/>
                    <a:pt x="35" y="45"/>
                  </a:cubicBezTo>
                  <a:cubicBezTo>
                    <a:pt x="35" y="55"/>
                    <a:pt x="34" y="57"/>
                    <a:pt x="32" y="63"/>
                  </a:cubicBezTo>
                  <a:cubicBezTo>
                    <a:pt x="30" y="69"/>
                    <a:pt x="40" y="75"/>
                    <a:pt x="49" y="75"/>
                  </a:cubicBezTo>
                  <a:cubicBezTo>
                    <a:pt x="58" y="75"/>
                    <a:pt x="56" y="85"/>
                    <a:pt x="56" y="91"/>
                  </a:cubicBezTo>
                  <a:cubicBezTo>
                    <a:pt x="56" y="97"/>
                    <a:pt x="56" y="102"/>
                    <a:pt x="49" y="104"/>
                  </a:cubicBezTo>
                  <a:cubicBezTo>
                    <a:pt x="42" y="106"/>
                    <a:pt x="43" y="115"/>
                    <a:pt x="50" y="116"/>
                  </a:cubicBezTo>
                  <a:cubicBezTo>
                    <a:pt x="58" y="117"/>
                    <a:pt x="54" y="123"/>
                    <a:pt x="62" y="126"/>
                  </a:cubicBezTo>
                  <a:cubicBezTo>
                    <a:pt x="69" y="129"/>
                    <a:pt x="67" y="135"/>
                    <a:pt x="67" y="141"/>
                  </a:cubicBezTo>
                  <a:cubicBezTo>
                    <a:pt x="67" y="147"/>
                    <a:pt x="63" y="151"/>
                    <a:pt x="56" y="142"/>
                  </a:cubicBezTo>
                  <a:cubicBezTo>
                    <a:pt x="48" y="133"/>
                    <a:pt x="50" y="141"/>
                    <a:pt x="35" y="138"/>
                  </a:cubicBezTo>
                  <a:cubicBezTo>
                    <a:pt x="20" y="135"/>
                    <a:pt x="29" y="145"/>
                    <a:pt x="34" y="155"/>
                  </a:cubicBezTo>
                  <a:cubicBezTo>
                    <a:pt x="40" y="165"/>
                    <a:pt x="50" y="159"/>
                    <a:pt x="50" y="167"/>
                  </a:cubicBezTo>
                  <a:cubicBezTo>
                    <a:pt x="51" y="176"/>
                    <a:pt x="44" y="175"/>
                    <a:pt x="40" y="177"/>
                  </a:cubicBezTo>
                  <a:cubicBezTo>
                    <a:pt x="36" y="179"/>
                    <a:pt x="43" y="189"/>
                    <a:pt x="35" y="189"/>
                  </a:cubicBezTo>
                  <a:cubicBezTo>
                    <a:pt x="27" y="189"/>
                    <a:pt x="29" y="201"/>
                    <a:pt x="20" y="203"/>
                  </a:cubicBezTo>
                  <a:cubicBezTo>
                    <a:pt x="20" y="203"/>
                    <a:pt x="20" y="203"/>
                    <a:pt x="19" y="203"/>
                  </a:cubicBezTo>
                  <a:cubicBezTo>
                    <a:pt x="19" y="210"/>
                    <a:pt x="20" y="217"/>
                    <a:pt x="23" y="219"/>
                  </a:cubicBezTo>
                  <a:cubicBezTo>
                    <a:pt x="30" y="225"/>
                    <a:pt x="28" y="232"/>
                    <a:pt x="25" y="238"/>
                  </a:cubicBezTo>
                  <a:cubicBezTo>
                    <a:pt x="22" y="244"/>
                    <a:pt x="22" y="253"/>
                    <a:pt x="14" y="256"/>
                  </a:cubicBezTo>
                  <a:cubicBezTo>
                    <a:pt x="5" y="259"/>
                    <a:pt x="0" y="268"/>
                    <a:pt x="14" y="269"/>
                  </a:cubicBezTo>
                  <a:cubicBezTo>
                    <a:pt x="28" y="271"/>
                    <a:pt x="22" y="279"/>
                    <a:pt x="33" y="281"/>
                  </a:cubicBezTo>
                  <a:cubicBezTo>
                    <a:pt x="44" y="282"/>
                    <a:pt x="54" y="281"/>
                    <a:pt x="55" y="288"/>
                  </a:cubicBezTo>
                  <a:cubicBezTo>
                    <a:pt x="56" y="295"/>
                    <a:pt x="60" y="301"/>
                    <a:pt x="70" y="303"/>
                  </a:cubicBezTo>
                  <a:cubicBezTo>
                    <a:pt x="79" y="305"/>
                    <a:pt x="84" y="311"/>
                    <a:pt x="84" y="316"/>
                  </a:cubicBezTo>
                  <a:cubicBezTo>
                    <a:pt x="84" y="321"/>
                    <a:pt x="89" y="344"/>
                    <a:pt x="80" y="347"/>
                  </a:cubicBezTo>
                  <a:cubicBezTo>
                    <a:pt x="72" y="351"/>
                    <a:pt x="69" y="359"/>
                    <a:pt x="70" y="365"/>
                  </a:cubicBezTo>
                  <a:cubicBezTo>
                    <a:pt x="71" y="369"/>
                    <a:pt x="72" y="386"/>
                    <a:pt x="73" y="397"/>
                  </a:cubicBezTo>
                  <a:cubicBezTo>
                    <a:pt x="85" y="398"/>
                    <a:pt x="96" y="396"/>
                    <a:pt x="106" y="390"/>
                  </a:cubicBezTo>
                  <a:cubicBezTo>
                    <a:pt x="127" y="380"/>
                    <a:pt x="139" y="374"/>
                    <a:pt x="160" y="367"/>
                  </a:cubicBezTo>
                  <a:cubicBezTo>
                    <a:pt x="182" y="359"/>
                    <a:pt x="194" y="347"/>
                    <a:pt x="232" y="345"/>
                  </a:cubicBezTo>
                  <a:cubicBezTo>
                    <a:pt x="270" y="343"/>
                    <a:pt x="292" y="334"/>
                    <a:pt x="314" y="344"/>
                  </a:cubicBezTo>
                  <a:cubicBezTo>
                    <a:pt x="332" y="352"/>
                    <a:pt x="348" y="348"/>
                    <a:pt x="365" y="353"/>
                  </a:cubicBezTo>
                  <a:cubicBezTo>
                    <a:pt x="366" y="347"/>
                    <a:pt x="368" y="346"/>
                    <a:pt x="375" y="34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506" name="Freeform 25701"/>
            <p:cNvSpPr>
              <a:spLocks/>
            </p:cNvSpPr>
            <p:nvPr/>
          </p:nvSpPr>
          <p:spPr bwMode="auto">
            <a:xfrm>
              <a:off x="4151372" y="3464992"/>
              <a:ext cx="187664" cy="136842"/>
            </a:xfrm>
            <a:custGeom>
              <a:avLst/>
              <a:gdLst>
                <a:gd name="T0" fmla="*/ 492 w 503"/>
                <a:gd name="T1" fmla="*/ 182 h 367"/>
                <a:gd name="T2" fmla="*/ 471 w 503"/>
                <a:gd name="T3" fmla="*/ 165 h 367"/>
                <a:gd name="T4" fmla="*/ 435 w 503"/>
                <a:gd name="T5" fmla="*/ 152 h 367"/>
                <a:gd name="T6" fmla="*/ 427 w 503"/>
                <a:gd name="T7" fmla="*/ 121 h 367"/>
                <a:gd name="T8" fmla="*/ 393 w 503"/>
                <a:gd name="T9" fmla="*/ 93 h 367"/>
                <a:gd name="T10" fmla="*/ 365 w 503"/>
                <a:gd name="T11" fmla="*/ 50 h 367"/>
                <a:gd name="T12" fmla="*/ 368 w 503"/>
                <a:gd name="T13" fmla="*/ 14 h 367"/>
                <a:gd name="T14" fmla="*/ 347 w 503"/>
                <a:gd name="T15" fmla="*/ 14 h 367"/>
                <a:gd name="T16" fmla="*/ 331 w 503"/>
                <a:gd name="T17" fmla="*/ 6 h 367"/>
                <a:gd name="T18" fmla="*/ 287 w 503"/>
                <a:gd name="T19" fmla="*/ 20 h 367"/>
                <a:gd name="T20" fmla="*/ 251 w 503"/>
                <a:gd name="T21" fmla="*/ 41 h 367"/>
                <a:gd name="T22" fmla="*/ 225 w 503"/>
                <a:gd name="T23" fmla="*/ 56 h 367"/>
                <a:gd name="T24" fmla="*/ 195 w 503"/>
                <a:gd name="T25" fmla="*/ 58 h 367"/>
                <a:gd name="T26" fmla="*/ 169 w 503"/>
                <a:gd name="T27" fmla="*/ 88 h 367"/>
                <a:gd name="T28" fmla="*/ 144 w 503"/>
                <a:gd name="T29" fmla="*/ 117 h 367"/>
                <a:gd name="T30" fmla="*/ 115 w 503"/>
                <a:gd name="T31" fmla="*/ 120 h 367"/>
                <a:gd name="T32" fmla="*/ 88 w 503"/>
                <a:gd name="T33" fmla="*/ 120 h 367"/>
                <a:gd name="T34" fmla="*/ 73 w 503"/>
                <a:gd name="T35" fmla="*/ 160 h 367"/>
                <a:gd name="T36" fmla="*/ 38 w 503"/>
                <a:gd name="T37" fmla="*/ 207 h 367"/>
                <a:gd name="T38" fmla="*/ 9 w 503"/>
                <a:gd name="T39" fmla="*/ 220 h 367"/>
                <a:gd name="T40" fmla="*/ 1 w 503"/>
                <a:gd name="T41" fmla="*/ 283 h 367"/>
                <a:gd name="T42" fmla="*/ 6 w 503"/>
                <a:gd name="T43" fmla="*/ 308 h 367"/>
                <a:gd name="T44" fmla="*/ 8 w 503"/>
                <a:gd name="T45" fmla="*/ 309 h 367"/>
                <a:gd name="T46" fmla="*/ 10 w 503"/>
                <a:gd name="T47" fmla="*/ 310 h 367"/>
                <a:gd name="T48" fmla="*/ 12 w 503"/>
                <a:gd name="T49" fmla="*/ 311 h 367"/>
                <a:gd name="T50" fmla="*/ 23 w 503"/>
                <a:gd name="T51" fmla="*/ 321 h 367"/>
                <a:gd name="T52" fmla="*/ 42 w 503"/>
                <a:gd name="T53" fmla="*/ 345 h 367"/>
                <a:gd name="T54" fmla="*/ 67 w 503"/>
                <a:gd name="T55" fmla="*/ 360 h 367"/>
                <a:gd name="T56" fmla="*/ 97 w 503"/>
                <a:gd name="T57" fmla="*/ 343 h 367"/>
                <a:gd name="T58" fmla="*/ 131 w 503"/>
                <a:gd name="T59" fmla="*/ 338 h 367"/>
                <a:gd name="T60" fmla="*/ 158 w 503"/>
                <a:gd name="T61" fmla="*/ 352 h 367"/>
                <a:gd name="T62" fmla="*/ 171 w 503"/>
                <a:gd name="T63" fmla="*/ 367 h 367"/>
                <a:gd name="T64" fmla="*/ 172 w 503"/>
                <a:gd name="T65" fmla="*/ 314 h 367"/>
                <a:gd name="T66" fmla="*/ 174 w 503"/>
                <a:gd name="T67" fmla="*/ 269 h 367"/>
                <a:gd name="T68" fmla="*/ 308 w 503"/>
                <a:gd name="T69" fmla="*/ 275 h 367"/>
                <a:gd name="T70" fmla="*/ 343 w 503"/>
                <a:gd name="T71" fmla="*/ 260 h 367"/>
                <a:gd name="T72" fmla="*/ 345 w 503"/>
                <a:gd name="T73" fmla="*/ 260 h 367"/>
                <a:gd name="T74" fmla="*/ 346 w 503"/>
                <a:gd name="T75" fmla="*/ 261 h 367"/>
                <a:gd name="T76" fmla="*/ 347 w 503"/>
                <a:gd name="T77" fmla="*/ 262 h 367"/>
                <a:gd name="T78" fmla="*/ 352 w 503"/>
                <a:gd name="T79" fmla="*/ 267 h 367"/>
                <a:gd name="T80" fmla="*/ 354 w 503"/>
                <a:gd name="T81" fmla="*/ 268 h 367"/>
                <a:gd name="T82" fmla="*/ 355 w 503"/>
                <a:gd name="T83" fmla="*/ 269 h 367"/>
                <a:gd name="T84" fmla="*/ 356 w 503"/>
                <a:gd name="T85" fmla="*/ 269 h 367"/>
                <a:gd name="T86" fmla="*/ 358 w 503"/>
                <a:gd name="T87" fmla="*/ 270 h 367"/>
                <a:gd name="T88" fmla="*/ 360 w 503"/>
                <a:gd name="T89" fmla="*/ 270 h 367"/>
                <a:gd name="T90" fmla="*/ 395 w 503"/>
                <a:gd name="T91" fmla="*/ 271 h 367"/>
                <a:gd name="T92" fmla="*/ 400 w 503"/>
                <a:gd name="T93" fmla="*/ 271 h 367"/>
                <a:gd name="T94" fmla="*/ 405 w 503"/>
                <a:gd name="T95" fmla="*/ 272 h 367"/>
                <a:gd name="T96" fmla="*/ 412 w 503"/>
                <a:gd name="T97" fmla="*/ 271 h 367"/>
                <a:gd name="T98" fmla="*/ 415 w 503"/>
                <a:gd name="T99" fmla="*/ 271 h 367"/>
                <a:gd name="T100" fmla="*/ 418 w 503"/>
                <a:gd name="T101" fmla="*/ 269 h 367"/>
                <a:gd name="T102" fmla="*/ 422 w 503"/>
                <a:gd name="T103" fmla="*/ 267 h 367"/>
                <a:gd name="T104" fmla="*/ 485 w 503"/>
                <a:gd name="T105" fmla="*/ 241 h 367"/>
                <a:gd name="T106" fmla="*/ 503 w 503"/>
                <a:gd name="T107" fmla="*/ 220 h 367"/>
                <a:gd name="T108" fmla="*/ 502 w 503"/>
                <a:gd name="T109" fmla="*/ 218 h 367"/>
                <a:gd name="T110" fmla="*/ 502 w 503"/>
                <a:gd name="T111" fmla="*/ 216 h 367"/>
                <a:gd name="T112" fmla="*/ 502 w 503"/>
                <a:gd name="T113" fmla="*/ 208 h 367"/>
                <a:gd name="T114" fmla="*/ 502 w 503"/>
                <a:gd name="T115" fmla="*/ 206 h 367"/>
                <a:gd name="T116" fmla="*/ 502 w 503"/>
                <a:gd name="T117" fmla="*/ 204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03" h="367">
                  <a:moveTo>
                    <a:pt x="495" y="200"/>
                  </a:moveTo>
                  <a:cubicBezTo>
                    <a:pt x="491" y="198"/>
                    <a:pt x="491" y="188"/>
                    <a:pt x="492" y="182"/>
                  </a:cubicBezTo>
                  <a:cubicBezTo>
                    <a:pt x="493" y="176"/>
                    <a:pt x="491" y="170"/>
                    <a:pt x="487" y="166"/>
                  </a:cubicBezTo>
                  <a:cubicBezTo>
                    <a:pt x="483" y="163"/>
                    <a:pt x="474" y="156"/>
                    <a:pt x="471" y="165"/>
                  </a:cubicBezTo>
                  <a:cubicBezTo>
                    <a:pt x="467" y="174"/>
                    <a:pt x="464" y="171"/>
                    <a:pt x="455" y="168"/>
                  </a:cubicBezTo>
                  <a:cubicBezTo>
                    <a:pt x="447" y="166"/>
                    <a:pt x="442" y="162"/>
                    <a:pt x="435" y="152"/>
                  </a:cubicBezTo>
                  <a:cubicBezTo>
                    <a:pt x="429" y="142"/>
                    <a:pt x="422" y="145"/>
                    <a:pt x="417" y="138"/>
                  </a:cubicBezTo>
                  <a:cubicBezTo>
                    <a:pt x="413" y="130"/>
                    <a:pt x="423" y="124"/>
                    <a:pt x="427" y="121"/>
                  </a:cubicBezTo>
                  <a:cubicBezTo>
                    <a:pt x="431" y="118"/>
                    <a:pt x="427" y="112"/>
                    <a:pt x="415" y="108"/>
                  </a:cubicBezTo>
                  <a:cubicBezTo>
                    <a:pt x="403" y="104"/>
                    <a:pt x="405" y="97"/>
                    <a:pt x="393" y="93"/>
                  </a:cubicBezTo>
                  <a:cubicBezTo>
                    <a:pt x="382" y="89"/>
                    <a:pt x="377" y="82"/>
                    <a:pt x="377" y="74"/>
                  </a:cubicBezTo>
                  <a:cubicBezTo>
                    <a:pt x="376" y="67"/>
                    <a:pt x="377" y="55"/>
                    <a:pt x="365" y="50"/>
                  </a:cubicBezTo>
                  <a:cubicBezTo>
                    <a:pt x="354" y="46"/>
                    <a:pt x="364" y="36"/>
                    <a:pt x="367" y="26"/>
                  </a:cubicBezTo>
                  <a:cubicBezTo>
                    <a:pt x="369" y="23"/>
                    <a:pt x="369" y="19"/>
                    <a:pt x="368" y="14"/>
                  </a:cubicBezTo>
                  <a:cubicBezTo>
                    <a:pt x="360" y="14"/>
                    <a:pt x="353" y="14"/>
                    <a:pt x="348" y="14"/>
                  </a:cubicBezTo>
                  <a:cubicBezTo>
                    <a:pt x="348" y="14"/>
                    <a:pt x="347" y="14"/>
                    <a:pt x="347" y="14"/>
                  </a:cubicBezTo>
                  <a:cubicBezTo>
                    <a:pt x="346" y="14"/>
                    <a:pt x="345" y="14"/>
                    <a:pt x="344" y="14"/>
                  </a:cubicBezTo>
                  <a:cubicBezTo>
                    <a:pt x="335" y="14"/>
                    <a:pt x="333" y="11"/>
                    <a:pt x="331" y="6"/>
                  </a:cubicBezTo>
                  <a:cubicBezTo>
                    <a:pt x="329" y="0"/>
                    <a:pt x="320" y="4"/>
                    <a:pt x="309" y="4"/>
                  </a:cubicBezTo>
                  <a:cubicBezTo>
                    <a:pt x="299" y="4"/>
                    <a:pt x="295" y="10"/>
                    <a:pt x="287" y="20"/>
                  </a:cubicBezTo>
                  <a:cubicBezTo>
                    <a:pt x="280" y="30"/>
                    <a:pt x="285" y="31"/>
                    <a:pt x="271" y="28"/>
                  </a:cubicBezTo>
                  <a:cubicBezTo>
                    <a:pt x="258" y="26"/>
                    <a:pt x="255" y="36"/>
                    <a:pt x="251" y="41"/>
                  </a:cubicBezTo>
                  <a:cubicBezTo>
                    <a:pt x="247" y="46"/>
                    <a:pt x="244" y="46"/>
                    <a:pt x="236" y="45"/>
                  </a:cubicBezTo>
                  <a:cubicBezTo>
                    <a:pt x="228" y="44"/>
                    <a:pt x="225" y="48"/>
                    <a:pt x="225" y="56"/>
                  </a:cubicBezTo>
                  <a:cubicBezTo>
                    <a:pt x="225" y="64"/>
                    <a:pt x="219" y="64"/>
                    <a:pt x="212" y="64"/>
                  </a:cubicBezTo>
                  <a:cubicBezTo>
                    <a:pt x="205" y="64"/>
                    <a:pt x="205" y="58"/>
                    <a:pt x="195" y="58"/>
                  </a:cubicBezTo>
                  <a:cubicBezTo>
                    <a:pt x="184" y="57"/>
                    <a:pt x="189" y="65"/>
                    <a:pt x="181" y="68"/>
                  </a:cubicBezTo>
                  <a:cubicBezTo>
                    <a:pt x="173" y="70"/>
                    <a:pt x="170" y="78"/>
                    <a:pt x="169" y="88"/>
                  </a:cubicBezTo>
                  <a:cubicBezTo>
                    <a:pt x="167" y="97"/>
                    <a:pt x="161" y="103"/>
                    <a:pt x="153" y="103"/>
                  </a:cubicBezTo>
                  <a:cubicBezTo>
                    <a:pt x="144" y="103"/>
                    <a:pt x="144" y="107"/>
                    <a:pt x="144" y="117"/>
                  </a:cubicBezTo>
                  <a:cubicBezTo>
                    <a:pt x="144" y="127"/>
                    <a:pt x="138" y="128"/>
                    <a:pt x="131" y="128"/>
                  </a:cubicBezTo>
                  <a:cubicBezTo>
                    <a:pt x="125" y="128"/>
                    <a:pt x="121" y="120"/>
                    <a:pt x="115" y="120"/>
                  </a:cubicBezTo>
                  <a:cubicBezTo>
                    <a:pt x="108" y="119"/>
                    <a:pt x="111" y="112"/>
                    <a:pt x="103" y="108"/>
                  </a:cubicBezTo>
                  <a:cubicBezTo>
                    <a:pt x="94" y="104"/>
                    <a:pt x="97" y="112"/>
                    <a:pt x="88" y="120"/>
                  </a:cubicBezTo>
                  <a:cubicBezTo>
                    <a:pt x="79" y="128"/>
                    <a:pt x="83" y="136"/>
                    <a:pt x="85" y="145"/>
                  </a:cubicBezTo>
                  <a:cubicBezTo>
                    <a:pt x="87" y="154"/>
                    <a:pt x="82" y="158"/>
                    <a:pt x="73" y="160"/>
                  </a:cubicBezTo>
                  <a:cubicBezTo>
                    <a:pt x="63" y="162"/>
                    <a:pt x="65" y="186"/>
                    <a:pt x="62" y="194"/>
                  </a:cubicBezTo>
                  <a:cubicBezTo>
                    <a:pt x="59" y="203"/>
                    <a:pt x="41" y="201"/>
                    <a:pt x="38" y="207"/>
                  </a:cubicBezTo>
                  <a:cubicBezTo>
                    <a:pt x="35" y="213"/>
                    <a:pt x="27" y="210"/>
                    <a:pt x="17" y="210"/>
                  </a:cubicBezTo>
                  <a:cubicBezTo>
                    <a:pt x="8" y="209"/>
                    <a:pt x="5" y="219"/>
                    <a:pt x="9" y="220"/>
                  </a:cubicBezTo>
                  <a:cubicBezTo>
                    <a:pt x="13" y="222"/>
                    <a:pt x="17" y="236"/>
                    <a:pt x="18" y="248"/>
                  </a:cubicBezTo>
                  <a:cubicBezTo>
                    <a:pt x="19" y="260"/>
                    <a:pt x="1" y="274"/>
                    <a:pt x="1" y="283"/>
                  </a:cubicBezTo>
                  <a:cubicBezTo>
                    <a:pt x="1" y="288"/>
                    <a:pt x="1" y="299"/>
                    <a:pt x="0" y="306"/>
                  </a:cubicBezTo>
                  <a:cubicBezTo>
                    <a:pt x="3" y="307"/>
                    <a:pt x="4" y="307"/>
                    <a:pt x="6" y="308"/>
                  </a:cubicBezTo>
                  <a:cubicBezTo>
                    <a:pt x="6" y="308"/>
                    <a:pt x="7" y="308"/>
                    <a:pt x="7" y="308"/>
                  </a:cubicBezTo>
                  <a:cubicBezTo>
                    <a:pt x="7" y="308"/>
                    <a:pt x="8" y="309"/>
                    <a:pt x="8" y="309"/>
                  </a:cubicBezTo>
                  <a:cubicBezTo>
                    <a:pt x="9" y="309"/>
                    <a:pt x="9" y="309"/>
                    <a:pt x="10" y="310"/>
                  </a:cubicBezTo>
                  <a:cubicBezTo>
                    <a:pt x="10" y="310"/>
                    <a:pt x="10" y="310"/>
                    <a:pt x="10" y="310"/>
                  </a:cubicBezTo>
                  <a:cubicBezTo>
                    <a:pt x="11" y="310"/>
                    <a:pt x="11" y="311"/>
                    <a:pt x="11" y="311"/>
                  </a:cubicBezTo>
                  <a:cubicBezTo>
                    <a:pt x="11" y="311"/>
                    <a:pt x="11" y="311"/>
                    <a:pt x="12" y="311"/>
                  </a:cubicBezTo>
                  <a:cubicBezTo>
                    <a:pt x="12" y="312"/>
                    <a:pt x="12" y="312"/>
                    <a:pt x="13" y="313"/>
                  </a:cubicBezTo>
                  <a:cubicBezTo>
                    <a:pt x="15" y="318"/>
                    <a:pt x="20" y="321"/>
                    <a:pt x="23" y="321"/>
                  </a:cubicBezTo>
                  <a:cubicBezTo>
                    <a:pt x="25" y="321"/>
                    <a:pt x="30" y="329"/>
                    <a:pt x="32" y="332"/>
                  </a:cubicBezTo>
                  <a:cubicBezTo>
                    <a:pt x="34" y="336"/>
                    <a:pt x="39" y="345"/>
                    <a:pt x="42" y="345"/>
                  </a:cubicBezTo>
                  <a:cubicBezTo>
                    <a:pt x="45" y="345"/>
                    <a:pt x="51" y="352"/>
                    <a:pt x="56" y="352"/>
                  </a:cubicBezTo>
                  <a:cubicBezTo>
                    <a:pt x="60" y="352"/>
                    <a:pt x="62" y="355"/>
                    <a:pt x="67" y="360"/>
                  </a:cubicBezTo>
                  <a:cubicBezTo>
                    <a:pt x="73" y="366"/>
                    <a:pt x="81" y="367"/>
                    <a:pt x="83" y="357"/>
                  </a:cubicBezTo>
                  <a:cubicBezTo>
                    <a:pt x="85" y="347"/>
                    <a:pt x="91" y="344"/>
                    <a:pt x="97" y="343"/>
                  </a:cubicBezTo>
                  <a:cubicBezTo>
                    <a:pt x="103" y="342"/>
                    <a:pt x="109" y="339"/>
                    <a:pt x="114" y="335"/>
                  </a:cubicBezTo>
                  <a:cubicBezTo>
                    <a:pt x="119" y="330"/>
                    <a:pt x="127" y="330"/>
                    <a:pt x="131" y="338"/>
                  </a:cubicBezTo>
                  <a:cubicBezTo>
                    <a:pt x="134" y="345"/>
                    <a:pt x="137" y="346"/>
                    <a:pt x="144" y="346"/>
                  </a:cubicBezTo>
                  <a:cubicBezTo>
                    <a:pt x="152" y="347"/>
                    <a:pt x="156" y="347"/>
                    <a:pt x="158" y="352"/>
                  </a:cubicBezTo>
                  <a:cubicBezTo>
                    <a:pt x="158" y="352"/>
                    <a:pt x="158" y="353"/>
                    <a:pt x="158" y="353"/>
                  </a:cubicBezTo>
                  <a:cubicBezTo>
                    <a:pt x="161" y="358"/>
                    <a:pt x="167" y="366"/>
                    <a:pt x="171" y="367"/>
                  </a:cubicBezTo>
                  <a:cubicBezTo>
                    <a:pt x="173" y="364"/>
                    <a:pt x="176" y="359"/>
                    <a:pt x="176" y="352"/>
                  </a:cubicBezTo>
                  <a:cubicBezTo>
                    <a:pt x="176" y="336"/>
                    <a:pt x="181" y="319"/>
                    <a:pt x="172" y="314"/>
                  </a:cubicBezTo>
                  <a:cubicBezTo>
                    <a:pt x="164" y="310"/>
                    <a:pt x="166" y="308"/>
                    <a:pt x="166" y="298"/>
                  </a:cubicBezTo>
                  <a:cubicBezTo>
                    <a:pt x="167" y="289"/>
                    <a:pt x="159" y="268"/>
                    <a:pt x="174" y="269"/>
                  </a:cubicBezTo>
                  <a:cubicBezTo>
                    <a:pt x="189" y="270"/>
                    <a:pt x="245" y="270"/>
                    <a:pt x="260" y="270"/>
                  </a:cubicBezTo>
                  <a:cubicBezTo>
                    <a:pt x="275" y="269"/>
                    <a:pt x="300" y="268"/>
                    <a:pt x="308" y="275"/>
                  </a:cubicBezTo>
                  <a:cubicBezTo>
                    <a:pt x="316" y="281"/>
                    <a:pt x="318" y="281"/>
                    <a:pt x="322" y="273"/>
                  </a:cubicBezTo>
                  <a:cubicBezTo>
                    <a:pt x="327" y="266"/>
                    <a:pt x="337" y="260"/>
                    <a:pt x="343" y="260"/>
                  </a:cubicBezTo>
                  <a:cubicBezTo>
                    <a:pt x="343" y="260"/>
                    <a:pt x="344" y="260"/>
                    <a:pt x="344" y="260"/>
                  </a:cubicBezTo>
                  <a:cubicBezTo>
                    <a:pt x="345" y="260"/>
                    <a:pt x="345" y="260"/>
                    <a:pt x="345" y="260"/>
                  </a:cubicBezTo>
                  <a:cubicBezTo>
                    <a:pt x="345" y="260"/>
                    <a:pt x="346" y="261"/>
                    <a:pt x="346" y="261"/>
                  </a:cubicBezTo>
                  <a:cubicBezTo>
                    <a:pt x="346" y="261"/>
                    <a:pt x="346" y="261"/>
                    <a:pt x="346" y="261"/>
                  </a:cubicBezTo>
                  <a:cubicBezTo>
                    <a:pt x="346" y="261"/>
                    <a:pt x="347" y="261"/>
                    <a:pt x="347" y="262"/>
                  </a:cubicBezTo>
                  <a:cubicBezTo>
                    <a:pt x="347" y="262"/>
                    <a:pt x="347" y="262"/>
                    <a:pt x="347" y="262"/>
                  </a:cubicBezTo>
                  <a:cubicBezTo>
                    <a:pt x="348" y="262"/>
                    <a:pt x="348" y="263"/>
                    <a:pt x="348" y="263"/>
                  </a:cubicBezTo>
                  <a:cubicBezTo>
                    <a:pt x="349" y="264"/>
                    <a:pt x="351" y="266"/>
                    <a:pt x="352" y="267"/>
                  </a:cubicBezTo>
                  <a:cubicBezTo>
                    <a:pt x="352" y="267"/>
                    <a:pt x="352" y="267"/>
                    <a:pt x="352" y="267"/>
                  </a:cubicBezTo>
                  <a:cubicBezTo>
                    <a:pt x="353" y="268"/>
                    <a:pt x="353" y="268"/>
                    <a:pt x="354" y="268"/>
                  </a:cubicBezTo>
                  <a:cubicBezTo>
                    <a:pt x="354" y="268"/>
                    <a:pt x="354" y="268"/>
                    <a:pt x="354" y="268"/>
                  </a:cubicBezTo>
                  <a:cubicBezTo>
                    <a:pt x="354" y="269"/>
                    <a:pt x="355" y="269"/>
                    <a:pt x="355" y="269"/>
                  </a:cubicBezTo>
                  <a:cubicBezTo>
                    <a:pt x="355" y="269"/>
                    <a:pt x="355" y="269"/>
                    <a:pt x="355" y="269"/>
                  </a:cubicBezTo>
                  <a:cubicBezTo>
                    <a:pt x="355" y="269"/>
                    <a:pt x="356" y="269"/>
                    <a:pt x="356" y="269"/>
                  </a:cubicBezTo>
                  <a:cubicBezTo>
                    <a:pt x="356" y="269"/>
                    <a:pt x="356" y="270"/>
                    <a:pt x="356" y="270"/>
                  </a:cubicBezTo>
                  <a:cubicBezTo>
                    <a:pt x="357" y="270"/>
                    <a:pt x="357" y="270"/>
                    <a:pt x="358" y="270"/>
                  </a:cubicBezTo>
                  <a:cubicBezTo>
                    <a:pt x="358" y="270"/>
                    <a:pt x="358" y="270"/>
                    <a:pt x="358" y="270"/>
                  </a:cubicBezTo>
                  <a:cubicBezTo>
                    <a:pt x="358" y="270"/>
                    <a:pt x="359" y="270"/>
                    <a:pt x="360" y="270"/>
                  </a:cubicBezTo>
                  <a:cubicBezTo>
                    <a:pt x="369" y="270"/>
                    <a:pt x="376" y="270"/>
                    <a:pt x="390" y="271"/>
                  </a:cubicBezTo>
                  <a:cubicBezTo>
                    <a:pt x="391" y="271"/>
                    <a:pt x="393" y="271"/>
                    <a:pt x="395" y="271"/>
                  </a:cubicBezTo>
                  <a:cubicBezTo>
                    <a:pt x="395" y="271"/>
                    <a:pt x="395" y="271"/>
                    <a:pt x="396" y="271"/>
                  </a:cubicBezTo>
                  <a:cubicBezTo>
                    <a:pt x="397" y="271"/>
                    <a:pt x="399" y="271"/>
                    <a:pt x="400" y="271"/>
                  </a:cubicBezTo>
                  <a:cubicBezTo>
                    <a:pt x="402" y="272"/>
                    <a:pt x="403" y="272"/>
                    <a:pt x="405" y="272"/>
                  </a:cubicBezTo>
                  <a:cubicBezTo>
                    <a:pt x="405" y="272"/>
                    <a:pt x="405" y="272"/>
                    <a:pt x="405" y="272"/>
                  </a:cubicBezTo>
                  <a:cubicBezTo>
                    <a:pt x="406" y="272"/>
                    <a:pt x="408" y="272"/>
                    <a:pt x="409" y="272"/>
                  </a:cubicBezTo>
                  <a:cubicBezTo>
                    <a:pt x="410" y="272"/>
                    <a:pt x="411" y="272"/>
                    <a:pt x="412" y="271"/>
                  </a:cubicBezTo>
                  <a:cubicBezTo>
                    <a:pt x="412" y="271"/>
                    <a:pt x="412" y="271"/>
                    <a:pt x="412" y="271"/>
                  </a:cubicBezTo>
                  <a:cubicBezTo>
                    <a:pt x="413" y="271"/>
                    <a:pt x="414" y="271"/>
                    <a:pt x="415" y="271"/>
                  </a:cubicBezTo>
                  <a:cubicBezTo>
                    <a:pt x="415" y="270"/>
                    <a:pt x="415" y="270"/>
                    <a:pt x="416" y="270"/>
                  </a:cubicBezTo>
                  <a:cubicBezTo>
                    <a:pt x="416" y="270"/>
                    <a:pt x="417" y="269"/>
                    <a:pt x="418" y="269"/>
                  </a:cubicBezTo>
                  <a:cubicBezTo>
                    <a:pt x="418" y="269"/>
                    <a:pt x="419" y="269"/>
                    <a:pt x="419" y="269"/>
                  </a:cubicBezTo>
                  <a:cubicBezTo>
                    <a:pt x="420" y="268"/>
                    <a:pt x="421" y="267"/>
                    <a:pt x="422" y="267"/>
                  </a:cubicBezTo>
                  <a:cubicBezTo>
                    <a:pt x="431" y="258"/>
                    <a:pt x="434" y="243"/>
                    <a:pt x="450" y="243"/>
                  </a:cubicBezTo>
                  <a:cubicBezTo>
                    <a:pt x="466" y="243"/>
                    <a:pt x="478" y="248"/>
                    <a:pt x="485" y="241"/>
                  </a:cubicBezTo>
                  <a:cubicBezTo>
                    <a:pt x="491" y="234"/>
                    <a:pt x="502" y="230"/>
                    <a:pt x="503" y="222"/>
                  </a:cubicBezTo>
                  <a:cubicBezTo>
                    <a:pt x="503" y="221"/>
                    <a:pt x="503" y="221"/>
                    <a:pt x="503" y="220"/>
                  </a:cubicBezTo>
                  <a:cubicBezTo>
                    <a:pt x="503" y="220"/>
                    <a:pt x="503" y="220"/>
                    <a:pt x="503" y="219"/>
                  </a:cubicBezTo>
                  <a:cubicBezTo>
                    <a:pt x="502" y="219"/>
                    <a:pt x="502" y="218"/>
                    <a:pt x="502" y="218"/>
                  </a:cubicBezTo>
                  <a:cubicBezTo>
                    <a:pt x="502" y="218"/>
                    <a:pt x="502" y="218"/>
                    <a:pt x="502" y="217"/>
                  </a:cubicBezTo>
                  <a:cubicBezTo>
                    <a:pt x="502" y="217"/>
                    <a:pt x="502" y="216"/>
                    <a:pt x="502" y="216"/>
                  </a:cubicBezTo>
                  <a:cubicBezTo>
                    <a:pt x="502" y="213"/>
                    <a:pt x="502" y="211"/>
                    <a:pt x="502" y="208"/>
                  </a:cubicBezTo>
                  <a:cubicBezTo>
                    <a:pt x="502" y="208"/>
                    <a:pt x="502" y="208"/>
                    <a:pt x="502" y="208"/>
                  </a:cubicBezTo>
                  <a:cubicBezTo>
                    <a:pt x="502" y="208"/>
                    <a:pt x="502" y="207"/>
                    <a:pt x="502" y="206"/>
                  </a:cubicBezTo>
                  <a:cubicBezTo>
                    <a:pt x="502" y="206"/>
                    <a:pt x="502" y="206"/>
                    <a:pt x="502" y="206"/>
                  </a:cubicBezTo>
                  <a:cubicBezTo>
                    <a:pt x="502" y="205"/>
                    <a:pt x="502" y="205"/>
                    <a:pt x="502" y="204"/>
                  </a:cubicBezTo>
                  <a:cubicBezTo>
                    <a:pt x="502" y="204"/>
                    <a:pt x="502" y="204"/>
                    <a:pt x="502" y="204"/>
                  </a:cubicBezTo>
                  <a:cubicBezTo>
                    <a:pt x="500" y="203"/>
                    <a:pt x="497" y="201"/>
                    <a:pt x="495" y="20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507" name="Freeform 25702"/>
            <p:cNvSpPr>
              <a:spLocks/>
            </p:cNvSpPr>
            <p:nvPr/>
          </p:nvSpPr>
          <p:spPr bwMode="auto">
            <a:xfrm>
              <a:off x="4283480" y="3260597"/>
              <a:ext cx="379117" cy="286153"/>
            </a:xfrm>
            <a:custGeom>
              <a:avLst/>
              <a:gdLst>
                <a:gd name="T0" fmla="*/ 860 w 1017"/>
                <a:gd name="T1" fmla="*/ 638 h 767"/>
                <a:gd name="T2" fmla="*/ 862 w 1017"/>
                <a:gd name="T3" fmla="*/ 632 h 767"/>
                <a:gd name="T4" fmla="*/ 861 w 1017"/>
                <a:gd name="T5" fmla="*/ 606 h 767"/>
                <a:gd name="T6" fmla="*/ 969 w 1017"/>
                <a:gd name="T7" fmla="*/ 456 h 767"/>
                <a:gd name="T8" fmla="*/ 996 w 1017"/>
                <a:gd name="T9" fmla="*/ 268 h 767"/>
                <a:gd name="T10" fmla="*/ 1008 w 1017"/>
                <a:gd name="T11" fmla="*/ 194 h 767"/>
                <a:gd name="T12" fmla="*/ 966 w 1017"/>
                <a:gd name="T13" fmla="*/ 117 h 767"/>
                <a:gd name="T14" fmla="*/ 957 w 1017"/>
                <a:gd name="T15" fmla="*/ 29 h 767"/>
                <a:gd name="T16" fmla="*/ 955 w 1017"/>
                <a:gd name="T17" fmla="*/ 32 h 767"/>
                <a:gd name="T18" fmla="*/ 952 w 1017"/>
                <a:gd name="T19" fmla="*/ 34 h 767"/>
                <a:gd name="T20" fmla="*/ 948 w 1017"/>
                <a:gd name="T21" fmla="*/ 36 h 767"/>
                <a:gd name="T22" fmla="*/ 944 w 1017"/>
                <a:gd name="T23" fmla="*/ 38 h 767"/>
                <a:gd name="T24" fmla="*/ 936 w 1017"/>
                <a:gd name="T25" fmla="*/ 41 h 767"/>
                <a:gd name="T26" fmla="*/ 819 w 1017"/>
                <a:gd name="T27" fmla="*/ 13 h 767"/>
                <a:gd name="T28" fmla="*/ 765 w 1017"/>
                <a:gd name="T29" fmla="*/ 0 h 767"/>
                <a:gd name="T30" fmla="*/ 563 w 1017"/>
                <a:gd name="T31" fmla="*/ 118 h 767"/>
                <a:gd name="T32" fmla="*/ 554 w 1017"/>
                <a:gd name="T33" fmla="*/ 123 h 767"/>
                <a:gd name="T34" fmla="*/ 545 w 1017"/>
                <a:gd name="T35" fmla="*/ 129 h 767"/>
                <a:gd name="T36" fmla="*/ 537 w 1017"/>
                <a:gd name="T37" fmla="*/ 134 h 767"/>
                <a:gd name="T38" fmla="*/ 529 w 1017"/>
                <a:gd name="T39" fmla="*/ 138 h 767"/>
                <a:gd name="T40" fmla="*/ 304 w 1017"/>
                <a:gd name="T41" fmla="*/ 277 h 767"/>
                <a:gd name="T42" fmla="*/ 299 w 1017"/>
                <a:gd name="T43" fmla="*/ 278 h 767"/>
                <a:gd name="T44" fmla="*/ 294 w 1017"/>
                <a:gd name="T45" fmla="*/ 279 h 767"/>
                <a:gd name="T46" fmla="*/ 290 w 1017"/>
                <a:gd name="T47" fmla="*/ 280 h 767"/>
                <a:gd name="T48" fmla="*/ 286 w 1017"/>
                <a:gd name="T49" fmla="*/ 282 h 767"/>
                <a:gd name="T50" fmla="*/ 279 w 1017"/>
                <a:gd name="T51" fmla="*/ 285 h 767"/>
                <a:gd name="T52" fmla="*/ 275 w 1017"/>
                <a:gd name="T53" fmla="*/ 286 h 767"/>
                <a:gd name="T54" fmla="*/ 261 w 1017"/>
                <a:gd name="T55" fmla="*/ 470 h 767"/>
                <a:gd name="T56" fmla="*/ 147 w 1017"/>
                <a:gd name="T57" fmla="*/ 536 h 767"/>
                <a:gd name="T58" fmla="*/ 29 w 1017"/>
                <a:gd name="T59" fmla="*/ 562 h 767"/>
                <a:gd name="T60" fmla="*/ 14 w 1017"/>
                <a:gd name="T61" fmla="*/ 562 h 767"/>
                <a:gd name="T62" fmla="*/ 23 w 1017"/>
                <a:gd name="T63" fmla="*/ 622 h 767"/>
                <a:gd name="T64" fmla="*/ 73 w 1017"/>
                <a:gd name="T65" fmla="*/ 669 h 767"/>
                <a:gd name="T66" fmla="*/ 101 w 1017"/>
                <a:gd name="T67" fmla="*/ 716 h 767"/>
                <a:gd name="T68" fmla="*/ 138 w 1017"/>
                <a:gd name="T69" fmla="*/ 730 h 767"/>
                <a:gd name="T70" fmla="*/ 148 w 1017"/>
                <a:gd name="T71" fmla="*/ 752 h 767"/>
                <a:gd name="T72" fmla="*/ 150 w 1017"/>
                <a:gd name="T73" fmla="*/ 749 h 767"/>
                <a:gd name="T74" fmla="*/ 151 w 1017"/>
                <a:gd name="T75" fmla="*/ 747 h 767"/>
                <a:gd name="T76" fmla="*/ 186 w 1017"/>
                <a:gd name="T77" fmla="*/ 733 h 767"/>
                <a:gd name="T78" fmla="*/ 225 w 1017"/>
                <a:gd name="T79" fmla="*/ 766 h 767"/>
                <a:gd name="T80" fmla="*/ 229 w 1017"/>
                <a:gd name="T81" fmla="*/ 766 h 767"/>
                <a:gd name="T82" fmla="*/ 244 w 1017"/>
                <a:gd name="T83" fmla="*/ 714 h 767"/>
                <a:gd name="T84" fmla="*/ 299 w 1017"/>
                <a:gd name="T85" fmla="*/ 642 h 767"/>
                <a:gd name="T86" fmla="*/ 368 w 1017"/>
                <a:gd name="T87" fmla="*/ 640 h 767"/>
                <a:gd name="T88" fmla="*/ 419 w 1017"/>
                <a:gd name="T89" fmla="*/ 663 h 767"/>
                <a:gd name="T90" fmla="*/ 473 w 1017"/>
                <a:gd name="T91" fmla="*/ 684 h 767"/>
                <a:gd name="T92" fmla="*/ 545 w 1017"/>
                <a:gd name="T93" fmla="*/ 691 h 767"/>
                <a:gd name="T94" fmla="*/ 639 w 1017"/>
                <a:gd name="T95" fmla="*/ 682 h 767"/>
                <a:gd name="T96" fmla="*/ 767 w 1017"/>
                <a:gd name="T97" fmla="*/ 681 h 767"/>
                <a:gd name="T98" fmla="*/ 851 w 1017"/>
                <a:gd name="T99" fmla="*/ 649 h 7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17" h="767">
                  <a:moveTo>
                    <a:pt x="859" y="640"/>
                  </a:moveTo>
                  <a:cubicBezTo>
                    <a:pt x="859" y="639"/>
                    <a:pt x="860" y="639"/>
                    <a:pt x="860" y="638"/>
                  </a:cubicBezTo>
                  <a:cubicBezTo>
                    <a:pt x="860" y="638"/>
                    <a:pt x="860" y="638"/>
                    <a:pt x="860" y="638"/>
                  </a:cubicBezTo>
                  <a:cubicBezTo>
                    <a:pt x="861" y="637"/>
                    <a:pt x="861" y="636"/>
                    <a:pt x="861" y="635"/>
                  </a:cubicBezTo>
                  <a:cubicBezTo>
                    <a:pt x="861" y="635"/>
                    <a:pt x="862" y="635"/>
                    <a:pt x="862" y="634"/>
                  </a:cubicBezTo>
                  <a:cubicBezTo>
                    <a:pt x="862" y="634"/>
                    <a:pt x="862" y="633"/>
                    <a:pt x="862" y="632"/>
                  </a:cubicBezTo>
                  <a:cubicBezTo>
                    <a:pt x="862" y="631"/>
                    <a:pt x="862" y="631"/>
                    <a:pt x="862" y="631"/>
                  </a:cubicBezTo>
                  <a:cubicBezTo>
                    <a:pt x="862" y="630"/>
                    <a:pt x="863" y="628"/>
                    <a:pt x="863" y="627"/>
                  </a:cubicBezTo>
                  <a:cubicBezTo>
                    <a:pt x="863" y="616"/>
                    <a:pt x="865" y="611"/>
                    <a:pt x="861" y="606"/>
                  </a:cubicBezTo>
                  <a:cubicBezTo>
                    <a:pt x="857" y="600"/>
                    <a:pt x="849" y="596"/>
                    <a:pt x="859" y="591"/>
                  </a:cubicBezTo>
                  <a:cubicBezTo>
                    <a:pt x="868" y="587"/>
                    <a:pt x="879" y="562"/>
                    <a:pt x="887" y="551"/>
                  </a:cubicBezTo>
                  <a:cubicBezTo>
                    <a:pt x="895" y="541"/>
                    <a:pt x="952" y="469"/>
                    <a:pt x="969" y="456"/>
                  </a:cubicBezTo>
                  <a:cubicBezTo>
                    <a:pt x="986" y="443"/>
                    <a:pt x="986" y="429"/>
                    <a:pt x="986" y="410"/>
                  </a:cubicBezTo>
                  <a:cubicBezTo>
                    <a:pt x="986" y="390"/>
                    <a:pt x="993" y="372"/>
                    <a:pt x="993" y="354"/>
                  </a:cubicBezTo>
                  <a:cubicBezTo>
                    <a:pt x="993" y="337"/>
                    <a:pt x="994" y="279"/>
                    <a:pt x="996" y="268"/>
                  </a:cubicBezTo>
                  <a:cubicBezTo>
                    <a:pt x="998" y="256"/>
                    <a:pt x="998" y="243"/>
                    <a:pt x="1003" y="236"/>
                  </a:cubicBezTo>
                  <a:cubicBezTo>
                    <a:pt x="1008" y="229"/>
                    <a:pt x="1016" y="224"/>
                    <a:pt x="1015" y="214"/>
                  </a:cubicBezTo>
                  <a:cubicBezTo>
                    <a:pt x="1015" y="205"/>
                    <a:pt x="1017" y="199"/>
                    <a:pt x="1008" y="194"/>
                  </a:cubicBezTo>
                  <a:cubicBezTo>
                    <a:pt x="998" y="189"/>
                    <a:pt x="991" y="188"/>
                    <a:pt x="991" y="176"/>
                  </a:cubicBezTo>
                  <a:cubicBezTo>
                    <a:pt x="991" y="164"/>
                    <a:pt x="985" y="150"/>
                    <a:pt x="980" y="143"/>
                  </a:cubicBezTo>
                  <a:cubicBezTo>
                    <a:pt x="974" y="137"/>
                    <a:pt x="967" y="127"/>
                    <a:pt x="966" y="117"/>
                  </a:cubicBezTo>
                  <a:cubicBezTo>
                    <a:pt x="965" y="106"/>
                    <a:pt x="970" y="96"/>
                    <a:pt x="965" y="86"/>
                  </a:cubicBezTo>
                  <a:cubicBezTo>
                    <a:pt x="959" y="76"/>
                    <a:pt x="959" y="62"/>
                    <a:pt x="959" y="51"/>
                  </a:cubicBezTo>
                  <a:cubicBezTo>
                    <a:pt x="959" y="45"/>
                    <a:pt x="958" y="36"/>
                    <a:pt x="957" y="29"/>
                  </a:cubicBezTo>
                  <a:cubicBezTo>
                    <a:pt x="957" y="30"/>
                    <a:pt x="957" y="30"/>
                    <a:pt x="956" y="30"/>
                  </a:cubicBezTo>
                  <a:cubicBezTo>
                    <a:pt x="956" y="30"/>
                    <a:pt x="956" y="31"/>
                    <a:pt x="955" y="31"/>
                  </a:cubicBezTo>
                  <a:cubicBezTo>
                    <a:pt x="955" y="31"/>
                    <a:pt x="955" y="31"/>
                    <a:pt x="955" y="32"/>
                  </a:cubicBezTo>
                  <a:cubicBezTo>
                    <a:pt x="954" y="32"/>
                    <a:pt x="954" y="32"/>
                    <a:pt x="954" y="32"/>
                  </a:cubicBezTo>
                  <a:cubicBezTo>
                    <a:pt x="953" y="33"/>
                    <a:pt x="953" y="33"/>
                    <a:pt x="953" y="33"/>
                  </a:cubicBezTo>
                  <a:cubicBezTo>
                    <a:pt x="952" y="34"/>
                    <a:pt x="952" y="34"/>
                    <a:pt x="952" y="34"/>
                  </a:cubicBezTo>
                  <a:cubicBezTo>
                    <a:pt x="951" y="34"/>
                    <a:pt x="951" y="35"/>
                    <a:pt x="951" y="35"/>
                  </a:cubicBezTo>
                  <a:cubicBezTo>
                    <a:pt x="950" y="35"/>
                    <a:pt x="950" y="35"/>
                    <a:pt x="949" y="36"/>
                  </a:cubicBezTo>
                  <a:cubicBezTo>
                    <a:pt x="949" y="36"/>
                    <a:pt x="949" y="36"/>
                    <a:pt x="948" y="36"/>
                  </a:cubicBezTo>
                  <a:cubicBezTo>
                    <a:pt x="948" y="37"/>
                    <a:pt x="947" y="37"/>
                    <a:pt x="947" y="37"/>
                  </a:cubicBezTo>
                  <a:cubicBezTo>
                    <a:pt x="946" y="37"/>
                    <a:pt x="946" y="37"/>
                    <a:pt x="945" y="38"/>
                  </a:cubicBezTo>
                  <a:cubicBezTo>
                    <a:pt x="945" y="38"/>
                    <a:pt x="944" y="38"/>
                    <a:pt x="944" y="38"/>
                  </a:cubicBezTo>
                  <a:cubicBezTo>
                    <a:pt x="943" y="39"/>
                    <a:pt x="942" y="39"/>
                    <a:pt x="942" y="39"/>
                  </a:cubicBezTo>
                  <a:cubicBezTo>
                    <a:pt x="941" y="39"/>
                    <a:pt x="941" y="40"/>
                    <a:pt x="940" y="40"/>
                  </a:cubicBezTo>
                  <a:cubicBezTo>
                    <a:pt x="939" y="40"/>
                    <a:pt x="938" y="41"/>
                    <a:pt x="936" y="41"/>
                  </a:cubicBezTo>
                  <a:cubicBezTo>
                    <a:pt x="912" y="48"/>
                    <a:pt x="917" y="58"/>
                    <a:pt x="905" y="57"/>
                  </a:cubicBezTo>
                  <a:cubicBezTo>
                    <a:pt x="893" y="56"/>
                    <a:pt x="884" y="41"/>
                    <a:pt x="872" y="26"/>
                  </a:cubicBezTo>
                  <a:cubicBezTo>
                    <a:pt x="860" y="12"/>
                    <a:pt x="831" y="18"/>
                    <a:pt x="819" y="13"/>
                  </a:cubicBezTo>
                  <a:cubicBezTo>
                    <a:pt x="807" y="8"/>
                    <a:pt x="800" y="0"/>
                    <a:pt x="769" y="0"/>
                  </a:cubicBezTo>
                  <a:cubicBezTo>
                    <a:pt x="769" y="0"/>
                    <a:pt x="768" y="0"/>
                    <a:pt x="767" y="0"/>
                  </a:cubicBezTo>
                  <a:cubicBezTo>
                    <a:pt x="766" y="0"/>
                    <a:pt x="766" y="0"/>
                    <a:pt x="765" y="0"/>
                  </a:cubicBezTo>
                  <a:cubicBezTo>
                    <a:pt x="735" y="7"/>
                    <a:pt x="631" y="74"/>
                    <a:pt x="570" y="113"/>
                  </a:cubicBezTo>
                  <a:cubicBezTo>
                    <a:pt x="570" y="114"/>
                    <a:pt x="569" y="114"/>
                    <a:pt x="569" y="114"/>
                  </a:cubicBezTo>
                  <a:cubicBezTo>
                    <a:pt x="567" y="115"/>
                    <a:pt x="565" y="116"/>
                    <a:pt x="563" y="118"/>
                  </a:cubicBezTo>
                  <a:cubicBezTo>
                    <a:pt x="563" y="118"/>
                    <a:pt x="562" y="118"/>
                    <a:pt x="561" y="119"/>
                  </a:cubicBezTo>
                  <a:cubicBezTo>
                    <a:pt x="560" y="120"/>
                    <a:pt x="558" y="121"/>
                    <a:pt x="557" y="122"/>
                  </a:cubicBezTo>
                  <a:cubicBezTo>
                    <a:pt x="556" y="122"/>
                    <a:pt x="555" y="123"/>
                    <a:pt x="554" y="123"/>
                  </a:cubicBezTo>
                  <a:cubicBezTo>
                    <a:pt x="553" y="124"/>
                    <a:pt x="552" y="125"/>
                    <a:pt x="550" y="126"/>
                  </a:cubicBezTo>
                  <a:cubicBezTo>
                    <a:pt x="550" y="126"/>
                    <a:pt x="549" y="127"/>
                    <a:pt x="548" y="127"/>
                  </a:cubicBezTo>
                  <a:cubicBezTo>
                    <a:pt x="547" y="128"/>
                    <a:pt x="546" y="129"/>
                    <a:pt x="545" y="129"/>
                  </a:cubicBezTo>
                  <a:cubicBezTo>
                    <a:pt x="544" y="130"/>
                    <a:pt x="543" y="130"/>
                    <a:pt x="542" y="131"/>
                  </a:cubicBezTo>
                  <a:cubicBezTo>
                    <a:pt x="541" y="131"/>
                    <a:pt x="540" y="132"/>
                    <a:pt x="539" y="133"/>
                  </a:cubicBezTo>
                  <a:cubicBezTo>
                    <a:pt x="539" y="133"/>
                    <a:pt x="538" y="133"/>
                    <a:pt x="537" y="134"/>
                  </a:cubicBezTo>
                  <a:cubicBezTo>
                    <a:pt x="536" y="134"/>
                    <a:pt x="535" y="135"/>
                    <a:pt x="534" y="135"/>
                  </a:cubicBezTo>
                  <a:cubicBezTo>
                    <a:pt x="534" y="136"/>
                    <a:pt x="533" y="136"/>
                    <a:pt x="533" y="136"/>
                  </a:cubicBezTo>
                  <a:cubicBezTo>
                    <a:pt x="532" y="137"/>
                    <a:pt x="530" y="138"/>
                    <a:pt x="529" y="138"/>
                  </a:cubicBezTo>
                  <a:cubicBezTo>
                    <a:pt x="495" y="157"/>
                    <a:pt x="392" y="242"/>
                    <a:pt x="373" y="258"/>
                  </a:cubicBezTo>
                  <a:cubicBezTo>
                    <a:pt x="355" y="274"/>
                    <a:pt x="332" y="277"/>
                    <a:pt x="308" y="277"/>
                  </a:cubicBezTo>
                  <a:cubicBezTo>
                    <a:pt x="307" y="277"/>
                    <a:pt x="305" y="277"/>
                    <a:pt x="304" y="277"/>
                  </a:cubicBezTo>
                  <a:cubicBezTo>
                    <a:pt x="303" y="277"/>
                    <a:pt x="303" y="277"/>
                    <a:pt x="303" y="277"/>
                  </a:cubicBezTo>
                  <a:cubicBezTo>
                    <a:pt x="302" y="277"/>
                    <a:pt x="301" y="277"/>
                    <a:pt x="300" y="277"/>
                  </a:cubicBezTo>
                  <a:cubicBezTo>
                    <a:pt x="300" y="278"/>
                    <a:pt x="299" y="278"/>
                    <a:pt x="299" y="278"/>
                  </a:cubicBezTo>
                  <a:cubicBezTo>
                    <a:pt x="298" y="278"/>
                    <a:pt x="297" y="278"/>
                    <a:pt x="297" y="278"/>
                  </a:cubicBezTo>
                  <a:cubicBezTo>
                    <a:pt x="296" y="278"/>
                    <a:pt x="296" y="278"/>
                    <a:pt x="296" y="278"/>
                  </a:cubicBezTo>
                  <a:cubicBezTo>
                    <a:pt x="295" y="278"/>
                    <a:pt x="294" y="279"/>
                    <a:pt x="294" y="279"/>
                  </a:cubicBezTo>
                  <a:cubicBezTo>
                    <a:pt x="293" y="279"/>
                    <a:pt x="293" y="279"/>
                    <a:pt x="293" y="279"/>
                  </a:cubicBezTo>
                  <a:cubicBezTo>
                    <a:pt x="292" y="279"/>
                    <a:pt x="292" y="279"/>
                    <a:pt x="291" y="280"/>
                  </a:cubicBezTo>
                  <a:cubicBezTo>
                    <a:pt x="291" y="280"/>
                    <a:pt x="290" y="280"/>
                    <a:pt x="290" y="280"/>
                  </a:cubicBezTo>
                  <a:cubicBezTo>
                    <a:pt x="289" y="280"/>
                    <a:pt x="289" y="280"/>
                    <a:pt x="288" y="281"/>
                  </a:cubicBezTo>
                  <a:cubicBezTo>
                    <a:pt x="288" y="281"/>
                    <a:pt x="288" y="281"/>
                    <a:pt x="288" y="281"/>
                  </a:cubicBezTo>
                  <a:cubicBezTo>
                    <a:pt x="287" y="281"/>
                    <a:pt x="286" y="281"/>
                    <a:pt x="286" y="282"/>
                  </a:cubicBezTo>
                  <a:cubicBezTo>
                    <a:pt x="286" y="282"/>
                    <a:pt x="286" y="282"/>
                    <a:pt x="286" y="282"/>
                  </a:cubicBezTo>
                  <a:cubicBezTo>
                    <a:pt x="283" y="283"/>
                    <a:pt x="281" y="284"/>
                    <a:pt x="279" y="285"/>
                  </a:cubicBezTo>
                  <a:cubicBezTo>
                    <a:pt x="279" y="285"/>
                    <a:pt x="279" y="285"/>
                    <a:pt x="279" y="285"/>
                  </a:cubicBezTo>
                  <a:cubicBezTo>
                    <a:pt x="278" y="285"/>
                    <a:pt x="277" y="285"/>
                    <a:pt x="277" y="285"/>
                  </a:cubicBezTo>
                  <a:cubicBezTo>
                    <a:pt x="277" y="285"/>
                    <a:pt x="277" y="286"/>
                    <a:pt x="276" y="286"/>
                  </a:cubicBezTo>
                  <a:cubicBezTo>
                    <a:pt x="276" y="286"/>
                    <a:pt x="275" y="286"/>
                    <a:pt x="275" y="286"/>
                  </a:cubicBezTo>
                  <a:cubicBezTo>
                    <a:pt x="275" y="286"/>
                    <a:pt x="275" y="286"/>
                    <a:pt x="275" y="286"/>
                  </a:cubicBezTo>
                  <a:cubicBezTo>
                    <a:pt x="272" y="287"/>
                    <a:pt x="270" y="287"/>
                    <a:pt x="267" y="287"/>
                  </a:cubicBezTo>
                  <a:cubicBezTo>
                    <a:pt x="267" y="326"/>
                    <a:pt x="266" y="461"/>
                    <a:pt x="261" y="470"/>
                  </a:cubicBezTo>
                  <a:cubicBezTo>
                    <a:pt x="255" y="481"/>
                    <a:pt x="257" y="484"/>
                    <a:pt x="253" y="499"/>
                  </a:cubicBezTo>
                  <a:cubicBezTo>
                    <a:pt x="250" y="514"/>
                    <a:pt x="231" y="522"/>
                    <a:pt x="224" y="530"/>
                  </a:cubicBezTo>
                  <a:cubicBezTo>
                    <a:pt x="217" y="537"/>
                    <a:pt x="168" y="536"/>
                    <a:pt x="147" y="536"/>
                  </a:cubicBezTo>
                  <a:cubicBezTo>
                    <a:pt x="127" y="536"/>
                    <a:pt x="115" y="537"/>
                    <a:pt x="99" y="537"/>
                  </a:cubicBezTo>
                  <a:cubicBezTo>
                    <a:pt x="83" y="537"/>
                    <a:pt x="71" y="548"/>
                    <a:pt x="66" y="556"/>
                  </a:cubicBezTo>
                  <a:cubicBezTo>
                    <a:pt x="61" y="565"/>
                    <a:pt x="45" y="562"/>
                    <a:pt x="29" y="562"/>
                  </a:cubicBezTo>
                  <a:cubicBezTo>
                    <a:pt x="26" y="562"/>
                    <a:pt x="24" y="562"/>
                    <a:pt x="22" y="562"/>
                  </a:cubicBezTo>
                  <a:cubicBezTo>
                    <a:pt x="21" y="563"/>
                    <a:pt x="21" y="563"/>
                    <a:pt x="20" y="563"/>
                  </a:cubicBezTo>
                  <a:cubicBezTo>
                    <a:pt x="18" y="563"/>
                    <a:pt x="16" y="562"/>
                    <a:pt x="14" y="562"/>
                  </a:cubicBezTo>
                  <a:cubicBezTo>
                    <a:pt x="15" y="567"/>
                    <a:pt x="15" y="571"/>
                    <a:pt x="13" y="574"/>
                  </a:cubicBezTo>
                  <a:cubicBezTo>
                    <a:pt x="10" y="584"/>
                    <a:pt x="0" y="594"/>
                    <a:pt x="11" y="598"/>
                  </a:cubicBezTo>
                  <a:cubicBezTo>
                    <a:pt x="23" y="603"/>
                    <a:pt x="22" y="615"/>
                    <a:pt x="23" y="622"/>
                  </a:cubicBezTo>
                  <a:cubicBezTo>
                    <a:pt x="23" y="630"/>
                    <a:pt x="28" y="637"/>
                    <a:pt x="39" y="641"/>
                  </a:cubicBezTo>
                  <a:cubicBezTo>
                    <a:pt x="51" y="645"/>
                    <a:pt x="49" y="652"/>
                    <a:pt x="61" y="656"/>
                  </a:cubicBezTo>
                  <a:cubicBezTo>
                    <a:pt x="73" y="660"/>
                    <a:pt x="77" y="666"/>
                    <a:pt x="73" y="669"/>
                  </a:cubicBezTo>
                  <a:cubicBezTo>
                    <a:pt x="69" y="672"/>
                    <a:pt x="59" y="678"/>
                    <a:pt x="63" y="686"/>
                  </a:cubicBezTo>
                  <a:cubicBezTo>
                    <a:pt x="68" y="693"/>
                    <a:pt x="75" y="690"/>
                    <a:pt x="81" y="700"/>
                  </a:cubicBezTo>
                  <a:cubicBezTo>
                    <a:pt x="88" y="710"/>
                    <a:pt x="93" y="714"/>
                    <a:pt x="101" y="716"/>
                  </a:cubicBezTo>
                  <a:cubicBezTo>
                    <a:pt x="110" y="719"/>
                    <a:pt x="113" y="722"/>
                    <a:pt x="117" y="713"/>
                  </a:cubicBezTo>
                  <a:cubicBezTo>
                    <a:pt x="120" y="704"/>
                    <a:pt x="129" y="711"/>
                    <a:pt x="133" y="714"/>
                  </a:cubicBezTo>
                  <a:cubicBezTo>
                    <a:pt x="137" y="718"/>
                    <a:pt x="139" y="724"/>
                    <a:pt x="138" y="730"/>
                  </a:cubicBezTo>
                  <a:cubicBezTo>
                    <a:pt x="137" y="736"/>
                    <a:pt x="137" y="746"/>
                    <a:pt x="141" y="748"/>
                  </a:cubicBezTo>
                  <a:cubicBezTo>
                    <a:pt x="143" y="749"/>
                    <a:pt x="146" y="751"/>
                    <a:pt x="148" y="752"/>
                  </a:cubicBezTo>
                  <a:cubicBezTo>
                    <a:pt x="148" y="752"/>
                    <a:pt x="148" y="752"/>
                    <a:pt x="148" y="752"/>
                  </a:cubicBezTo>
                  <a:cubicBezTo>
                    <a:pt x="148" y="751"/>
                    <a:pt x="149" y="751"/>
                    <a:pt x="149" y="750"/>
                  </a:cubicBezTo>
                  <a:cubicBezTo>
                    <a:pt x="149" y="750"/>
                    <a:pt x="149" y="750"/>
                    <a:pt x="149" y="750"/>
                  </a:cubicBezTo>
                  <a:cubicBezTo>
                    <a:pt x="149" y="750"/>
                    <a:pt x="149" y="749"/>
                    <a:pt x="150" y="749"/>
                  </a:cubicBezTo>
                  <a:cubicBezTo>
                    <a:pt x="150" y="749"/>
                    <a:pt x="150" y="748"/>
                    <a:pt x="150" y="748"/>
                  </a:cubicBezTo>
                  <a:cubicBezTo>
                    <a:pt x="150" y="748"/>
                    <a:pt x="150" y="748"/>
                    <a:pt x="151" y="747"/>
                  </a:cubicBezTo>
                  <a:cubicBezTo>
                    <a:pt x="151" y="747"/>
                    <a:pt x="151" y="747"/>
                    <a:pt x="151" y="747"/>
                  </a:cubicBezTo>
                  <a:cubicBezTo>
                    <a:pt x="151" y="746"/>
                    <a:pt x="152" y="746"/>
                    <a:pt x="153" y="746"/>
                  </a:cubicBezTo>
                  <a:cubicBezTo>
                    <a:pt x="161" y="740"/>
                    <a:pt x="157" y="734"/>
                    <a:pt x="165" y="733"/>
                  </a:cubicBezTo>
                  <a:cubicBezTo>
                    <a:pt x="173" y="733"/>
                    <a:pt x="175" y="721"/>
                    <a:pt x="186" y="733"/>
                  </a:cubicBezTo>
                  <a:cubicBezTo>
                    <a:pt x="197" y="744"/>
                    <a:pt x="198" y="755"/>
                    <a:pt x="207" y="758"/>
                  </a:cubicBezTo>
                  <a:cubicBezTo>
                    <a:pt x="215" y="761"/>
                    <a:pt x="216" y="767"/>
                    <a:pt x="224" y="767"/>
                  </a:cubicBezTo>
                  <a:cubicBezTo>
                    <a:pt x="224" y="767"/>
                    <a:pt x="225" y="766"/>
                    <a:pt x="225" y="766"/>
                  </a:cubicBezTo>
                  <a:cubicBezTo>
                    <a:pt x="226" y="766"/>
                    <a:pt x="227" y="766"/>
                    <a:pt x="227" y="766"/>
                  </a:cubicBezTo>
                  <a:cubicBezTo>
                    <a:pt x="227" y="766"/>
                    <a:pt x="227" y="766"/>
                    <a:pt x="227" y="766"/>
                  </a:cubicBezTo>
                  <a:cubicBezTo>
                    <a:pt x="228" y="766"/>
                    <a:pt x="229" y="766"/>
                    <a:pt x="229" y="766"/>
                  </a:cubicBezTo>
                  <a:cubicBezTo>
                    <a:pt x="229" y="766"/>
                    <a:pt x="229" y="766"/>
                    <a:pt x="229" y="766"/>
                  </a:cubicBezTo>
                  <a:cubicBezTo>
                    <a:pt x="233" y="764"/>
                    <a:pt x="233" y="761"/>
                    <a:pt x="233" y="753"/>
                  </a:cubicBezTo>
                  <a:cubicBezTo>
                    <a:pt x="233" y="742"/>
                    <a:pt x="233" y="721"/>
                    <a:pt x="244" y="714"/>
                  </a:cubicBezTo>
                  <a:cubicBezTo>
                    <a:pt x="255" y="707"/>
                    <a:pt x="257" y="706"/>
                    <a:pt x="258" y="688"/>
                  </a:cubicBezTo>
                  <a:cubicBezTo>
                    <a:pt x="259" y="670"/>
                    <a:pt x="257" y="655"/>
                    <a:pt x="268" y="652"/>
                  </a:cubicBezTo>
                  <a:cubicBezTo>
                    <a:pt x="280" y="649"/>
                    <a:pt x="284" y="642"/>
                    <a:pt x="299" y="642"/>
                  </a:cubicBezTo>
                  <a:cubicBezTo>
                    <a:pt x="314" y="642"/>
                    <a:pt x="326" y="645"/>
                    <a:pt x="333" y="640"/>
                  </a:cubicBezTo>
                  <a:cubicBezTo>
                    <a:pt x="341" y="635"/>
                    <a:pt x="340" y="634"/>
                    <a:pt x="351" y="634"/>
                  </a:cubicBezTo>
                  <a:cubicBezTo>
                    <a:pt x="361" y="634"/>
                    <a:pt x="363" y="635"/>
                    <a:pt x="368" y="640"/>
                  </a:cubicBezTo>
                  <a:cubicBezTo>
                    <a:pt x="373" y="644"/>
                    <a:pt x="376" y="646"/>
                    <a:pt x="381" y="646"/>
                  </a:cubicBezTo>
                  <a:cubicBezTo>
                    <a:pt x="387" y="646"/>
                    <a:pt x="385" y="652"/>
                    <a:pt x="394" y="652"/>
                  </a:cubicBezTo>
                  <a:cubicBezTo>
                    <a:pt x="403" y="652"/>
                    <a:pt x="413" y="655"/>
                    <a:pt x="419" y="663"/>
                  </a:cubicBezTo>
                  <a:cubicBezTo>
                    <a:pt x="426" y="671"/>
                    <a:pt x="431" y="683"/>
                    <a:pt x="436" y="688"/>
                  </a:cubicBezTo>
                  <a:cubicBezTo>
                    <a:pt x="442" y="692"/>
                    <a:pt x="448" y="692"/>
                    <a:pt x="454" y="687"/>
                  </a:cubicBezTo>
                  <a:cubicBezTo>
                    <a:pt x="460" y="682"/>
                    <a:pt x="465" y="685"/>
                    <a:pt x="473" y="684"/>
                  </a:cubicBezTo>
                  <a:cubicBezTo>
                    <a:pt x="481" y="684"/>
                    <a:pt x="482" y="677"/>
                    <a:pt x="490" y="673"/>
                  </a:cubicBezTo>
                  <a:cubicBezTo>
                    <a:pt x="498" y="669"/>
                    <a:pt x="503" y="663"/>
                    <a:pt x="514" y="670"/>
                  </a:cubicBezTo>
                  <a:cubicBezTo>
                    <a:pt x="524" y="677"/>
                    <a:pt x="538" y="686"/>
                    <a:pt x="545" y="691"/>
                  </a:cubicBezTo>
                  <a:cubicBezTo>
                    <a:pt x="552" y="696"/>
                    <a:pt x="556" y="705"/>
                    <a:pt x="573" y="704"/>
                  </a:cubicBezTo>
                  <a:cubicBezTo>
                    <a:pt x="589" y="704"/>
                    <a:pt x="609" y="705"/>
                    <a:pt x="615" y="699"/>
                  </a:cubicBezTo>
                  <a:cubicBezTo>
                    <a:pt x="621" y="692"/>
                    <a:pt x="632" y="688"/>
                    <a:pt x="639" y="682"/>
                  </a:cubicBezTo>
                  <a:cubicBezTo>
                    <a:pt x="646" y="676"/>
                    <a:pt x="650" y="668"/>
                    <a:pt x="666" y="668"/>
                  </a:cubicBezTo>
                  <a:cubicBezTo>
                    <a:pt x="681" y="667"/>
                    <a:pt x="740" y="662"/>
                    <a:pt x="745" y="669"/>
                  </a:cubicBezTo>
                  <a:cubicBezTo>
                    <a:pt x="751" y="677"/>
                    <a:pt x="757" y="679"/>
                    <a:pt x="767" y="681"/>
                  </a:cubicBezTo>
                  <a:cubicBezTo>
                    <a:pt x="777" y="683"/>
                    <a:pt x="788" y="691"/>
                    <a:pt x="795" y="681"/>
                  </a:cubicBezTo>
                  <a:cubicBezTo>
                    <a:pt x="801" y="670"/>
                    <a:pt x="803" y="663"/>
                    <a:pt x="821" y="660"/>
                  </a:cubicBezTo>
                  <a:cubicBezTo>
                    <a:pt x="839" y="656"/>
                    <a:pt x="843" y="655"/>
                    <a:pt x="851" y="649"/>
                  </a:cubicBezTo>
                  <a:cubicBezTo>
                    <a:pt x="854" y="646"/>
                    <a:pt x="857" y="643"/>
                    <a:pt x="859" y="64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508" name="Freeform 25703"/>
            <p:cNvSpPr>
              <a:spLocks/>
            </p:cNvSpPr>
            <p:nvPr/>
          </p:nvSpPr>
          <p:spPr bwMode="auto">
            <a:xfrm>
              <a:off x="4204405" y="3561902"/>
              <a:ext cx="105117" cy="154835"/>
            </a:xfrm>
            <a:custGeom>
              <a:avLst/>
              <a:gdLst>
                <a:gd name="T0" fmla="*/ 251 w 282"/>
                <a:gd name="T1" fmla="*/ 297 h 415"/>
                <a:gd name="T2" fmla="*/ 243 w 282"/>
                <a:gd name="T3" fmla="*/ 260 h 415"/>
                <a:gd name="T4" fmla="*/ 245 w 282"/>
                <a:gd name="T5" fmla="*/ 236 h 415"/>
                <a:gd name="T6" fmla="*/ 247 w 282"/>
                <a:gd name="T7" fmla="*/ 201 h 415"/>
                <a:gd name="T8" fmla="*/ 236 w 282"/>
                <a:gd name="T9" fmla="*/ 168 h 415"/>
                <a:gd name="T10" fmla="*/ 211 w 282"/>
                <a:gd name="T11" fmla="*/ 137 h 415"/>
                <a:gd name="T12" fmla="*/ 225 w 282"/>
                <a:gd name="T13" fmla="*/ 115 h 415"/>
                <a:gd name="T14" fmla="*/ 231 w 282"/>
                <a:gd name="T15" fmla="*/ 86 h 415"/>
                <a:gd name="T16" fmla="*/ 240 w 282"/>
                <a:gd name="T17" fmla="*/ 74 h 415"/>
                <a:gd name="T18" fmla="*/ 230 w 282"/>
                <a:gd name="T19" fmla="*/ 54 h 415"/>
                <a:gd name="T20" fmla="*/ 208 w 282"/>
                <a:gd name="T21" fmla="*/ 40 h 415"/>
                <a:gd name="T22" fmla="*/ 207 w 282"/>
                <a:gd name="T23" fmla="*/ 16 h 415"/>
                <a:gd name="T24" fmla="*/ 212 w 282"/>
                <a:gd name="T25" fmla="*/ 8 h 415"/>
                <a:gd name="T26" fmla="*/ 212 w 282"/>
                <a:gd name="T27" fmla="*/ 8 h 415"/>
                <a:gd name="T28" fmla="*/ 210 w 282"/>
                <a:gd name="T29" fmla="*/ 7 h 415"/>
                <a:gd name="T30" fmla="*/ 210 w 282"/>
                <a:gd name="T31" fmla="*/ 7 h 415"/>
                <a:gd name="T32" fmla="*/ 206 w 282"/>
                <a:gd name="T33" fmla="*/ 3 h 415"/>
                <a:gd name="T34" fmla="*/ 205 w 282"/>
                <a:gd name="T35" fmla="*/ 2 h 415"/>
                <a:gd name="T36" fmla="*/ 205 w 282"/>
                <a:gd name="T37" fmla="*/ 2 h 415"/>
                <a:gd name="T38" fmla="*/ 204 w 282"/>
                <a:gd name="T39" fmla="*/ 1 h 415"/>
                <a:gd name="T40" fmla="*/ 204 w 282"/>
                <a:gd name="T41" fmla="*/ 1 h 415"/>
                <a:gd name="T42" fmla="*/ 203 w 282"/>
                <a:gd name="T43" fmla="*/ 0 h 415"/>
                <a:gd name="T44" fmla="*/ 202 w 282"/>
                <a:gd name="T45" fmla="*/ 0 h 415"/>
                <a:gd name="T46" fmla="*/ 201 w 282"/>
                <a:gd name="T47" fmla="*/ 0 h 415"/>
                <a:gd name="T48" fmla="*/ 180 w 282"/>
                <a:gd name="T49" fmla="*/ 13 h 415"/>
                <a:gd name="T50" fmla="*/ 166 w 282"/>
                <a:gd name="T51" fmla="*/ 15 h 415"/>
                <a:gd name="T52" fmla="*/ 118 w 282"/>
                <a:gd name="T53" fmla="*/ 10 h 415"/>
                <a:gd name="T54" fmla="*/ 32 w 282"/>
                <a:gd name="T55" fmla="*/ 9 h 415"/>
                <a:gd name="T56" fmla="*/ 24 w 282"/>
                <a:gd name="T57" fmla="*/ 38 h 415"/>
                <a:gd name="T58" fmla="*/ 30 w 282"/>
                <a:gd name="T59" fmla="*/ 54 h 415"/>
                <a:gd name="T60" fmla="*/ 34 w 282"/>
                <a:gd name="T61" fmla="*/ 92 h 415"/>
                <a:gd name="T62" fmla="*/ 29 w 282"/>
                <a:gd name="T63" fmla="*/ 107 h 415"/>
                <a:gd name="T64" fmla="*/ 29 w 282"/>
                <a:gd name="T65" fmla="*/ 108 h 415"/>
                <a:gd name="T66" fmla="*/ 35 w 282"/>
                <a:gd name="T67" fmla="*/ 122 h 415"/>
                <a:gd name="T68" fmla="*/ 39 w 282"/>
                <a:gd name="T69" fmla="*/ 139 h 415"/>
                <a:gd name="T70" fmla="*/ 42 w 282"/>
                <a:gd name="T71" fmla="*/ 157 h 415"/>
                <a:gd name="T72" fmla="*/ 52 w 282"/>
                <a:gd name="T73" fmla="*/ 170 h 415"/>
                <a:gd name="T74" fmla="*/ 46 w 282"/>
                <a:gd name="T75" fmla="*/ 194 h 415"/>
                <a:gd name="T76" fmla="*/ 26 w 282"/>
                <a:gd name="T77" fmla="*/ 223 h 415"/>
                <a:gd name="T78" fmla="*/ 20 w 282"/>
                <a:gd name="T79" fmla="*/ 248 h 415"/>
                <a:gd name="T80" fmla="*/ 15 w 282"/>
                <a:gd name="T81" fmla="*/ 264 h 415"/>
                <a:gd name="T82" fmla="*/ 3 w 282"/>
                <a:gd name="T83" fmla="*/ 285 h 415"/>
                <a:gd name="T84" fmla="*/ 4 w 282"/>
                <a:gd name="T85" fmla="*/ 306 h 415"/>
                <a:gd name="T86" fmla="*/ 10 w 282"/>
                <a:gd name="T87" fmla="*/ 326 h 415"/>
                <a:gd name="T88" fmla="*/ 17 w 282"/>
                <a:gd name="T89" fmla="*/ 342 h 415"/>
                <a:gd name="T90" fmla="*/ 21 w 282"/>
                <a:gd name="T91" fmla="*/ 357 h 415"/>
                <a:gd name="T92" fmla="*/ 37 w 282"/>
                <a:gd name="T93" fmla="*/ 365 h 415"/>
                <a:gd name="T94" fmla="*/ 30 w 282"/>
                <a:gd name="T95" fmla="*/ 380 h 415"/>
                <a:gd name="T96" fmla="*/ 20 w 282"/>
                <a:gd name="T97" fmla="*/ 388 h 415"/>
                <a:gd name="T98" fmla="*/ 31 w 282"/>
                <a:gd name="T99" fmla="*/ 392 h 415"/>
                <a:gd name="T100" fmla="*/ 95 w 282"/>
                <a:gd name="T101" fmla="*/ 401 h 415"/>
                <a:gd name="T102" fmla="*/ 139 w 282"/>
                <a:gd name="T103" fmla="*/ 386 h 415"/>
                <a:gd name="T104" fmla="*/ 191 w 282"/>
                <a:gd name="T105" fmla="*/ 368 h 415"/>
                <a:gd name="T106" fmla="*/ 241 w 282"/>
                <a:gd name="T107" fmla="*/ 349 h 415"/>
                <a:gd name="T108" fmla="*/ 271 w 282"/>
                <a:gd name="T109" fmla="*/ 337 h 415"/>
                <a:gd name="T110" fmla="*/ 282 w 282"/>
                <a:gd name="T111" fmla="*/ 328 h 415"/>
                <a:gd name="T112" fmla="*/ 251 w 282"/>
                <a:gd name="T113" fmla="*/ 297 h 4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82" h="415">
                  <a:moveTo>
                    <a:pt x="251" y="297"/>
                  </a:moveTo>
                  <a:cubicBezTo>
                    <a:pt x="244" y="288"/>
                    <a:pt x="234" y="272"/>
                    <a:pt x="243" y="260"/>
                  </a:cubicBezTo>
                  <a:cubicBezTo>
                    <a:pt x="253" y="249"/>
                    <a:pt x="240" y="246"/>
                    <a:pt x="245" y="236"/>
                  </a:cubicBezTo>
                  <a:cubicBezTo>
                    <a:pt x="251" y="226"/>
                    <a:pt x="247" y="208"/>
                    <a:pt x="247" y="201"/>
                  </a:cubicBezTo>
                  <a:cubicBezTo>
                    <a:pt x="247" y="194"/>
                    <a:pt x="241" y="175"/>
                    <a:pt x="236" y="168"/>
                  </a:cubicBezTo>
                  <a:cubicBezTo>
                    <a:pt x="231" y="160"/>
                    <a:pt x="211" y="142"/>
                    <a:pt x="211" y="137"/>
                  </a:cubicBezTo>
                  <a:cubicBezTo>
                    <a:pt x="211" y="132"/>
                    <a:pt x="217" y="120"/>
                    <a:pt x="225" y="115"/>
                  </a:cubicBezTo>
                  <a:cubicBezTo>
                    <a:pt x="234" y="110"/>
                    <a:pt x="231" y="93"/>
                    <a:pt x="231" y="86"/>
                  </a:cubicBezTo>
                  <a:cubicBezTo>
                    <a:pt x="231" y="80"/>
                    <a:pt x="236" y="80"/>
                    <a:pt x="240" y="74"/>
                  </a:cubicBezTo>
                  <a:cubicBezTo>
                    <a:pt x="244" y="69"/>
                    <a:pt x="234" y="60"/>
                    <a:pt x="230" y="54"/>
                  </a:cubicBezTo>
                  <a:cubicBezTo>
                    <a:pt x="226" y="48"/>
                    <a:pt x="218" y="45"/>
                    <a:pt x="208" y="40"/>
                  </a:cubicBezTo>
                  <a:cubicBezTo>
                    <a:pt x="198" y="34"/>
                    <a:pt x="201" y="22"/>
                    <a:pt x="207" y="16"/>
                  </a:cubicBezTo>
                  <a:cubicBezTo>
                    <a:pt x="209" y="14"/>
                    <a:pt x="211" y="11"/>
                    <a:pt x="212" y="8"/>
                  </a:cubicBezTo>
                  <a:cubicBezTo>
                    <a:pt x="212" y="8"/>
                    <a:pt x="212" y="8"/>
                    <a:pt x="212" y="8"/>
                  </a:cubicBezTo>
                  <a:cubicBezTo>
                    <a:pt x="211" y="8"/>
                    <a:pt x="211" y="8"/>
                    <a:pt x="210" y="7"/>
                  </a:cubicBezTo>
                  <a:cubicBezTo>
                    <a:pt x="210" y="7"/>
                    <a:pt x="210" y="7"/>
                    <a:pt x="210" y="7"/>
                  </a:cubicBezTo>
                  <a:cubicBezTo>
                    <a:pt x="209" y="6"/>
                    <a:pt x="207" y="4"/>
                    <a:pt x="206" y="3"/>
                  </a:cubicBezTo>
                  <a:cubicBezTo>
                    <a:pt x="206" y="3"/>
                    <a:pt x="206" y="2"/>
                    <a:pt x="205" y="2"/>
                  </a:cubicBezTo>
                  <a:cubicBezTo>
                    <a:pt x="205" y="2"/>
                    <a:pt x="205" y="2"/>
                    <a:pt x="205" y="2"/>
                  </a:cubicBezTo>
                  <a:cubicBezTo>
                    <a:pt x="205" y="1"/>
                    <a:pt x="204" y="1"/>
                    <a:pt x="204" y="1"/>
                  </a:cubicBezTo>
                  <a:cubicBezTo>
                    <a:pt x="204" y="1"/>
                    <a:pt x="204" y="1"/>
                    <a:pt x="204" y="1"/>
                  </a:cubicBezTo>
                  <a:cubicBezTo>
                    <a:pt x="204" y="1"/>
                    <a:pt x="203" y="0"/>
                    <a:pt x="203" y="0"/>
                  </a:cubicBezTo>
                  <a:cubicBezTo>
                    <a:pt x="203" y="0"/>
                    <a:pt x="203" y="0"/>
                    <a:pt x="202" y="0"/>
                  </a:cubicBezTo>
                  <a:cubicBezTo>
                    <a:pt x="202" y="0"/>
                    <a:pt x="201" y="0"/>
                    <a:pt x="201" y="0"/>
                  </a:cubicBezTo>
                  <a:cubicBezTo>
                    <a:pt x="195" y="0"/>
                    <a:pt x="185" y="6"/>
                    <a:pt x="180" y="13"/>
                  </a:cubicBezTo>
                  <a:cubicBezTo>
                    <a:pt x="176" y="21"/>
                    <a:pt x="174" y="21"/>
                    <a:pt x="166" y="15"/>
                  </a:cubicBezTo>
                  <a:cubicBezTo>
                    <a:pt x="158" y="8"/>
                    <a:pt x="133" y="9"/>
                    <a:pt x="118" y="10"/>
                  </a:cubicBezTo>
                  <a:cubicBezTo>
                    <a:pt x="103" y="10"/>
                    <a:pt x="47" y="10"/>
                    <a:pt x="32" y="9"/>
                  </a:cubicBezTo>
                  <a:cubicBezTo>
                    <a:pt x="17" y="8"/>
                    <a:pt x="25" y="29"/>
                    <a:pt x="24" y="38"/>
                  </a:cubicBezTo>
                  <a:cubicBezTo>
                    <a:pt x="24" y="48"/>
                    <a:pt x="22" y="50"/>
                    <a:pt x="30" y="54"/>
                  </a:cubicBezTo>
                  <a:cubicBezTo>
                    <a:pt x="39" y="59"/>
                    <a:pt x="34" y="76"/>
                    <a:pt x="34" y="92"/>
                  </a:cubicBezTo>
                  <a:cubicBezTo>
                    <a:pt x="34" y="99"/>
                    <a:pt x="31" y="104"/>
                    <a:pt x="29" y="107"/>
                  </a:cubicBezTo>
                  <a:cubicBezTo>
                    <a:pt x="29" y="107"/>
                    <a:pt x="29" y="107"/>
                    <a:pt x="29" y="108"/>
                  </a:cubicBezTo>
                  <a:cubicBezTo>
                    <a:pt x="34" y="109"/>
                    <a:pt x="34" y="115"/>
                    <a:pt x="35" y="122"/>
                  </a:cubicBezTo>
                  <a:cubicBezTo>
                    <a:pt x="35" y="129"/>
                    <a:pt x="35" y="136"/>
                    <a:pt x="39" y="139"/>
                  </a:cubicBezTo>
                  <a:cubicBezTo>
                    <a:pt x="43" y="142"/>
                    <a:pt x="37" y="154"/>
                    <a:pt x="42" y="157"/>
                  </a:cubicBezTo>
                  <a:cubicBezTo>
                    <a:pt x="47" y="160"/>
                    <a:pt x="52" y="162"/>
                    <a:pt x="52" y="170"/>
                  </a:cubicBezTo>
                  <a:cubicBezTo>
                    <a:pt x="52" y="177"/>
                    <a:pt x="53" y="189"/>
                    <a:pt x="46" y="194"/>
                  </a:cubicBezTo>
                  <a:cubicBezTo>
                    <a:pt x="39" y="199"/>
                    <a:pt x="27" y="213"/>
                    <a:pt x="26" y="223"/>
                  </a:cubicBezTo>
                  <a:cubicBezTo>
                    <a:pt x="26" y="233"/>
                    <a:pt x="25" y="243"/>
                    <a:pt x="20" y="248"/>
                  </a:cubicBezTo>
                  <a:cubicBezTo>
                    <a:pt x="16" y="252"/>
                    <a:pt x="15" y="260"/>
                    <a:pt x="15" y="264"/>
                  </a:cubicBezTo>
                  <a:cubicBezTo>
                    <a:pt x="15" y="268"/>
                    <a:pt x="3" y="279"/>
                    <a:pt x="3" y="285"/>
                  </a:cubicBezTo>
                  <a:cubicBezTo>
                    <a:pt x="3" y="290"/>
                    <a:pt x="0" y="302"/>
                    <a:pt x="4" y="306"/>
                  </a:cubicBezTo>
                  <a:cubicBezTo>
                    <a:pt x="8" y="311"/>
                    <a:pt x="3" y="321"/>
                    <a:pt x="10" y="326"/>
                  </a:cubicBezTo>
                  <a:cubicBezTo>
                    <a:pt x="16" y="331"/>
                    <a:pt x="17" y="337"/>
                    <a:pt x="17" y="342"/>
                  </a:cubicBezTo>
                  <a:cubicBezTo>
                    <a:pt x="17" y="346"/>
                    <a:pt x="14" y="357"/>
                    <a:pt x="21" y="357"/>
                  </a:cubicBezTo>
                  <a:cubicBezTo>
                    <a:pt x="27" y="357"/>
                    <a:pt x="37" y="359"/>
                    <a:pt x="37" y="365"/>
                  </a:cubicBezTo>
                  <a:cubicBezTo>
                    <a:pt x="37" y="371"/>
                    <a:pt x="38" y="378"/>
                    <a:pt x="30" y="380"/>
                  </a:cubicBezTo>
                  <a:cubicBezTo>
                    <a:pt x="23" y="381"/>
                    <a:pt x="21" y="382"/>
                    <a:pt x="20" y="388"/>
                  </a:cubicBezTo>
                  <a:cubicBezTo>
                    <a:pt x="24" y="389"/>
                    <a:pt x="27" y="390"/>
                    <a:pt x="31" y="392"/>
                  </a:cubicBezTo>
                  <a:cubicBezTo>
                    <a:pt x="53" y="403"/>
                    <a:pt x="86" y="415"/>
                    <a:pt x="95" y="401"/>
                  </a:cubicBezTo>
                  <a:cubicBezTo>
                    <a:pt x="103" y="387"/>
                    <a:pt x="119" y="395"/>
                    <a:pt x="139" y="386"/>
                  </a:cubicBezTo>
                  <a:cubicBezTo>
                    <a:pt x="158" y="376"/>
                    <a:pt x="184" y="378"/>
                    <a:pt x="191" y="368"/>
                  </a:cubicBezTo>
                  <a:cubicBezTo>
                    <a:pt x="199" y="359"/>
                    <a:pt x="225" y="351"/>
                    <a:pt x="241" y="349"/>
                  </a:cubicBezTo>
                  <a:cubicBezTo>
                    <a:pt x="257" y="347"/>
                    <a:pt x="266" y="348"/>
                    <a:pt x="271" y="337"/>
                  </a:cubicBezTo>
                  <a:cubicBezTo>
                    <a:pt x="273" y="334"/>
                    <a:pt x="277" y="330"/>
                    <a:pt x="282" y="328"/>
                  </a:cubicBezTo>
                  <a:cubicBezTo>
                    <a:pt x="272" y="310"/>
                    <a:pt x="257" y="305"/>
                    <a:pt x="251" y="297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509" name="Freeform 25704"/>
            <p:cNvSpPr>
              <a:spLocks/>
            </p:cNvSpPr>
            <p:nvPr/>
          </p:nvSpPr>
          <p:spPr bwMode="auto">
            <a:xfrm>
              <a:off x="4278271" y="3564901"/>
              <a:ext cx="46876" cy="119323"/>
            </a:xfrm>
            <a:custGeom>
              <a:avLst/>
              <a:gdLst>
                <a:gd name="T0" fmla="*/ 111 w 126"/>
                <a:gd name="T1" fmla="*/ 276 h 320"/>
                <a:gd name="T2" fmla="*/ 117 w 126"/>
                <a:gd name="T3" fmla="*/ 251 h 320"/>
                <a:gd name="T4" fmla="*/ 115 w 126"/>
                <a:gd name="T5" fmla="*/ 214 h 320"/>
                <a:gd name="T6" fmla="*/ 115 w 126"/>
                <a:gd name="T7" fmla="*/ 182 h 320"/>
                <a:gd name="T8" fmla="*/ 122 w 126"/>
                <a:gd name="T9" fmla="*/ 130 h 320"/>
                <a:gd name="T10" fmla="*/ 106 w 126"/>
                <a:gd name="T11" fmla="*/ 108 h 320"/>
                <a:gd name="T12" fmla="*/ 100 w 126"/>
                <a:gd name="T13" fmla="*/ 78 h 320"/>
                <a:gd name="T14" fmla="*/ 87 w 126"/>
                <a:gd name="T15" fmla="*/ 63 h 320"/>
                <a:gd name="T16" fmla="*/ 67 w 126"/>
                <a:gd name="T17" fmla="*/ 46 h 320"/>
                <a:gd name="T18" fmla="*/ 68 w 126"/>
                <a:gd name="T19" fmla="*/ 22 h 320"/>
                <a:gd name="T20" fmla="*/ 69 w 126"/>
                <a:gd name="T21" fmla="*/ 4 h 320"/>
                <a:gd name="T22" fmla="*/ 65 w 126"/>
                <a:gd name="T23" fmla="*/ 4 h 320"/>
                <a:gd name="T24" fmla="*/ 65 w 126"/>
                <a:gd name="T25" fmla="*/ 4 h 320"/>
                <a:gd name="T26" fmla="*/ 60 w 126"/>
                <a:gd name="T27" fmla="*/ 3 h 320"/>
                <a:gd name="T28" fmla="*/ 56 w 126"/>
                <a:gd name="T29" fmla="*/ 3 h 320"/>
                <a:gd name="T30" fmla="*/ 55 w 126"/>
                <a:gd name="T31" fmla="*/ 3 h 320"/>
                <a:gd name="T32" fmla="*/ 50 w 126"/>
                <a:gd name="T33" fmla="*/ 3 h 320"/>
                <a:gd name="T34" fmla="*/ 20 w 126"/>
                <a:gd name="T35" fmla="*/ 2 h 320"/>
                <a:gd name="T36" fmla="*/ 18 w 126"/>
                <a:gd name="T37" fmla="*/ 2 h 320"/>
                <a:gd name="T38" fmla="*/ 18 w 126"/>
                <a:gd name="T39" fmla="*/ 2 h 320"/>
                <a:gd name="T40" fmla="*/ 16 w 126"/>
                <a:gd name="T41" fmla="*/ 2 h 320"/>
                <a:gd name="T42" fmla="*/ 16 w 126"/>
                <a:gd name="T43" fmla="*/ 1 h 320"/>
                <a:gd name="T44" fmla="*/ 15 w 126"/>
                <a:gd name="T45" fmla="*/ 1 h 320"/>
                <a:gd name="T46" fmla="*/ 15 w 126"/>
                <a:gd name="T47" fmla="*/ 1 h 320"/>
                <a:gd name="T48" fmla="*/ 14 w 126"/>
                <a:gd name="T49" fmla="*/ 0 h 320"/>
                <a:gd name="T50" fmla="*/ 14 w 126"/>
                <a:gd name="T51" fmla="*/ 0 h 320"/>
                <a:gd name="T52" fmla="*/ 9 w 126"/>
                <a:gd name="T53" fmla="*/ 8 h 320"/>
                <a:gd name="T54" fmla="*/ 10 w 126"/>
                <a:gd name="T55" fmla="*/ 32 h 320"/>
                <a:gd name="T56" fmla="*/ 32 w 126"/>
                <a:gd name="T57" fmla="*/ 46 h 320"/>
                <a:gd name="T58" fmla="*/ 42 w 126"/>
                <a:gd name="T59" fmla="*/ 66 h 320"/>
                <a:gd name="T60" fmla="*/ 33 w 126"/>
                <a:gd name="T61" fmla="*/ 78 h 320"/>
                <a:gd name="T62" fmla="*/ 27 w 126"/>
                <a:gd name="T63" fmla="*/ 107 h 320"/>
                <a:gd name="T64" fmla="*/ 13 w 126"/>
                <a:gd name="T65" fmla="*/ 129 h 320"/>
                <a:gd name="T66" fmla="*/ 38 w 126"/>
                <a:gd name="T67" fmla="*/ 160 h 320"/>
                <a:gd name="T68" fmla="*/ 49 w 126"/>
                <a:gd name="T69" fmla="*/ 193 h 320"/>
                <a:gd name="T70" fmla="*/ 47 w 126"/>
                <a:gd name="T71" fmla="*/ 228 h 320"/>
                <a:gd name="T72" fmla="*/ 45 w 126"/>
                <a:gd name="T73" fmla="*/ 252 h 320"/>
                <a:gd name="T74" fmla="*/ 53 w 126"/>
                <a:gd name="T75" fmla="*/ 289 h 320"/>
                <a:gd name="T76" fmla="*/ 84 w 126"/>
                <a:gd name="T77" fmla="*/ 320 h 320"/>
                <a:gd name="T78" fmla="*/ 124 w 126"/>
                <a:gd name="T79" fmla="*/ 310 h 320"/>
                <a:gd name="T80" fmla="*/ 126 w 126"/>
                <a:gd name="T81" fmla="*/ 310 h 320"/>
                <a:gd name="T82" fmla="*/ 123 w 126"/>
                <a:gd name="T83" fmla="*/ 300 h 320"/>
                <a:gd name="T84" fmla="*/ 111 w 126"/>
                <a:gd name="T85" fmla="*/ 276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6" h="320">
                  <a:moveTo>
                    <a:pt x="111" y="276"/>
                  </a:moveTo>
                  <a:cubicBezTo>
                    <a:pt x="106" y="268"/>
                    <a:pt x="111" y="259"/>
                    <a:pt x="117" y="251"/>
                  </a:cubicBezTo>
                  <a:cubicBezTo>
                    <a:pt x="123" y="243"/>
                    <a:pt x="117" y="220"/>
                    <a:pt x="115" y="214"/>
                  </a:cubicBezTo>
                  <a:cubicBezTo>
                    <a:pt x="114" y="208"/>
                    <a:pt x="113" y="191"/>
                    <a:pt x="115" y="182"/>
                  </a:cubicBezTo>
                  <a:cubicBezTo>
                    <a:pt x="118" y="174"/>
                    <a:pt x="123" y="148"/>
                    <a:pt x="122" y="130"/>
                  </a:cubicBezTo>
                  <a:cubicBezTo>
                    <a:pt x="121" y="112"/>
                    <a:pt x="125" y="116"/>
                    <a:pt x="106" y="108"/>
                  </a:cubicBezTo>
                  <a:cubicBezTo>
                    <a:pt x="87" y="100"/>
                    <a:pt x="102" y="86"/>
                    <a:pt x="100" y="78"/>
                  </a:cubicBezTo>
                  <a:cubicBezTo>
                    <a:pt x="98" y="69"/>
                    <a:pt x="93" y="64"/>
                    <a:pt x="87" y="63"/>
                  </a:cubicBezTo>
                  <a:cubicBezTo>
                    <a:pt x="80" y="62"/>
                    <a:pt x="83" y="55"/>
                    <a:pt x="67" y="46"/>
                  </a:cubicBezTo>
                  <a:cubicBezTo>
                    <a:pt x="52" y="38"/>
                    <a:pt x="64" y="27"/>
                    <a:pt x="68" y="22"/>
                  </a:cubicBezTo>
                  <a:cubicBezTo>
                    <a:pt x="70" y="19"/>
                    <a:pt x="70" y="11"/>
                    <a:pt x="69" y="4"/>
                  </a:cubicBezTo>
                  <a:cubicBezTo>
                    <a:pt x="68" y="4"/>
                    <a:pt x="66" y="4"/>
                    <a:pt x="65" y="4"/>
                  </a:cubicBezTo>
                  <a:cubicBezTo>
                    <a:pt x="65" y="4"/>
                    <a:pt x="65" y="4"/>
                    <a:pt x="65" y="4"/>
                  </a:cubicBezTo>
                  <a:cubicBezTo>
                    <a:pt x="63" y="4"/>
                    <a:pt x="62" y="4"/>
                    <a:pt x="60" y="3"/>
                  </a:cubicBezTo>
                  <a:cubicBezTo>
                    <a:pt x="59" y="3"/>
                    <a:pt x="57" y="3"/>
                    <a:pt x="56" y="3"/>
                  </a:cubicBezTo>
                  <a:cubicBezTo>
                    <a:pt x="55" y="3"/>
                    <a:pt x="55" y="3"/>
                    <a:pt x="55" y="3"/>
                  </a:cubicBezTo>
                  <a:cubicBezTo>
                    <a:pt x="53" y="3"/>
                    <a:pt x="51" y="3"/>
                    <a:pt x="50" y="3"/>
                  </a:cubicBezTo>
                  <a:cubicBezTo>
                    <a:pt x="36" y="2"/>
                    <a:pt x="29" y="2"/>
                    <a:pt x="20" y="2"/>
                  </a:cubicBezTo>
                  <a:cubicBezTo>
                    <a:pt x="19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7" y="2"/>
                    <a:pt x="17" y="2"/>
                    <a:pt x="16" y="2"/>
                  </a:cubicBezTo>
                  <a:cubicBezTo>
                    <a:pt x="16" y="2"/>
                    <a:pt x="16" y="1"/>
                    <a:pt x="16" y="1"/>
                  </a:cubicBezTo>
                  <a:cubicBezTo>
                    <a:pt x="16" y="1"/>
                    <a:pt x="15" y="1"/>
                    <a:pt x="15" y="1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5" y="1"/>
                    <a:pt x="14" y="1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3" y="3"/>
                    <a:pt x="11" y="6"/>
                    <a:pt x="9" y="8"/>
                  </a:cubicBezTo>
                  <a:cubicBezTo>
                    <a:pt x="3" y="14"/>
                    <a:pt x="0" y="26"/>
                    <a:pt x="10" y="32"/>
                  </a:cubicBezTo>
                  <a:cubicBezTo>
                    <a:pt x="20" y="37"/>
                    <a:pt x="28" y="40"/>
                    <a:pt x="32" y="46"/>
                  </a:cubicBezTo>
                  <a:cubicBezTo>
                    <a:pt x="36" y="52"/>
                    <a:pt x="46" y="61"/>
                    <a:pt x="42" y="66"/>
                  </a:cubicBezTo>
                  <a:cubicBezTo>
                    <a:pt x="38" y="72"/>
                    <a:pt x="33" y="72"/>
                    <a:pt x="33" y="78"/>
                  </a:cubicBezTo>
                  <a:cubicBezTo>
                    <a:pt x="33" y="85"/>
                    <a:pt x="36" y="102"/>
                    <a:pt x="27" y="107"/>
                  </a:cubicBezTo>
                  <a:cubicBezTo>
                    <a:pt x="19" y="112"/>
                    <a:pt x="13" y="124"/>
                    <a:pt x="13" y="129"/>
                  </a:cubicBezTo>
                  <a:cubicBezTo>
                    <a:pt x="13" y="134"/>
                    <a:pt x="33" y="152"/>
                    <a:pt x="38" y="160"/>
                  </a:cubicBezTo>
                  <a:cubicBezTo>
                    <a:pt x="43" y="167"/>
                    <a:pt x="49" y="186"/>
                    <a:pt x="49" y="193"/>
                  </a:cubicBezTo>
                  <a:cubicBezTo>
                    <a:pt x="49" y="200"/>
                    <a:pt x="53" y="218"/>
                    <a:pt x="47" y="228"/>
                  </a:cubicBezTo>
                  <a:cubicBezTo>
                    <a:pt x="42" y="238"/>
                    <a:pt x="55" y="241"/>
                    <a:pt x="45" y="252"/>
                  </a:cubicBezTo>
                  <a:cubicBezTo>
                    <a:pt x="36" y="264"/>
                    <a:pt x="46" y="280"/>
                    <a:pt x="53" y="289"/>
                  </a:cubicBezTo>
                  <a:cubicBezTo>
                    <a:pt x="59" y="297"/>
                    <a:pt x="74" y="302"/>
                    <a:pt x="84" y="320"/>
                  </a:cubicBezTo>
                  <a:cubicBezTo>
                    <a:pt x="95" y="314"/>
                    <a:pt x="112" y="311"/>
                    <a:pt x="124" y="310"/>
                  </a:cubicBezTo>
                  <a:cubicBezTo>
                    <a:pt x="125" y="310"/>
                    <a:pt x="126" y="310"/>
                    <a:pt x="126" y="310"/>
                  </a:cubicBezTo>
                  <a:cubicBezTo>
                    <a:pt x="124" y="307"/>
                    <a:pt x="123" y="303"/>
                    <a:pt x="123" y="300"/>
                  </a:cubicBezTo>
                  <a:cubicBezTo>
                    <a:pt x="123" y="294"/>
                    <a:pt x="115" y="284"/>
                    <a:pt x="111" y="276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510" name="Freeform 25705"/>
            <p:cNvSpPr>
              <a:spLocks/>
            </p:cNvSpPr>
            <p:nvPr/>
          </p:nvSpPr>
          <p:spPr bwMode="auto">
            <a:xfrm>
              <a:off x="4297527" y="3529545"/>
              <a:ext cx="75444" cy="151047"/>
            </a:xfrm>
            <a:custGeom>
              <a:avLst/>
              <a:gdLst>
                <a:gd name="T0" fmla="*/ 135 w 202"/>
                <a:gd name="T1" fmla="*/ 378 h 405"/>
                <a:gd name="T2" fmla="*/ 138 w 202"/>
                <a:gd name="T3" fmla="*/ 344 h 405"/>
                <a:gd name="T4" fmla="*/ 133 w 202"/>
                <a:gd name="T5" fmla="*/ 318 h 405"/>
                <a:gd name="T6" fmla="*/ 131 w 202"/>
                <a:gd name="T7" fmla="*/ 272 h 405"/>
                <a:gd name="T8" fmla="*/ 134 w 202"/>
                <a:gd name="T9" fmla="*/ 239 h 405"/>
                <a:gd name="T10" fmla="*/ 152 w 202"/>
                <a:gd name="T11" fmla="*/ 216 h 405"/>
                <a:gd name="T12" fmla="*/ 170 w 202"/>
                <a:gd name="T13" fmla="*/ 189 h 405"/>
                <a:gd name="T14" fmla="*/ 190 w 202"/>
                <a:gd name="T15" fmla="*/ 158 h 405"/>
                <a:gd name="T16" fmla="*/ 202 w 202"/>
                <a:gd name="T17" fmla="*/ 113 h 405"/>
                <a:gd name="T18" fmla="*/ 191 w 202"/>
                <a:gd name="T19" fmla="*/ 88 h 405"/>
                <a:gd name="T20" fmla="*/ 185 w 202"/>
                <a:gd name="T21" fmla="*/ 59 h 405"/>
                <a:gd name="T22" fmla="*/ 187 w 202"/>
                <a:gd name="T23" fmla="*/ 45 h 405"/>
                <a:gd name="T24" fmla="*/ 186 w 202"/>
                <a:gd name="T25" fmla="*/ 46 h 405"/>
                <a:gd name="T26" fmla="*/ 169 w 202"/>
                <a:gd name="T27" fmla="*/ 37 h 405"/>
                <a:gd name="T28" fmla="*/ 148 w 202"/>
                <a:gd name="T29" fmla="*/ 12 h 405"/>
                <a:gd name="T30" fmla="*/ 127 w 202"/>
                <a:gd name="T31" fmla="*/ 12 h 405"/>
                <a:gd name="T32" fmla="*/ 115 w 202"/>
                <a:gd name="T33" fmla="*/ 25 h 405"/>
                <a:gd name="T34" fmla="*/ 113 w 202"/>
                <a:gd name="T35" fmla="*/ 26 h 405"/>
                <a:gd name="T36" fmla="*/ 113 w 202"/>
                <a:gd name="T37" fmla="*/ 26 h 405"/>
                <a:gd name="T38" fmla="*/ 112 w 202"/>
                <a:gd name="T39" fmla="*/ 27 h 405"/>
                <a:gd name="T40" fmla="*/ 112 w 202"/>
                <a:gd name="T41" fmla="*/ 28 h 405"/>
                <a:gd name="T42" fmla="*/ 111 w 202"/>
                <a:gd name="T43" fmla="*/ 29 h 405"/>
                <a:gd name="T44" fmla="*/ 111 w 202"/>
                <a:gd name="T45" fmla="*/ 29 h 405"/>
                <a:gd name="T46" fmla="*/ 110 w 202"/>
                <a:gd name="T47" fmla="*/ 31 h 405"/>
                <a:gd name="T48" fmla="*/ 110 w 202"/>
                <a:gd name="T49" fmla="*/ 31 h 405"/>
                <a:gd name="T50" fmla="*/ 110 w 202"/>
                <a:gd name="T51" fmla="*/ 33 h 405"/>
                <a:gd name="T52" fmla="*/ 110 w 202"/>
                <a:gd name="T53" fmla="*/ 33 h 405"/>
                <a:gd name="T54" fmla="*/ 110 w 202"/>
                <a:gd name="T55" fmla="*/ 35 h 405"/>
                <a:gd name="T56" fmla="*/ 110 w 202"/>
                <a:gd name="T57" fmla="*/ 35 h 405"/>
                <a:gd name="T58" fmla="*/ 110 w 202"/>
                <a:gd name="T59" fmla="*/ 43 h 405"/>
                <a:gd name="T60" fmla="*/ 110 w 202"/>
                <a:gd name="T61" fmla="*/ 44 h 405"/>
                <a:gd name="T62" fmla="*/ 110 w 202"/>
                <a:gd name="T63" fmla="*/ 45 h 405"/>
                <a:gd name="T64" fmla="*/ 111 w 202"/>
                <a:gd name="T65" fmla="*/ 46 h 405"/>
                <a:gd name="T66" fmla="*/ 111 w 202"/>
                <a:gd name="T67" fmla="*/ 47 h 405"/>
                <a:gd name="T68" fmla="*/ 111 w 202"/>
                <a:gd name="T69" fmla="*/ 49 h 405"/>
                <a:gd name="T70" fmla="*/ 93 w 202"/>
                <a:gd name="T71" fmla="*/ 68 h 405"/>
                <a:gd name="T72" fmla="*/ 58 w 202"/>
                <a:gd name="T73" fmla="*/ 70 h 405"/>
                <a:gd name="T74" fmla="*/ 30 w 202"/>
                <a:gd name="T75" fmla="*/ 94 h 405"/>
                <a:gd name="T76" fmla="*/ 27 w 202"/>
                <a:gd name="T77" fmla="*/ 96 h 405"/>
                <a:gd name="T78" fmla="*/ 26 w 202"/>
                <a:gd name="T79" fmla="*/ 96 h 405"/>
                <a:gd name="T80" fmla="*/ 24 w 202"/>
                <a:gd name="T81" fmla="*/ 97 h 405"/>
                <a:gd name="T82" fmla="*/ 23 w 202"/>
                <a:gd name="T83" fmla="*/ 98 h 405"/>
                <a:gd name="T84" fmla="*/ 20 w 202"/>
                <a:gd name="T85" fmla="*/ 98 h 405"/>
                <a:gd name="T86" fmla="*/ 20 w 202"/>
                <a:gd name="T87" fmla="*/ 98 h 405"/>
                <a:gd name="T88" fmla="*/ 17 w 202"/>
                <a:gd name="T89" fmla="*/ 99 h 405"/>
                <a:gd name="T90" fmla="*/ 16 w 202"/>
                <a:gd name="T91" fmla="*/ 117 h 405"/>
                <a:gd name="T92" fmla="*/ 15 w 202"/>
                <a:gd name="T93" fmla="*/ 141 h 405"/>
                <a:gd name="T94" fmla="*/ 35 w 202"/>
                <a:gd name="T95" fmla="*/ 158 h 405"/>
                <a:gd name="T96" fmla="*/ 48 w 202"/>
                <a:gd name="T97" fmla="*/ 173 h 405"/>
                <a:gd name="T98" fmla="*/ 54 w 202"/>
                <a:gd name="T99" fmla="*/ 203 h 405"/>
                <a:gd name="T100" fmla="*/ 70 w 202"/>
                <a:gd name="T101" fmla="*/ 225 h 405"/>
                <a:gd name="T102" fmla="*/ 63 w 202"/>
                <a:gd name="T103" fmla="*/ 277 h 405"/>
                <a:gd name="T104" fmla="*/ 63 w 202"/>
                <a:gd name="T105" fmla="*/ 309 h 405"/>
                <a:gd name="T106" fmla="*/ 65 w 202"/>
                <a:gd name="T107" fmla="*/ 346 h 405"/>
                <a:gd name="T108" fmla="*/ 59 w 202"/>
                <a:gd name="T109" fmla="*/ 371 h 405"/>
                <a:gd name="T110" fmla="*/ 71 w 202"/>
                <a:gd name="T111" fmla="*/ 395 h 405"/>
                <a:gd name="T112" fmla="*/ 74 w 202"/>
                <a:gd name="T113" fmla="*/ 405 h 405"/>
                <a:gd name="T114" fmla="*/ 136 w 202"/>
                <a:gd name="T115" fmla="*/ 395 h 405"/>
                <a:gd name="T116" fmla="*/ 135 w 202"/>
                <a:gd name="T117" fmla="*/ 378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2" h="405">
                  <a:moveTo>
                    <a:pt x="135" y="378"/>
                  </a:moveTo>
                  <a:cubicBezTo>
                    <a:pt x="137" y="370"/>
                    <a:pt x="139" y="351"/>
                    <a:pt x="138" y="344"/>
                  </a:cubicBezTo>
                  <a:cubicBezTo>
                    <a:pt x="137" y="337"/>
                    <a:pt x="137" y="326"/>
                    <a:pt x="133" y="318"/>
                  </a:cubicBezTo>
                  <a:cubicBezTo>
                    <a:pt x="130" y="310"/>
                    <a:pt x="132" y="284"/>
                    <a:pt x="131" y="272"/>
                  </a:cubicBezTo>
                  <a:cubicBezTo>
                    <a:pt x="129" y="260"/>
                    <a:pt x="134" y="249"/>
                    <a:pt x="134" y="239"/>
                  </a:cubicBezTo>
                  <a:cubicBezTo>
                    <a:pt x="134" y="229"/>
                    <a:pt x="139" y="221"/>
                    <a:pt x="152" y="216"/>
                  </a:cubicBezTo>
                  <a:cubicBezTo>
                    <a:pt x="165" y="211"/>
                    <a:pt x="164" y="198"/>
                    <a:pt x="170" y="189"/>
                  </a:cubicBezTo>
                  <a:cubicBezTo>
                    <a:pt x="176" y="179"/>
                    <a:pt x="178" y="169"/>
                    <a:pt x="190" y="158"/>
                  </a:cubicBezTo>
                  <a:cubicBezTo>
                    <a:pt x="202" y="147"/>
                    <a:pt x="202" y="118"/>
                    <a:pt x="202" y="113"/>
                  </a:cubicBezTo>
                  <a:cubicBezTo>
                    <a:pt x="202" y="107"/>
                    <a:pt x="198" y="92"/>
                    <a:pt x="191" y="88"/>
                  </a:cubicBezTo>
                  <a:cubicBezTo>
                    <a:pt x="185" y="84"/>
                    <a:pt x="180" y="67"/>
                    <a:pt x="185" y="59"/>
                  </a:cubicBezTo>
                  <a:cubicBezTo>
                    <a:pt x="187" y="56"/>
                    <a:pt x="187" y="50"/>
                    <a:pt x="187" y="45"/>
                  </a:cubicBezTo>
                  <a:cubicBezTo>
                    <a:pt x="187" y="45"/>
                    <a:pt x="186" y="46"/>
                    <a:pt x="186" y="46"/>
                  </a:cubicBezTo>
                  <a:cubicBezTo>
                    <a:pt x="178" y="46"/>
                    <a:pt x="177" y="40"/>
                    <a:pt x="169" y="37"/>
                  </a:cubicBezTo>
                  <a:cubicBezTo>
                    <a:pt x="160" y="34"/>
                    <a:pt x="159" y="23"/>
                    <a:pt x="148" y="12"/>
                  </a:cubicBezTo>
                  <a:cubicBezTo>
                    <a:pt x="137" y="0"/>
                    <a:pt x="135" y="12"/>
                    <a:pt x="127" y="12"/>
                  </a:cubicBezTo>
                  <a:cubicBezTo>
                    <a:pt x="119" y="13"/>
                    <a:pt x="123" y="19"/>
                    <a:pt x="115" y="25"/>
                  </a:cubicBezTo>
                  <a:cubicBezTo>
                    <a:pt x="114" y="25"/>
                    <a:pt x="113" y="25"/>
                    <a:pt x="113" y="26"/>
                  </a:cubicBezTo>
                  <a:cubicBezTo>
                    <a:pt x="113" y="26"/>
                    <a:pt x="113" y="26"/>
                    <a:pt x="113" y="26"/>
                  </a:cubicBezTo>
                  <a:cubicBezTo>
                    <a:pt x="112" y="27"/>
                    <a:pt x="112" y="27"/>
                    <a:pt x="112" y="27"/>
                  </a:cubicBezTo>
                  <a:cubicBezTo>
                    <a:pt x="112" y="27"/>
                    <a:pt x="112" y="28"/>
                    <a:pt x="112" y="28"/>
                  </a:cubicBezTo>
                  <a:cubicBezTo>
                    <a:pt x="111" y="28"/>
                    <a:pt x="111" y="29"/>
                    <a:pt x="111" y="29"/>
                  </a:cubicBezTo>
                  <a:cubicBezTo>
                    <a:pt x="111" y="29"/>
                    <a:pt x="111" y="29"/>
                    <a:pt x="111" y="29"/>
                  </a:cubicBezTo>
                  <a:cubicBezTo>
                    <a:pt x="111" y="30"/>
                    <a:pt x="110" y="30"/>
                    <a:pt x="110" y="31"/>
                  </a:cubicBezTo>
                  <a:cubicBezTo>
                    <a:pt x="110" y="31"/>
                    <a:pt x="110" y="31"/>
                    <a:pt x="110" y="31"/>
                  </a:cubicBezTo>
                  <a:cubicBezTo>
                    <a:pt x="110" y="32"/>
                    <a:pt x="110" y="32"/>
                    <a:pt x="110" y="33"/>
                  </a:cubicBezTo>
                  <a:cubicBezTo>
                    <a:pt x="110" y="33"/>
                    <a:pt x="110" y="33"/>
                    <a:pt x="110" y="33"/>
                  </a:cubicBezTo>
                  <a:cubicBezTo>
                    <a:pt x="110" y="34"/>
                    <a:pt x="110" y="35"/>
                    <a:pt x="110" y="35"/>
                  </a:cubicBezTo>
                  <a:cubicBezTo>
                    <a:pt x="110" y="35"/>
                    <a:pt x="110" y="35"/>
                    <a:pt x="110" y="35"/>
                  </a:cubicBezTo>
                  <a:cubicBezTo>
                    <a:pt x="110" y="38"/>
                    <a:pt x="110" y="40"/>
                    <a:pt x="110" y="43"/>
                  </a:cubicBezTo>
                  <a:cubicBezTo>
                    <a:pt x="110" y="43"/>
                    <a:pt x="110" y="44"/>
                    <a:pt x="110" y="44"/>
                  </a:cubicBezTo>
                  <a:cubicBezTo>
                    <a:pt x="110" y="45"/>
                    <a:pt x="110" y="45"/>
                    <a:pt x="110" y="45"/>
                  </a:cubicBezTo>
                  <a:cubicBezTo>
                    <a:pt x="110" y="45"/>
                    <a:pt x="110" y="46"/>
                    <a:pt x="111" y="46"/>
                  </a:cubicBezTo>
                  <a:cubicBezTo>
                    <a:pt x="111" y="47"/>
                    <a:pt x="111" y="47"/>
                    <a:pt x="111" y="47"/>
                  </a:cubicBezTo>
                  <a:cubicBezTo>
                    <a:pt x="111" y="48"/>
                    <a:pt x="111" y="48"/>
                    <a:pt x="111" y="49"/>
                  </a:cubicBezTo>
                  <a:cubicBezTo>
                    <a:pt x="110" y="57"/>
                    <a:pt x="99" y="61"/>
                    <a:pt x="93" y="68"/>
                  </a:cubicBezTo>
                  <a:cubicBezTo>
                    <a:pt x="86" y="75"/>
                    <a:pt x="74" y="70"/>
                    <a:pt x="58" y="70"/>
                  </a:cubicBezTo>
                  <a:cubicBezTo>
                    <a:pt x="42" y="70"/>
                    <a:pt x="39" y="85"/>
                    <a:pt x="30" y="94"/>
                  </a:cubicBezTo>
                  <a:cubicBezTo>
                    <a:pt x="29" y="94"/>
                    <a:pt x="28" y="95"/>
                    <a:pt x="27" y="96"/>
                  </a:cubicBezTo>
                  <a:cubicBezTo>
                    <a:pt x="27" y="96"/>
                    <a:pt x="26" y="96"/>
                    <a:pt x="26" y="96"/>
                  </a:cubicBezTo>
                  <a:cubicBezTo>
                    <a:pt x="25" y="96"/>
                    <a:pt x="24" y="97"/>
                    <a:pt x="24" y="97"/>
                  </a:cubicBezTo>
                  <a:cubicBezTo>
                    <a:pt x="23" y="97"/>
                    <a:pt x="23" y="97"/>
                    <a:pt x="23" y="98"/>
                  </a:cubicBezTo>
                  <a:cubicBezTo>
                    <a:pt x="22" y="98"/>
                    <a:pt x="21" y="98"/>
                    <a:pt x="20" y="98"/>
                  </a:cubicBezTo>
                  <a:cubicBezTo>
                    <a:pt x="20" y="98"/>
                    <a:pt x="20" y="98"/>
                    <a:pt x="20" y="98"/>
                  </a:cubicBezTo>
                  <a:cubicBezTo>
                    <a:pt x="19" y="99"/>
                    <a:pt x="18" y="99"/>
                    <a:pt x="17" y="99"/>
                  </a:cubicBezTo>
                  <a:cubicBezTo>
                    <a:pt x="18" y="106"/>
                    <a:pt x="18" y="114"/>
                    <a:pt x="16" y="117"/>
                  </a:cubicBezTo>
                  <a:cubicBezTo>
                    <a:pt x="12" y="122"/>
                    <a:pt x="0" y="133"/>
                    <a:pt x="15" y="141"/>
                  </a:cubicBezTo>
                  <a:cubicBezTo>
                    <a:pt x="31" y="150"/>
                    <a:pt x="28" y="157"/>
                    <a:pt x="35" y="158"/>
                  </a:cubicBezTo>
                  <a:cubicBezTo>
                    <a:pt x="41" y="159"/>
                    <a:pt x="46" y="164"/>
                    <a:pt x="48" y="173"/>
                  </a:cubicBezTo>
                  <a:cubicBezTo>
                    <a:pt x="50" y="181"/>
                    <a:pt x="35" y="195"/>
                    <a:pt x="54" y="203"/>
                  </a:cubicBezTo>
                  <a:cubicBezTo>
                    <a:pt x="73" y="211"/>
                    <a:pt x="69" y="207"/>
                    <a:pt x="70" y="225"/>
                  </a:cubicBezTo>
                  <a:cubicBezTo>
                    <a:pt x="71" y="243"/>
                    <a:pt x="66" y="269"/>
                    <a:pt x="63" y="277"/>
                  </a:cubicBezTo>
                  <a:cubicBezTo>
                    <a:pt x="61" y="286"/>
                    <a:pt x="62" y="303"/>
                    <a:pt x="63" y="309"/>
                  </a:cubicBezTo>
                  <a:cubicBezTo>
                    <a:pt x="65" y="315"/>
                    <a:pt x="71" y="338"/>
                    <a:pt x="65" y="346"/>
                  </a:cubicBezTo>
                  <a:cubicBezTo>
                    <a:pt x="59" y="354"/>
                    <a:pt x="54" y="363"/>
                    <a:pt x="59" y="371"/>
                  </a:cubicBezTo>
                  <a:cubicBezTo>
                    <a:pt x="63" y="379"/>
                    <a:pt x="71" y="389"/>
                    <a:pt x="71" y="395"/>
                  </a:cubicBezTo>
                  <a:cubicBezTo>
                    <a:pt x="71" y="398"/>
                    <a:pt x="72" y="402"/>
                    <a:pt x="74" y="405"/>
                  </a:cubicBezTo>
                  <a:cubicBezTo>
                    <a:pt x="91" y="403"/>
                    <a:pt x="108" y="397"/>
                    <a:pt x="136" y="395"/>
                  </a:cubicBezTo>
                  <a:cubicBezTo>
                    <a:pt x="135" y="389"/>
                    <a:pt x="134" y="382"/>
                    <a:pt x="135" y="378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511" name="Freeform 25706"/>
            <p:cNvSpPr>
              <a:spLocks/>
            </p:cNvSpPr>
            <p:nvPr/>
          </p:nvSpPr>
          <p:spPr bwMode="auto">
            <a:xfrm>
              <a:off x="4345666" y="3497032"/>
              <a:ext cx="285680" cy="230911"/>
            </a:xfrm>
            <a:custGeom>
              <a:avLst/>
              <a:gdLst>
                <a:gd name="T0" fmla="*/ 396 w 766"/>
                <a:gd name="T1" fmla="*/ 548 h 619"/>
                <a:gd name="T2" fmla="*/ 428 w 766"/>
                <a:gd name="T3" fmla="*/ 487 h 619"/>
                <a:gd name="T4" fmla="*/ 475 w 766"/>
                <a:gd name="T5" fmla="*/ 448 h 619"/>
                <a:gd name="T6" fmla="*/ 510 w 766"/>
                <a:gd name="T7" fmla="*/ 438 h 619"/>
                <a:gd name="T8" fmla="*/ 536 w 766"/>
                <a:gd name="T9" fmla="*/ 463 h 619"/>
                <a:gd name="T10" fmla="*/ 564 w 766"/>
                <a:gd name="T11" fmla="*/ 470 h 619"/>
                <a:gd name="T12" fmla="*/ 597 w 766"/>
                <a:gd name="T13" fmla="*/ 407 h 619"/>
                <a:gd name="T14" fmla="*/ 624 w 766"/>
                <a:gd name="T15" fmla="*/ 344 h 619"/>
                <a:gd name="T16" fmla="*/ 662 w 766"/>
                <a:gd name="T17" fmla="*/ 281 h 619"/>
                <a:gd name="T18" fmla="*/ 690 w 766"/>
                <a:gd name="T19" fmla="*/ 235 h 619"/>
                <a:gd name="T20" fmla="*/ 729 w 766"/>
                <a:gd name="T21" fmla="*/ 169 h 619"/>
                <a:gd name="T22" fmla="*/ 755 w 766"/>
                <a:gd name="T23" fmla="*/ 104 h 619"/>
                <a:gd name="T24" fmla="*/ 729 w 766"/>
                <a:gd name="T25" fmla="*/ 68 h 619"/>
                <a:gd name="T26" fmla="*/ 729 w 766"/>
                <a:gd name="T27" fmla="*/ 63 h 619"/>
                <a:gd name="T28" fmla="*/ 729 w 766"/>
                <a:gd name="T29" fmla="*/ 59 h 619"/>
                <a:gd name="T30" fmla="*/ 728 w 766"/>
                <a:gd name="T31" fmla="*/ 54 h 619"/>
                <a:gd name="T32" fmla="*/ 727 w 766"/>
                <a:gd name="T33" fmla="*/ 50 h 619"/>
                <a:gd name="T34" fmla="*/ 726 w 766"/>
                <a:gd name="T35" fmla="*/ 46 h 619"/>
                <a:gd name="T36" fmla="*/ 725 w 766"/>
                <a:gd name="T37" fmla="*/ 43 h 619"/>
                <a:gd name="T38" fmla="*/ 722 w 766"/>
                <a:gd name="T39" fmla="*/ 39 h 619"/>
                <a:gd name="T40" fmla="*/ 684 w 766"/>
                <a:gd name="T41" fmla="*/ 15 h 619"/>
                <a:gd name="T42" fmla="*/ 628 w 766"/>
                <a:gd name="T43" fmla="*/ 47 h 619"/>
                <a:gd name="T44" fmla="*/ 578 w 766"/>
                <a:gd name="T45" fmla="*/ 35 h 619"/>
                <a:gd name="T46" fmla="*/ 472 w 766"/>
                <a:gd name="T47" fmla="*/ 48 h 619"/>
                <a:gd name="T48" fmla="*/ 406 w 766"/>
                <a:gd name="T49" fmla="*/ 70 h 619"/>
                <a:gd name="T50" fmla="*/ 347 w 766"/>
                <a:gd name="T51" fmla="*/ 36 h 619"/>
                <a:gd name="T52" fmla="*/ 306 w 766"/>
                <a:gd name="T53" fmla="*/ 50 h 619"/>
                <a:gd name="T54" fmla="*/ 269 w 766"/>
                <a:gd name="T55" fmla="*/ 54 h 619"/>
                <a:gd name="T56" fmla="*/ 227 w 766"/>
                <a:gd name="T57" fmla="*/ 18 h 619"/>
                <a:gd name="T58" fmla="*/ 201 w 766"/>
                <a:gd name="T59" fmla="*/ 6 h 619"/>
                <a:gd name="T60" fmla="*/ 166 w 766"/>
                <a:gd name="T61" fmla="*/ 6 h 619"/>
                <a:gd name="T62" fmla="*/ 101 w 766"/>
                <a:gd name="T63" fmla="*/ 18 h 619"/>
                <a:gd name="T64" fmla="*/ 77 w 766"/>
                <a:gd name="T65" fmla="*/ 80 h 619"/>
                <a:gd name="T66" fmla="*/ 62 w 766"/>
                <a:gd name="T67" fmla="*/ 132 h 619"/>
                <a:gd name="T68" fmla="*/ 60 w 766"/>
                <a:gd name="T69" fmla="*/ 132 h 619"/>
                <a:gd name="T70" fmla="*/ 58 w 766"/>
                <a:gd name="T71" fmla="*/ 132 h 619"/>
                <a:gd name="T72" fmla="*/ 56 w 766"/>
                <a:gd name="T73" fmla="*/ 146 h 619"/>
                <a:gd name="T74" fmla="*/ 73 w 766"/>
                <a:gd name="T75" fmla="*/ 200 h 619"/>
                <a:gd name="T76" fmla="*/ 41 w 766"/>
                <a:gd name="T77" fmla="*/ 276 h 619"/>
                <a:gd name="T78" fmla="*/ 5 w 766"/>
                <a:gd name="T79" fmla="*/ 326 h 619"/>
                <a:gd name="T80" fmla="*/ 4 w 766"/>
                <a:gd name="T81" fmla="*/ 405 h 619"/>
                <a:gd name="T82" fmla="*/ 6 w 766"/>
                <a:gd name="T83" fmla="*/ 465 h 619"/>
                <a:gd name="T84" fmla="*/ 14 w 766"/>
                <a:gd name="T85" fmla="*/ 482 h 619"/>
                <a:gd name="T86" fmla="*/ 178 w 766"/>
                <a:gd name="T87" fmla="*/ 546 h 619"/>
                <a:gd name="T88" fmla="*/ 240 w 766"/>
                <a:gd name="T89" fmla="*/ 610 h 619"/>
                <a:gd name="T90" fmla="*/ 329 w 766"/>
                <a:gd name="T91" fmla="*/ 599 h 619"/>
                <a:gd name="T92" fmla="*/ 379 w 766"/>
                <a:gd name="T93" fmla="*/ 577 h 6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66" h="619">
                  <a:moveTo>
                    <a:pt x="379" y="577"/>
                  </a:moveTo>
                  <a:cubicBezTo>
                    <a:pt x="389" y="571"/>
                    <a:pt x="396" y="560"/>
                    <a:pt x="396" y="548"/>
                  </a:cubicBezTo>
                  <a:cubicBezTo>
                    <a:pt x="396" y="536"/>
                    <a:pt x="393" y="516"/>
                    <a:pt x="401" y="511"/>
                  </a:cubicBezTo>
                  <a:cubicBezTo>
                    <a:pt x="409" y="506"/>
                    <a:pt x="419" y="490"/>
                    <a:pt x="428" y="487"/>
                  </a:cubicBezTo>
                  <a:cubicBezTo>
                    <a:pt x="438" y="484"/>
                    <a:pt x="443" y="479"/>
                    <a:pt x="450" y="470"/>
                  </a:cubicBezTo>
                  <a:cubicBezTo>
                    <a:pt x="456" y="460"/>
                    <a:pt x="463" y="445"/>
                    <a:pt x="475" y="448"/>
                  </a:cubicBezTo>
                  <a:cubicBezTo>
                    <a:pt x="487" y="451"/>
                    <a:pt x="492" y="455"/>
                    <a:pt x="496" y="451"/>
                  </a:cubicBezTo>
                  <a:cubicBezTo>
                    <a:pt x="501" y="447"/>
                    <a:pt x="502" y="434"/>
                    <a:pt x="510" y="438"/>
                  </a:cubicBezTo>
                  <a:cubicBezTo>
                    <a:pt x="518" y="443"/>
                    <a:pt x="524" y="447"/>
                    <a:pt x="530" y="450"/>
                  </a:cubicBezTo>
                  <a:cubicBezTo>
                    <a:pt x="536" y="454"/>
                    <a:pt x="537" y="459"/>
                    <a:pt x="536" y="463"/>
                  </a:cubicBezTo>
                  <a:cubicBezTo>
                    <a:pt x="536" y="468"/>
                    <a:pt x="532" y="479"/>
                    <a:pt x="541" y="480"/>
                  </a:cubicBezTo>
                  <a:cubicBezTo>
                    <a:pt x="550" y="482"/>
                    <a:pt x="560" y="482"/>
                    <a:pt x="564" y="470"/>
                  </a:cubicBezTo>
                  <a:cubicBezTo>
                    <a:pt x="568" y="458"/>
                    <a:pt x="571" y="447"/>
                    <a:pt x="582" y="440"/>
                  </a:cubicBezTo>
                  <a:cubicBezTo>
                    <a:pt x="594" y="434"/>
                    <a:pt x="585" y="423"/>
                    <a:pt x="597" y="407"/>
                  </a:cubicBezTo>
                  <a:cubicBezTo>
                    <a:pt x="608" y="391"/>
                    <a:pt x="612" y="378"/>
                    <a:pt x="613" y="368"/>
                  </a:cubicBezTo>
                  <a:cubicBezTo>
                    <a:pt x="614" y="357"/>
                    <a:pt x="616" y="352"/>
                    <a:pt x="624" y="344"/>
                  </a:cubicBezTo>
                  <a:cubicBezTo>
                    <a:pt x="633" y="337"/>
                    <a:pt x="647" y="322"/>
                    <a:pt x="647" y="312"/>
                  </a:cubicBezTo>
                  <a:cubicBezTo>
                    <a:pt x="647" y="301"/>
                    <a:pt x="649" y="284"/>
                    <a:pt x="662" y="281"/>
                  </a:cubicBezTo>
                  <a:cubicBezTo>
                    <a:pt x="675" y="279"/>
                    <a:pt x="675" y="277"/>
                    <a:pt x="679" y="263"/>
                  </a:cubicBezTo>
                  <a:cubicBezTo>
                    <a:pt x="682" y="250"/>
                    <a:pt x="688" y="248"/>
                    <a:pt x="690" y="235"/>
                  </a:cubicBezTo>
                  <a:cubicBezTo>
                    <a:pt x="692" y="221"/>
                    <a:pt x="696" y="205"/>
                    <a:pt x="701" y="196"/>
                  </a:cubicBezTo>
                  <a:cubicBezTo>
                    <a:pt x="707" y="187"/>
                    <a:pt x="714" y="171"/>
                    <a:pt x="729" y="169"/>
                  </a:cubicBezTo>
                  <a:cubicBezTo>
                    <a:pt x="745" y="166"/>
                    <a:pt x="761" y="157"/>
                    <a:pt x="761" y="149"/>
                  </a:cubicBezTo>
                  <a:cubicBezTo>
                    <a:pt x="761" y="141"/>
                    <a:pt x="766" y="109"/>
                    <a:pt x="755" y="104"/>
                  </a:cubicBezTo>
                  <a:cubicBezTo>
                    <a:pt x="744" y="100"/>
                    <a:pt x="737" y="105"/>
                    <a:pt x="735" y="93"/>
                  </a:cubicBezTo>
                  <a:cubicBezTo>
                    <a:pt x="733" y="82"/>
                    <a:pt x="728" y="76"/>
                    <a:pt x="729" y="68"/>
                  </a:cubicBezTo>
                  <a:cubicBezTo>
                    <a:pt x="729" y="66"/>
                    <a:pt x="729" y="65"/>
                    <a:pt x="729" y="64"/>
                  </a:cubicBezTo>
                  <a:cubicBezTo>
                    <a:pt x="729" y="63"/>
                    <a:pt x="729" y="63"/>
                    <a:pt x="729" y="63"/>
                  </a:cubicBezTo>
                  <a:cubicBezTo>
                    <a:pt x="729" y="62"/>
                    <a:pt x="729" y="61"/>
                    <a:pt x="729" y="59"/>
                  </a:cubicBezTo>
                  <a:cubicBezTo>
                    <a:pt x="729" y="59"/>
                    <a:pt x="729" y="59"/>
                    <a:pt x="729" y="59"/>
                  </a:cubicBezTo>
                  <a:cubicBezTo>
                    <a:pt x="729" y="57"/>
                    <a:pt x="729" y="56"/>
                    <a:pt x="728" y="55"/>
                  </a:cubicBezTo>
                  <a:cubicBezTo>
                    <a:pt x="728" y="55"/>
                    <a:pt x="728" y="55"/>
                    <a:pt x="728" y="54"/>
                  </a:cubicBezTo>
                  <a:cubicBezTo>
                    <a:pt x="728" y="53"/>
                    <a:pt x="728" y="51"/>
                    <a:pt x="727" y="50"/>
                  </a:cubicBezTo>
                  <a:cubicBezTo>
                    <a:pt x="727" y="50"/>
                    <a:pt x="727" y="50"/>
                    <a:pt x="727" y="50"/>
                  </a:cubicBezTo>
                  <a:cubicBezTo>
                    <a:pt x="727" y="49"/>
                    <a:pt x="727" y="48"/>
                    <a:pt x="727" y="48"/>
                  </a:cubicBezTo>
                  <a:cubicBezTo>
                    <a:pt x="727" y="47"/>
                    <a:pt x="726" y="47"/>
                    <a:pt x="726" y="46"/>
                  </a:cubicBezTo>
                  <a:cubicBezTo>
                    <a:pt x="726" y="46"/>
                    <a:pt x="726" y="45"/>
                    <a:pt x="725" y="45"/>
                  </a:cubicBezTo>
                  <a:cubicBezTo>
                    <a:pt x="725" y="44"/>
                    <a:pt x="725" y="43"/>
                    <a:pt x="725" y="43"/>
                  </a:cubicBezTo>
                  <a:cubicBezTo>
                    <a:pt x="724" y="42"/>
                    <a:pt x="724" y="42"/>
                    <a:pt x="724" y="42"/>
                  </a:cubicBezTo>
                  <a:cubicBezTo>
                    <a:pt x="723" y="40"/>
                    <a:pt x="722" y="39"/>
                    <a:pt x="722" y="39"/>
                  </a:cubicBezTo>
                  <a:cubicBezTo>
                    <a:pt x="716" y="32"/>
                    <a:pt x="700" y="15"/>
                    <a:pt x="692" y="6"/>
                  </a:cubicBezTo>
                  <a:cubicBezTo>
                    <a:pt x="690" y="9"/>
                    <a:pt x="687" y="12"/>
                    <a:pt x="684" y="15"/>
                  </a:cubicBezTo>
                  <a:cubicBezTo>
                    <a:pt x="676" y="21"/>
                    <a:pt x="672" y="22"/>
                    <a:pt x="654" y="26"/>
                  </a:cubicBezTo>
                  <a:cubicBezTo>
                    <a:pt x="636" y="29"/>
                    <a:pt x="634" y="36"/>
                    <a:pt x="628" y="47"/>
                  </a:cubicBezTo>
                  <a:cubicBezTo>
                    <a:pt x="621" y="57"/>
                    <a:pt x="610" y="49"/>
                    <a:pt x="600" y="47"/>
                  </a:cubicBezTo>
                  <a:cubicBezTo>
                    <a:pt x="590" y="45"/>
                    <a:pt x="584" y="43"/>
                    <a:pt x="578" y="35"/>
                  </a:cubicBezTo>
                  <a:cubicBezTo>
                    <a:pt x="573" y="28"/>
                    <a:pt x="514" y="33"/>
                    <a:pt x="499" y="34"/>
                  </a:cubicBezTo>
                  <a:cubicBezTo>
                    <a:pt x="483" y="34"/>
                    <a:pt x="479" y="42"/>
                    <a:pt x="472" y="48"/>
                  </a:cubicBezTo>
                  <a:cubicBezTo>
                    <a:pt x="465" y="54"/>
                    <a:pt x="454" y="58"/>
                    <a:pt x="448" y="65"/>
                  </a:cubicBezTo>
                  <a:cubicBezTo>
                    <a:pt x="442" y="71"/>
                    <a:pt x="422" y="70"/>
                    <a:pt x="406" y="70"/>
                  </a:cubicBezTo>
                  <a:cubicBezTo>
                    <a:pt x="389" y="71"/>
                    <a:pt x="385" y="62"/>
                    <a:pt x="378" y="57"/>
                  </a:cubicBezTo>
                  <a:cubicBezTo>
                    <a:pt x="371" y="52"/>
                    <a:pt x="357" y="43"/>
                    <a:pt x="347" y="36"/>
                  </a:cubicBezTo>
                  <a:cubicBezTo>
                    <a:pt x="336" y="29"/>
                    <a:pt x="331" y="35"/>
                    <a:pt x="323" y="39"/>
                  </a:cubicBezTo>
                  <a:cubicBezTo>
                    <a:pt x="315" y="43"/>
                    <a:pt x="314" y="50"/>
                    <a:pt x="306" y="50"/>
                  </a:cubicBezTo>
                  <a:cubicBezTo>
                    <a:pt x="298" y="51"/>
                    <a:pt x="293" y="48"/>
                    <a:pt x="287" y="53"/>
                  </a:cubicBezTo>
                  <a:cubicBezTo>
                    <a:pt x="281" y="58"/>
                    <a:pt x="275" y="58"/>
                    <a:pt x="269" y="54"/>
                  </a:cubicBezTo>
                  <a:cubicBezTo>
                    <a:pt x="264" y="49"/>
                    <a:pt x="259" y="37"/>
                    <a:pt x="252" y="29"/>
                  </a:cubicBezTo>
                  <a:cubicBezTo>
                    <a:pt x="246" y="21"/>
                    <a:pt x="236" y="18"/>
                    <a:pt x="227" y="18"/>
                  </a:cubicBezTo>
                  <a:cubicBezTo>
                    <a:pt x="218" y="18"/>
                    <a:pt x="220" y="12"/>
                    <a:pt x="214" y="12"/>
                  </a:cubicBezTo>
                  <a:cubicBezTo>
                    <a:pt x="209" y="12"/>
                    <a:pt x="206" y="10"/>
                    <a:pt x="201" y="6"/>
                  </a:cubicBezTo>
                  <a:cubicBezTo>
                    <a:pt x="196" y="1"/>
                    <a:pt x="194" y="0"/>
                    <a:pt x="184" y="0"/>
                  </a:cubicBezTo>
                  <a:cubicBezTo>
                    <a:pt x="173" y="0"/>
                    <a:pt x="174" y="1"/>
                    <a:pt x="166" y="6"/>
                  </a:cubicBezTo>
                  <a:cubicBezTo>
                    <a:pt x="159" y="11"/>
                    <a:pt x="147" y="8"/>
                    <a:pt x="132" y="8"/>
                  </a:cubicBezTo>
                  <a:cubicBezTo>
                    <a:pt x="117" y="8"/>
                    <a:pt x="113" y="15"/>
                    <a:pt x="101" y="18"/>
                  </a:cubicBezTo>
                  <a:cubicBezTo>
                    <a:pt x="90" y="21"/>
                    <a:pt x="92" y="36"/>
                    <a:pt x="91" y="54"/>
                  </a:cubicBezTo>
                  <a:cubicBezTo>
                    <a:pt x="90" y="72"/>
                    <a:pt x="88" y="73"/>
                    <a:pt x="77" y="80"/>
                  </a:cubicBezTo>
                  <a:cubicBezTo>
                    <a:pt x="66" y="87"/>
                    <a:pt x="66" y="108"/>
                    <a:pt x="66" y="119"/>
                  </a:cubicBezTo>
                  <a:cubicBezTo>
                    <a:pt x="66" y="127"/>
                    <a:pt x="66" y="130"/>
                    <a:pt x="62" y="132"/>
                  </a:cubicBezTo>
                  <a:cubicBezTo>
                    <a:pt x="62" y="132"/>
                    <a:pt x="62" y="132"/>
                    <a:pt x="62" y="132"/>
                  </a:cubicBezTo>
                  <a:cubicBezTo>
                    <a:pt x="62" y="132"/>
                    <a:pt x="61" y="132"/>
                    <a:pt x="60" y="132"/>
                  </a:cubicBezTo>
                  <a:cubicBezTo>
                    <a:pt x="60" y="132"/>
                    <a:pt x="60" y="132"/>
                    <a:pt x="60" y="132"/>
                  </a:cubicBezTo>
                  <a:cubicBezTo>
                    <a:pt x="60" y="132"/>
                    <a:pt x="59" y="132"/>
                    <a:pt x="58" y="132"/>
                  </a:cubicBezTo>
                  <a:cubicBezTo>
                    <a:pt x="58" y="132"/>
                    <a:pt x="58" y="132"/>
                    <a:pt x="58" y="132"/>
                  </a:cubicBezTo>
                  <a:cubicBezTo>
                    <a:pt x="58" y="137"/>
                    <a:pt x="58" y="143"/>
                    <a:pt x="56" y="146"/>
                  </a:cubicBezTo>
                  <a:cubicBezTo>
                    <a:pt x="51" y="154"/>
                    <a:pt x="56" y="171"/>
                    <a:pt x="62" y="175"/>
                  </a:cubicBezTo>
                  <a:cubicBezTo>
                    <a:pt x="69" y="179"/>
                    <a:pt x="73" y="194"/>
                    <a:pt x="73" y="200"/>
                  </a:cubicBezTo>
                  <a:cubicBezTo>
                    <a:pt x="73" y="205"/>
                    <a:pt x="73" y="234"/>
                    <a:pt x="61" y="245"/>
                  </a:cubicBezTo>
                  <a:cubicBezTo>
                    <a:pt x="49" y="256"/>
                    <a:pt x="47" y="266"/>
                    <a:pt x="41" y="276"/>
                  </a:cubicBezTo>
                  <a:cubicBezTo>
                    <a:pt x="35" y="285"/>
                    <a:pt x="36" y="298"/>
                    <a:pt x="23" y="303"/>
                  </a:cubicBezTo>
                  <a:cubicBezTo>
                    <a:pt x="10" y="308"/>
                    <a:pt x="5" y="316"/>
                    <a:pt x="5" y="326"/>
                  </a:cubicBezTo>
                  <a:cubicBezTo>
                    <a:pt x="5" y="336"/>
                    <a:pt x="0" y="347"/>
                    <a:pt x="2" y="359"/>
                  </a:cubicBezTo>
                  <a:cubicBezTo>
                    <a:pt x="3" y="371"/>
                    <a:pt x="1" y="397"/>
                    <a:pt x="4" y="405"/>
                  </a:cubicBezTo>
                  <a:cubicBezTo>
                    <a:pt x="8" y="413"/>
                    <a:pt x="8" y="424"/>
                    <a:pt x="9" y="431"/>
                  </a:cubicBezTo>
                  <a:cubicBezTo>
                    <a:pt x="10" y="438"/>
                    <a:pt x="8" y="457"/>
                    <a:pt x="6" y="465"/>
                  </a:cubicBezTo>
                  <a:cubicBezTo>
                    <a:pt x="5" y="469"/>
                    <a:pt x="6" y="476"/>
                    <a:pt x="7" y="482"/>
                  </a:cubicBezTo>
                  <a:cubicBezTo>
                    <a:pt x="9" y="482"/>
                    <a:pt x="12" y="482"/>
                    <a:pt x="14" y="482"/>
                  </a:cubicBezTo>
                  <a:cubicBezTo>
                    <a:pt x="48" y="482"/>
                    <a:pt x="105" y="470"/>
                    <a:pt x="135" y="496"/>
                  </a:cubicBezTo>
                  <a:cubicBezTo>
                    <a:pt x="165" y="522"/>
                    <a:pt x="178" y="523"/>
                    <a:pt x="178" y="546"/>
                  </a:cubicBezTo>
                  <a:cubicBezTo>
                    <a:pt x="178" y="568"/>
                    <a:pt x="175" y="580"/>
                    <a:pt x="196" y="599"/>
                  </a:cubicBezTo>
                  <a:cubicBezTo>
                    <a:pt x="218" y="619"/>
                    <a:pt x="232" y="616"/>
                    <a:pt x="240" y="610"/>
                  </a:cubicBezTo>
                  <a:cubicBezTo>
                    <a:pt x="249" y="605"/>
                    <a:pt x="274" y="595"/>
                    <a:pt x="286" y="597"/>
                  </a:cubicBezTo>
                  <a:cubicBezTo>
                    <a:pt x="299" y="599"/>
                    <a:pt x="312" y="599"/>
                    <a:pt x="329" y="599"/>
                  </a:cubicBezTo>
                  <a:cubicBezTo>
                    <a:pt x="339" y="599"/>
                    <a:pt x="355" y="595"/>
                    <a:pt x="369" y="596"/>
                  </a:cubicBezTo>
                  <a:cubicBezTo>
                    <a:pt x="370" y="590"/>
                    <a:pt x="372" y="580"/>
                    <a:pt x="379" y="577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512" name="Freeform 25707"/>
            <p:cNvSpPr>
              <a:spLocks/>
            </p:cNvSpPr>
            <p:nvPr/>
          </p:nvSpPr>
          <p:spPr bwMode="auto">
            <a:xfrm>
              <a:off x="4483297" y="3515656"/>
              <a:ext cx="183876" cy="275263"/>
            </a:xfrm>
            <a:custGeom>
              <a:avLst/>
              <a:gdLst>
                <a:gd name="T0" fmla="*/ 173 w 493"/>
                <a:gd name="T1" fmla="*/ 704 h 738"/>
                <a:gd name="T2" fmla="*/ 179 w 493"/>
                <a:gd name="T3" fmla="*/ 703 h 738"/>
                <a:gd name="T4" fmla="*/ 187 w 493"/>
                <a:gd name="T5" fmla="*/ 700 h 738"/>
                <a:gd name="T6" fmla="*/ 191 w 493"/>
                <a:gd name="T7" fmla="*/ 697 h 738"/>
                <a:gd name="T8" fmla="*/ 192 w 493"/>
                <a:gd name="T9" fmla="*/ 693 h 738"/>
                <a:gd name="T10" fmla="*/ 247 w 493"/>
                <a:gd name="T11" fmla="*/ 694 h 738"/>
                <a:gd name="T12" fmla="*/ 255 w 493"/>
                <a:gd name="T13" fmla="*/ 695 h 738"/>
                <a:gd name="T14" fmla="*/ 262 w 493"/>
                <a:gd name="T15" fmla="*/ 695 h 738"/>
                <a:gd name="T16" fmla="*/ 273 w 493"/>
                <a:gd name="T17" fmla="*/ 697 h 738"/>
                <a:gd name="T18" fmla="*/ 282 w 493"/>
                <a:gd name="T19" fmla="*/ 697 h 738"/>
                <a:gd name="T20" fmla="*/ 294 w 493"/>
                <a:gd name="T21" fmla="*/ 699 h 738"/>
                <a:gd name="T22" fmla="*/ 302 w 493"/>
                <a:gd name="T23" fmla="*/ 700 h 738"/>
                <a:gd name="T24" fmla="*/ 315 w 493"/>
                <a:gd name="T25" fmla="*/ 702 h 738"/>
                <a:gd name="T26" fmla="*/ 326 w 493"/>
                <a:gd name="T27" fmla="*/ 703 h 738"/>
                <a:gd name="T28" fmla="*/ 333 w 493"/>
                <a:gd name="T29" fmla="*/ 704 h 738"/>
                <a:gd name="T30" fmla="*/ 460 w 493"/>
                <a:gd name="T31" fmla="*/ 724 h 738"/>
                <a:gd name="T32" fmla="*/ 493 w 493"/>
                <a:gd name="T33" fmla="*/ 701 h 738"/>
                <a:gd name="T34" fmla="*/ 487 w 493"/>
                <a:gd name="T35" fmla="*/ 661 h 738"/>
                <a:gd name="T36" fmla="*/ 423 w 493"/>
                <a:gd name="T37" fmla="*/ 586 h 738"/>
                <a:gd name="T38" fmla="*/ 393 w 493"/>
                <a:gd name="T39" fmla="*/ 483 h 738"/>
                <a:gd name="T40" fmla="*/ 405 w 493"/>
                <a:gd name="T41" fmla="*/ 434 h 738"/>
                <a:gd name="T42" fmla="*/ 453 w 493"/>
                <a:gd name="T43" fmla="*/ 363 h 738"/>
                <a:gd name="T44" fmla="*/ 454 w 493"/>
                <a:gd name="T45" fmla="*/ 361 h 738"/>
                <a:gd name="T46" fmla="*/ 454 w 493"/>
                <a:gd name="T47" fmla="*/ 358 h 738"/>
                <a:gd name="T48" fmla="*/ 454 w 493"/>
                <a:gd name="T49" fmla="*/ 356 h 738"/>
                <a:gd name="T50" fmla="*/ 454 w 493"/>
                <a:gd name="T51" fmla="*/ 352 h 738"/>
                <a:gd name="T52" fmla="*/ 454 w 493"/>
                <a:gd name="T53" fmla="*/ 350 h 738"/>
                <a:gd name="T54" fmla="*/ 453 w 493"/>
                <a:gd name="T55" fmla="*/ 346 h 738"/>
                <a:gd name="T56" fmla="*/ 452 w 493"/>
                <a:gd name="T57" fmla="*/ 344 h 738"/>
                <a:gd name="T58" fmla="*/ 451 w 493"/>
                <a:gd name="T59" fmla="*/ 341 h 738"/>
                <a:gd name="T60" fmla="*/ 450 w 493"/>
                <a:gd name="T61" fmla="*/ 339 h 738"/>
                <a:gd name="T62" fmla="*/ 449 w 493"/>
                <a:gd name="T63" fmla="*/ 337 h 738"/>
                <a:gd name="T64" fmla="*/ 420 w 493"/>
                <a:gd name="T65" fmla="*/ 290 h 738"/>
                <a:gd name="T66" fmla="*/ 361 w 493"/>
                <a:gd name="T67" fmla="*/ 205 h 738"/>
                <a:gd name="T68" fmla="*/ 461 w 493"/>
                <a:gd name="T69" fmla="*/ 197 h 738"/>
                <a:gd name="T70" fmla="*/ 420 w 493"/>
                <a:gd name="T71" fmla="*/ 150 h 738"/>
                <a:gd name="T72" fmla="*/ 419 w 493"/>
                <a:gd name="T73" fmla="*/ 67 h 738"/>
                <a:gd name="T74" fmla="*/ 395 w 493"/>
                <a:gd name="T75" fmla="*/ 20 h 738"/>
                <a:gd name="T76" fmla="*/ 358 w 493"/>
                <a:gd name="T77" fmla="*/ 0 h 738"/>
                <a:gd name="T78" fmla="*/ 360 w 493"/>
                <a:gd name="T79" fmla="*/ 9 h 738"/>
                <a:gd name="T80" fmla="*/ 360 w 493"/>
                <a:gd name="T81" fmla="*/ 14 h 738"/>
                <a:gd name="T82" fmla="*/ 386 w 493"/>
                <a:gd name="T83" fmla="*/ 54 h 738"/>
                <a:gd name="T84" fmla="*/ 332 w 493"/>
                <a:gd name="T85" fmla="*/ 146 h 738"/>
                <a:gd name="T86" fmla="*/ 293 w 493"/>
                <a:gd name="T87" fmla="*/ 231 h 738"/>
                <a:gd name="T88" fmla="*/ 244 w 493"/>
                <a:gd name="T89" fmla="*/ 318 h 738"/>
                <a:gd name="T90" fmla="*/ 195 w 493"/>
                <a:gd name="T91" fmla="*/ 420 h 738"/>
                <a:gd name="T92" fmla="*/ 161 w 493"/>
                <a:gd name="T93" fmla="*/ 400 h 738"/>
                <a:gd name="T94" fmla="*/ 106 w 493"/>
                <a:gd name="T95" fmla="*/ 398 h 738"/>
                <a:gd name="T96" fmla="*/ 32 w 493"/>
                <a:gd name="T97" fmla="*/ 461 h 738"/>
                <a:gd name="T98" fmla="*/ 0 w 493"/>
                <a:gd name="T99" fmla="*/ 546 h 738"/>
                <a:gd name="T100" fmla="*/ 85 w 493"/>
                <a:gd name="T101" fmla="*/ 603 h 738"/>
                <a:gd name="T102" fmla="*/ 87 w 493"/>
                <a:gd name="T103" fmla="*/ 686 h 738"/>
                <a:gd name="T104" fmla="*/ 164 w 493"/>
                <a:gd name="T105" fmla="*/ 705 h 7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93" h="738">
                  <a:moveTo>
                    <a:pt x="164" y="705"/>
                  </a:moveTo>
                  <a:cubicBezTo>
                    <a:pt x="166" y="705"/>
                    <a:pt x="168" y="705"/>
                    <a:pt x="170" y="705"/>
                  </a:cubicBezTo>
                  <a:cubicBezTo>
                    <a:pt x="171" y="705"/>
                    <a:pt x="172" y="704"/>
                    <a:pt x="173" y="704"/>
                  </a:cubicBezTo>
                  <a:cubicBezTo>
                    <a:pt x="174" y="704"/>
                    <a:pt x="174" y="704"/>
                    <a:pt x="175" y="704"/>
                  </a:cubicBezTo>
                  <a:cubicBezTo>
                    <a:pt x="176" y="704"/>
                    <a:pt x="178" y="704"/>
                    <a:pt x="179" y="703"/>
                  </a:cubicBezTo>
                  <a:cubicBezTo>
                    <a:pt x="179" y="703"/>
                    <a:pt x="179" y="703"/>
                    <a:pt x="179" y="703"/>
                  </a:cubicBezTo>
                  <a:cubicBezTo>
                    <a:pt x="181" y="703"/>
                    <a:pt x="182" y="702"/>
                    <a:pt x="183" y="702"/>
                  </a:cubicBezTo>
                  <a:cubicBezTo>
                    <a:pt x="184" y="701"/>
                    <a:pt x="186" y="701"/>
                    <a:pt x="187" y="700"/>
                  </a:cubicBezTo>
                  <a:cubicBezTo>
                    <a:pt x="187" y="700"/>
                    <a:pt x="187" y="700"/>
                    <a:pt x="187" y="700"/>
                  </a:cubicBezTo>
                  <a:cubicBezTo>
                    <a:pt x="188" y="699"/>
                    <a:pt x="188" y="699"/>
                    <a:pt x="189" y="698"/>
                  </a:cubicBezTo>
                  <a:cubicBezTo>
                    <a:pt x="189" y="698"/>
                    <a:pt x="190" y="698"/>
                    <a:pt x="190" y="698"/>
                  </a:cubicBezTo>
                  <a:cubicBezTo>
                    <a:pt x="190" y="697"/>
                    <a:pt x="190" y="697"/>
                    <a:pt x="191" y="697"/>
                  </a:cubicBezTo>
                  <a:cubicBezTo>
                    <a:pt x="191" y="696"/>
                    <a:pt x="191" y="696"/>
                    <a:pt x="191" y="695"/>
                  </a:cubicBezTo>
                  <a:cubicBezTo>
                    <a:pt x="192" y="695"/>
                    <a:pt x="192" y="695"/>
                    <a:pt x="192" y="695"/>
                  </a:cubicBezTo>
                  <a:cubicBezTo>
                    <a:pt x="192" y="694"/>
                    <a:pt x="192" y="694"/>
                    <a:pt x="192" y="693"/>
                  </a:cubicBezTo>
                  <a:cubicBezTo>
                    <a:pt x="192" y="688"/>
                    <a:pt x="225" y="694"/>
                    <a:pt x="243" y="694"/>
                  </a:cubicBezTo>
                  <a:cubicBezTo>
                    <a:pt x="244" y="694"/>
                    <a:pt x="245" y="694"/>
                    <a:pt x="246" y="694"/>
                  </a:cubicBezTo>
                  <a:cubicBezTo>
                    <a:pt x="246" y="694"/>
                    <a:pt x="247" y="694"/>
                    <a:pt x="247" y="694"/>
                  </a:cubicBezTo>
                  <a:cubicBezTo>
                    <a:pt x="248" y="694"/>
                    <a:pt x="249" y="695"/>
                    <a:pt x="250" y="695"/>
                  </a:cubicBezTo>
                  <a:cubicBezTo>
                    <a:pt x="251" y="695"/>
                    <a:pt x="251" y="695"/>
                    <a:pt x="251" y="695"/>
                  </a:cubicBezTo>
                  <a:cubicBezTo>
                    <a:pt x="252" y="695"/>
                    <a:pt x="254" y="695"/>
                    <a:pt x="255" y="695"/>
                  </a:cubicBezTo>
                  <a:cubicBezTo>
                    <a:pt x="256" y="695"/>
                    <a:pt x="256" y="695"/>
                    <a:pt x="257" y="695"/>
                  </a:cubicBezTo>
                  <a:cubicBezTo>
                    <a:pt x="258" y="695"/>
                    <a:pt x="259" y="695"/>
                    <a:pt x="261" y="695"/>
                  </a:cubicBezTo>
                  <a:cubicBezTo>
                    <a:pt x="261" y="695"/>
                    <a:pt x="261" y="695"/>
                    <a:pt x="262" y="695"/>
                  </a:cubicBezTo>
                  <a:cubicBezTo>
                    <a:pt x="263" y="696"/>
                    <a:pt x="265" y="696"/>
                    <a:pt x="267" y="696"/>
                  </a:cubicBezTo>
                  <a:cubicBezTo>
                    <a:pt x="267" y="696"/>
                    <a:pt x="268" y="696"/>
                    <a:pt x="268" y="696"/>
                  </a:cubicBezTo>
                  <a:cubicBezTo>
                    <a:pt x="270" y="696"/>
                    <a:pt x="271" y="696"/>
                    <a:pt x="273" y="697"/>
                  </a:cubicBezTo>
                  <a:cubicBezTo>
                    <a:pt x="273" y="697"/>
                    <a:pt x="274" y="697"/>
                    <a:pt x="274" y="697"/>
                  </a:cubicBezTo>
                  <a:cubicBezTo>
                    <a:pt x="276" y="697"/>
                    <a:pt x="278" y="697"/>
                    <a:pt x="280" y="697"/>
                  </a:cubicBezTo>
                  <a:cubicBezTo>
                    <a:pt x="281" y="697"/>
                    <a:pt x="281" y="697"/>
                    <a:pt x="282" y="697"/>
                  </a:cubicBezTo>
                  <a:cubicBezTo>
                    <a:pt x="283" y="698"/>
                    <a:pt x="285" y="698"/>
                    <a:pt x="287" y="698"/>
                  </a:cubicBezTo>
                  <a:cubicBezTo>
                    <a:pt x="287" y="698"/>
                    <a:pt x="288" y="698"/>
                    <a:pt x="288" y="698"/>
                  </a:cubicBezTo>
                  <a:cubicBezTo>
                    <a:pt x="290" y="698"/>
                    <a:pt x="292" y="699"/>
                    <a:pt x="294" y="699"/>
                  </a:cubicBezTo>
                  <a:cubicBezTo>
                    <a:pt x="295" y="699"/>
                    <a:pt x="295" y="699"/>
                    <a:pt x="295" y="699"/>
                  </a:cubicBezTo>
                  <a:cubicBezTo>
                    <a:pt x="297" y="699"/>
                    <a:pt x="299" y="700"/>
                    <a:pt x="301" y="700"/>
                  </a:cubicBezTo>
                  <a:cubicBezTo>
                    <a:pt x="301" y="700"/>
                    <a:pt x="302" y="700"/>
                    <a:pt x="302" y="700"/>
                  </a:cubicBezTo>
                  <a:cubicBezTo>
                    <a:pt x="304" y="700"/>
                    <a:pt x="306" y="700"/>
                    <a:pt x="308" y="701"/>
                  </a:cubicBezTo>
                  <a:cubicBezTo>
                    <a:pt x="310" y="701"/>
                    <a:pt x="312" y="701"/>
                    <a:pt x="314" y="702"/>
                  </a:cubicBezTo>
                  <a:cubicBezTo>
                    <a:pt x="315" y="702"/>
                    <a:pt x="315" y="702"/>
                    <a:pt x="315" y="702"/>
                  </a:cubicBezTo>
                  <a:cubicBezTo>
                    <a:pt x="317" y="702"/>
                    <a:pt x="319" y="702"/>
                    <a:pt x="321" y="702"/>
                  </a:cubicBezTo>
                  <a:cubicBezTo>
                    <a:pt x="321" y="703"/>
                    <a:pt x="321" y="703"/>
                    <a:pt x="322" y="703"/>
                  </a:cubicBezTo>
                  <a:cubicBezTo>
                    <a:pt x="323" y="703"/>
                    <a:pt x="325" y="703"/>
                    <a:pt x="326" y="703"/>
                  </a:cubicBezTo>
                  <a:cubicBezTo>
                    <a:pt x="327" y="703"/>
                    <a:pt x="327" y="703"/>
                    <a:pt x="327" y="703"/>
                  </a:cubicBezTo>
                  <a:cubicBezTo>
                    <a:pt x="329" y="704"/>
                    <a:pt x="330" y="704"/>
                    <a:pt x="332" y="704"/>
                  </a:cubicBezTo>
                  <a:cubicBezTo>
                    <a:pt x="332" y="704"/>
                    <a:pt x="333" y="704"/>
                    <a:pt x="333" y="704"/>
                  </a:cubicBezTo>
                  <a:cubicBezTo>
                    <a:pt x="335" y="705"/>
                    <a:pt x="336" y="705"/>
                    <a:pt x="337" y="705"/>
                  </a:cubicBezTo>
                  <a:cubicBezTo>
                    <a:pt x="361" y="709"/>
                    <a:pt x="391" y="696"/>
                    <a:pt x="409" y="709"/>
                  </a:cubicBezTo>
                  <a:cubicBezTo>
                    <a:pt x="428" y="722"/>
                    <a:pt x="451" y="712"/>
                    <a:pt x="460" y="724"/>
                  </a:cubicBezTo>
                  <a:cubicBezTo>
                    <a:pt x="469" y="736"/>
                    <a:pt x="487" y="738"/>
                    <a:pt x="489" y="721"/>
                  </a:cubicBezTo>
                  <a:cubicBezTo>
                    <a:pt x="490" y="720"/>
                    <a:pt x="490" y="718"/>
                    <a:pt x="490" y="717"/>
                  </a:cubicBezTo>
                  <a:cubicBezTo>
                    <a:pt x="491" y="711"/>
                    <a:pt x="492" y="706"/>
                    <a:pt x="493" y="701"/>
                  </a:cubicBezTo>
                  <a:cubicBezTo>
                    <a:pt x="493" y="701"/>
                    <a:pt x="493" y="701"/>
                    <a:pt x="493" y="701"/>
                  </a:cubicBezTo>
                  <a:cubicBezTo>
                    <a:pt x="488" y="693"/>
                    <a:pt x="490" y="685"/>
                    <a:pt x="488" y="683"/>
                  </a:cubicBezTo>
                  <a:cubicBezTo>
                    <a:pt x="485" y="680"/>
                    <a:pt x="487" y="666"/>
                    <a:pt x="487" y="661"/>
                  </a:cubicBezTo>
                  <a:cubicBezTo>
                    <a:pt x="487" y="656"/>
                    <a:pt x="475" y="647"/>
                    <a:pt x="466" y="644"/>
                  </a:cubicBezTo>
                  <a:cubicBezTo>
                    <a:pt x="457" y="642"/>
                    <a:pt x="443" y="620"/>
                    <a:pt x="438" y="616"/>
                  </a:cubicBezTo>
                  <a:cubicBezTo>
                    <a:pt x="433" y="612"/>
                    <a:pt x="423" y="598"/>
                    <a:pt x="423" y="586"/>
                  </a:cubicBezTo>
                  <a:cubicBezTo>
                    <a:pt x="424" y="574"/>
                    <a:pt x="409" y="550"/>
                    <a:pt x="399" y="544"/>
                  </a:cubicBezTo>
                  <a:cubicBezTo>
                    <a:pt x="389" y="538"/>
                    <a:pt x="395" y="526"/>
                    <a:pt x="393" y="517"/>
                  </a:cubicBezTo>
                  <a:cubicBezTo>
                    <a:pt x="391" y="508"/>
                    <a:pt x="393" y="492"/>
                    <a:pt x="393" y="483"/>
                  </a:cubicBezTo>
                  <a:cubicBezTo>
                    <a:pt x="393" y="474"/>
                    <a:pt x="395" y="466"/>
                    <a:pt x="385" y="461"/>
                  </a:cubicBezTo>
                  <a:cubicBezTo>
                    <a:pt x="376" y="456"/>
                    <a:pt x="382" y="447"/>
                    <a:pt x="390" y="444"/>
                  </a:cubicBezTo>
                  <a:cubicBezTo>
                    <a:pt x="398" y="442"/>
                    <a:pt x="403" y="440"/>
                    <a:pt x="405" y="434"/>
                  </a:cubicBezTo>
                  <a:cubicBezTo>
                    <a:pt x="407" y="427"/>
                    <a:pt x="415" y="422"/>
                    <a:pt x="420" y="412"/>
                  </a:cubicBezTo>
                  <a:cubicBezTo>
                    <a:pt x="425" y="402"/>
                    <a:pt x="431" y="394"/>
                    <a:pt x="433" y="381"/>
                  </a:cubicBezTo>
                  <a:cubicBezTo>
                    <a:pt x="435" y="368"/>
                    <a:pt x="448" y="368"/>
                    <a:pt x="453" y="363"/>
                  </a:cubicBezTo>
                  <a:cubicBezTo>
                    <a:pt x="453" y="363"/>
                    <a:pt x="453" y="362"/>
                    <a:pt x="453" y="362"/>
                  </a:cubicBezTo>
                  <a:cubicBezTo>
                    <a:pt x="454" y="362"/>
                    <a:pt x="454" y="361"/>
                    <a:pt x="454" y="361"/>
                  </a:cubicBezTo>
                  <a:cubicBezTo>
                    <a:pt x="454" y="361"/>
                    <a:pt x="454" y="361"/>
                    <a:pt x="454" y="361"/>
                  </a:cubicBezTo>
                  <a:cubicBezTo>
                    <a:pt x="454" y="360"/>
                    <a:pt x="454" y="360"/>
                    <a:pt x="454" y="359"/>
                  </a:cubicBezTo>
                  <a:cubicBezTo>
                    <a:pt x="454" y="359"/>
                    <a:pt x="454" y="359"/>
                    <a:pt x="454" y="359"/>
                  </a:cubicBezTo>
                  <a:cubicBezTo>
                    <a:pt x="454" y="359"/>
                    <a:pt x="454" y="358"/>
                    <a:pt x="454" y="358"/>
                  </a:cubicBezTo>
                  <a:cubicBezTo>
                    <a:pt x="454" y="358"/>
                    <a:pt x="454" y="358"/>
                    <a:pt x="454" y="358"/>
                  </a:cubicBezTo>
                  <a:cubicBezTo>
                    <a:pt x="454" y="357"/>
                    <a:pt x="454" y="357"/>
                    <a:pt x="454" y="356"/>
                  </a:cubicBezTo>
                  <a:cubicBezTo>
                    <a:pt x="454" y="356"/>
                    <a:pt x="454" y="356"/>
                    <a:pt x="454" y="356"/>
                  </a:cubicBezTo>
                  <a:cubicBezTo>
                    <a:pt x="454" y="355"/>
                    <a:pt x="454" y="355"/>
                    <a:pt x="454" y="354"/>
                  </a:cubicBezTo>
                  <a:cubicBezTo>
                    <a:pt x="454" y="354"/>
                    <a:pt x="454" y="354"/>
                    <a:pt x="454" y="354"/>
                  </a:cubicBezTo>
                  <a:cubicBezTo>
                    <a:pt x="454" y="353"/>
                    <a:pt x="454" y="353"/>
                    <a:pt x="454" y="352"/>
                  </a:cubicBezTo>
                  <a:cubicBezTo>
                    <a:pt x="454" y="352"/>
                    <a:pt x="454" y="352"/>
                    <a:pt x="454" y="352"/>
                  </a:cubicBezTo>
                  <a:cubicBezTo>
                    <a:pt x="454" y="351"/>
                    <a:pt x="454" y="351"/>
                    <a:pt x="454" y="350"/>
                  </a:cubicBezTo>
                  <a:cubicBezTo>
                    <a:pt x="454" y="350"/>
                    <a:pt x="454" y="350"/>
                    <a:pt x="454" y="350"/>
                  </a:cubicBezTo>
                  <a:cubicBezTo>
                    <a:pt x="453" y="349"/>
                    <a:pt x="453" y="349"/>
                    <a:pt x="453" y="348"/>
                  </a:cubicBezTo>
                  <a:cubicBezTo>
                    <a:pt x="453" y="348"/>
                    <a:pt x="453" y="348"/>
                    <a:pt x="453" y="348"/>
                  </a:cubicBezTo>
                  <a:cubicBezTo>
                    <a:pt x="453" y="347"/>
                    <a:pt x="453" y="347"/>
                    <a:pt x="453" y="346"/>
                  </a:cubicBezTo>
                  <a:cubicBezTo>
                    <a:pt x="453" y="346"/>
                    <a:pt x="452" y="346"/>
                    <a:pt x="452" y="346"/>
                  </a:cubicBezTo>
                  <a:cubicBezTo>
                    <a:pt x="452" y="345"/>
                    <a:pt x="452" y="345"/>
                    <a:pt x="452" y="344"/>
                  </a:cubicBezTo>
                  <a:cubicBezTo>
                    <a:pt x="452" y="344"/>
                    <a:pt x="452" y="344"/>
                    <a:pt x="452" y="344"/>
                  </a:cubicBezTo>
                  <a:cubicBezTo>
                    <a:pt x="452" y="343"/>
                    <a:pt x="452" y="343"/>
                    <a:pt x="451" y="343"/>
                  </a:cubicBezTo>
                  <a:cubicBezTo>
                    <a:pt x="451" y="342"/>
                    <a:pt x="451" y="342"/>
                    <a:pt x="451" y="342"/>
                  </a:cubicBezTo>
                  <a:cubicBezTo>
                    <a:pt x="451" y="342"/>
                    <a:pt x="451" y="341"/>
                    <a:pt x="451" y="341"/>
                  </a:cubicBezTo>
                  <a:cubicBezTo>
                    <a:pt x="451" y="341"/>
                    <a:pt x="450" y="340"/>
                    <a:pt x="450" y="340"/>
                  </a:cubicBezTo>
                  <a:cubicBezTo>
                    <a:pt x="450" y="340"/>
                    <a:pt x="450" y="340"/>
                    <a:pt x="450" y="339"/>
                  </a:cubicBezTo>
                  <a:cubicBezTo>
                    <a:pt x="450" y="339"/>
                    <a:pt x="450" y="339"/>
                    <a:pt x="450" y="339"/>
                  </a:cubicBezTo>
                  <a:cubicBezTo>
                    <a:pt x="450" y="339"/>
                    <a:pt x="449" y="338"/>
                    <a:pt x="449" y="338"/>
                  </a:cubicBezTo>
                  <a:cubicBezTo>
                    <a:pt x="449" y="338"/>
                    <a:pt x="449" y="338"/>
                    <a:pt x="449" y="337"/>
                  </a:cubicBezTo>
                  <a:cubicBezTo>
                    <a:pt x="449" y="337"/>
                    <a:pt x="449" y="337"/>
                    <a:pt x="449" y="337"/>
                  </a:cubicBezTo>
                  <a:cubicBezTo>
                    <a:pt x="448" y="337"/>
                    <a:pt x="448" y="337"/>
                    <a:pt x="448" y="336"/>
                  </a:cubicBezTo>
                  <a:cubicBezTo>
                    <a:pt x="445" y="333"/>
                    <a:pt x="439" y="322"/>
                    <a:pt x="439" y="314"/>
                  </a:cubicBezTo>
                  <a:cubicBezTo>
                    <a:pt x="439" y="306"/>
                    <a:pt x="425" y="298"/>
                    <a:pt x="420" y="290"/>
                  </a:cubicBezTo>
                  <a:cubicBezTo>
                    <a:pt x="415" y="283"/>
                    <a:pt x="404" y="278"/>
                    <a:pt x="396" y="272"/>
                  </a:cubicBezTo>
                  <a:cubicBezTo>
                    <a:pt x="388" y="265"/>
                    <a:pt x="370" y="242"/>
                    <a:pt x="359" y="234"/>
                  </a:cubicBezTo>
                  <a:cubicBezTo>
                    <a:pt x="349" y="226"/>
                    <a:pt x="353" y="212"/>
                    <a:pt x="361" y="205"/>
                  </a:cubicBezTo>
                  <a:cubicBezTo>
                    <a:pt x="369" y="198"/>
                    <a:pt x="382" y="204"/>
                    <a:pt x="399" y="202"/>
                  </a:cubicBezTo>
                  <a:cubicBezTo>
                    <a:pt x="415" y="201"/>
                    <a:pt x="441" y="206"/>
                    <a:pt x="456" y="208"/>
                  </a:cubicBezTo>
                  <a:cubicBezTo>
                    <a:pt x="471" y="209"/>
                    <a:pt x="467" y="201"/>
                    <a:pt x="461" y="197"/>
                  </a:cubicBezTo>
                  <a:cubicBezTo>
                    <a:pt x="454" y="193"/>
                    <a:pt x="445" y="191"/>
                    <a:pt x="442" y="186"/>
                  </a:cubicBezTo>
                  <a:cubicBezTo>
                    <a:pt x="439" y="182"/>
                    <a:pt x="439" y="178"/>
                    <a:pt x="431" y="173"/>
                  </a:cubicBezTo>
                  <a:cubicBezTo>
                    <a:pt x="423" y="168"/>
                    <a:pt x="425" y="158"/>
                    <a:pt x="420" y="150"/>
                  </a:cubicBezTo>
                  <a:cubicBezTo>
                    <a:pt x="415" y="142"/>
                    <a:pt x="417" y="131"/>
                    <a:pt x="422" y="125"/>
                  </a:cubicBezTo>
                  <a:cubicBezTo>
                    <a:pt x="427" y="119"/>
                    <a:pt x="425" y="103"/>
                    <a:pt x="425" y="93"/>
                  </a:cubicBezTo>
                  <a:cubicBezTo>
                    <a:pt x="425" y="83"/>
                    <a:pt x="424" y="71"/>
                    <a:pt x="419" y="67"/>
                  </a:cubicBezTo>
                  <a:cubicBezTo>
                    <a:pt x="415" y="63"/>
                    <a:pt x="413" y="58"/>
                    <a:pt x="413" y="52"/>
                  </a:cubicBezTo>
                  <a:cubicBezTo>
                    <a:pt x="413" y="45"/>
                    <a:pt x="411" y="38"/>
                    <a:pt x="405" y="34"/>
                  </a:cubicBezTo>
                  <a:cubicBezTo>
                    <a:pt x="399" y="29"/>
                    <a:pt x="404" y="24"/>
                    <a:pt x="395" y="20"/>
                  </a:cubicBezTo>
                  <a:cubicBezTo>
                    <a:pt x="387" y="16"/>
                    <a:pt x="383" y="14"/>
                    <a:pt x="381" y="6"/>
                  </a:cubicBezTo>
                  <a:cubicBezTo>
                    <a:pt x="380" y="0"/>
                    <a:pt x="367" y="0"/>
                    <a:pt x="358" y="0"/>
                  </a:cubicBezTo>
                  <a:cubicBezTo>
                    <a:pt x="358" y="0"/>
                    <a:pt x="358" y="0"/>
                    <a:pt x="358" y="0"/>
                  </a:cubicBezTo>
                  <a:cubicBezTo>
                    <a:pt x="359" y="1"/>
                    <a:pt x="359" y="3"/>
                    <a:pt x="359" y="4"/>
                  </a:cubicBezTo>
                  <a:cubicBezTo>
                    <a:pt x="359" y="5"/>
                    <a:pt x="359" y="5"/>
                    <a:pt x="359" y="5"/>
                  </a:cubicBezTo>
                  <a:cubicBezTo>
                    <a:pt x="360" y="6"/>
                    <a:pt x="360" y="7"/>
                    <a:pt x="360" y="9"/>
                  </a:cubicBezTo>
                  <a:cubicBezTo>
                    <a:pt x="360" y="9"/>
                    <a:pt x="360" y="9"/>
                    <a:pt x="360" y="9"/>
                  </a:cubicBezTo>
                  <a:cubicBezTo>
                    <a:pt x="360" y="11"/>
                    <a:pt x="360" y="12"/>
                    <a:pt x="360" y="13"/>
                  </a:cubicBezTo>
                  <a:cubicBezTo>
                    <a:pt x="360" y="13"/>
                    <a:pt x="360" y="13"/>
                    <a:pt x="360" y="14"/>
                  </a:cubicBezTo>
                  <a:cubicBezTo>
                    <a:pt x="360" y="15"/>
                    <a:pt x="360" y="16"/>
                    <a:pt x="360" y="18"/>
                  </a:cubicBezTo>
                  <a:cubicBezTo>
                    <a:pt x="359" y="26"/>
                    <a:pt x="364" y="32"/>
                    <a:pt x="366" y="43"/>
                  </a:cubicBezTo>
                  <a:cubicBezTo>
                    <a:pt x="368" y="55"/>
                    <a:pt x="375" y="50"/>
                    <a:pt x="386" y="54"/>
                  </a:cubicBezTo>
                  <a:cubicBezTo>
                    <a:pt x="397" y="59"/>
                    <a:pt x="392" y="91"/>
                    <a:pt x="392" y="99"/>
                  </a:cubicBezTo>
                  <a:cubicBezTo>
                    <a:pt x="392" y="107"/>
                    <a:pt x="376" y="116"/>
                    <a:pt x="360" y="119"/>
                  </a:cubicBezTo>
                  <a:cubicBezTo>
                    <a:pt x="345" y="121"/>
                    <a:pt x="338" y="137"/>
                    <a:pt x="332" y="146"/>
                  </a:cubicBezTo>
                  <a:cubicBezTo>
                    <a:pt x="327" y="155"/>
                    <a:pt x="323" y="171"/>
                    <a:pt x="321" y="185"/>
                  </a:cubicBezTo>
                  <a:cubicBezTo>
                    <a:pt x="319" y="198"/>
                    <a:pt x="313" y="200"/>
                    <a:pt x="310" y="213"/>
                  </a:cubicBezTo>
                  <a:cubicBezTo>
                    <a:pt x="306" y="227"/>
                    <a:pt x="306" y="229"/>
                    <a:pt x="293" y="231"/>
                  </a:cubicBezTo>
                  <a:cubicBezTo>
                    <a:pt x="280" y="234"/>
                    <a:pt x="278" y="251"/>
                    <a:pt x="278" y="262"/>
                  </a:cubicBezTo>
                  <a:cubicBezTo>
                    <a:pt x="278" y="272"/>
                    <a:pt x="264" y="287"/>
                    <a:pt x="255" y="294"/>
                  </a:cubicBezTo>
                  <a:cubicBezTo>
                    <a:pt x="247" y="302"/>
                    <a:pt x="245" y="307"/>
                    <a:pt x="244" y="318"/>
                  </a:cubicBezTo>
                  <a:cubicBezTo>
                    <a:pt x="243" y="328"/>
                    <a:pt x="239" y="341"/>
                    <a:pt x="228" y="357"/>
                  </a:cubicBezTo>
                  <a:cubicBezTo>
                    <a:pt x="216" y="373"/>
                    <a:pt x="225" y="384"/>
                    <a:pt x="213" y="390"/>
                  </a:cubicBezTo>
                  <a:cubicBezTo>
                    <a:pt x="202" y="397"/>
                    <a:pt x="199" y="408"/>
                    <a:pt x="195" y="420"/>
                  </a:cubicBezTo>
                  <a:cubicBezTo>
                    <a:pt x="191" y="432"/>
                    <a:pt x="181" y="432"/>
                    <a:pt x="172" y="430"/>
                  </a:cubicBezTo>
                  <a:cubicBezTo>
                    <a:pt x="163" y="429"/>
                    <a:pt x="167" y="418"/>
                    <a:pt x="167" y="413"/>
                  </a:cubicBezTo>
                  <a:cubicBezTo>
                    <a:pt x="168" y="409"/>
                    <a:pt x="167" y="404"/>
                    <a:pt x="161" y="400"/>
                  </a:cubicBezTo>
                  <a:cubicBezTo>
                    <a:pt x="155" y="397"/>
                    <a:pt x="149" y="393"/>
                    <a:pt x="141" y="388"/>
                  </a:cubicBezTo>
                  <a:cubicBezTo>
                    <a:pt x="133" y="384"/>
                    <a:pt x="132" y="397"/>
                    <a:pt x="127" y="401"/>
                  </a:cubicBezTo>
                  <a:cubicBezTo>
                    <a:pt x="123" y="405"/>
                    <a:pt x="118" y="401"/>
                    <a:pt x="106" y="398"/>
                  </a:cubicBezTo>
                  <a:cubicBezTo>
                    <a:pt x="94" y="395"/>
                    <a:pt x="87" y="410"/>
                    <a:pt x="81" y="420"/>
                  </a:cubicBezTo>
                  <a:cubicBezTo>
                    <a:pt x="74" y="429"/>
                    <a:pt x="69" y="434"/>
                    <a:pt x="59" y="437"/>
                  </a:cubicBezTo>
                  <a:cubicBezTo>
                    <a:pt x="50" y="440"/>
                    <a:pt x="40" y="456"/>
                    <a:pt x="32" y="461"/>
                  </a:cubicBezTo>
                  <a:cubicBezTo>
                    <a:pt x="24" y="466"/>
                    <a:pt x="27" y="486"/>
                    <a:pt x="27" y="498"/>
                  </a:cubicBezTo>
                  <a:cubicBezTo>
                    <a:pt x="27" y="510"/>
                    <a:pt x="20" y="521"/>
                    <a:pt x="10" y="527"/>
                  </a:cubicBezTo>
                  <a:cubicBezTo>
                    <a:pt x="3" y="530"/>
                    <a:pt x="1" y="540"/>
                    <a:pt x="0" y="546"/>
                  </a:cubicBezTo>
                  <a:cubicBezTo>
                    <a:pt x="9" y="547"/>
                    <a:pt x="18" y="549"/>
                    <a:pt x="23" y="558"/>
                  </a:cubicBezTo>
                  <a:cubicBezTo>
                    <a:pt x="34" y="578"/>
                    <a:pt x="32" y="585"/>
                    <a:pt x="54" y="585"/>
                  </a:cubicBezTo>
                  <a:cubicBezTo>
                    <a:pt x="75" y="585"/>
                    <a:pt x="84" y="588"/>
                    <a:pt x="85" y="603"/>
                  </a:cubicBezTo>
                  <a:cubicBezTo>
                    <a:pt x="86" y="618"/>
                    <a:pt x="88" y="622"/>
                    <a:pt x="94" y="630"/>
                  </a:cubicBezTo>
                  <a:cubicBezTo>
                    <a:pt x="99" y="638"/>
                    <a:pt x="103" y="643"/>
                    <a:pt x="98" y="652"/>
                  </a:cubicBezTo>
                  <a:cubicBezTo>
                    <a:pt x="93" y="660"/>
                    <a:pt x="81" y="672"/>
                    <a:pt x="87" y="686"/>
                  </a:cubicBezTo>
                  <a:cubicBezTo>
                    <a:pt x="89" y="690"/>
                    <a:pt x="90" y="694"/>
                    <a:pt x="91" y="698"/>
                  </a:cubicBezTo>
                  <a:cubicBezTo>
                    <a:pt x="97" y="701"/>
                    <a:pt x="103" y="703"/>
                    <a:pt x="107" y="704"/>
                  </a:cubicBezTo>
                  <a:cubicBezTo>
                    <a:pt x="116" y="706"/>
                    <a:pt x="145" y="705"/>
                    <a:pt x="164" y="70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513" name="Freeform 25708"/>
            <p:cNvSpPr>
              <a:spLocks/>
            </p:cNvSpPr>
            <p:nvPr/>
          </p:nvSpPr>
          <p:spPr bwMode="auto">
            <a:xfrm>
              <a:off x="4623454" y="3567584"/>
              <a:ext cx="307618" cy="209604"/>
            </a:xfrm>
            <a:custGeom>
              <a:avLst/>
              <a:gdLst>
                <a:gd name="T0" fmla="*/ 765 w 825"/>
                <a:gd name="T1" fmla="*/ 282 h 562"/>
                <a:gd name="T2" fmla="*/ 697 w 825"/>
                <a:gd name="T3" fmla="*/ 222 h 562"/>
                <a:gd name="T4" fmla="*/ 641 w 825"/>
                <a:gd name="T5" fmla="*/ 179 h 562"/>
                <a:gd name="T6" fmla="*/ 576 w 825"/>
                <a:gd name="T7" fmla="*/ 130 h 562"/>
                <a:gd name="T8" fmla="*/ 592 w 825"/>
                <a:gd name="T9" fmla="*/ 69 h 562"/>
                <a:gd name="T10" fmla="*/ 549 w 825"/>
                <a:gd name="T11" fmla="*/ 21 h 562"/>
                <a:gd name="T12" fmla="*/ 547 w 825"/>
                <a:gd name="T13" fmla="*/ 17 h 562"/>
                <a:gd name="T14" fmla="*/ 545 w 825"/>
                <a:gd name="T15" fmla="*/ 13 h 562"/>
                <a:gd name="T16" fmla="*/ 544 w 825"/>
                <a:gd name="T17" fmla="*/ 9 h 562"/>
                <a:gd name="T18" fmla="*/ 545 w 825"/>
                <a:gd name="T19" fmla="*/ 0 h 562"/>
                <a:gd name="T20" fmla="*/ 460 w 825"/>
                <a:gd name="T21" fmla="*/ 53 h 562"/>
                <a:gd name="T22" fmla="*/ 360 w 825"/>
                <a:gd name="T23" fmla="*/ 123 h 562"/>
                <a:gd name="T24" fmla="*/ 291 w 825"/>
                <a:gd name="T25" fmla="*/ 140 h 562"/>
                <a:gd name="T26" fmla="*/ 268 w 825"/>
                <a:gd name="T27" fmla="*/ 186 h 562"/>
                <a:gd name="T28" fmla="*/ 171 w 825"/>
                <a:gd name="T29" fmla="*/ 220 h 562"/>
                <a:gd name="T30" fmla="*/ 134 w 825"/>
                <a:gd name="T31" fmla="*/ 207 h 562"/>
                <a:gd name="T32" fmla="*/ 92 w 825"/>
                <a:gd name="T33" fmla="*/ 226 h 562"/>
                <a:gd name="T34" fmla="*/ 57 w 825"/>
                <a:gd name="T35" fmla="*/ 242 h 562"/>
                <a:gd name="T36" fmla="*/ 14 w 825"/>
                <a:gd name="T37" fmla="*/ 305 h 562"/>
                <a:gd name="T38" fmla="*/ 17 w 825"/>
                <a:gd name="T39" fmla="*/ 378 h 562"/>
                <a:gd name="T40" fmla="*/ 62 w 825"/>
                <a:gd name="T41" fmla="*/ 477 h 562"/>
                <a:gd name="T42" fmla="*/ 112 w 825"/>
                <a:gd name="T43" fmla="*/ 544 h 562"/>
                <a:gd name="T44" fmla="*/ 120 w 825"/>
                <a:gd name="T45" fmla="*/ 553 h 562"/>
                <a:gd name="T46" fmla="*/ 122 w 825"/>
                <a:gd name="T47" fmla="*/ 550 h 562"/>
                <a:gd name="T48" fmla="*/ 125 w 825"/>
                <a:gd name="T49" fmla="*/ 547 h 562"/>
                <a:gd name="T50" fmla="*/ 128 w 825"/>
                <a:gd name="T51" fmla="*/ 545 h 562"/>
                <a:gd name="T52" fmla="*/ 165 w 825"/>
                <a:gd name="T53" fmla="*/ 475 h 562"/>
                <a:gd name="T54" fmla="*/ 267 w 825"/>
                <a:gd name="T55" fmla="*/ 483 h 562"/>
                <a:gd name="T56" fmla="*/ 273 w 825"/>
                <a:gd name="T57" fmla="*/ 479 h 562"/>
                <a:gd name="T58" fmla="*/ 276 w 825"/>
                <a:gd name="T59" fmla="*/ 467 h 562"/>
                <a:gd name="T60" fmla="*/ 275 w 825"/>
                <a:gd name="T61" fmla="*/ 458 h 562"/>
                <a:gd name="T62" fmla="*/ 308 w 825"/>
                <a:gd name="T63" fmla="*/ 390 h 562"/>
                <a:gd name="T64" fmla="*/ 412 w 825"/>
                <a:gd name="T65" fmla="*/ 427 h 562"/>
                <a:gd name="T66" fmla="*/ 527 w 825"/>
                <a:gd name="T67" fmla="*/ 429 h 562"/>
                <a:gd name="T68" fmla="*/ 619 w 825"/>
                <a:gd name="T69" fmla="*/ 390 h 562"/>
                <a:gd name="T70" fmla="*/ 687 w 825"/>
                <a:gd name="T71" fmla="*/ 387 h 562"/>
                <a:gd name="T72" fmla="*/ 741 w 825"/>
                <a:gd name="T73" fmla="*/ 373 h 562"/>
                <a:gd name="T74" fmla="*/ 808 w 825"/>
                <a:gd name="T75" fmla="*/ 374 h 562"/>
                <a:gd name="T76" fmla="*/ 811 w 825"/>
                <a:gd name="T77" fmla="*/ 372 h 562"/>
                <a:gd name="T78" fmla="*/ 814 w 825"/>
                <a:gd name="T79" fmla="*/ 370 h 562"/>
                <a:gd name="T80" fmla="*/ 817 w 825"/>
                <a:gd name="T81" fmla="*/ 369 h 562"/>
                <a:gd name="T82" fmla="*/ 820 w 825"/>
                <a:gd name="T83" fmla="*/ 369 h 562"/>
                <a:gd name="T84" fmla="*/ 810 w 825"/>
                <a:gd name="T85" fmla="*/ 337 h 5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825" h="562">
                  <a:moveTo>
                    <a:pt x="810" y="337"/>
                  </a:moveTo>
                  <a:cubicBezTo>
                    <a:pt x="807" y="330"/>
                    <a:pt x="783" y="321"/>
                    <a:pt x="771" y="313"/>
                  </a:cubicBezTo>
                  <a:cubicBezTo>
                    <a:pt x="759" y="305"/>
                    <a:pt x="765" y="294"/>
                    <a:pt x="765" y="282"/>
                  </a:cubicBezTo>
                  <a:cubicBezTo>
                    <a:pt x="765" y="270"/>
                    <a:pt x="751" y="261"/>
                    <a:pt x="740" y="259"/>
                  </a:cubicBezTo>
                  <a:cubicBezTo>
                    <a:pt x="729" y="257"/>
                    <a:pt x="723" y="251"/>
                    <a:pt x="713" y="245"/>
                  </a:cubicBezTo>
                  <a:cubicBezTo>
                    <a:pt x="703" y="239"/>
                    <a:pt x="697" y="231"/>
                    <a:pt x="697" y="222"/>
                  </a:cubicBezTo>
                  <a:cubicBezTo>
                    <a:pt x="697" y="213"/>
                    <a:pt x="698" y="201"/>
                    <a:pt x="687" y="200"/>
                  </a:cubicBezTo>
                  <a:cubicBezTo>
                    <a:pt x="676" y="199"/>
                    <a:pt x="671" y="194"/>
                    <a:pt x="668" y="183"/>
                  </a:cubicBezTo>
                  <a:cubicBezTo>
                    <a:pt x="665" y="172"/>
                    <a:pt x="660" y="179"/>
                    <a:pt x="641" y="179"/>
                  </a:cubicBezTo>
                  <a:cubicBezTo>
                    <a:pt x="622" y="179"/>
                    <a:pt x="625" y="165"/>
                    <a:pt x="625" y="154"/>
                  </a:cubicBezTo>
                  <a:cubicBezTo>
                    <a:pt x="625" y="143"/>
                    <a:pt x="611" y="148"/>
                    <a:pt x="591" y="148"/>
                  </a:cubicBezTo>
                  <a:cubicBezTo>
                    <a:pt x="571" y="148"/>
                    <a:pt x="577" y="138"/>
                    <a:pt x="576" y="130"/>
                  </a:cubicBezTo>
                  <a:cubicBezTo>
                    <a:pt x="575" y="122"/>
                    <a:pt x="579" y="116"/>
                    <a:pt x="589" y="111"/>
                  </a:cubicBezTo>
                  <a:cubicBezTo>
                    <a:pt x="599" y="106"/>
                    <a:pt x="596" y="98"/>
                    <a:pt x="596" y="90"/>
                  </a:cubicBezTo>
                  <a:cubicBezTo>
                    <a:pt x="596" y="82"/>
                    <a:pt x="598" y="70"/>
                    <a:pt x="592" y="69"/>
                  </a:cubicBezTo>
                  <a:cubicBezTo>
                    <a:pt x="586" y="68"/>
                    <a:pt x="579" y="62"/>
                    <a:pt x="579" y="53"/>
                  </a:cubicBezTo>
                  <a:cubicBezTo>
                    <a:pt x="579" y="44"/>
                    <a:pt x="566" y="34"/>
                    <a:pt x="552" y="23"/>
                  </a:cubicBezTo>
                  <a:cubicBezTo>
                    <a:pt x="551" y="22"/>
                    <a:pt x="550" y="21"/>
                    <a:pt x="549" y="21"/>
                  </a:cubicBezTo>
                  <a:cubicBezTo>
                    <a:pt x="549" y="20"/>
                    <a:pt x="549" y="20"/>
                    <a:pt x="549" y="20"/>
                  </a:cubicBezTo>
                  <a:cubicBezTo>
                    <a:pt x="548" y="19"/>
                    <a:pt x="548" y="19"/>
                    <a:pt x="547" y="18"/>
                  </a:cubicBezTo>
                  <a:cubicBezTo>
                    <a:pt x="547" y="18"/>
                    <a:pt x="547" y="17"/>
                    <a:pt x="547" y="17"/>
                  </a:cubicBezTo>
                  <a:cubicBezTo>
                    <a:pt x="547" y="17"/>
                    <a:pt x="546" y="16"/>
                    <a:pt x="546" y="15"/>
                  </a:cubicBezTo>
                  <a:cubicBezTo>
                    <a:pt x="546" y="15"/>
                    <a:pt x="546" y="15"/>
                    <a:pt x="546" y="14"/>
                  </a:cubicBezTo>
                  <a:cubicBezTo>
                    <a:pt x="545" y="14"/>
                    <a:pt x="545" y="13"/>
                    <a:pt x="545" y="13"/>
                  </a:cubicBezTo>
                  <a:cubicBezTo>
                    <a:pt x="545" y="12"/>
                    <a:pt x="545" y="12"/>
                    <a:pt x="545" y="12"/>
                  </a:cubicBezTo>
                  <a:cubicBezTo>
                    <a:pt x="545" y="11"/>
                    <a:pt x="544" y="10"/>
                    <a:pt x="544" y="10"/>
                  </a:cubicBezTo>
                  <a:cubicBezTo>
                    <a:pt x="544" y="9"/>
                    <a:pt x="544" y="9"/>
                    <a:pt x="544" y="9"/>
                  </a:cubicBezTo>
                  <a:cubicBezTo>
                    <a:pt x="544" y="8"/>
                    <a:pt x="544" y="7"/>
                    <a:pt x="544" y="6"/>
                  </a:cubicBezTo>
                  <a:cubicBezTo>
                    <a:pt x="544" y="6"/>
                    <a:pt x="544" y="6"/>
                    <a:pt x="544" y="6"/>
                  </a:cubicBezTo>
                  <a:cubicBezTo>
                    <a:pt x="544" y="4"/>
                    <a:pt x="544" y="2"/>
                    <a:pt x="545" y="0"/>
                  </a:cubicBezTo>
                  <a:cubicBezTo>
                    <a:pt x="535" y="0"/>
                    <a:pt x="521" y="1"/>
                    <a:pt x="514" y="1"/>
                  </a:cubicBezTo>
                  <a:cubicBezTo>
                    <a:pt x="503" y="1"/>
                    <a:pt x="500" y="9"/>
                    <a:pt x="486" y="15"/>
                  </a:cubicBezTo>
                  <a:cubicBezTo>
                    <a:pt x="472" y="21"/>
                    <a:pt x="472" y="46"/>
                    <a:pt x="460" y="53"/>
                  </a:cubicBezTo>
                  <a:cubicBezTo>
                    <a:pt x="449" y="60"/>
                    <a:pt x="439" y="68"/>
                    <a:pt x="428" y="81"/>
                  </a:cubicBezTo>
                  <a:cubicBezTo>
                    <a:pt x="416" y="94"/>
                    <a:pt x="408" y="102"/>
                    <a:pt x="393" y="112"/>
                  </a:cubicBezTo>
                  <a:cubicBezTo>
                    <a:pt x="379" y="123"/>
                    <a:pt x="367" y="119"/>
                    <a:pt x="360" y="123"/>
                  </a:cubicBezTo>
                  <a:cubicBezTo>
                    <a:pt x="353" y="128"/>
                    <a:pt x="329" y="125"/>
                    <a:pt x="315" y="124"/>
                  </a:cubicBezTo>
                  <a:cubicBezTo>
                    <a:pt x="301" y="123"/>
                    <a:pt x="305" y="128"/>
                    <a:pt x="296" y="130"/>
                  </a:cubicBezTo>
                  <a:cubicBezTo>
                    <a:pt x="288" y="132"/>
                    <a:pt x="283" y="136"/>
                    <a:pt x="291" y="140"/>
                  </a:cubicBezTo>
                  <a:cubicBezTo>
                    <a:pt x="300" y="143"/>
                    <a:pt x="302" y="145"/>
                    <a:pt x="303" y="150"/>
                  </a:cubicBezTo>
                  <a:cubicBezTo>
                    <a:pt x="305" y="155"/>
                    <a:pt x="302" y="155"/>
                    <a:pt x="294" y="161"/>
                  </a:cubicBezTo>
                  <a:cubicBezTo>
                    <a:pt x="286" y="167"/>
                    <a:pt x="278" y="176"/>
                    <a:pt x="268" y="186"/>
                  </a:cubicBezTo>
                  <a:cubicBezTo>
                    <a:pt x="259" y="196"/>
                    <a:pt x="232" y="192"/>
                    <a:pt x="216" y="192"/>
                  </a:cubicBezTo>
                  <a:cubicBezTo>
                    <a:pt x="201" y="192"/>
                    <a:pt x="202" y="199"/>
                    <a:pt x="191" y="199"/>
                  </a:cubicBezTo>
                  <a:cubicBezTo>
                    <a:pt x="180" y="200"/>
                    <a:pt x="178" y="206"/>
                    <a:pt x="171" y="220"/>
                  </a:cubicBezTo>
                  <a:cubicBezTo>
                    <a:pt x="164" y="234"/>
                    <a:pt x="160" y="220"/>
                    <a:pt x="153" y="219"/>
                  </a:cubicBezTo>
                  <a:cubicBezTo>
                    <a:pt x="147" y="218"/>
                    <a:pt x="150" y="212"/>
                    <a:pt x="150" y="204"/>
                  </a:cubicBezTo>
                  <a:cubicBezTo>
                    <a:pt x="150" y="195"/>
                    <a:pt x="139" y="201"/>
                    <a:pt x="134" y="207"/>
                  </a:cubicBezTo>
                  <a:cubicBezTo>
                    <a:pt x="130" y="213"/>
                    <a:pt x="127" y="215"/>
                    <a:pt x="120" y="216"/>
                  </a:cubicBezTo>
                  <a:cubicBezTo>
                    <a:pt x="113" y="217"/>
                    <a:pt x="108" y="217"/>
                    <a:pt x="107" y="221"/>
                  </a:cubicBezTo>
                  <a:cubicBezTo>
                    <a:pt x="105" y="226"/>
                    <a:pt x="102" y="226"/>
                    <a:pt x="92" y="226"/>
                  </a:cubicBezTo>
                  <a:cubicBezTo>
                    <a:pt x="87" y="226"/>
                    <a:pt x="81" y="225"/>
                    <a:pt x="77" y="223"/>
                  </a:cubicBezTo>
                  <a:cubicBezTo>
                    <a:pt x="77" y="223"/>
                    <a:pt x="77" y="224"/>
                    <a:pt x="77" y="224"/>
                  </a:cubicBezTo>
                  <a:cubicBezTo>
                    <a:pt x="72" y="229"/>
                    <a:pt x="59" y="229"/>
                    <a:pt x="57" y="242"/>
                  </a:cubicBezTo>
                  <a:cubicBezTo>
                    <a:pt x="55" y="255"/>
                    <a:pt x="49" y="263"/>
                    <a:pt x="44" y="273"/>
                  </a:cubicBezTo>
                  <a:cubicBezTo>
                    <a:pt x="39" y="283"/>
                    <a:pt x="31" y="288"/>
                    <a:pt x="29" y="295"/>
                  </a:cubicBezTo>
                  <a:cubicBezTo>
                    <a:pt x="27" y="301"/>
                    <a:pt x="22" y="303"/>
                    <a:pt x="14" y="305"/>
                  </a:cubicBezTo>
                  <a:cubicBezTo>
                    <a:pt x="6" y="308"/>
                    <a:pt x="0" y="317"/>
                    <a:pt x="9" y="322"/>
                  </a:cubicBezTo>
                  <a:cubicBezTo>
                    <a:pt x="19" y="327"/>
                    <a:pt x="17" y="335"/>
                    <a:pt x="17" y="344"/>
                  </a:cubicBezTo>
                  <a:cubicBezTo>
                    <a:pt x="17" y="353"/>
                    <a:pt x="15" y="369"/>
                    <a:pt x="17" y="378"/>
                  </a:cubicBezTo>
                  <a:cubicBezTo>
                    <a:pt x="19" y="387"/>
                    <a:pt x="13" y="399"/>
                    <a:pt x="23" y="405"/>
                  </a:cubicBezTo>
                  <a:cubicBezTo>
                    <a:pt x="33" y="411"/>
                    <a:pt x="48" y="435"/>
                    <a:pt x="47" y="447"/>
                  </a:cubicBezTo>
                  <a:cubicBezTo>
                    <a:pt x="47" y="459"/>
                    <a:pt x="57" y="473"/>
                    <a:pt x="62" y="477"/>
                  </a:cubicBezTo>
                  <a:cubicBezTo>
                    <a:pt x="67" y="481"/>
                    <a:pt x="81" y="503"/>
                    <a:pt x="90" y="505"/>
                  </a:cubicBezTo>
                  <a:cubicBezTo>
                    <a:pt x="99" y="508"/>
                    <a:pt x="111" y="517"/>
                    <a:pt x="111" y="522"/>
                  </a:cubicBezTo>
                  <a:cubicBezTo>
                    <a:pt x="111" y="527"/>
                    <a:pt x="109" y="541"/>
                    <a:pt x="112" y="544"/>
                  </a:cubicBezTo>
                  <a:cubicBezTo>
                    <a:pt x="114" y="546"/>
                    <a:pt x="112" y="554"/>
                    <a:pt x="117" y="562"/>
                  </a:cubicBezTo>
                  <a:cubicBezTo>
                    <a:pt x="117" y="562"/>
                    <a:pt x="117" y="562"/>
                    <a:pt x="117" y="562"/>
                  </a:cubicBezTo>
                  <a:cubicBezTo>
                    <a:pt x="118" y="559"/>
                    <a:pt x="119" y="556"/>
                    <a:pt x="120" y="553"/>
                  </a:cubicBezTo>
                  <a:cubicBezTo>
                    <a:pt x="120" y="553"/>
                    <a:pt x="120" y="553"/>
                    <a:pt x="120" y="553"/>
                  </a:cubicBezTo>
                  <a:cubicBezTo>
                    <a:pt x="121" y="552"/>
                    <a:pt x="121" y="551"/>
                    <a:pt x="122" y="551"/>
                  </a:cubicBezTo>
                  <a:cubicBezTo>
                    <a:pt x="122" y="551"/>
                    <a:pt x="122" y="550"/>
                    <a:pt x="122" y="550"/>
                  </a:cubicBezTo>
                  <a:cubicBezTo>
                    <a:pt x="122" y="550"/>
                    <a:pt x="123" y="549"/>
                    <a:pt x="123" y="549"/>
                  </a:cubicBezTo>
                  <a:cubicBezTo>
                    <a:pt x="123" y="548"/>
                    <a:pt x="124" y="548"/>
                    <a:pt x="124" y="548"/>
                  </a:cubicBezTo>
                  <a:cubicBezTo>
                    <a:pt x="124" y="548"/>
                    <a:pt x="125" y="547"/>
                    <a:pt x="125" y="547"/>
                  </a:cubicBezTo>
                  <a:cubicBezTo>
                    <a:pt x="125" y="547"/>
                    <a:pt x="126" y="546"/>
                    <a:pt x="126" y="546"/>
                  </a:cubicBezTo>
                  <a:cubicBezTo>
                    <a:pt x="126" y="546"/>
                    <a:pt x="127" y="545"/>
                    <a:pt x="127" y="545"/>
                  </a:cubicBezTo>
                  <a:cubicBezTo>
                    <a:pt x="128" y="545"/>
                    <a:pt x="128" y="545"/>
                    <a:pt x="128" y="545"/>
                  </a:cubicBezTo>
                  <a:cubicBezTo>
                    <a:pt x="129" y="544"/>
                    <a:pt x="130" y="544"/>
                    <a:pt x="131" y="543"/>
                  </a:cubicBezTo>
                  <a:cubicBezTo>
                    <a:pt x="144" y="538"/>
                    <a:pt x="137" y="531"/>
                    <a:pt x="141" y="517"/>
                  </a:cubicBezTo>
                  <a:cubicBezTo>
                    <a:pt x="145" y="502"/>
                    <a:pt x="135" y="474"/>
                    <a:pt x="165" y="475"/>
                  </a:cubicBezTo>
                  <a:cubicBezTo>
                    <a:pt x="196" y="477"/>
                    <a:pt x="196" y="465"/>
                    <a:pt x="212" y="471"/>
                  </a:cubicBezTo>
                  <a:cubicBezTo>
                    <a:pt x="228" y="478"/>
                    <a:pt x="256" y="483"/>
                    <a:pt x="265" y="483"/>
                  </a:cubicBezTo>
                  <a:cubicBezTo>
                    <a:pt x="266" y="483"/>
                    <a:pt x="266" y="483"/>
                    <a:pt x="267" y="483"/>
                  </a:cubicBezTo>
                  <a:cubicBezTo>
                    <a:pt x="269" y="483"/>
                    <a:pt x="270" y="482"/>
                    <a:pt x="271" y="481"/>
                  </a:cubicBezTo>
                  <a:cubicBezTo>
                    <a:pt x="272" y="481"/>
                    <a:pt x="272" y="480"/>
                    <a:pt x="272" y="479"/>
                  </a:cubicBezTo>
                  <a:cubicBezTo>
                    <a:pt x="273" y="479"/>
                    <a:pt x="273" y="479"/>
                    <a:pt x="273" y="479"/>
                  </a:cubicBezTo>
                  <a:cubicBezTo>
                    <a:pt x="274" y="477"/>
                    <a:pt x="274" y="476"/>
                    <a:pt x="275" y="474"/>
                  </a:cubicBezTo>
                  <a:cubicBezTo>
                    <a:pt x="275" y="474"/>
                    <a:pt x="275" y="474"/>
                    <a:pt x="275" y="473"/>
                  </a:cubicBezTo>
                  <a:cubicBezTo>
                    <a:pt x="275" y="471"/>
                    <a:pt x="276" y="469"/>
                    <a:pt x="276" y="467"/>
                  </a:cubicBezTo>
                  <a:cubicBezTo>
                    <a:pt x="276" y="467"/>
                    <a:pt x="276" y="467"/>
                    <a:pt x="276" y="466"/>
                  </a:cubicBezTo>
                  <a:cubicBezTo>
                    <a:pt x="276" y="464"/>
                    <a:pt x="276" y="461"/>
                    <a:pt x="275" y="459"/>
                  </a:cubicBezTo>
                  <a:cubicBezTo>
                    <a:pt x="275" y="459"/>
                    <a:pt x="275" y="458"/>
                    <a:pt x="275" y="458"/>
                  </a:cubicBezTo>
                  <a:cubicBezTo>
                    <a:pt x="275" y="457"/>
                    <a:pt x="275" y="455"/>
                    <a:pt x="275" y="454"/>
                  </a:cubicBezTo>
                  <a:cubicBezTo>
                    <a:pt x="272" y="438"/>
                    <a:pt x="255" y="430"/>
                    <a:pt x="281" y="417"/>
                  </a:cubicBezTo>
                  <a:cubicBezTo>
                    <a:pt x="308" y="403"/>
                    <a:pt x="299" y="405"/>
                    <a:pt x="308" y="390"/>
                  </a:cubicBezTo>
                  <a:cubicBezTo>
                    <a:pt x="317" y="375"/>
                    <a:pt x="345" y="369"/>
                    <a:pt x="360" y="382"/>
                  </a:cubicBezTo>
                  <a:cubicBezTo>
                    <a:pt x="375" y="395"/>
                    <a:pt x="383" y="401"/>
                    <a:pt x="387" y="413"/>
                  </a:cubicBezTo>
                  <a:cubicBezTo>
                    <a:pt x="391" y="425"/>
                    <a:pt x="397" y="427"/>
                    <a:pt x="412" y="427"/>
                  </a:cubicBezTo>
                  <a:cubicBezTo>
                    <a:pt x="427" y="427"/>
                    <a:pt x="427" y="433"/>
                    <a:pt x="448" y="435"/>
                  </a:cubicBezTo>
                  <a:cubicBezTo>
                    <a:pt x="469" y="438"/>
                    <a:pt x="468" y="430"/>
                    <a:pt x="488" y="439"/>
                  </a:cubicBezTo>
                  <a:cubicBezTo>
                    <a:pt x="508" y="449"/>
                    <a:pt x="525" y="446"/>
                    <a:pt x="527" y="429"/>
                  </a:cubicBezTo>
                  <a:cubicBezTo>
                    <a:pt x="528" y="411"/>
                    <a:pt x="544" y="393"/>
                    <a:pt x="559" y="401"/>
                  </a:cubicBezTo>
                  <a:cubicBezTo>
                    <a:pt x="573" y="409"/>
                    <a:pt x="576" y="417"/>
                    <a:pt x="592" y="406"/>
                  </a:cubicBezTo>
                  <a:cubicBezTo>
                    <a:pt x="608" y="395"/>
                    <a:pt x="603" y="391"/>
                    <a:pt x="619" y="390"/>
                  </a:cubicBezTo>
                  <a:cubicBezTo>
                    <a:pt x="635" y="389"/>
                    <a:pt x="629" y="377"/>
                    <a:pt x="641" y="378"/>
                  </a:cubicBezTo>
                  <a:cubicBezTo>
                    <a:pt x="653" y="379"/>
                    <a:pt x="659" y="387"/>
                    <a:pt x="663" y="393"/>
                  </a:cubicBezTo>
                  <a:cubicBezTo>
                    <a:pt x="667" y="398"/>
                    <a:pt x="680" y="395"/>
                    <a:pt x="687" y="387"/>
                  </a:cubicBezTo>
                  <a:cubicBezTo>
                    <a:pt x="693" y="379"/>
                    <a:pt x="703" y="383"/>
                    <a:pt x="703" y="373"/>
                  </a:cubicBezTo>
                  <a:cubicBezTo>
                    <a:pt x="703" y="362"/>
                    <a:pt x="720" y="361"/>
                    <a:pt x="724" y="365"/>
                  </a:cubicBezTo>
                  <a:cubicBezTo>
                    <a:pt x="728" y="369"/>
                    <a:pt x="723" y="369"/>
                    <a:pt x="741" y="373"/>
                  </a:cubicBezTo>
                  <a:cubicBezTo>
                    <a:pt x="760" y="377"/>
                    <a:pt x="756" y="386"/>
                    <a:pt x="772" y="385"/>
                  </a:cubicBezTo>
                  <a:cubicBezTo>
                    <a:pt x="788" y="383"/>
                    <a:pt x="799" y="389"/>
                    <a:pt x="807" y="377"/>
                  </a:cubicBezTo>
                  <a:cubicBezTo>
                    <a:pt x="807" y="376"/>
                    <a:pt x="808" y="375"/>
                    <a:pt x="808" y="374"/>
                  </a:cubicBezTo>
                  <a:cubicBezTo>
                    <a:pt x="809" y="374"/>
                    <a:pt x="809" y="374"/>
                    <a:pt x="809" y="374"/>
                  </a:cubicBezTo>
                  <a:cubicBezTo>
                    <a:pt x="809" y="373"/>
                    <a:pt x="810" y="373"/>
                    <a:pt x="810" y="373"/>
                  </a:cubicBezTo>
                  <a:cubicBezTo>
                    <a:pt x="810" y="372"/>
                    <a:pt x="811" y="372"/>
                    <a:pt x="811" y="372"/>
                  </a:cubicBezTo>
                  <a:cubicBezTo>
                    <a:pt x="811" y="372"/>
                    <a:pt x="812" y="371"/>
                    <a:pt x="812" y="371"/>
                  </a:cubicBezTo>
                  <a:cubicBezTo>
                    <a:pt x="812" y="371"/>
                    <a:pt x="812" y="371"/>
                    <a:pt x="813" y="371"/>
                  </a:cubicBezTo>
                  <a:cubicBezTo>
                    <a:pt x="813" y="371"/>
                    <a:pt x="814" y="370"/>
                    <a:pt x="814" y="370"/>
                  </a:cubicBezTo>
                  <a:cubicBezTo>
                    <a:pt x="814" y="370"/>
                    <a:pt x="814" y="370"/>
                    <a:pt x="815" y="370"/>
                  </a:cubicBezTo>
                  <a:cubicBezTo>
                    <a:pt x="815" y="370"/>
                    <a:pt x="816" y="369"/>
                    <a:pt x="816" y="369"/>
                  </a:cubicBezTo>
                  <a:cubicBezTo>
                    <a:pt x="816" y="369"/>
                    <a:pt x="816" y="369"/>
                    <a:pt x="817" y="369"/>
                  </a:cubicBezTo>
                  <a:cubicBezTo>
                    <a:pt x="817" y="369"/>
                    <a:pt x="818" y="369"/>
                    <a:pt x="818" y="369"/>
                  </a:cubicBezTo>
                  <a:cubicBezTo>
                    <a:pt x="818" y="369"/>
                    <a:pt x="818" y="369"/>
                    <a:pt x="819" y="369"/>
                  </a:cubicBezTo>
                  <a:cubicBezTo>
                    <a:pt x="819" y="369"/>
                    <a:pt x="820" y="369"/>
                    <a:pt x="820" y="369"/>
                  </a:cubicBezTo>
                  <a:cubicBezTo>
                    <a:pt x="820" y="369"/>
                    <a:pt x="820" y="369"/>
                    <a:pt x="821" y="369"/>
                  </a:cubicBezTo>
                  <a:cubicBezTo>
                    <a:pt x="821" y="369"/>
                    <a:pt x="822" y="369"/>
                    <a:pt x="822" y="369"/>
                  </a:cubicBezTo>
                  <a:cubicBezTo>
                    <a:pt x="825" y="347"/>
                    <a:pt x="813" y="343"/>
                    <a:pt x="810" y="337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514" name="Freeform 25709"/>
            <p:cNvSpPr>
              <a:spLocks/>
            </p:cNvSpPr>
            <p:nvPr/>
          </p:nvSpPr>
          <p:spPr bwMode="auto">
            <a:xfrm>
              <a:off x="4599937" y="3257598"/>
              <a:ext cx="252061" cy="397268"/>
            </a:xfrm>
            <a:custGeom>
              <a:avLst/>
              <a:gdLst>
                <a:gd name="T0" fmla="*/ 183 w 676"/>
                <a:gd name="T1" fmla="*/ 1047 h 1065"/>
                <a:gd name="T2" fmla="*/ 216 w 676"/>
                <a:gd name="T3" fmla="*/ 1050 h 1065"/>
                <a:gd name="T4" fmla="*/ 279 w 676"/>
                <a:gd name="T5" fmla="*/ 1023 h 1065"/>
                <a:gd name="T6" fmla="*/ 366 w 676"/>
                <a:gd name="T7" fmla="*/ 981 h 1065"/>
                <a:gd name="T8" fmla="*/ 378 w 676"/>
                <a:gd name="T9" fmla="*/ 955 h 1065"/>
                <a:gd name="T10" fmla="*/ 491 w 676"/>
                <a:gd name="T11" fmla="*/ 912 h 1065"/>
                <a:gd name="T12" fmla="*/ 577 w 676"/>
                <a:gd name="T13" fmla="*/ 832 h 1065"/>
                <a:gd name="T14" fmla="*/ 610 w 676"/>
                <a:gd name="T15" fmla="*/ 823 h 1065"/>
                <a:gd name="T16" fmla="*/ 612 w 676"/>
                <a:gd name="T17" fmla="*/ 817 h 1065"/>
                <a:gd name="T18" fmla="*/ 577 w 676"/>
                <a:gd name="T19" fmla="*/ 732 h 1065"/>
                <a:gd name="T20" fmla="*/ 556 w 676"/>
                <a:gd name="T21" fmla="*/ 688 h 1065"/>
                <a:gd name="T22" fmla="*/ 579 w 676"/>
                <a:gd name="T23" fmla="*/ 632 h 1065"/>
                <a:gd name="T24" fmla="*/ 594 w 676"/>
                <a:gd name="T25" fmla="*/ 581 h 1065"/>
                <a:gd name="T26" fmla="*/ 622 w 676"/>
                <a:gd name="T27" fmla="*/ 530 h 1065"/>
                <a:gd name="T28" fmla="*/ 676 w 676"/>
                <a:gd name="T29" fmla="*/ 269 h 1065"/>
                <a:gd name="T30" fmla="*/ 123 w 676"/>
                <a:gd name="T31" fmla="*/ 27 h 1065"/>
                <a:gd name="T32" fmla="*/ 119 w 676"/>
                <a:gd name="T33" fmla="*/ 29 h 1065"/>
                <a:gd name="T34" fmla="*/ 115 w 676"/>
                <a:gd name="T35" fmla="*/ 31 h 1065"/>
                <a:gd name="T36" fmla="*/ 112 w 676"/>
                <a:gd name="T37" fmla="*/ 33 h 1065"/>
                <a:gd name="T38" fmla="*/ 110 w 676"/>
                <a:gd name="T39" fmla="*/ 36 h 1065"/>
                <a:gd name="T40" fmla="*/ 110 w 676"/>
                <a:gd name="T41" fmla="*/ 59 h 1065"/>
                <a:gd name="T42" fmla="*/ 131 w 676"/>
                <a:gd name="T43" fmla="*/ 151 h 1065"/>
                <a:gd name="T44" fmla="*/ 166 w 676"/>
                <a:gd name="T45" fmla="*/ 222 h 1065"/>
                <a:gd name="T46" fmla="*/ 144 w 676"/>
                <a:gd name="T47" fmla="*/ 362 h 1065"/>
                <a:gd name="T48" fmla="*/ 38 w 676"/>
                <a:gd name="T49" fmla="*/ 559 h 1065"/>
                <a:gd name="T50" fmla="*/ 14 w 676"/>
                <a:gd name="T51" fmla="*/ 635 h 1065"/>
                <a:gd name="T52" fmla="*/ 13 w 676"/>
                <a:gd name="T53" fmla="*/ 642 h 1065"/>
                <a:gd name="T54" fmla="*/ 11 w 676"/>
                <a:gd name="T55" fmla="*/ 646 h 1065"/>
                <a:gd name="T56" fmla="*/ 42 w 676"/>
                <a:gd name="T57" fmla="*/ 684 h 1065"/>
                <a:gd name="T58" fmla="*/ 44 w 676"/>
                <a:gd name="T59" fmla="*/ 688 h 1065"/>
                <a:gd name="T60" fmla="*/ 45 w 676"/>
                <a:gd name="T61" fmla="*/ 692 h 1065"/>
                <a:gd name="T62" fmla="*/ 92 w 676"/>
                <a:gd name="T63" fmla="*/ 726 h 1065"/>
                <a:gd name="T64" fmla="*/ 112 w 676"/>
                <a:gd name="T65" fmla="*/ 785 h 1065"/>
                <a:gd name="T66" fmla="*/ 118 w 676"/>
                <a:gd name="T67" fmla="*/ 865 h 1065"/>
                <a:gd name="T68" fmla="*/ 143 w 676"/>
                <a:gd name="T69" fmla="*/ 900 h 1065"/>
                <a:gd name="T70" fmla="*/ 46 w 676"/>
                <a:gd name="T71" fmla="*/ 926 h 1065"/>
                <a:gd name="T72" fmla="*/ 126 w 676"/>
                <a:gd name="T73" fmla="*/ 1006 h 1065"/>
                <a:gd name="T74" fmla="*/ 136 w 676"/>
                <a:gd name="T75" fmla="*/ 1029 h 1065"/>
                <a:gd name="T76" fmla="*/ 137 w 676"/>
                <a:gd name="T77" fmla="*/ 1031 h 1065"/>
                <a:gd name="T78" fmla="*/ 138 w 676"/>
                <a:gd name="T79" fmla="*/ 1034 h 1065"/>
                <a:gd name="T80" fmla="*/ 139 w 676"/>
                <a:gd name="T81" fmla="*/ 1036 h 1065"/>
                <a:gd name="T82" fmla="*/ 140 w 676"/>
                <a:gd name="T83" fmla="*/ 1040 h 1065"/>
                <a:gd name="T84" fmla="*/ 141 w 676"/>
                <a:gd name="T85" fmla="*/ 1042 h 1065"/>
                <a:gd name="T86" fmla="*/ 141 w 676"/>
                <a:gd name="T87" fmla="*/ 1046 h 1065"/>
                <a:gd name="T88" fmla="*/ 141 w 676"/>
                <a:gd name="T89" fmla="*/ 1048 h 1065"/>
                <a:gd name="T90" fmla="*/ 141 w 676"/>
                <a:gd name="T91" fmla="*/ 1051 h 1065"/>
                <a:gd name="T92" fmla="*/ 141 w 676"/>
                <a:gd name="T93" fmla="*/ 1053 h 1065"/>
                <a:gd name="T94" fmla="*/ 155 w 676"/>
                <a:gd name="T95" fmla="*/ 1057 h 10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676" h="1065">
                  <a:moveTo>
                    <a:pt x="155" y="1057"/>
                  </a:moveTo>
                  <a:cubicBezTo>
                    <a:pt x="165" y="1057"/>
                    <a:pt x="168" y="1057"/>
                    <a:pt x="170" y="1052"/>
                  </a:cubicBezTo>
                  <a:cubicBezTo>
                    <a:pt x="171" y="1048"/>
                    <a:pt x="176" y="1048"/>
                    <a:pt x="183" y="1047"/>
                  </a:cubicBezTo>
                  <a:cubicBezTo>
                    <a:pt x="190" y="1046"/>
                    <a:pt x="193" y="1044"/>
                    <a:pt x="197" y="1038"/>
                  </a:cubicBezTo>
                  <a:cubicBezTo>
                    <a:pt x="202" y="1032"/>
                    <a:pt x="213" y="1026"/>
                    <a:pt x="213" y="1035"/>
                  </a:cubicBezTo>
                  <a:cubicBezTo>
                    <a:pt x="213" y="1043"/>
                    <a:pt x="210" y="1049"/>
                    <a:pt x="216" y="1050"/>
                  </a:cubicBezTo>
                  <a:cubicBezTo>
                    <a:pt x="223" y="1051"/>
                    <a:pt x="227" y="1065"/>
                    <a:pt x="234" y="1051"/>
                  </a:cubicBezTo>
                  <a:cubicBezTo>
                    <a:pt x="241" y="1037"/>
                    <a:pt x="243" y="1031"/>
                    <a:pt x="254" y="1030"/>
                  </a:cubicBezTo>
                  <a:cubicBezTo>
                    <a:pt x="265" y="1030"/>
                    <a:pt x="264" y="1023"/>
                    <a:pt x="279" y="1023"/>
                  </a:cubicBezTo>
                  <a:cubicBezTo>
                    <a:pt x="295" y="1023"/>
                    <a:pt x="322" y="1027"/>
                    <a:pt x="331" y="1017"/>
                  </a:cubicBezTo>
                  <a:cubicBezTo>
                    <a:pt x="341" y="1007"/>
                    <a:pt x="349" y="998"/>
                    <a:pt x="357" y="992"/>
                  </a:cubicBezTo>
                  <a:cubicBezTo>
                    <a:pt x="365" y="986"/>
                    <a:pt x="368" y="986"/>
                    <a:pt x="366" y="981"/>
                  </a:cubicBezTo>
                  <a:cubicBezTo>
                    <a:pt x="365" y="976"/>
                    <a:pt x="363" y="974"/>
                    <a:pt x="354" y="971"/>
                  </a:cubicBezTo>
                  <a:cubicBezTo>
                    <a:pt x="346" y="967"/>
                    <a:pt x="351" y="963"/>
                    <a:pt x="359" y="961"/>
                  </a:cubicBezTo>
                  <a:cubicBezTo>
                    <a:pt x="368" y="959"/>
                    <a:pt x="364" y="954"/>
                    <a:pt x="378" y="955"/>
                  </a:cubicBezTo>
                  <a:cubicBezTo>
                    <a:pt x="392" y="956"/>
                    <a:pt x="416" y="959"/>
                    <a:pt x="423" y="954"/>
                  </a:cubicBezTo>
                  <a:cubicBezTo>
                    <a:pt x="430" y="950"/>
                    <a:pt x="442" y="954"/>
                    <a:pt x="456" y="943"/>
                  </a:cubicBezTo>
                  <a:cubicBezTo>
                    <a:pt x="471" y="933"/>
                    <a:pt x="479" y="925"/>
                    <a:pt x="491" y="912"/>
                  </a:cubicBezTo>
                  <a:cubicBezTo>
                    <a:pt x="502" y="899"/>
                    <a:pt x="512" y="891"/>
                    <a:pt x="523" y="884"/>
                  </a:cubicBezTo>
                  <a:cubicBezTo>
                    <a:pt x="535" y="877"/>
                    <a:pt x="535" y="852"/>
                    <a:pt x="549" y="846"/>
                  </a:cubicBezTo>
                  <a:cubicBezTo>
                    <a:pt x="563" y="840"/>
                    <a:pt x="566" y="832"/>
                    <a:pt x="577" y="832"/>
                  </a:cubicBezTo>
                  <a:cubicBezTo>
                    <a:pt x="584" y="832"/>
                    <a:pt x="598" y="831"/>
                    <a:pt x="608" y="831"/>
                  </a:cubicBezTo>
                  <a:cubicBezTo>
                    <a:pt x="608" y="828"/>
                    <a:pt x="609" y="825"/>
                    <a:pt x="610" y="823"/>
                  </a:cubicBezTo>
                  <a:cubicBezTo>
                    <a:pt x="610" y="823"/>
                    <a:pt x="610" y="823"/>
                    <a:pt x="610" y="823"/>
                  </a:cubicBezTo>
                  <a:cubicBezTo>
                    <a:pt x="610" y="822"/>
                    <a:pt x="610" y="821"/>
                    <a:pt x="611" y="820"/>
                  </a:cubicBezTo>
                  <a:cubicBezTo>
                    <a:pt x="611" y="820"/>
                    <a:pt x="611" y="820"/>
                    <a:pt x="611" y="819"/>
                  </a:cubicBezTo>
                  <a:cubicBezTo>
                    <a:pt x="611" y="819"/>
                    <a:pt x="612" y="818"/>
                    <a:pt x="612" y="817"/>
                  </a:cubicBezTo>
                  <a:cubicBezTo>
                    <a:pt x="615" y="810"/>
                    <a:pt x="604" y="802"/>
                    <a:pt x="592" y="797"/>
                  </a:cubicBezTo>
                  <a:cubicBezTo>
                    <a:pt x="580" y="792"/>
                    <a:pt x="583" y="768"/>
                    <a:pt x="581" y="756"/>
                  </a:cubicBezTo>
                  <a:cubicBezTo>
                    <a:pt x="579" y="744"/>
                    <a:pt x="575" y="740"/>
                    <a:pt x="577" y="732"/>
                  </a:cubicBezTo>
                  <a:cubicBezTo>
                    <a:pt x="579" y="724"/>
                    <a:pt x="563" y="722"/>
                    <a:pt x="552" y="722"/>
                  </a:cubicBezTo>
                  <a:cubicBezTo>
                    <a:pt x="541" y="722"/>
                    <a:pt x="543" y="713"/>
                    <a:pt x="543" y="706"/>
                  </a:cubicBezTo>
                  <a:cubicBezTo>
                    <a:pt x="543" y="699"/>
                    <a:pt x="545" y="693"/>
                    <a:pt x="556" y="688"/>
                  </a:cubicBezTo>
                  <a:cubicBezTo>
                    <a:pt x="567" y="683"/>
                    <a:pt x="566" y="669"/>
                    <a:pt x="560" y="666"/>
                  </a:cubicBezTo>
                  <a:cubicBezTo>
                    <a:pt x="554" y="663"/>
                    <a:pt x="559" y="661"/>
                    <a:pt x="559" y="648"/>
                  </a:cubicBezTo>
                  <a:cubicBezTo>
                    <a:pt x="559" y="635"/>
                    <a:pt x="566" y="636"/>
                    <a:pt x="579" y="632"/>
                  </a:cubicBezTo>
                  <a:cubicBezTo>
                    <a:pt x="592" y="628"/>
                    <a:pt x="577" y="613"/>
                    <a:pt x="577" y="606"/>
                  </a:cubicBezTo>
                  <a:cubicBezTo>
                    <a:pt x="577" y="599"/>
                    <a:pt x="579" y="594"/>
                    <a:pt x="588" y="594"/>
                  </a:cubicBezTo>
                  <a:cubicBezTo>
                    <a:pt x="597" y="594"/>
                    <a:pt x="594" y="588"/>
                    <a:pt x="594" y="581"/>
                  </a:cubicBezTo>
                  <a:cubicBezTo>
                    <a:pt x="594" y="574"/>
                    <a:pt x="597" y="569"/>
                    <a:pt x="607" y="566"/>
                  </a:cubicBezTo>
                  <a:cubicBezTo>
                    <a:pt x="617" y="563"/>
                    <a:pt x="615" y="554"/>
                    <a:pt x="609" y="545"/>
                  </a:cubicBezTo>
                  <a:cubicBezTo>
                    <a:pt x="603" y="536"/>
                    <a:pt x="610" y="530"/>
                    <a:pt x="622" y="530"/>
                  </a:cubicBezTo>
                  <a:cubicBezTo>
                    <a:pt x="634" y="530"/>
                    <a:pt x="639" y="530"/>
                    <a:pt x="646" y="522"/>
                  </a:cubicBezTo>
                  <a:cubicBezTo>
                    <a:pt x="653" y="514"/>
                    <a:pt x="676" y="522"/>
                    <a:pt x="676" y="522"/>
                  </a:cubicBezTo>
                  <a:cubicBezTo>
                    <a:pt x="676" y="269"/>
                    <a:pt x="676" y="269"/>
                    <a:pt x="676" y="269"/>
                  </a:cubicBezTo>
                  <a:cubicBezTo>
                    <a:pt x="605" y="232"/>
                    <a:pt x="212" y="30"/>
                    <a:pt x="187" y="16"/>
                  </a:cubicBezTo>
                  <a:cubicBezTo>
                    <a:pt x="159" y="0"/>
                    <a:pt x="148" y="17"/>
                    <a:pt x="127" y="25"/>
                  </a:cubicBezTo>
                  <a:cubicBezTo>
                    <a:pt x="126" y="25"/>
                    <a:pt x="124" y="26"/>
                    <a:pt x="123" y="27"/>
                  </a:cubicBezTo>
                  <a:cubicBezTo>
                    <a:pt x="123" y="27"/>
                    <a:pt x="123" y="27"/>
                    <a:pt x="123" y="27"/>
                  </a:cubicBezTo>
                  <a:cubicBezTo>
                    <a:pt x="122" y="27"/>
                    <a:pt x="121" y="28"/>
                    <a:pt x="120" y="28"/>
                  </a:cubicBezTo>
                  <a:cubicBezTo>
                    <a:pt x="120" y="28"/>
                    <a:pt x="120" y="28"/>
                    <a:pt x="119" y="29"/>
                  </a:cubicBezTo>
                  <a:cubicBezTo>
                    <a:pt x="119" y="29"/>
                    <a:pt x="118" y="29"/>
                    <a:pt x="118" y="30"/>
                  </a:cubicBezTo>
                  <a:cubicBezTo>
                    <a:pt x="117" y="30"/>
                    <a:pt x="117" y="30"/>
                    <a:pt x="117" y="30"/>
                  </a:cubicBezTo>
                  <a:cubicBezTo>
                    <a:pt x="116" y="30"/>
                    <a:pt x="116" y="31"/>
                    <a:pt x="115" y="31"/>
                  </a:cubicBezTo>
                  <a:cubicBezTo>
                    <a:pt x="115" y="31"/>
                    <a:pt x="115" y="32"/>
                    <a:pt x="114" y="32"/>
                  </a:cubicBezTo>
                  <a:cubicBezTo>
                    <a:pt x="114" y="32"/>
                    <a:pt x="114" y="32"/>
                    <a:pt x="113" y="33"/>
                  </a:cubicBezTo>
                  <a:cubicBezTo>
                    <a:pt x="113" y="33"/>
                    <a:pt x="113" y="33"/>
                    <a:pt x="112" y="33"/>
                  </a:cubicBezTo>
                  <a:cubicBezTo>
                    <a:pt x="112" y="34"/>
                    <a:pt x="112" y="34"/>
                    <a:pt x="111" y="34"/>
                  </a:cubicBezTo>
                  <a:cubicBezTo>
                    <a:pt x="111" y="35"/>
                    <a:pt x="111" y="35"/>
                    <a:pt x="111" y="35"/>
                  </a:cubicBezTo>
                  <a:cubicBezTo>
                    <a:pt x="110" y="35"/>
                    <a:pt x="110" y="36"/>
                    <a:pt x="110" y="36"/>
                  </a:cubicBezTo>
                  <a:cubicBezTo>
                    <a:pt x="109" y="36"/>
                    <a:pt x="109" y="37"/>
                    <a:pt x="109" y="37"/>
                  </a:cubicBezTo>
                  <a:cubicBezTo>
                    <a:pt x="109" y="37"/>
                    <a:pt x="108" y="37"/>
                    <a:pt x="108" y="37"/>
                  </a:cubicBezTo>
                  <a:cubicBezTo>
                    <a:pt x="109" y="44"/>
                    <a:pt x="110" y="53"/>
                    <a:pt x="110" y="59"/>
                  </a:cubicBezTo>
                  <a:cubicBezTo>
                    <a:pt x="110" y="70"/>
                    <a:pt x="110" y="84"/>
                    <a:pt x="116" y="94"/>
                  </a:cubicBezTo>
                  <a:cubicBezTo>
                    <a:pt x="121" y="104"/>
                    <a:pt x="116" y="114"/>
                    <a:pt x="117" y="125"/>
                  </a:cubicBezTo>
                  <a:cubicBezTo>
                    <a:pt x="118" y="135"/>
                    <a:pt x="125" y="145"/>
                    <a:pt x="131" y="151"/>
                  </a:cubicBezTo>
                  <a:cubicBezTo>
                    <a:pt x="136" y="158"/>
                    <a:pt x="142" y="172"/>
                    <a:pt x="142" y="184"/>
                  </a:cubicBezTo>
                  <a:cubicBezTo>
                    <a:pt x="142" y="196"/>
                    <a:pt x="149" y="197"/>
                    <a:pt x="159" y="202"/>
                  </a:cubicBezTo>
                  <a:cubicBezTo>
                    <a:pt x="168" y="207"/>
                    <a:pt x="166" y="213"/>
                    <a:pt x="166" y="222"/>
                  </a:cubicBezTo>
                  <a:cubicBezTo>
                    <a:pt x="167" y="232"/>
                    <a:pt x="159" y="237"/>
                    <a:pt x="154" y="244"/>
                  </a:cubicBezTo>
                  <a:cubicBezTo>
                    <a:pt x="149" y="251"/>
                    <a:pt x="149" y="264"/>
                    <a:pt x="147" y="276"/>
                  </a:cubicBezTo>
                  <a:cubicBezTo>
                    <a:pt x="145" y="287"/>
                    <a:pt x="144" y="345"/>
                    <a:pt x="144" y="362"/>
                  </a:cubicBezTo>
                  <a:cubicBezTo>
                    <a:pt x="144" y="380"/>
                    <a:pt x="137" y="398"/>
                    <a:pt x="137" y="418"/>
                  </a:cubicBezTo>
                  <a:cubicBezTo>
                    <a:pt x="137" y="437"/>
                    <a:pt x="137" y="451"/>
                    <a:pt x="120" y="464"/>
                  </a:cubicBezTo>
                  <a:cubicBezTo>
                    <a:pt x="103" y="477"/>
                    <a:pt x="46" y="549"/>
                    <a:pt x="38" y="559"/>
                  </a:cubicBezTo>
                  <a:cubicBezTo>
                    <a:pt x="30" y="570"/>
                    <a:pt x="19" y="595"/>
                    <a:pt x="10" y="599"/>
                  </a:cubicBezTo>
                  <a:cubicBezTo>
                    <a:pt x="0" y="604"/>
                    <a:pt x="8" y="608"/>
                    <a:pt x="12" y="614"/>
                  </a:cubicBezTo>
                  <a:cubicBezTo>
                    <a:pt x="16" y="619"/>
                    <a:pt x="14" y="624"/>
                    <a:pt x="14" y="635"/>
                  </a:cubicBezTo>
                  <a:cubicBezTo>
                    <a:pt x="14" y="636"/>
                    <a:pt x="13" y="638"/>
                    <a:pt x="13" y="639"/>
                  </a:cubicBezTo>
                  <a:cubicBezTo>
                    <a:pt x="13" y="639"/>
                    <a:pt x="13" y="639"/>
                    <a:pt x="13" y="640"/>
                  </a:cubicBezTo>
                  <a:cubicBezTo>
                    <a:pt x="13" y="641"/>
                    <a:pt x="13" y="642"/>
                    <a:pt x="13" y="642"/>
                  </a:cubicBezTo>
                  <a:cubicBezTo>
                    <a:pt x="13" y="643"/>
                    <a:pt x="12" y="643"/>
                    <a:pt x="12" y="643"/>
                  </a:cubicBezTo>
                  <a:cubicBezTo>
                    <a:pt x="12" y="644"/>
                    <a:pt x="12" y="645"/>
                    <a:pt x="11" y="646"/>
                  </a:cubicBezTo>
                  <a:cubicBezTo>
                    <a:pt x="11" y="646"/>
                    <a:pt x="11" y="646"/>
                    <a:pt x="11" y="646"/>
                  </a:cubicBezTo>
                  <a:cubicBezTo>
                    <a:pt x="11" y="647"/>
                    <a:pt x="10" y="647"/>
                    <a:pt x="10" y="648"/>
                  </a:cubicBezTo>
                  <a:cubicBezTo>
                    <a:pt x="18" y="657"/>
                    <a:pt x="34" y="674"/>
                    <a:pt x="40" y="681"/>
                  </a:cubicBezTo>
                  <a:cubicBezTo>
                    <a:pt x="40" y="681"/>
                    <a:pt x="41" y="682"/>
                    <a:pt x="42" y="684"/>
                  </a:cubicBezTo>
                  <a:cubicBezTo>
                    <a:pt x="42" y="684"/>
                    <a:pt x="42" y="684"/>
                    <a:pt x="43" y="685"/>
                  </a:cubicBezTo>
                  <a:cubicBezTo>
                    <a:pt x="43" y="685"/>
                    <a:pt x="43" y="686"/>
                    <a:pt x="43" y="687"/>
                  </a:cubicBezTo>
                  <a:cubicBezTo>
                    <a:pt x="44" y="687"/>
                    <a:pt x="44" y="688"/>
                    <a:pt x="44" y="688"/>
                  </a:cubicBezTo>
                  <a:cubicBezTo>
                    <a:pt x="44" y="689"/>
                    <a:pt x="45" y="689"/>
                    <a:pt x="45" y="690"/>
                  </a:cubicBezTo>
                  <a:cubicBezTo>
                    <a:pt x="45" y="690"/>
                    <a:pt x="45" y="691"/>
                    <a:pt x="45" y="692"/>
                  </a:cubicBezTo>
                  <a:cubicBezTo>
                    <a:pt x="45" y="692"/>
                    <a:pt x="45" y="692"/>
                    <a:pt x="45" y="692"/>
                  </a:cubicBezTo>
                  <a:cubicBezTo>
                    <a:pt x="54" y="692"/>
                    <a:pt x="67" y="692"/>
                    <a:pt x="68" y="698"/>
                  </a:cubicBezTo>
                  <a:cubicBezTo>
                    <a:pt x="70" y="706"/>
                    <a:pt x="74" y="708"/>
                    <a:pt x="82" y="712"/>
                  </a:cubicBezTo>
                  <a:cubicBezTo>
                    <a:pt x="91" y="716"/>
                    <a:pt x="86" y="721"/>
                    <a:pt x="92" y="726"/>
                  </a:cubicBezTo>
                  <a:cubicBezTo>
                    <a:pt x="98" y="730"/>
                    <a:pt x="100" y="737"/>
                    <a:pt x="100" y="744"/>
                  </a:cubicBezTo>
                  <a:cubicBezTo>
                    <a:pt x="100" y="750"/>
                    <a:pt x="102" y="755"/>
                    <a:pt x="106" y="759"/>
                  </a:cubicBezTo>
                  <a:cubicBezTo>
                    <a:pt x="111" y="763"/>
                    <a:pt x="112" y="775"/>
                    <a:pt x="112" y="785"/>
                  </a:cubicBezTo>
                  <a:cubicBezTo>
                    <a:pt x="112" y="795"/>
                    <a:pt x="114" y="811"/>
                    <a:pt x="109" y="817"/>
                  </a:cubicBezTo>
                  <a:cubicBezTo>
                    <a:pt x="104" y="823"/>
                    <a:pt x="102" y="834"/>
                    <a:pt x="107" y="842"/>
                  </a:cubicBezTo>
                  <a:cubicBezTo>
                    <a:pt x="112" y="850"/>
                    <a:pt x="110" y="860"/>
                    <a:pt x="118" y="865"/>
                  </a:cubicBezTo>
                  <a:cubicBezTo>
                    <a:pt x="126" y="870"/>
                    <a:pt x="126" y="874"/>
                    <a:pt x="129" y="878"/>
                  </a:cubicBezTo>
                  <a:cubicBezTo>
                    <a:pt x="132" y="883"/>
                    <a:pt x="141" y="885"/>
                    <a:pt x="148" y="889"/>
                  </a:cubicBezTo>
                  <a:cubicBezTo>
                    <a:pt x="154" y="893"/>
                    <a:pt x="158" y="901"/>
                    <a:pt x="143" y="900"/>
                  </a:cubicBezTo>
                  <a:cubicBezTo>
                    <a:pt x="128" y="898"/>
                    <a:pt x="102" y="893"/>
                    <a:pt x="86" y="894"/>
                  </a:cubicBezTo>
                  <a:cubicBezTo>
                    <a:pt x="69" y="896"/>
                    <a:pt x="56" y="890"/>
                    <a:pt x="48" y="897"/>
                  </a:cubicBezTo>
                  <a:cubicBezTo>
                    <a:pt x="40" y="904"/>
                    <a:pt x="36" y="918"/>
                    <a:pt x="46" y="926"/>
                  </a:cubicBezTo>
                  <a:cubicBezTo>
                    <a:pt x="57" y="934"/>
                    <a:pt x="75" y="957"/>
                    <a:pt x="83" y="964"/>
                  </a:cubicBezTo>
                  <a:cubicBezTo>
                    <a:pt x="91" y="970"/>
                    <a:pt x="102" y="975"/>
                    <a:pt x="107" y="982"/>
                  </a:cubicBezTo>
                  <a:cubicBezTo>
                    <a:pt x="112" y="990"/>
                    <a:pt x="126" y="998"/>
                    <a:pt x="126" y="1006"/>
                  </a:cubicBezTo>
                  <a:cubicBezTo>
                    <a:pt x="126" y="1014"/>
                    <a:pt x="132" y="1025"/>
                    <a:pt x="135" y="1028"/>
                  </a:cubicBezTo>
                  <a:cubicBezTo>
                    <a:pt x="135" y="1029"/>
                    <a:pt x="135" y="1029"/>
                    <a:pt x="136" y="1029"/>
                  </a:cubicBezTo>
                  <a:cubicBezTo>
                    <a:pt x="136" y="1029"/>
                    <a:pt x="136" y="1029"/>
                    <a:pt x="136" y="1029"/>
                  </a:cubicBezTo>
                  <a:cubicBezTo>
                    <a:pt x="136" y="1030"/>
                    <a:pt x="136" y="1030"/>
                    <a:pt x="136" y="1030"/>
                  </a:cubicBezTo>
                  <a:cubicBezTo>
                    <a:pt x="136" y="1030"/>
                    <a:pt x="137" y="1031"/>
                    <a:pt x="137" y="1031"/>
                  </a:cubicBezTo>
                  <a:cubicBezTo>
                    <a:pt x="137" y="1031"/>
                    <a:pt x="137" y="1031"/>
                    <a:pt x="137" y="1031"/>
                  </a:cubicBezTo>
                  <a:cubicBezTo>
                    <a:pt x="137" y="1032"/>
                    <a:pt x="137" y="1032"/>
                    <a:pt x="137" y="1032"/>
                  </a:cubicBezTo>
                  <a:cubicBezTo>
                    <a:pt x="137" y="1032"/>
                    <a:pt x="138" y="1033"/>
                    <a:pt x="138" y="1033"/>
                  </a:cubicBezTo>
                  <a:cubicBezTo>
                    <a:pt x="138" y="1033"/>
                    <a:pt x="138" y="1034"/>
                    <a:pt x="138" y="1034"/>
                  </a:cubicBezTo>
                  <a:cubicBezTo>
                    <a:pt x="138" y="1034"/>
                    <a:pt x="138" y="1034"/>
                    <a:pt x="138" y="1035"/>
                  </a:cubicBezTo>
                  <a:cubicBezTo>
                    <a:pt x="139" y="1035"/>
                    <a:pt x="139" y="1035"/>
                    <a:pt x="139" y="1036"/>
                  </a:cubicBezTo>
                  <a:cubicBezTo>
                    <a:pt x="139" y="1036"/>
                    <a:pt x="139" y="1036"/>
                    <a:pt x="139" y="1036"/>
                  </a:cubicBezTo>
                  <a:cubicBezTo>
                    <a:pt x="139" y="1037"/>
                    <a:pt x="139" y="1037"/>
                    <a:pt x="139" y="1038"/>
                  </a:cubicBezTo>
                  <a:cubicBezTo>
                    <a:pt x="139" y="1038"/>
                    <a:pt x="140" y="1038"/>
                    <a:pt x="140" y="1038"/>
                  </a:cubicBezTo>
                  <a:cubicBezTo>
                    <a:pt x="140" y="1039"/>
                    <a:pt x="140" y="1039"/>
                    <a:pt x="140" y="1040"/>
                  </a:cubicBezTo>
                  <a:cubicBezTo>
                    <a:pt x="140" y="1040"/>
                    <a:pt x="140" y="1040"/>
                    <a:pt x="140" y="1040"/>
                  </a:cubicBezTo>
                  <a:cubicBezTo>
                    <a:pt x="140" y="1041"/>
                    <a:pt x="140" y="1041"/>
                    <a:pt x="141" y="1042"/>
                  </a:cubicBezTo>
                  <a:cubicBezTo>
                    <a:pt x="141" y="1042"/>
                    <a:pt x="141" y="1042"/>
                    <a:pt x="141" y="1042"/>
                  </a:cubicBezTo>
                  <a:cubicBezTo>
                    <a:pt x="141" y="1043"/>
                    <a:pt x="141" y="1043"/>
                    <a:pt x="141" y="1044"/>
                  </a:cubicBezTo>
                  <a:cubicBezTo>
                    <a:pt x="141" y="1044"/>
                    <a:pt x="141" y="1044"/>
                    <a:pt x="141" y="1044"/>
                  </a:cubicBezTo>
                  <a:cubicBezTo>
                    <a:pt x="141" y="1045"/>
                    <a:pt x="141" y="1045"/>
                    <a:pt x="141" y="1046"/>
                  </a:cubicBezTo>
                  <a:cubicBezTo>
                    <a:pt x="141" y="1046"/>
                    <a:pt x="141" y="1046"/>
                    <a:pt x="141" y="1046"/>
                  </a:cubicBezTo>
                  <a:cubicBezTo>
                    <a:pt x="141" y="1047"/>
                    <a:pt x="141" y="1047"/>
                    <a:pt x="141" y="1048"/>
                  </a:cubicBezTo>
                  <a:cubicBezTo>
                    <a:pt x="141" y="1048"/>
                    <a:pt x="141" y="1048"/>
                    <a:pt x="141" y="1048"/>
                  </a:cubicBezTo>
                  <a:cubicBezTo>
                    <a:pt x="141" y="1049"/>
                    <a:pt x="141" y="1049"/>
                    <a:pt x="141" y="1050"/>
                  </a:cubicBezTo>
                  <a:cubicBezTo>
                    <a:pt x="141" y="1050"/>
                    <a:pt x="141" y="1050"/>
                    <a:pt x="141" y="1050"/>
                  </a:cubicBezTo>
                  <a:cubicBezTo>
                    <a:pt x="141" y="1050"/>
                    <a:pt x="141" y="1051"/>
                    <a:pt x="141" y="1051"/>
                  </a:cubicBezTo>
                  <a:cubicBezTo>
                    <a:pt x="141" y="1051"/>
                    <a:pt x="141" y="1051"/>
                    <a:pt x="141" y="1051"/>
                  </a:cubicBezTo>
                  <a:cubicBezTo>
                    <a:pt x="141" y="1052"/>
                    <a:pt x="141" y="1052"/>
                    <a:pt x="141" y="1053"/>
                  </a:cubicBezTo>
                  <a:cubicBezTo>
                    <a:pt x="141" y="1053"/>
                    <a:pt x="141" y="1053"/>
                    <a:pt x="141" y="1053"/>
                  </a:cubicBezTo>
                  <a:cubicBezTo>
                    <a:pt x="141" y="1053"/>
                    <a:pt x="141" y="1054"/>
                    <a:pt x="140" y="1054"/>
                  </a:cubicBezTo>
                  <a:cubicBezTo>
                    <a:pt x="140" y="1054"/>
                    <a:pt x="140" y="1054"/>
                    <a:pt x="140" y="1054"/>
                  </a:cubicBezTo>
                  <a:cubicBezTo>
                    <a:pt x="144" y="1056"/>
                    <a:pt x="150" y="1057"/>
                    <a:pt x="155" y="1057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515" name="Freeform 25717"/>
            <p:cNvSpPr>
              <a:spLocks/>
            </p:cNvSpPr>
            <p:nvPr/>
          </p:nvSpPr>
          <p:spPr bwMode="auto">
            <a:xfrm>
              <a:off x="5145885" y="3395229"/>
              <a:ext cx="160675" cy="140630"/>
            </a:xfrm>
            <a:custGeom>
              <a:avLst/>
              <a:gdLst>
                <a:gd name="T0" fmla="*/ 16 w 431"/>
                <a:gd name="T1" fmla="*/ 251 h 377"/>
                <a:gd name="T2" fmla="*/ 43 w 431"/>
                <a:gd name="T3" fmla="*/ 250 h 377"/>
                <a:gd name="T4" fmla="*/ 63 w 431"/>
                <a:gd name="T5" fmla="*/ 239 h 377"/>
                <a:gd name="T6" fmla="*/ 71 w 431"/>
                <a:gd name="T7" fmla="*/ 252 h 377"/>
                <a:gd name="T8" fmla="*/ 81 w 431"/>
                <a:gd name="T9" fmla="*/ 267 h 377"/>
                <a:gd name="T10" fmla="*/ 86 w 431"/>
                <a:gd name="T11" fmla="*/ 251 h 377"/>
                <a:gd name="T12" fmla="*/ 94 w 431"/>
                <a:gd name="T13" fmla="*/ 230 h 377"/>
                <a:gd name="T14" fmla="*/ 112 w 431"/>
                <a:gd name="T15" fmla="*/ 220 h 377"/>
                <a:gd name="T16" fmla="*/ 138 w 431"/>
                <a:gd name="T17" fmla="*/ 240 h 377"/>
                <a:gd name="T18" fmla="*/ 162 w 431"/>
                <a:gd name="T19" fmla="*/ 234 h 377"/>
                <a:gd name="T20" fmla="*/ 183 w 431"/>
                <a:gd name="T21" fmla="*/ 237 h 377"/>
                <a:gd name="T22" fmla="*/ 206 w 431"/>
                <a:gd name="T23" fmla="*/ 240 h 377"/>
                <a:gd name="T24" fmla="*/ 259 w 431"/>
                <a:gd name="T25" fmla="*/ 248 h 377"/>
                <a:gd name="T26" fmla="*/ 276 w 431"/>
                <a:gd name="T27" fmla="*/ 258 h 377"/>
                <a:gd name="T28" fmla="*/ 296 w 431"/>
                <a:gd name="T29" fmla="*/ 270 h 377"/>
                <a:gd name="T30" fmla="*/ 316 w 431"/>
                <a:gd name="T31" fmla="*/ 300 h 377"/>
                <a:gd name="T32" fmla="*/ 345 w 431"/>
                <a:gd name="T33" fmla="*/ 321 h 377"/>
                <a:gd name="T34" fmla="*/ 367 w 431"/>
                <a:gd name="T35" fmla="*/ 348 h 377"/>
                <a:gd name="T36" fmla="*/ 396 w 431"/>
                <a:gd name="T37" fmla="*/ 375 h 377"/>
                <a:gd name="T38" fmla="*/ 414 w 431"/>
                <a:gd name="T39" fmla="*/ 368 h 377"/>
                <a:gd name="T40" fmla="*/ 425 w 431"/>
                <a:gd name="T41" fmla="*/ 359 h 377"/>
                <a:gd name="T42" fmla="*/ 431 w 431"/>
                <a:gd name="T43" fmla="*/ 352 h 377"/>
                <a:gd name="T44" fmla="*/ 420 w 431"/>
                <a:gd name="T45" fmla="*/ 343 h 377"/>
                <a:gd name="T46" fmla="*/ 356 w 431"/>
                <a:gd name="T47" fmla="*/ 273 h 377"/>
                <a:gd name="T48" fmla="*/ 291 w 431"/>
                <a:gd name="T49" fmla="*/ 218 h 377"/>
                <a:gd name="T50" fmla="*/ 225 w 431"/>
                <a:gd name="T51" fmla="*/ 182 h 377"/>
                <a:gd name="T52" fmla="*/ 187 w 431"/>
                <a:gd name="T53" fmla="*/ 124 h 377"/>
                <a:gd name="T54" fmla="*/ 170 w 431"/>
                <a:gd name="T55" fmla="*/ 39 h 377"/>
                <a:gd name="T56" fmla="*/ 145 w 431"/>
                <a:gd name="T57" fmla="*/ 0 h 377"/>
                <a:gd name="T58" fmla="*/ 138 w 431"/>
                <a:gd name="T59" fmla="*/ 10 h 377"/>
                <a:gd name="T60" fmla="*/ 121 w 431"/>
                <a:gd name="T61" fmla="*/ 32 h 377"/>
                <a:gd name="T62" fmla="*/ 89 w 431"/>
                <a:gd name="T63" fmla="*/ 45 h 377"/>
                <a:gd name="T64" fmla="*/ 75 w 431"/>
                <a:gd name="T65" fmla="*/ 57 h 377"/>
                <a:gd name="T66" fmla="*/ 60 w 431"/>
                <a:gd name="T67" fmla="*/ 69 h 377"/>
                <a:gd name="T68" fmla="*/ 42 w 431"/>
                <a:gd name="T69" fmla="*/ 82 h 377"/>
                <a:gd name="T70" fmla="*/ 42 w 431"/>
                <a:gd name="T71" fmla="*/ 113 h 377"/>
                <a:gd name="T72" fmla="*/ 32 w 431"/>
                <a:gd name="T73" fmla="*/ 139 h 377"/>
                <a:gd name="T74" fmla="*/ 22 w 431"/>
                <a:gd name="T75" fmla="*/ 162 h 377"/>
                <a:gd name="T76" fmla="*/ 12 w 431"/>
                <a:gd name="T77" fmla="*/ 184 h 377"/>
                <a:gd name="T78" fmla="*/ 6 w 431"/>
                <a:gd name="T79" fmla="*/ 204 h 377"/>
                <a:gd name="T80" fmla="*/ 8 w 431"/>
                <a:gd name="T81" fmla="*/ 248 h 377"/>
                <a:gd name="T82" fmla="*/ 8 w 431"/>
                <a:gd name="T83" fmla="*/ 259 h 377"/>
                <a:gd name="T84" fmla="*/ 16 w 431"/>
                <a:gd name="T85" fmla="*/ 251 h 3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31" h="377">
                  <a:moveTo>
                    <a:pt x="16" y="251"/>
                  </a:moveTo>
                  <a:cubicBezTo>
                    <a:pt x="21" y="243"/>
                    <a:pt x="32" y="246"/>
                    <a:pt x="43" y="250"/>
                  </a:cubicBezTo>
                  <a:cubicBezTo>
                    <a:pt x="54" y="254"/>
                    <a:pt x="47" y="233"/>
                    <a:pt x="63" y="239"/>
                  </a:cubicBezTo>
                  <a:cubicBezTo>
                    <a:pt x="79" y="245"/>
                    <a:pt x="64" y="247"/>
                    <a:pt x="71" y="252"/>
                  </a:cubicBezTo>
                  <a:cubicBezTo>
                    <a:pt x="78" y="257"/>
                    <a:pt x="71" y="268"/>
                    <a:pt x="81" y="267"/>
                  </a:cubicBezTo>
                  <a:cubicBezTo>
                    <a:pt x="91" y="266"/>
                    <a:pt x="83" y="262"/>
                    <a:pt x="86" y="251"/>
                  </a:cubicBezTo>
                  <a:cubicBezTo>
                    <a:pt x="89" y="240"/>
                    <a:pt x="96" y="244"/>
                    <a:pt x="94" y="230"/>
                  </a:cubicBezTo>
                  <a:cubicBezTo>
                    <a:pt x="92" y="216"/>
                    <a:pt x="103" y="207"/>
                    <a:pt x="112" y="220"/>
                  </a:cubicBezTo>
                  <a:cubicBezTo>
                    <a:pt x="121" y="233"/>
                    <a:pt x="124" y="238"/>
                    <a:pt x="138" y="240"/>
                  </a:cubicBezTo>
                  <a:cubicBezTo>
                    <a:pt x="152" y="242"/>
                    <a:pt x="157" y="242"/>
                    <a:pt x="162" y="234"/>
                  </a:cubicBezTo>
                  <a:cubicBezTo>
                    <a:pt x="167" y="226"/>
                    <a:pt x="179" y="230"/>
                    <a:pt x="183" y="237"/>
                  </a:cubicBezTo>
                  <a:cubicBezTo>
                    <a:pt x="187" y="244"/>
                    <a:pt x="193" y="240"/>
                    <a:pt x="206" y="240"/>
                  </a:cubicBezTo>
                  <a:cubicBezTo>
                    <a:pt x="219" y="240"/>
                    <a:pt x="253" y="235"/>
                    <a:pt x="259" y="248"/>
                  </a:cubicBezTo>
                  <a:cubicBezTo>
                    <a:pt x="265" y="261"/>
                    <a:pt x="272" y="258"/>
                    <a:pt x="276" y="258"/>
                  </a:cubicBezTo>
                  <a:cubicBezTo>
                    <a:pt x="280" y="258"/>
                    <a:pt x="292" y="263"/>
                    <a:pt x="296" y="270"/>
                  </a:cubicBezTo>
                  <a:cubicBezTo>
                    <a:pt x="299" y="278"/>
                    <a:pt x="311" y="295"/>
                    <a:pt x="316" y="300"/>
                  </a:cubicBezTo>
                  <a:cubicBezTo>
                    <a:pt x="322" y="304"/>
                    <a:pt x="339" y="314"/>
                    <a:pt x="345" y="321"/>
                  </a:cubicBezTo>
                  <a:cubicBezTo>
                    <a:pt x="351" y="329"/>
                    <a:pt x="362" y="341"/>
                    <a:pt x="367" y="348"/>
                  </a:cubicBezTo>
                  <a:cubicBezTo>
                    <a:pt x="373" y="355"/>
                    <a:pt x="384" y="373"/>
                    <a:pt x="396" y="375"/>
                  </a:cubicBezTo>
                  <a:cubicBezTo>
                    <a:pt x="409" y="377"/>
                    <a:pt x="414" y="376"/>
                    <a:pt x="414" y="368"/>
                  </a:cubicBezTo>
                  <a:cubicBezTo>
                    <a:pt x="414" y="360"/>
                    <a:pt x="423" y="364"/>
                    <a:pt x="425" y="359"/>
                  </a:cubicBezTo>
                  <a:cubicBezTo>
                    <a:pt x="426" y="357"/>
                    <a:pt x="428" y="354"/>
                    <a:pt x="431" y="352"/>
                  </a:cubicBezTo>
                  <a:cubicBezTo>
                    <a:pt x="428" y="349"/>
                    <a:pt x="424" y="346"/>
                    <a:pt x="420" y="343"/>
                  </a:cubicBezTo>
                  <a:cubicBezTo>
                    <a:pt x="407" y="333"/>
                    <a:pt x="377" y="290"/>
                    <a:pt x="356" y="273"/>
                  </a:cubicBezTo>
                  <a:cubicBezTo>
                    <a:pt x="334" y="255"/>
                    <a:pt x="310" y="230"/>
                    <a:pt x="291" y="218"/>
                  </a:cubicBezTo>
                  <a:cubicBezTo>
                    <a:pt x="273" y="206"/>
                    <a:pt x="235" y="201"/>
                    <a:pt x="225" y="182"/>
                  </a:cubicBezTo>
                  <a:cubicBezTo>
                    <a:pt x="215" y="164"/>
                    <a:pt x="192" y="154"/>
                    <a:pt x="187" y="124"/>
                  </a:cubicBezTo>
                  <a:cubicBezTo>
                    <a:pt x="183" y="94"/>
                    <a:pt x="179" y="59"/>
                    <a:pt x="170" y="39"/>
                  </a:cubicBezTo>
                  <a:cubicBezTo>
                    <a:pt x="164" y="25"/>
                    <a:pt x="154" y="11"/>
                    <a:pt x="145" y="0"/>
                  </a:cubicBezTo>
                  <a:cubicBezTo>
                    <a:pt x="141" y="4"/>
                    <a:pt x="138" y="7"/>
                    <a:pt x="138" y="10"/>
                  </a:cubicBezTo>
                  <a:cubicBezTo>
                    <a:pt x="138" y="16"/>
                    <a:pt x="134" y="28"/>
                    <a:pt x="121" y="32"/>
                  </a:cubicBezTo>
                  <a:cubicBezTo>
                    <a:pt x="108" y="36"/>
                    <a:pt x="98" y="45"/>
                    <a:pt x="89" y="45"/>
                  </a:cubicBezTo>
                  <a:cubicBezTo>
                    <a:pt x="80" y="45"/>
                    <a:pt x="75" y="48"/>
                    <a:pt x="75" y="57"/>
                  </a:cubicBezTo>
                  <a:cubicBezTo>
                    <a:pt x="75" y="66"/>
                    <a:pt x="71" y="67"/>
                    <a:pt x="60" y="69"/>
                  </a:cubicBezTo>
                  <a:cubicBezTo>
                    <a:pt x="49" y="71"/>
                    <a:pt x="43" y="71"/>
                    <a:pt x="42" y="82"/>
                  </a:cubicBezTo>
                  <a:cubicBezTo>
                    <a:pt x="41" y="93"/>
                    <a:pt x="39" y="105"/>
                    <a:pt x="42" y="113"/>
                  </a:cubicBezTo>
                  <a:cubicBezTo>
                    <a:pt x="45" y="121"/>
                    <a:pt x="37" y="131"/>
                    <a:pt x="32" y="139"/>
                  </a:cubicBezTo>
                  <a:cubicBezTo>
                    <a:pt x="27" y="147"/>
                    <a:pt x="22" y="154"/>
                    <a:pt x="22" y="162"/>
                  </a:cubicBezTo>
                  <a:cubicBezTo>
                    <a:pt x="22" y="170"/>
                    <a:pt x="18" y="179"/>
                    <a:pt x="12" y="184"/>
                  </a:cubicBezTo>
                  <a:cubicBezTo>
                    <a:pt x="6" y="189"/>
                    <a:pt x="0" y="193"/>
                    <a:pt x="6" y="204"/>
                  </a:cubicBezTo>
                  <a:cubicBezTo>
                    <a:pt x="12" y="215"/>
                    <a:pt x="8" y="234"/>
                    <a:pt x="8" y="248"/>
                  </a:cubicBezTo>
                  <a:cubicBezTo>
                    <a:pt x="8" y="251"/>
                    <a:pt x="8" y="255"/>
                    <a:pt x="8" y="259"/>
                  </a:cubicBezTo>
                  <a:cubicBezTo>
                    <a:pt x="11" y="257"/>
                    <a:pt x="14" y="255"/>
                    <a:pt x="16" y="251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516" name="Freeform 25718"/>
            <p:cNvSpPr>
              <a:spLocks/>
            </p:cNvSpPr>
            <p:nvPr/>
          </p:nvSpPr>
          <p:spPr bwMode="auto">
            <a:xfrm>
              <a:off x="3887000" y="3524337"/>
              <a:ext cx="71973" cy="38353"/>
            </a:xfrm>
            <a:custGeom>
              <a:avLst/>
              <a:gdLst>
                <a:gd name="T0" fmla="*/ 183 w 193"/>
                <a:gd name="T1" fmla="*/ 1 h 103"/>
                <a:gd name="T2" fmla="*/ 141 w 193"/>
                <a:gd name="T3" fmla="*/ 3 h 103"/>
                <a:gd name="T4" fmla="*/ 102 w 193"/>
                <a:gd name="T5" fmla="*/ 1 h 103"/>
                <a:gd name="T6" fmla="*/ 76 w 193"/>
                <a:gd name="T7" fmla="*/ 11 h 103"/>
                <a:gd name="T8" fmla="*/ 49 w 193"/>
                <a:gd name="T9" fmla="*/ 17 h 103"/>
                <a:gd name="T10" fmla="*/ 25 w 193"/>
                <a:gd name="T11" fmla="*/ 17 h 103"/>
                <a:gd name="T12" fmla="*/ 0 w 193"/>
                <a:gd name="T13" fmla="*/ 17 h 103"/>
                <a:gd name="T14" fmla="*/ 7 w 193"/>
                <a:gd name="T15" fmla="*/ 22 h 103"/>
                <a:gd name="T16" fmla="*/ 26 w 193"/>
                <a:gd name="T17" fmla="*/ 45 h 103"/>
                <a:gd name="T18" fmla="*/ 79 w 193"/>
                <a:gd name="T19" fmla="*/ 61 h 103"/>
                <a:gd name="T20" fmla="*/ 93 w 193"/>
                <a:gd name="T21" fmla="*/ 96 h 103"/>
                <a:gd name="T22" fmla="*/ 109 w 193"/>
                <a:gd name="T23" fmla="*/ 103 h 103"/>
                <a:gd name="T24" fmla="*/ 123 w 193"/>
                <a:gd name="T25" fmla="*/ 88 h 103"/>
                <a:gd name="T26" fmla="*/ 144 w 193"/>
                <a:gd name="T27" fmla="*/ 72 h 103"/>
                <a:gd name="T28" fmla="*/ 174 w 193"/>
                <a:gd name="T29" fmla="*/ 66 h 103"/>
                <a:gd name="T30" fmla="*/ 187 w 193"/>
                <a:gd name="T31" fmla="*/ 51 h 103"/>
                <a:gd name="T32" fmla="*/ 177 w 193"/>
                <a:gd name="T33" fmla="*/ 34 h 103"/>
                <a:gd name="T34" fmla="*/ 191 w 193"/>
                <a:gd name="T35" fmla="*/ 14 h 103"/>
                <a:gd name="T36" fmla="*/ 193 w 193"/>
                <a:gd name="T37" fmla="*/ 2 h 103"/>
                <a:gd name="T38" fmla="*/ 183 w 193"/>
                <a:gd name="T39" fmla="*/ 1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3" h="103">
                  <a:moveTo>
                    <a:pt x="183" y="1"/>
                  </a:moveTo>
                  <a:cubicBezTo>
                    <a:pt x="175" y="1"/>
                    <a:pt x="157" y="3"/>
                    <a:pt x="141" y="3"/>
                  </a:cubicBezTo>
                  <a:cubicBezTo>
                    <a:pt x="125" y="3"/>
                    <a:pt x="110" y="1"/>
                    <a:pt x="102" y="1"/>
                  </a:cubicBezTo>
                  <a:cubicBezTo>
                    <a:pt x="94" y="1"/>
                    <a:pt x="81" y="5"/>
                    <a:pt x="76" y="11"/>
                  </a:cubicBezTo>
                  <a:cubicBezTo>
                    <a:pt x="72" y="18"/>
                    <a:pt x="59" y="19"/>
                    <a:pt x="49" y="17"/>
                  </a:cubicBezTo>
                  <a:cubicBezTo>
                    <a:pt x="38" y="16"/>
                    <a:pt x="31" y="18"/>
                    <a:pt x="25" y="17"/>
                  </a:cubicBezTo>
                  <a:cubicBezTo>
                    <a:pt x="20" y="16"/>
                    <a:pt x="7" y="17"/>
                    <a:pt x="0" y="17"/>
                  </a:cubicBezTo>
                  <a:cubicBezTo>
                    <a:pt x="2" y="20"/>
                    <a:pt x="4" y="22"/>
                    <a:pt x="7" y="22"/>
                  </a:cubicBezTo>
                  <a:cubicBezTo>
                    <a:pt x="21" y="25"/>
                    <a:pt x="9" y="45"/>
                    <a:pt x="26" y="45"/>
                  </a:cubicBezTo>
                  <a:cubicBezTo>
                    <a:pt x="44" y="45"/>
                    <a:pt x="76" y="42"/>
                    <a:pt x="79" y="61"/>
                  </a:cubicBezTo>
                  <a:cubicBezTo>
                    <a:pt x="82" y="80"/>
                    <a:pt x="81" y="90"/>
                    <a:pt x="93" y="96"/>
                  </a:cubicBezTo>
                  <a:cubicBezTo>
                    <a:pt x="98" y="99"/>
                    <a:pt x="104" y="101"/>
                    <a:pt x="109" y="103"/>
                  </a:cubicBezTo>
                  <a:cubicBezTo>
                    <a:pt x="111" y="97"/>
                    <a:pt x="116" y="91"/>
                    <a:pt x="123" y="88"/>
                  </a:cubicBezTo>
                  <a:cubicBezTo>
                    <a:pt x="140" y="82"/>
                    <a:pt x="129" y="74"/>
                    <a:pt x="144" y="72"/>
                  </a:cubicBezTo>
                  <a:cubicBezTo>
                    <a:pt x="159" y="70"/>
                    <a:pt x="165" y="66"/>
                    <a:pt x="174" y="66"/>
                  </a:cubicBezTo>
                  <a:cubicBezTo>
                    <a:pt x="183" y="66"/>
                    <a:pt x="192" y="59"/>
                    <a:pt x="187" y="51"/>
                  </a:cubicBezTo>
                  <a:cubicBezTo>
                    <a:pt x="182" y="43"/>
                    <a:pt x="168" y="40"/>
                    <a:pt x="177" y="34"/>
                  </a:cubicBezTo>
                  <a:cubicBezTo>
                    <a:pt x="186" y="28"/>
                    <a:pt x="191" y="27"/>
                    <a:pt x="191" y="14"/>
                  </a:cubicBezTo>
                  <a:cubicBezTo>
                    <a:pt x="191" y="7"/>
                    <a:pt x="191" y="4"/>
                    <a:pt x="193" y="2"/>
                  </a:cubicBezTo>
                  <a:cubicBezTo>
                    <a:pt x="190" y="0"/>
                    <a:pt x="188" y="1"/>
                    <a:pt x="183" y="1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517" name="Freeform 25719"/>
            <p:cNvSpPr>
              <a:spLocks/>
            </p:cNvSpPr>
            <p:nvPr/>
          </p:nvSpPr>
          <p:spPr bwMode="auto">
            <a:xfrm>
              <a:off x="4504605" y="3776083"/>
              <a:ext cx="47666" cy="34250"/>
            </a:xfrm>
            <a:custGeom>
              <a:avLst/>
              <a:gdLst>
                <a:gd name="T0" fmla="*/ 127 w 128"/>
                <a:gd name="T1" fmla="*/ 66 h 92"/>
                <a:gd name="T2" fmla="*/ 126 w 128"/>
                <a:gd name="T3" fmla="*/ 4 h 92"/>
                <a:gd name="T4" fmla="*/ 122 w 128"/>
                <a:gd name="T5" fmla="*/ 5 h 92"/>
                <a:gd name="T6" fmla="*/ 122 w 128"/>
                <a:gd name="T7" fmla="*/ 5 h 92"/>
                <a:gd name="T8" fmla="*/ 118 w 128"/>
                <a:gd name="T9" fmla="*/ 6 h 92"/>
                <a:gd name="T10" fmla="*/ 116 w 128"/>
                <a:gd name="T11" fmla="*/ 6 h 92"/>
                <a:gd name="T12" fmla="*/ 113 w 128"/>
                <a:gd name="T13" fmla="*/ 7 h 92"/>
                <a:gd name="T14" fmla="*/ 107 w 128"/>
                <a:gd name="T15" fmla="*/ 7 h 92"/>
                <a:gd name="T16" fmla="*/ 50 w 128"/>
                <a:gd name="T17" fmla="*/ 6 h 92"/>
                <a:gd name="T18" fmla="*/ 34 w 128"/>
                <a:gd name="T19" fmla="*/ 0 h 92"/>
                <a:gd name="T20" fmla="*/ 28 w 128"/>
                <a:gd name="T21" fmla="*/ 28 h 92"/>
                <a:gd name="T22" fmla="*/ 6 w 128"/>
                <a:gd name="T23" fmla="*/ 59 h 92"/>
                <a:gd name="T24" fmla="*/ 15 w 128"/>
                <a:gd name="T25" fmla="*/ 79 h 92"/>
                <a:gd name="T26" fmla="*/ 64 w 128"/>
                <a:gd name="T27" fmla="*/ 83 h 92"/>
                <a:gd name="T28" fmla="*/ 127 w 128"/>
                <a:gd name="T29" fmla="*/ 66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8" h="92">
                  <a:moveTo>
                    <a:pt x="127" y="66"/>
                  </a:moveTo>
                  <a:cubicBezTo>
                    <a:pt x="128" y="48"/>
                    <a:pt x="128" y="23"/>
                    <a:pt x="126" y="4"/>
                  </a:cubicBezTo>
                  <a:cubicBezTo>
                    <a:pt x="125" y="4"/>
                    <a:pt x="124" y="5"/>
                    <a:pt x="122" y="5"/>
                  </a:cubicBezTo>
                  <a:cubicBezTo>
                    <a:pt x="122" y="5"/>
                    <a:pt x="122" y="5"/>
                    <a:pt x="122" y="5"/>
                  </a:cubicBezTo>
                  <a:cubicBezTo>
                    <a:pt x="121" y="6"/>
                    <a:pt x="119" y="6"/>
                    <a:pt x="118" y="6"/>
                  </a:cubicBezTo>
                  <a:cubicBezTo>
                    <a:pt x="117" y="6"/>
                    <a:pt x="117" y="6"/>
                    <a:pt x="116" y="6"/>
                  </a:cubicBezTo>
                  <a:cubicBezTo>
                    <a:pt x="115" y="6"/>
                    <a:pt x="114" y="7"/>
                    <a:pt x="113" y="7"/>
                  </a:cubicBezTo>
                  <a:cubicBezTo>
                    <a:pt x="111" y="7"/>
                    <a:pt x="109" y="7"/>
                    <a:pt x="107" y="7"/>
                  </a:cubicBezTo>
                  <a:cubicBezTo>
                    <a:pt x="88" y="7"/>
                    <a:pt x="59" y="8"/>
                    <a:pt x="50" y="6"/>
                  </a:cubicBezTo>
                  <a:cubicBezTo>
                    <a:pt x="46" y="5"/>
                    <a:pt x="40" y="3"/>
                    <a:pt x="34" y="0"/>
                  </a:cubicBezTo>
                  <a:cubicBezTo>
                    <a:pt x="36" y="11"/>
                    <a:pt x="34" y="22"/>
                    <a:pt x="28" y="28"/>
                  </a:cubicBezTo>
                  <a:cubicBezTo>
                    <a:pt x="20" y="35"/>
                    <a:pt x="0" y="48"/>
                    <a:pt x="6" y="59"/>
                  </a:cubicBezTo>
                  <a:cubicBezTo>
                    <a:pt x="9" y="65"/>
                    <a:pt x="13" y="72"/>
                    <a:pt x="15" y="79"/>
                  </a:cubicBezTo>
                  <a:cubicBezTo>
                    <a:pt x="31" y="81"/>
                    <a:pt x="53" y="83"/>
                    <a:pt x="64" y="83"/>
                  </a:cubicBezTo>
                  <a:cubicBezTo>
                    <a:pt x="82" y="83"/>
                    <a:pt x="126" y="92"/>
                    <a:pt x="127" y="66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518" name="Freeform 25720"/>
            <p:cNvSpPr>
              <a:spLocks/>
            </p:cNvSpPr>
            <p:nvPr/>
          </p:nvSpPr>
          <p:spPr bwMode="auto">
            <a:xfrm>
              <a:off x="4482508" y="3733940"/>
              <a:ext cx="15310" cy="21150"/>
            </a:xfrm>
            <a:custGeom>
              <a:avLst/>
              <a:gdLst>
                <a:gd name="T0" fmla="*/ 27 w 41"/>
                <a:gd name="T1" fmla="*/ 10 h 57"/>
                <a:gd name="T2" fmla="*/ 13 w 41"/>
                <a:gd name="T3" fmla="*/ 17 h 57"/>
                <a:gd name="T4" fmla="*/ 4 w 41"/>
                <a:gd name="T5" fmla="*/ 30 h 57"/>
                <a:gd name="T6" fmla="*/ 1 w 41"/>
                <a:gd name="T7" fmla="*/ 46 h 57"/>
                <a:gd name="T8" fmla="*/ 21 w 41"/>
                <a:gd name="T9" fmla="*/ 53 h 57"/>
                <a:gd name="T10" fmla="*/ 34 w 41"/>
                <a:gd name="T11" fmla="*/ 40 h 57"/>
                <a:gd name="T12" fmla="*/ 40 w 41"/>
                <a:gd name="T13" fmla="*/ 23 h 57"/>
                <a:gd name="T14" fmla="*/ 27 w 41"/>
                <a:gd name="T15" fmla="*/ 1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1" h="57">
                  <a:moveTo>
                    <a:pt x="27" y="10"/>
                  </a:moveTo>
                  <a:cubicBezTo>
                    <a:pt x="27" y="10"/>
                    <a:pt x="15" y="13"/>
                    <a:pt x="13" y="17"/>
                  </a:cubicBezTo>
                  <a:cubicBezTo>
                    <a:pt x="11" y="21"/>
                    <a:pt x="8" y="28"/>
                    <a:pt x="4" y="30"/>
                  </a:cubicBezTo>
                  <a:cubicBezTo>
                    <a:pt x="0" y="32"/>
                    <a:pt x="0" y="42"/>
                    <a:pt x="1" y="46"/>
                  </a:cubicBezTo>
                  <a:cubicBezTo>
                    <a:pt x="3" y="49"/>
                    <a:pt x="18" y="57"/>
                    <a:pt x="21" y="53"/>
                  </a:cubicBezTo>
                  <a:cubicBezTo>
                    <a:pt x="24" y="49"/>
                    <a:pt x="32" y="48"/>
                    <a:pt x="34" y="40"/>
                  </a:cubicBezTo>
                  <a:cubicBezTo>
                    <a:pt x="35" y="31"/>
                    <a:pt x="41" y="27"/>
                    <a:pt x="40" y="23"/>
                  </a:cubicBezTo>
                  <a:cubicBezTo>
                    <a:pt x="39" y="19"/>
                    <a:pt x="38" y="0"/>
                    <a:pt x="27" y="1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rnd">
              <a:solidFill>
                <a:schemeClr val="bg1">
                  <a:lumMod val="9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519" name="Freeform 25727"/>
            <p:cNvSpPr>
              <a:spLocks/>
            </p:cNvSpPr>
            <p:nvPr/>
          </p:nvSpPr>
          <p:spPr bwMode="auto">
            <a:xfrm>
              <a:off x="5275308" y="3526546"/>
              <a:ext cx="42931" cy="48139"/>
            </a:xfrm>
            <a:custGeom>
              <a:avLst/>
              <a:gdLst>
                <a:gd name="T0" fmla="*/ 22 w 115"/>
                <a:gd name="T1" fmla="*/ 48 h 129"/>
                <a:gd name="T2" fmla="*/ 1 w 115"/>
                <a:gd name="T3" fmla="*/ 75 h 129"/>
                <a:gd name="T4" fmla="*/ 8 w 115"/>
                <a:gd name="T5" fmla="*/ 113 h 129"/>
                <a:gd name="T6" fmla="*/ 24 w 115"/>
                <a:gd name="T7" fmla="*/ 118 h 129"/>
                <a:gd name="T8" fmla="*/ 43 w 115"/>
                <a:gd name="T9" fmla="*/ 112 h 129"/>
                <a:gd name="T10" fmla="*/ 58 w 115"/>
                <a:gd name="T11" fmla="*/ 104 h 129"/>
                <a:gd name="T12" fmla="*/ 81 w 115"/>
                <a:gd name="T13" fmla="*/ 101 h 129"/>
                <a:gd name="T14" fmla="*/ 84 w 115"/>
                <a:gd name="T15" fmla="*/ 95 h 129"/>
                <a:gd name="T16" fmla="*/ 91 w 115"/>
                <a:gd name="T17" fmla="*/ 79 h 129"/>
                <a:gd name="T18" fmla="*/ 91 w 115"/>
                <a:gd name="T19" fmla="*/ 79 h 129"/>
                <a:gd name="T20" fmla="*/ 85 w 115"/>
                <a:gd name="T21" fmla="*/ 57 h 129"/>
                <a:gd name="T22" fmla="*/ 106 w 115"/>
                <a:gd name="T23" fmla="*/ 26 h 129"/>
                <a:gd name="T24" fmla="*/ 84 w 115"/>
                <a:gd name="T25" fmla="*/ 0 h 129"/>
                <a:gd name="T26" fmla="*/ 78 w 115"/>
                <a:gd name="T27" fmla="*/ 7 h 129"/>
                <a:gd name="T28" fmla="*/ 67 w 115"/>
                <a:gd name="T29" fmla="*/ 16 h 129"/>
                <a:gd name="T30" fmla="*/ 49 w 115"/>
                <a:gd name="T31" fmla="*/ 23 h 129"/>
                <a:gd name="T32" fmla="*/ 38 w 115"/>
                <a:gd name="T33" fmla="*/ 18 h 129"/>
                <a:gd name="T34" fmla="*/ 35 w 115"/>
                <a:gd name="T35" fmla="*/ 31 h 129"/>
                <a:gd name="T36" fmla="*/ 22 w 115"/>
                <a:gd name="T37" fmla="*/ 48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15" h="129">
                  <a:moveTo>
                    <a:pt x="22" y="48"/>
                  </a:moveTo>
                  <a:cubicBezTo>
                    <a:pt x="14" y="53"/>
                    <a:pt x="1" y="64"/>
                    <a:pt x="1" y="75"/>
                  </a:cubicBezTo>
                  <a:cubicBezTo>
                    <a:pt x="1" y="86"/>
                    <a:pt x="0" y="106"/>
                    <a:pt x="8" y="113"/>
                  </a:cubicBezTo>
                  <a:cubicBezTo>
                    <a:pt x="16" y="120"/>
                    <a:pt x="21" y="129"/>
                    <a:pt x="24" y="118"/>
                  </a:cubicBezTo>
                  <a:cubicBezTo>
                    <a:pt x="27" y="107"/>
                    <a:pt x="35" y="111"/>
                    <a:pt x="43" y="112"/>
                  </a:cubicBezTo>
                  <a:cubicBezTo>
                    <a:pt x="51" y="112"/>
                    <a:pt x="48" y="104"/>
                    <a:pt x="58" y="104"/>
                  </a:cubicBezTo>
                  <a:cubicBezTo>
                    <a:pt x="65" y="104"/>
                    <a:pt x="73" y="102"/>
                    <a:pt x="81" y="101"/>
                  </a:cubicBezTo>
                  <a:cubicBezTo>
                    <a:pt x="82" y="99"/>
                    <a:pt x="83" y="97"/>
                    <a:pt x="84" y="95"/>
                  </a:cubicBezTo>
                  <a:cubicBezTo>
                    <a:pt x="87" y="90"/>
                    <a:pt x="88" y="84"/>
                    <a:pt x="91" y="79"/>
                  </a:cubicBezTo>
                  <a:cubicBezTo>
                    <a:pt x="91" y="79"/>
                    <a:pt x="91" y="79"/>
                    <a:pt x="91" y="79"/>
                  </a:cubicBezTo>
                  <a:cubicBezTo>
                    <a:pt x="76" y="77"/>
                    <a:pt x="63" y="72"/>
                    <a:pt x="85" y="57"/>
                  </a:cubicBezTo>
                  <a:cubicBezTo>
                    <a:pt x="108" y="42"/>
                    <a:pt x="115" y="42"/>
                    <a:pt x="106" y="26"/>
                  </a:cubicBezTo>
                  <a:cubicBezTo>
                    <a:pt x="99" y="14"/>
                    <a:pt x="92" y="7"/>
                    <a:pt x="84" y="0"/>
                  </a:cubicBezTo>
                  <a:cubicBezTo>
                    <a:pt x="81" y="2"/>
                    <a:pt x="79" y="5"/>
                    <a:pt x="78" y="7"/>
                  </a:cubicBezTo>
                  <a:cubicBezTo>
                    <a:pt x="76" y="12"/>
                    <a:pt x="67" y="8"/>
                    <a:pt x="67" y="16"/>
                  </a:cubicBezTo>
                  <a:cubicBezTo>
                    <a:pt x="67" y="24"/>
                    <a:pt x="62" y="25"/>
                    <a:pt x="49" y="23"/>
                  </a:cubicBezTo>
                  <a:cubicBezTo>
                    <a:pt x="45" y="22"/>
                    <a:pt x="42" y="20"/>
                    <a:pt x="38" y="18"/>
                  </a:cubicBezTo>
                  <a:cubicBezTo>
                    <a:pt x="37" y="22"/>
                    <a:pt x="36" y="28"/>
                    <a:pt x="35" y="31"/>
                  </a:cubicBezTo>
                  <a:cubicBezTo>
                    <a:pt x="32" y="39"/>
                    <a:pt x="30" y="43"/>
                    <a:pt x="22" y="48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520" name="Freeform 25728"/>
            <p:cNvSpPr>
              <a:spLocks/>
            </p:cNvSpPr>
            <p:nvPr/>
          </p:nvSpPr>
          <p:spPr bwMode="auto">
            <a:xfrm>
              <a:off x="3884791" y="3496401"/>
              <a:ext cx="70078" cy="19256"/>
            </a:xfrm>
            <a:custGeom>
              <a:avLst/>
              <a:gdLst>
                <a:gd name="T0" fmla="*/ 39 w 188"/>
                <a:gd name="T1" fmla="*/ 44 h 52"/>
                <a:gd name="T2" fmla="*/ 63 w 188"/>
                <a:gd name="T3" fmla="*/ 39 h 52"/>
                <a:gd name="T4" fmla="*/ 78 w 188"/>
                <a:gd name="T5" fmla="*/ 35 h 52"/>
                <a:gd name="T6" fmla="*/ 103 w 188"/>
                <a:gd name="T7" fmla="*/ 25 h 52"/>
                <a:gd name="T8" fmla="*/ 114 w 188"/>
                <a:gd name="T9" fmla="*/ 24 h 52"/>
                <a:gd name="T10" fmla="*/ 127 w 188"/>
                <a:gd name="T11" fmla="*/ 28 h 52"/>
                <a:gd name="T12" fmla="*/ 141 w 188"/>
                <a:gd name="T13" fmla="*/ 35 h 52"/>
                <a:gd name="T14" fmla="*/ 156 w 188"/>
                <a:gd name="T15" fmla="*/ 42 h 52"/>
                <a:gd name="T16" fmla="*/ 168 w 188"/>
                <a:gd name="T17" fmla="*/ 37 h 52"/>
                <a:gd name="T18" fmla="*/ 185 w 188"/>
                <a:gd name="T19" fmla="*/ 33 h 52"/>
                <a:gd name="T20" fmla="*/ 184 w 188"/>
                <a:gd name="T21" fmla="*/ 23 h 52"/>
                <a:gd name="T22" fmla="*/ 173 w 188"/>
                <a:gd name="T23" fmla="*/ 24 h 52"/>
                <a:gd name="T24" fmla="*/ 152 w 188"/>
                <a:gd name="T25" fmla="*/ 26 h 52"/>
                <a:gd name="T26" fmla="*/ 137 w 188"/>
                <a:gd name="T27" fmla="*/ 17 h 52"/>
                <a:gd name="T28" fmla="*/ 115 w 188"/>
                <a:gd name="T29" fmla="*/ 2 h 52"/>
                <a:gd name="T30" fmla="*/ 96 w 188"/>
                <a:gd name="T31" fmla="*/ 5 h 52"/>
                <a:gd name="T32" fmla="*/ 81 w 188"/>
                <a:gd name="T33" fmla="*/ 12 h 52"/>
                <a:gd name="T34" fmla="*/ 65 w 188"/>
                <a:gd name="T35" fmla="*/ 14 h 52"/>
                <a:gd name="T36" fmla="*/ 42 w 188"/>
                <a:gd name="T37" fmla="*/ 20 h 52"/>
                <a:gd name="T38" fmla="*/ 23 w 188"/>
                <a:gd name="T39" fmla="*/ 15 h 52"/>
                <a:gd name="T40" fmla="*/ 3 w 188"/>
                <a:gd name="T41" fmla="*/ 18 h 52"/>
                <a:gd name="T42" fmla="*/ 1 w 188"/>
                <a:gd name="T43" fmla="*/ 52 h 52"/>
                <a:gd name="T44" fmla="*/ 12 w 188"/>
                <a:gd name="T45" fmla="*/ 47 h 52"/>
                <a:gd name="T46" fmla="*/ 39 w 188"/>
                <a:gd name="T47" fmla="*/ 44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88" h="52">
                  <a:moveTo>
                    <a:pt x="39" y="44"/>
                  </a:moveTo>
                  <a:cubicBezTo>
                    <a:pt x="50" y="44"/>
                    <a:pt x="59" y="43"/>
                    <a:pt x="63" y="39"/>
                  </a:cubicBezTo>
                  <a:cubicBezTo>
                    <a:pt x="68" y="36"/>
                    <a:pt x="70" y="35"/>
                    <a:pt x="78" y="35"/>
                  </a:cubicBezTo>
                  <a:cubicBezTo>
                    <a:pt x="87" y="34"/>
                    <a:pt x="100" y="31"/>
                    <a:pt x="103" y="25"/>
                  </a:cubicBezTo>
                  <a:cubicBezTo>
                    <a:pt x="105" y="20"/>
                    <a:pt x="111" y="21"/>
                    <a:pt x="114" y="24"/>
                  </a:cubicBezTo>
                  <a:cubicBezTo>
                    <a:pt x="118" y="27"/>
                    <a:pt x="121" y="28"/>
                    <a:pt x="127" y="28"/>
                  </a:cubicBezTo>
                  <a:cubicBezTo>
                    <a:pt x="133" y="29"/>
                    <a:pt x="137" y="31"/>
                    <a:pt x="141" y="35"/>
                  </a:cubicBezTo>
                  <a:cubicBezTo>
                    <a:pt x="144" y="39"/>
                    <a:pt x="151" y="42"/>
                    <a:pt x="156" y="42"/>
                  </a:cubicBezTo>
                  <a:cubicBezTo>
                    <a:pt x="162" y="43"/>
                    <a:pt x="160" y="37"/>
                    <a:pt x="168" y="37"/>
                  </a:cubicBezTo>
                  <a:cubicBezTo>
                    <a:pt x="177" y="37"/>
                    <a:pt x="183" y="35"/>
                    <a:pt x="185" y="33"/>
                  </a:cubicBezTo>
                  <a:cubicBezTo>
                    <a:pt x="188" y="31"/>
                    <a:pt x="188" y="26"/>
                    <a:pt x="184" y="23"/>
                  </a:cubicBezTo>
                  <a:cubicBezTo>
                    <a:pt x="180" y="20"/>
                    <a:pt x="177" y="22"/>
                    <a:pt x="173" y="24"/>
                  </a:cubicBezTo>
                  <a:cubicBezTo>
                    <a:pt x="168" y="26"/>
                    <a:pt x="160" y="28"/>
                    <a:pt x="152" y="26"/>
                  </a:cubicBezTo>
                  <a:cubicBezTo>
                    <a:pt x="144" y="23"/>
                    <a:pt x="143" y="23"/>
                    <a:pt x="137" y="17"/>
                  </a:cubicBezTo>
                  <a:cubicBezTo>
                    <a:pt x="132" y="10"/>
                    <a:pt x="124" y="1"/>
                    <a:pt x="115" y="2"/>
                  </a:cubicBezTo>
                  <a:cubicBezTo>
                    <a:pt x="107" y="3"/>
                    <a:pt x="97" y="0"/>
                    <a:pt x="96" y="5"/>
                  </a:cubicBezTo>
                  <a:cubicBezTo>
                    <a:pt x="94" y="10"/>
                    <a:pt x="88" y="12"/>
                    <a:pt x="81" y="12"/>
                  </a:cubicBezTo>
                  <a:cubicBezTo>
                    <a:pt x="73" y="12"/>
                    <a:pt x="68" y="10"/>
                    <a:pt x="65" y="14"/>
                  </a:cubicBezTo>
                  <a:cubicBezTo>
                    <a:pt x="62" y="19"/>
                    <a:pt x="51" y="21"/>
                    <a:pt x="42" y="20"/>
                  </a:cubicBezTo>
                  <a:cubicBezTo>
                    <a:pt x="34" y="20"/>
                    <a:pt x="28" y="15"/>
                    <a:pt x="23" y="15"/>
                  </a:cubicBezTo>
                  <a:cubicBezTo>
                    <a:pt x="18" y="15"/>
                    <a:pt x="10" y="17"/>
                    <a:pt x="3" y="18"/>
                  </a:cubicBezTo>
                  <a:cubicBezTo>
                    <a:pt x="4" y="33"/>
                    <a:pt x="0" y="40"/>
                    <a:pt x="1" y="52"/>
                  </a:cubicBezTo>
                  <a:cubicBezTo>
                    <a:pt x="4" y="49"/>
                    <a:pt x="8" y="47"/>
                    <a:pt x="12" y="47"/>
                  </a:cubicBezTo>
                  <a:cubicBezTo>
                    <a:pt x="22" y="46"/>
                    <a:pt x="28" y="44"/>
                    <a:pt x="39" y="44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521" name="Freeform 25729"/>
            <p:cNvSpPr>
              <a:spLocks/>
            </p:cNvSpPr>
            <p:nvPr/>
          </p:nvSpPr>
          <p:spPr bwMode="auto">
            <a:xfrm>
              <a:off x="5378216" y="4049451"/>
              <a:ext cx="10733" cy="10417"/>
            </a:xfrm>
            <a:custGeom>
              <a:avLst/>
              <a:gdLst>
                <a:gd name="T0" fmla="*/ 17 w 29"/>
                <a:gd name="T1" fmla="*/ 2 h 28"/>
                <a:gd name="T2" fmla="*/ 10 w 29"/>
                <a:gd name="T3" fmla="*/ 5 h 28"/>
                <a:gd name="T4" fmla="*/ 1 w 29"/>
                <a:gd name="T5" fmla="*/ 14 h 28"/>
                <a:gd name="T6" fmla="*/ 8 w 29"/>
                <a:gd name="T7" fmla="*/ 26 h 28"/>
                <a:gd name="T8" fmla="*/ 24 w 29"/>
                <a:gd name="T9" fmla="*/ 24 h 28"/>
                <a:gd name="T10" fmla="*/ 17 w 29"/>
                <a:gd name="T11" fmla="*/ 2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" h="28">
                  <a:moveTo>
                    <a:pt x="17" y="2"/>
                  </a:moveTo>
                  <a:cubicBezTo>
                    <a:pt x="17" y="2"/>
                    <a:pt x="10" y="0"/>
                    <a:pt x="10" y="5"/>
                  </a:cubicBezTo>
                  <a:cubicBezTo>
                    <a:pt x="9" y="10"/>
                    <a:pt x="3" y="8"/>
                    <a:pt x="1" y="14"/>
                  </a:cubicBezTo>
                  <a:cubicBezTo>
                    <a:pt x="0" y="20"/>
                    <a:pt x="2" y="25"/>
                    <a:pt x="8" y="26"/>
                  </a:cubicBezTo>
                  <a:cubicBezTo>
                    <a:pt x="15" y="28"/>
                    <a:pt x="22" y="28"/>
                    <a:pt x="24" y="24"/>
                  </a:cubicBezTo>
                  <a:cubicBezTo>
                    <a:pt x="25" y="19"/>
                    <a:pt x="29" y="3"/>
                    <a:pt x="17" y="2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522" name="Freeform 25733"/>
            <p:cNvSpPr>
              <a:spLocks/>
            </p:cNvSpPr>
            <p:nvPr/>
          </p:nvSpPr>
          <p:spPr bwMode="auto">
            <a:xfrm>
              <a:off x="5088433" y="3713422"/>
              <a:ext cx="186875" cy="231543"/>
            </a:xfrm>
            <a:custGeom>
              <a:avLst/>
              <a:gdLst>
                <a:gd name="T0" fmla="*/ 494 w 501"/>
                <a:gd name="T1" fmla="*/ 86 h 621"/>
                <a:gd name="T2" fmla="*/ 501 w 501"/>
                <a:gd name="T3" fmla="*/ 67 h 621"/>
                <a:gd name="T4" fmla="*/ 475 w 501"/>
                <a:gd name="T5" fmla="*/ 64 h 621"/>
                <a:gd name="T6" fmla="*/ 469 w 501"/>
                <a:gd name="T7" fmla="*/ 63 h 621"/>
                <a:gd name="T8" fmla="*/ 406 w 501"/>
                <a:gd name="T9" fmla="*/ 58 h 621"/>
                <a:gd name="T10" fmla="*/ 314 w 501"/>
                <a:gd name="T11" fmla="*/ 90 h 621"/>
                <a:gd name="T12" fmla="*/ 213 w 501"/>
                <a:gd name="T13" fmla="*/ 46 h 621"/>
                <a:gd name="T14" fmla="*/ 139 w 501"/>
                <a:gd name="T15" fmla="*/ 35 h 621"/>
                <a:gd name="T16" fmla="*/ 136 w 501"/>
                <a:gd name="T17" fmla="*/ 34 h 621"/>
                <a:gd name="T18" fmla="*/ 133 w 501"/>
                <a:gd name="T19" fmla="*/ 34 h 621"/>
                <a:gd name="T20" fmla="*/ 131 w 501"/>
                <a:gd name="T21" fmla="*/ 33 h 621"/>
                <a:gd name="T22" fmla="*/ 129 w 501"/>
                <a:gd name="T23" fmla="*/ 32 h 621"/>
                <a:gd name="T24" fmla="*/ 128 w 501"/>
                <a:gd name="T25" fmla="*/ 31 h 621"/>
                <a:gd name="T26" fmla="*/ 126 w 501"/>
                <a:gd name="T27" fmla="*/ 30 h 621"/>
                <a:gd name="T28" fmla="*/ 125 w 501"/>
                <a:gd name="T29" fmla="*/ 29 h 621"/>
                <a:gd name="T30" fmla="*/ 124 w 501"/>
                <a:gd name="T31" fmla="*/ 28 h 621"/>
                <a:gd name="T32" fmla="*/ 123 w 501"/>
                <a:gd name="T33" fmla="*/ 26 h 621"/>
                <a:gd name="T34" fmla="*/ 122 w 501"/>
                <a:gd name="T35" fmla="*/ 25 h 621"/>
                <a:gd name="T36" fmla="*/ 121 w 501"/>
                <a:gd name="T37" fmla="*/ 24 h 621"/>
                <a:gd name="T38" fmla="*/ 121 w 501"/>
                <a:gd name="T39" fmla="*/ 24 h 621"/>
                <a:gd name="T40" fmla="*/ 120 w 501"/>
                <a:gd name="T41" fmla="*/ 23 h 621"/>
                <a:gd name="T42" fmla="*/ 119 w 501"/>
                <a:gd name="T43" fmla="*/ 23 h 621"/>
                <a:gd name="T44" fmla="*/ 96 w 501"/>
                <a:gd name="T45" fmla="*/ 14 h 621"/>
                <a:gd name="T46" fmla="*/ 40 w 501"/>
                <a:gd name="T47" fmla="*/ 14 h 621"/>
                <a:gd name="T48" fmla="*/ 14 w 501"/>
                <a:gd name="T49" fmla="*/ 42 h 621"/>
                <a:gd name="T50" fmla="*/ 13 w 501"/>
                <a:gd name="T51" fmla="*/ 44 h 621"/>
                <a:gd name="T52" fmla="*/ 12 w 501"/>
                <a:gd name="T53" fmla="*/ 45 h 621"/>
                <a:gd name="T54" fmla="*/ 11 w 501"/>
                <a:gd name="T55" fmla="*/ 46 h 621"/>
                <a:gd name="T56" fmla="*/ 29 w 501"/>
                <a:gd name="T57" fmla="*/ 78 h 621"/>
                <a:gd name="T58" fmla="*/ 42 w 501"/>
                <a:gd name="T59" fmla="*/ 126 h 621"/>
                <a:gd name="T60" fmla="*/ 66 w 501"/>
                <a:gd name="T61" fmla="*/ 176 h 621"/>
                <a:gd name="T62" fmla="*/ 34 w 501"/>
                <a:gd name="T63" fmla="*/ 255 h 621"/>
                <a:gd name="T64" fmla="*/ 0 w 501"/>
                <a:gd name="T65" fmla="*/ 319 h 621"/>
                <a:gd name="T66" fmla="*/ 29 w 501"/>
                <a:gd name="T67" fmla="*/ 317 h 621"/>
                <a:gd name="T68" fmla="*/ 26 w 501"/>
                <a:gd name="T69" fmla="*/ 341 h 621"/>
                <a:gd name="T70" fmla="*/ 5 w 501"/>
                <a:gd name="T71" fmla="*/ 373 h 621"/>
                <a:gd name="T72" fmla="*/ 13 w 501"/>
                <a:gd name="T73" fmla="*/ 381 h 621"/>
                <a:gd name="T74" fmla="*/ 22 w 501"/>
                <a:gd name="T75" fmla="*/ 388 h 621"/>
                <a:gd name="T76" fmla="*/ 26 w 501"/>
                <a:gd name="T77" fmla="*/ 392 h 621"/>
                <a:gd name="T78" fmla="*/ 39 w 501"/>
                <a:gd name="T79" fmla="*/ 401 h 621"/>
                <a:gd name="T80" fmla="*/ 45 w 501"/>
                <a:gd name="T81" fmla="*/ 405 h 621"/>
                <a:gd name="T82" fmla="*/ 54 w 501"/>
                <a:gd name="T83" fmla="*/ 411 h 621"/>
                <a:gd name="T84" fmla="*/ 252 w 501"/>
                <a:gd name="T85" fmla="*/ 554 h 621"/>
                <a:gd name="T86" fmla="*/ 365 w 501"/>
                <a:gd name="T87" fmla="*/ 587 h 621"/>
                <a:gd name="T88" fmla="*/ 398 w 501"/>
                <a:gd name="T89" fmla="*/ 511 h 621"/>
                <a:gd name="T90" fmla="*/ 439 w 501"/>
                <a:gd name="T91" fmla="*/ 466 h 621"/>
                <a:gd name="T92" fmla="*/ 485 w 501"/>
                <a:gd name="T93" fmla="*/ 436 h 621"/>
                <a:gd name="T94" fmla="*/ 452 w 501"/>
                <a:gd name="T95" fmla="*/ 379 h 621"/>
                <a:gd name="T96" fmla="*/ 454 w 501"/>
                <a:gd name="T97" fmla="*/ 130 h 6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01" h="621">
                  <a:moveTo>
                    <a:pt x="454" y="130"/>
                  </a:moveTo>
                  <a:cubicBezTo>
                    <a:pt x="458" y="126"/>
                    <a:pt x="484" y="103"/>
                    <a:pt x="494" y="86"/>
                  </a:cubicBezTo>
                  <a:cubicBezTo>
                    <a:pt x="498" y="80"/>
                    <a:pt x="500" y="73"/>
                    <a:pt x="501" y="67"/>
                  </a:cubicBezTo>
                  <a:cubicBezTo>
                    <a:pt x="501" y="67"/>
                    <a:pt x="501" y="67"/>
                    <a:pt x="501" y="67"/>
                  </a:cubicBezTo>
                  <a:cubicBezTo>
                    <a:pt x="494" y="68"/>
                    <a:pt x="485" y="66"/>
                    <a:pt x="476" y="64"/>
                  </a:cubicBezTo>
                  <a:cubicBezTo>
                    <a:pt x="476" y="64"/>
                    <a:pt x="475" y="64"/>
                    <a:pt x="475" y="64"/>
                  </a:cubicBezTo>
                  <a:cubicBezTo>
                    <a:pt x="474" y="64"/>
                    <a:pt x="473" y="64"/>
                    <a:pt x="473" y="64"/>
                  </a:cubicBezTo>
                  <a:cubicBezTo>
                    <a:pt x="472" y="63"/>
                    <a:pt x="470" y="63"/>
                    <a:pt x="469" y="63"/>
                  </a:cubicBezTo>
                  <a:cubicBezTo>
                    <a:pt x="452" y="60"/>
                    <a:pt x="458" y="46"/>
                    <a:pt x="440" y="43"/>
                  </a:cubicBezTo>
                  <a:cubicBezTo>
                    <a:pt x="421" y="40"/>
                    <a:pt x="426" y="56"/>
                    <a:pt x="406" y="58"/>
                  </a:cubicBezTo>
                  <a:cubicBezTo>
                    <a:pt x="386" y="59"/>
                    <a:pt x="393" y="60"/>
                    <a:pt x="377" y="84"/>
                  </a:cubicBezTo>
                  <a:cubicBezTo>
                    <a:pt x="361" y="108"/>
                    <a:pt x="332" y="92"/>
                    <a:pt x="314" y="90"/>
                  </a:cubicBezTo>
                  <a:cubicBezTo>
                    <a:pt x="297" y="87"/>
                    <a:pt x="289" y="90"/>
                    <a:pt x="266" y="83"/>
                  </a:cubicBezTo>
                  <a:cubicBezTo>
                    <a:pt x="244" y="76"/>
                    <a:pt x="237" y="70"/>
                    <a:pt x="213" y="46"/>
                  </a:cubicBezTo>
                  <a:cubicBezTo>
                    <a:pt x="189" y="22"/>
                    <a:pt x="162" y="35"/>
                    <a:pt x="142" y="35"/>
                  </a:cubicBezTo>
                  <a:cubicBezTo>
                    <a:pt x="141" y="35"/>
                    <a:pt x="140" y="35"/>
                    <a:pt x="139" y="35"/>
                  </a:cubicBezTo>
                  <a:cubicBezTo>
                    <a:pt x="139" y="35"/>
                    <a:pt x="138" y="35"/>
                    <a:pt x="138" y="35"/>
                  </a:cubicBezTo>
                  <a:cubicBezTo>
                    <a:pt x="137" y="35"/>
                    <a:pt x="137" y="35"/>
                    <a:pt x="136" y="34"/>
                  </a:cubicBezTo>
                  <a:cubicBezTo>
                    <a:pt x="136" y="34"/>
                    <a:pt x="135" y="34"/>
                    <a:pt x="135" y="34"/>
                  </a:cubicBezTo>
                  <a:cubicBezTo>
                    <a:pt x="134" y="34"/>
                    <a:pt x="134" y="34"/>
                    <a:pt x="133" y="34"/>
                  </a:cubicBezTo>
                  <a:cubicBezTo>
                    <a:pt x="133" y="34"/>
                    <a:pt x="133" y="34"/>
                    <a:pt x="132" y="34"/>
                  </a:cubicBezTo>
                  <a:cubicBezTo>
                    <a:pt x="132" y="33"/>
                    <a:pt x="132" y="33"/>
                    <a:pt x="131" y="33"/>
                  </a:cubicBezTo>
                  <a:cubicBezTo>
                    <a:pt x="131" y="33"/>
                    <a:pt x="131" y="33"/>
                    <a:pt x="130" y="33"/>
                  </a:cubicBezTo>
                  <a:cubicBezTo>
                    <a:pt x="130" y="32"/>
                    <a:pt x="130" y="32"/>
                    <a:pt x="129" y="32"/>
                  </a:cubicBezTo>
                  <a:cubicBezTo>
                    <a:pt x="129" y="32"/>
                    <a:pt x="129" y="32"/>
                    <a:pt x="129" y="32"/>
                  </a:cubicBezTo>
                  <a:cubicBezTo>
                    <a:pt x="128" y="31"/>
                    <a:pt x="128" y="31"/>
                    <a:pt x="128" y="31"/>
                  </a:cubicBezTo>
                  <a:cubicBezTo>
                    <a:pt x="127" y="31"/>
                    <a:pt x="127" y="31"/>
                    <a:pt x="127" y="31"/>
                  </a:cubicBezTo>
                  <a:cubicBezTo>
                    <a:pt x="127" y="30"/>
                    <a:pt x="126" y="30"/>
                    <a:pt x="126" y="30"/>
                  </a:cubicBezTo>
                  <a:cubicBezTo>
                    <a:pt x="126" y="30"/>
                    <a:pt x="126" y="30"/>
                    <a:pt x="126" y="29"/>
                  </a:cubicBezTo>
                  <a:cubicBezTo>
                    <a:pt x="125" y="29"/>
                    <a:pt x="125" y="29"/>
                    <a:pt x="125" y="29"/>
                  </a:cubicBezTo>
                  <a:cubicBezTo>
                    <a:pt x="125" y="29"/>
                    <a:pt x="125" y="28"/>
                    <a:pt x="125" y="28"/>
                  </a:cubicBezTo>
                  <a:cubicBezTo>
                    <a:pt x="124" y="28"/>
                    <a:pt x="124" y="28"/>
                    <a:pt x="124" y="28"/>
                  </a:cubicBezTo>
                  <a:cubicBezTo>
                    <a:pt x="124" y="27"/>
                    <a:pt x="124" y="27"/>
                    <a:pt x="124" y="27"/>
                  </a:cubicBezTo>
                  <a:cubicBezTo>
                    <a:pt x="123" y="27"/>
                    <a:pt x="123" y="27"/>
                    <a:pt x="123" y="26"/>
                  </a:cubicBezTo>
                  <a:cubicBezTo>
                    <a:pt x="123" y="26"/>
                    <a:pt x="123" y="26"/>
                    <a:pt x="123" y="26"/>
                  </a:cubicBezTo>
                  <a:cubicBezTo>
                    <a:pt x="123" y="26"/>
                    <a:pt x="122" y="25"/>
                    <a:pt x="122" y="25"/>
                  </a:cubicBezTo>
                  <a:cubicBezTo>
                    <a:pt x="122" y="25"/>
                    <a:pt x="122" y="25"/>
                    <a:pt x="122" y="25"/>
                  </a:cubicBezTo>
                  <a:cubicBezTo>
                    <a:pt x="122" y="25"/>
                    <a:pt x="122" y="24"/>
                    <a:pt x="121" y="24"/>
                  </a:cubicBezTo>
                  <a:cubicBezTo>
                    <a:pt x="121" y="24"/>
                    <a:pt x="121" y="24"/>
                    <a:pt x="121" y="24"/>
                  </a:cubicBezTo>
                  <a:cubicBezTo>
                    <a:pt x="121" y="24"/>
                    <a:pt x="121" y="24"/>
                    <a:pt x="121" y="24"/>
                  </a:cubicBezTo>
                  <a:cubicBezTo>
                    <a:pt x="121" y="23"/>
                    <a:pt x="120" y="23"/>
                    <a:pt x="120" y="23"/>
                  </a:cubicBezTo>
                  <a:cubicBezTo>
                    <a:pt x="120" y="23"/>
                    <a:pt x="120" y="23"/>
                    <a:pt x="120" y="23"/>
                  </a:cubicBezTo>
                  <a:cubicBezTo>
                    <a:pt x="120" y="23"/>
                    <a:pt x="120" y="23"/>
                    <a:pt x="119" y="23"/>
                  </a:cubicBezTo>
                  <a:cubicBezTo>
                    <a:pt x="119" y="23"/>
                    <a:pt x="119" y="23"/>
                    <a:pt x="119" y="23"/>
                  </a:cubicBezTo>
                  <a:cubicBezTo>
                    <a:pt x="119" y="23"/>
                    <a:pt x="119" y="23"/>
                    <a:pt x="118" y="23"/>
                  </a:cubicBezTo>
                  <a:cubicBezTo>
                    <a:pt x="113" y="24"/>
                    <a:pt x="101" y="22"/>
                    <a:pt x="96" y="14"/>
                  </a:cubicBezTo>
                  <a:cubicBezTo>
                    <a:pt x="90" y="6"/>
                    <a:pt x="92" y="0"/>
                    <a:pt x="76" y="0"/>
                  </a:cubicBezTo>
                  <a:cubicBezTo>
                    <a:pt x="60" y="0"/>
                    <a:pt x="54" y="14"/>
                    <a:pt x="40" y="14"/>
                  </a:cubicBezTo>
                  <a:cubicBezTo>
                    <a:pt x="25" y="14"/>
                    <a:pt x="18" y="23"/>
                    <a:pt x="14" y="39"/>
                  </a:cubicBezTo>
                  <a:cubicBezTo>
                    <a:pt x="14" y="40"/>
                    <a:pt x="14" y="41"/>
                    <a:pt x="14" y="42"/>
                  </a:cubicBezTo>
                  <a:cubicBezTo>
                    <a:pt x="13" y="42"/>
                    <a:pt x="13" y="43"/>
                    <a:pt x="13" y="43"/>
                  </a:cubicBezTo>
                  <a:cubicBezTo>
                    <a:pt x="13" y="43"/>
                    <a:pt x="13" y="43"/>
                    <a:pt x="13" y="44"/>
                  </a:cubicBezTo>
                  <a:cubicBezTo>
                    <a:pt x="12" y="44"/>
                    <a:pt x="12" y="45"/>
                    <a:pt x="12" y="45"/>
                  </a:cubicBezTo>
                  <a:cubicBezTo>
                    <a:pt x="12" y="45"/>
                    <a:pt x="12" y="45"/>
                    <a:pt x="12" y="45"/>
                  </a:cubicBezTo>
                  <a:cubicBezTo>
                    <a:pt x="12" y="45"/>
                    <a:pt x="11" y="46"/>
                    <a:pt x="11" y="46"/>
                  </a:cubicBezTo>
                  <a:cubicBezTo>
                    <a:pt x="11" y="46"/>
                    <a:pt x="11" y="46"/>
                    <a:pt x="11" y="46"/>
                  </a:cubicBezTo>
                  <a:cubicBezTo>
                    <a:pt x="13" y="52"/>
                    <a:pt x="16" y="59"/>
                    <a:pt x="16" y="63"/>
                  </a:cubicBezTo>
                  <a:cubicBezTo>
                    <a:pt x="16" y="71"/>
                    <a:pt x="17" y="78"/>
                    <a:pt x="29" y="78"/>
                  </a:cubicBezTo>
                  <a:cubicBezTo>
                    <a:pt x="41" y="78"/>
                    <a:pt x="34" y="94"/>
                    <a:pt x="34" y="102"/>
                  </a:cubicBezTo>
                  <a:cubicBezTo>
                    <a:pt x="34" y="110"/>
                    <a:pt x="37" y="122"/>
                    <a:pt x="42" y="126"/>
                  </a:cubicBezTo>
                  <a:cubicBezTo>
                    <a:pt x="48" y="130"/>
                    <a:pt x="48" y="143"/>
                    <a:pt x="57" y="148"/>
                  </a:cubicBezTo>
                  <a:cubicBezTo>
                    <a:pt x="66" y="154"/>
                    <a:pt x="66" y="167"/>
                    <a:pt x="66" y="176"/>
                  </a:cubicBezTo>
                  <a:cubicBezTo>
                    <a:pt x="66" y="186"/>
                    <a:pt x="74" y="204"/>
                    <a:pt x="64" y="222"/>
                  </a:cubicBezTo>
                  <a:cubicBezTo>
                    <a:pt x="53" y="239"/>
                    <a:pt x="42" y="242"/>
                    <a:pt x="34" y="255"/>
                  </a:cubicBezTo>
                  <a:cubicBezTo>
                    <a:pt x="26" y="268"/>
                    <a:pt x="10" y="283"/>
                    <a:pt x="4" y="304"/>
                  </a:cubicBezTo>
                  <a:cubicBezTo>
                    <a:pt x="2" y="309"/>
                    <a:pt x="1" y="314"/>
                    <a:pt x="0" y="319"/>
                  </a:cubicBezTo>
                  <a:cubicBezTo>
                    <a:pt x="4" y="321"/>
                    <a:pt x="7" y="324"/>
                    <a:pt x="11" y="325"/>
                  </a:cubicBezTo>
                  <a:cubicBezTo>
                    <a:pt x="17" y="326"/>
                    <a:pt x="20" y="317"/>
                    <a:pt x="29" y="317"/>
                  </a:cubicBezTo>
                  <a:cubicBezTo>
                    <a:pt x="38" y="317"/>
                    <a:pt x="46" y="325"/>
                    <a:pt x="43" y="330"/>
                  </a:cubicBezTo>
                  <a:cubicBezTo>
                    <a:pt x="40" y="335"/>
                    <a:pt x="33" y="339"/>
                    <a:pt x="26" y="341"/>
                  </a:cubicBezTo>
                  <a:cubicBezTo>
                    <a:pt x="20" y="343"/>
                    <a:pt x="14" y="345"/>
                    <a:pt x="7" y="353"/>
                  </a:cubicBezTo>
                  <a:cubicBezTo>
                    <a:pt x="4" y="357"/>
                    <a:pt x="4" y="365"/>
                    <a:pt x="5" y="373"/>
                  </a:cubicBezTo>
                  <a:cubicBezTo>
                    <a:pt x="6" y="374"/>
                    <a:pt x="8" y="376"/>
                    <a:pt x="10" y="378"/>
                  </a:cubicBezTo>
                  <a:cubicBezTo>
                    <a:pt x="11" y="379"/>
                    <a:pt x="12" y="380"/>
                    <a:pt x="13" y="381"/>
                  </a:cubicBezTo>
                  <a:cubicBezTo>
                    <a:pt x="13" y="381"/>
                    <a:pt x="13" y="381"/>
                    <a:pt x="13" y="381"/>
                  </a:cubicBezTo>
                  <a:cubicBezTo>
                    <a:pt x="16" y="384"/>
                    <a:pt x="18" y="386"/>
                    <a:pt x="22" y="388"/>
                  </a:cubicBezTo>
                  <a:cubicBezTo>
                    <a:pt x="22" y="388"/>
                    <a:pt x="22" y="389"/>
                    <a:pt x="22" y="389"/>
                  </a:cubicBezTo>
                  <a:cubicBezTo>
                    <a:pt x="23" y="390"/>
                    <a:pt x="25" y="391"/>
                    <a:pt x="26" y="392"/>
                  </a:cubicBezTo>
                  <a:cubicBezTo>
                    <a:pt x="27" y="392"/>
                    <a:pt x="27" y="392"/>
                    <a:pt x="27" y="393"/>
                  </a:cubicBezTo>
                  <a:cubicBezTo>
                    <a:pt x="31" y="395"/>
                    <a:pt x="34" y="398"/>
                    <a:pt x="39" y="401"/>
                  </a:cubicBezTo>
                  <a:cubicBezTo>
                    <a:pt x="39" y="401"/>
                    <a:pt x="40" y="401"/>
                    <a:pt x="40" y="402"/>
                  </a:cubicBezTo>
                  <a:cubicBezTo>
                    <a:pt x="42" y="403"/>
                    <a:pt x="44" y="404"/>
                    <a:pt x="45" y="405"/>
                  </a:cubicBezTo>
                  <a:cubicBezTo>
                    <a:pt x="46" y="406"/>
                    <a:pt x="46" y="406"/>
                    <a:pt x="47" y="406"/>
                  </a:cubicBezTo>
                  <a:cubicBezTo>
                    <a:pt x="49" y="408"/>
                    <a:pt x="52" y="409"/>
                    <a:pt x="54" y="411"/>
                  </a:cubicBezTo>
                  <a:cubicBezTo>
                    <a:pt x="88" y="432"/>
                    <a:pt x="246" y="503"/>
                    <a:pt x="242" y="522"/>
                  </a:cubicBezTo>
                  <a:cubicBezTo>
                    <a:pt x="238" y="540"/>
                    <a:pt x="240" y="551"/>
                    <a:pt x="252" y="554"/>
                  </a:cubicBezTo>
                  <a:cubicBezTo>
                    <a:pt x="262" y="556"/>
                    <a:pt x="313" y="598"/>
                    <a:pt x="342" y="621"/>
                  </a:cubicBezTo>
                  <a:cubicBezTo>
                    <a:pt x="349" y="611"/>
                    <a:pt x="362" y="604"/>
                    <a:pt x="365" y="587"/>
                  </a:cubicBezTo>
                  <a:cubicBezTo>
                    <a:pt x="368" y="568"/>
                    <a:pt x="376" y="554"/>
                    <a:pt x="385" y="542"/>
                  </a:cubicBezTo>
                  <a:cubicBezTo>
                    <a:pt x="395" y="530"/>
                    <a:pt x="392" y="530"/>
                    <a:pt x="398" y="511"/>
                  </a:cubicBezTo>
                  <a:cubicBezTo>
                    <a:pt x="405" y="491"/>
                    <a:pt x="409" y="485"/>
                    <a:pt x="420" y="482"/>
                  </a:cubicBezTo>
                  <a:cubicBezTo>
                    <a:pt x="430" y="478"/>
                    <a:pt x="434" y="477"/>
                    <a:pt x="439" y="466"/>
                  </a:cubicBezTo>
                  <a:cubicBezTo>
                    <a:pt x="444" y="454"/>
                    <a:pt x="452" y="436"/>
                    <a:pt x="466" y="438"/>
                  </a:cubicBezTo>
                  <a:cubicBezTo>
                    <a:pt x="473" y="438"/>
                    <a:pt x="480" y="439"/>
                    <a:pt x="485" y="436"/>
                  </a:cubicBezTo>
                  <a:cubicBezTo>
                    <a:pt x="486" y="407"/>
                    <a:pt x="478" y="411"/>
                    <a:pt x="473" y="406"/>
                  </a:cubicBezTo>
                  <a:cubicBezTo>
                    <a:pt x="468" y="400"/>
                    <a:pt x="457" y="386"/>
                    <a:pt x="452" y="379"/>
                  </a:cubicBezTo>
                  <a:cubicBezTo>
                    <a:pt x="446" y="372"/>
                    <a:pt x="450" y="202"/>
                    <a:pt x="450" y="179"/>
                  </a:cubicBezTo>
                  <a:cubicBezTo>
                    <a:pt x="450" y="156"/>
                    <a:pt x="450" y="134"/>
                    <a:pt x="454" y="13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523" name="Freeform 25734"/>
            <p:cNvSpPr>
              <a:spLocks/>
            </p:cNvSpPr>
            <p:nvPr/>
          </p:nvSpPr>
          <p:spPr bwMode="auto">
            <a:xfrm>
              <a:off x="4984420" y="3730468"/>
              <a:ext cx="131634" cy="138105"/>
            </a:xfrm>
            <a:custGeom>
              <a:avLst/>
              <a:gdLst>
                <a:gd name="T0" fmla="*/ 70 w 353"/>
                <a:gd name="T1" fmla="*/ 334 h 370"/>
                <a:gd name="T2" fmla="*/ 72 w 353"/>
                <a:gd name="T3" fmla="*/ 333 h 370"/>
                <a:gd name="T4" fmla="*/ 75 w 353"/>
                <a:gd name="T5" fmla="*/ 333 h 370"/>
                <a:gd name="T6" fmla="*/ 77 w 353"/>
                <a:gd name="T7" fmla="*/ 332 h 370"/>
                <a:gd name="T8" fmla="*/ 80 w 353"/>
                <a:gd name="T9" fmla="*/ 332 h 370"/>
                <a:gd name="T10" fmla="*/ 129 w 353"/>
                <a:gd name="T11" fmla="*/ 334 h 370"/>
                <a:gd name="T12" fmla="*/ 151 w 353"/>
                <a:gd name="T13" fmla="*/ 323 h 370"/>
                <a:gd name="T14" fmla="*/ 156 w 353"/>
                <a:gd name="T15" fmla="*/ 297 h 370"/>
                <a:gd name="T16" fmla="*/ 169 w 353"/>
                <a:gd name="T17" fmla="*/ 273 h 370"/>
                <a:gd name="T18" fmla="*/ 214 w 353"/>
                <a:gd name="T19" fmla="*/ 271 h 370"/>
                <a:gd name="T20" fmla="*/ 233 w 353"/>
                <a:gd name="T21" fmla="*/ 254 h 370"/>
                <a:gd name="T22" fmla="*/ 249 w 353"/>
                <a:gd name="T23" fmla="*/ 258 h 370"/>
                <a:gd name="T24" fmla="*/ 264 w 353"/>
                <a:gd name="T25" fmla="*/ 265 h 370"/>
                <a:gd name="T26" fmla="*/ 279 w 353"/>
                <a:gd name="T27" fmla="*/ 273 h 370"/>
                <a:gd name="T28" fmla="*/ 313 w 353"/>
                <a:gd name="T29" fmla="*/ 209 h 370"/>
                <a:gd name="T30" fmla="*/ 345 w 353"/>
                <a:gd name="T31" fmla="*/ 130 h 370"/>
                <a:gd name="T32" fmla="*/ 321 w 353"/>
                <a:gd name="T33" fmla="*/ 80 h 370"/>
                <a:gd name="T34" fmla="*/ 308 w 353"/>
                <a:gd name="T35" fmla="*/ 32 h 370"/>
                <a:gd name="T36" fmla="*/ 290 w 353"/>
                <a:gd name="T37" fmla="*/ 0 h 370"/>
                <a:gd name="T38" fmla="*/ 289 w 353"/>
                <a:gd name="T39" fmla="*/ 1 h 370"/>
                <a:gd name="T40" fmla="*/ 288 w 353"/>
                <a:gd name="T41" fmla="*/ 1 h 370"/>
                <a:gd name="T42" fmla="*/ 279 w 353"/>
                <a:gd name="T43" fmla="*/ 3 h 370"/>
                <a:gd name="T44" fmla="*/ 277 w 353"/>
                <a:gd name="T45" fmla="*/ 4 h 370"/>
                <a:gd name="T46" fmla="*/ 275 w 353"/>
                <a:gd name="T47" fmla="*/ 6 h 370"/>
                <a:gd name="T48" fmla="*/ 273 w 353"/>
                <a:gd name="T49" fmla="*/ 8 h 370"/>
                <a:gd name="T50" fmla="*/ 270 w 353"/>
                <a:gd name="T51" fmla="*/ 10 h 370"/>
                <a:gd name="T52" fmla="*/ 231 w 353"/>
                <a:gd name="T53" fmla="*/ 22 h 370"/>
                <a:gd name="T54" fmla="*/ 175 w 353"/>
                <a:gd name="T55" fmla="*/ 40 h 370"/>
                <a:gd name="T56" fmla="*/ 105 w 353"/>
                <a:gd name="T57" fmla="*/ 30 h 370"/>
                <a:gd name="T58" fmla="*/ 102 w 353"/>
                <a:gd name="T59" fmla="*/ 30 h 370"/>
                <a:gd name="T60" fmla="*/ 99 w 353"/>
                <a:gd name="T61" fmla="*/ 30 h 370"/>
                <a:gd name="T62" fmla="*/ 97 w 353"/>
                <a:gd name="T63" fmla="*/ 30 h 370"/>
                <a:gd name="T64" fmla="*/ 93 w 353"/>
                <a:gd name="T65" fmla="*/ 32 h 370"/>
                <a:gd name="T66" fmla="*/ 91 w 353"/>
                <a:gd name="T67" fmla="*/ 33 h 370"/>
                <a:gd name="T68" fmla="*/ 83 w 353"/>
                <a:gd name="T69" fmla="*/ 41 h 370"/>
                <a:gd name="T70" fmla="*/ 88 w 353"/>
                <a:gd name="T71" fmla="*/ 64 h 370"/>
                <a:gd name="T72" fmla="*/ 79 w 353"/>
                <a:gd name="T73" fmla="*/ 104 h 370"/>
                <a:gd name="T74" fmla="*/ 111 w 353"/>
                <a:gd name="T75" fmla="*/ 132 h 370"/>
                <a:gd name="T76" fmla="*/ 63 w 353"/>
                <a:gd name="T77" fmla="*/ 184 h 370"/>
                <a:gd name="T78" fmla="*/ 4 w 353"/>
                <a:gd name="T79" fmla="*/ 293 h 370"/>
                <a:gd name="T80" fmla="*/ 0 w 353"/>
                <a:gd name="T81" fmla="*/ 351 h 370"/>
                <a:gd name="T82" fmla="*/ 12 w 353"/>
                <a:gd name="T83" fmla="*/ 357 h 370"/>
                <a:gd name="T84" fmla="*/ 35 w 353"/>
                <a:gd name="T85" fmla="*/ 361 h 370"/>
                <a:gd name="T86" fmla="*/ 55 w 353"/>
                <a:gd name="T87" fmla="*/ 340 h 370"/>
                <a:gd name="T88" fmla="*/ 58 w 353"/>
                <a:gd name="T89" fmla="*/ 339 h 370"/>
                <a:gd name="T90" fmla="*/ 60 w 353"/>
                <a:gd name="T91" fmla="*/ 339 h 370"/>
                <a:gd name="T92" fmla="*/ 62 w 353"/>
                <a:gd name="T93" fmla="*/ 338 h 370"/>
                <a:gd name="T94" fmla="*/ 68 w 353"/>
                <a:gd name="T95" fmla="*/ 335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53" h="370">
                  <a:moveTo>
                    <a:pt x="69" y="335"/>
                  </a:moveTo>
                  <a:cubicBezTo>
                    <a:pt x="70" y="334"/>
                    <a:pt x="70" y="334"/>
                    <a:pt x="70" y="334"/>
                  </a:cubicBezTo>
                  <a:cubicBezTo>
                    <a:pt x="71" y="334"/>
                    <a:pt x="71" y="334"/>
                    <a:pt x="71" y="334"/>
                  </a:cubicBezTo>
                  <a:cubicBezTo>
                    <a:pt x="72" y="334"/>
                    <a:pt x="72" y="334"/>
                    <a:pt x="72" y="333"/>
                  </a:cubicBezTo>
                  <a:cubicBezTo>
                    <a:pt x="73" y="333"/>
                    <a:pt x="73" y="333"/>
                    <a:pt x="74" y="333"/>
                  </a:cubicBezTo>
                  <a:cubicBezTo>
                    <a:pt x="74" y="333"/>
                    <a:pt x="74" y="333"/>
                    <a:pt x="75" y="333"/>
                  </a:cubicBezTo>
                  <a:cubicBezTo>
                    <a:pt x="75" y="333"/>
                    <a:pt x="76" y="333"/>
                    <a:pt x="76" y="332"/>
                  </a:cubicBezTo>
                  <a:cubicBezTo>
                    <a:pt x="77" y="332"/>
                    <a:pt x="77" y="332"/>
                    <a:pt x="77" y="332"/>
                  </a:cubicBezTo>
                  <a:cubicBezTo>
                    <a:pt x="78" y="332"/>
                    <a:pt x="78" y="332"/>
                    <a:pt x="79" y="332"/>
                  </a:cubicBezTo>
                  <a:cubicBezTo>
                    <a:pt x="79" y="332"/>
                    <a:pt x="79" y="332"/>
                    <a:pt x="80" y="332"/>
                  </a:cubicBezTo>
                  <a:cubicBezTo>
                    <a:pt x="81" y="332"/>
                    <a:pt x="82" y="332"/>
                    <a:pt x="83" y="332"/>
                  </a:cubicBezTo>
                  <a:cubicBezTo>
                    <a:pt x="97" y="334"/>
                    <a:pt x="123" y="334"/>
                    <a:pt x="129" y="334"/>
                  </a:cubicBezTo>
                  <a:cubicBezTo>
                    <a:pt x="133" y="334"/>
                    <a:pt x="144" y="334"/>
                    <a:pt x="156" y="334"/>
                  </a:cubicBezTo>
                  <a:cubicBezTo>
                    <a:pt x="155" y="329"/>
                    <a:pt x="153" y="324"/>
                    <a:pt x="151" y="323"/>
                  </a:cubicBezTo>
                  <a:cubicBezTo>
                    <a:pt x="149" y="321"/>
                    <a:pt x="149" y="317"/>
                    <a:pt x="149" y="309"/>
                  </a:cubicBezTo>
                  <a:cubicBezTo>
                    <a:pt x="149" y="300"/>
                    <a:pt x="154" y="304"/>
                    <a:pt x="156" y="297"/>
                  </a:cubicBezTo>
                  <a:cubicBezTo>
                    <a:pt x="157" y="290"/>
                    <a:pt x="157" y="291"/>
                    <a:pt x="163" y="287"/>
                  </a:cubicBezTo>
                  <a:cubicBezTo>
                    <a:pt x="168" y="284"/>
                    <a:pt x="164" y="278"/>
                    <a:pt x="169" y="273"/>
                  </a:cubicBezTo>
                  <a:cubicBezTo>
                    <a:pt x="173" y="268"/>
                    <a:pt x="185" y="273"/>
                    <a:pt x="193" y="273"/>
                  </a:cubicBezTo>
                  <a:cubicBezTo>
                    <a:pt x="202" y="273"/>
                    <a:pt x="209" y="270"/>
                    <a:pt x="214" y="271"/>
                  </a:cubicBezTo>
                  <a:cubicBezTo>
                    <a:pt x="218" y="272"/>
                    <a:pt x="225" y="269"/>
                    <a:pt x="231" y="269"/>
                  </a:cubicBezTo>
                  <a:cubicBezTo>
                    <a:pt x="236" y="269"/>
                    <a:pt x="228" y="254"/>
                    <a:pt x="233" y="254"/>
                  </a:cubicBezTo>
                  <a:cubicBezTo>
                    <a:pt x="238" y="254"/>
                    <a:pt x="240" y="256"/>
                    <a:pt x="241" y="262"/>
                  </a:cubicBezTo>
                  <a:cubicBezTo>
                    <a:pt x="243" y="268"/>
                    <a:pt x="248" y="264"/>
                    <a:pt x="249" y="258"/>
                  </a:cubicBezTo>
                  <a:cubicBezTo>
                    <a:pt x="250" y="252"/>
                    <a:pt x="254" y="254"/>
                    <a:pt x="261" y="255"/>
                  </a:cubicBezTo>
                  <a:cubicBezTo>
                    <a:pt x="268" y="256"/>
                    <a:pt x="264" y="258"/>
                    <a:pt x="264" y="265"/>
                  </a:cubicBezTo>
                  <a:cubicBezTo>
                    <a:pt x="264" y="272"/>
                    <a:pt x="269" y="270"/>
                    <a:pt x="269" y="270"/>
                  </a:cubicBezTo>
                  <a:cubicBezTo>
                    <a:pt x="273" y="270"/>
                    <a:pt x="276" y="272"/>
                    <a:pt x="279" y="273"/>
                  </a:cubicBezTo>
                  <a:cubicBezTo>
                    <a:pt x="280" y="268"/>
                    <a:pt x="281" y="263"/>
                    <a:pt x="283" y="258"/>
                  </a:cubicBezTo>
                  <a:cubicBezTo>
                    <a:pt x="289" y="237"/>
                    <a:pt x="305" y="222"/>
                    <a:pt x="313" y="209"/>
                  </a:cubicBezTo>
                  <a:cubicBezTo>
                    <a:pt x="321" y="196"/>
                    <a:pt x="332" y="193"/>
                    <a:pt x="343" y="176"/>
                  </a:cubicBezTo>
                  <a:cubicBezTo>
                    <a:pt x="353" y="158"/>
                    <a:pt x="345" y="140"/>
                    <a:pt x="345" y="130"/>
                  </a:cubicBezTo>
                  <a:cubicBezTo>
                    <a:pt x="345" y="121"/>
                    <a:pt x="345" y="108"/>
                    <a:pt x="336" y="102"/>
                  </a:cubicBezTo>
                  <a:cubicBezTo>
                    <a:pt x="327" y="97"/>
                    <a:pt x="327" y="84"/>
                    <a:pt x="321" y="80"/>
                  </a:cubicBezTo>
                  <a:cubicBezTo>
                    <a:pt x="316" y="76"/>
                    <a:pt x="313" y="64"/>
                    <a:pt x="313" y="56"/>
                  </a:cubicBezTo>
                  <a:cubicBezTo>
                    <a:pt x="313" y="48"/>
                    <a:pt x="320" y="32"/>
                    <a:pt x="308" y="32"/>
                  </a:cubicBezTo>
                  <a:cubicBezTo>
                    <a:pt x="296" y="32"/>
                    <a:pt x="295" y="25"/>
                    <a:pt x="295" y="17"/>
                  </a:cubicBezTo>
                  <a:cubicBezTo>
                    <a:pt x="295" y="13"/>
                    <a:pt x="292" y="6"/>
                    <a:pt x="290" y="0"/>
                  </a:cubicBezTo>
                  <a:cubicBezTo>
                    <a:pt x="290" y="0"/>
                    <a:pt x="289" y="0"/>
                    <a:pt x="289" y="1"/>
                  </a:cubicBezTo>
                  <a:cubicBezTo>
                    <a:pt x="289" y="1"/>
                    <a:pt x="289" y="1"/>
                    <a:pt x="289" y="1"/>
                  </a:cubicBezTo>
                  <a:cubicBezTo>
                    <a:pt x="289" y="1"/>
                    <a:pt x="288" y="1"/>
                    <a:pt x="288" y="1"/>
                  </a:cubicBezTo>
                  <a:cubicBezTo>
                    <a:pt x="288" y="1"/>
                    <a:pt x="288" y="1"/>
                    <a:pt x="288" y="1"/>
                  </a:cubicBezTo>
                  <a:cubicBezTo>
                    <a:pt x="286" y="2"/>
                    <a:pt x="283" y="2"/>
                    <a:pt x="280" y="3"/>
                  </a:cubicBezTo>
                  <a:cubicBezTo>
                    <a:pt x="280" y="3"/>
                    <a:pt x="280" y="3"/>
                    <a:pt x="279" y="3"/>
                  </a:cubicBezTo>
                  <a:cubicBezTo>
                    <a:pt x="279" y="4"/>
                    <a:pt x="278" y="4"/>
                    <a:pt x="278" y="4"/>
                  </a:cubicBezTo>
                  <a:cubicBezTo>
                    <a:pt x="278" y="4"/>
                    <a:pt x="278" y="4"/>
                    <a:pt x="277" y="4"/>
                  </a:cubicBezTo>
                  <a:cubicBezTo>
                    <a:pt x="277" y="5"/>
                    <a:pt x="276" y="5"/>
                    <a:pt x="275" y="6"/>
                  </a:cubicBezTo>
                  <a:cubicBezTo>
                    <a:pt x="275" y="6"/>
                    <a:pt x="275" y="6"/>
                    <a:pt x="275" y="6"/>
                  </a:cubicBezTo>
                  <a:cubicBezTo>
                    <a:pt x="275" y="6"/>
                    <a:pt x="274" y="7"/>
                    <a:pt x="273" y="7"/>
                  </a:cubicBezTo>
                  <a:cubicBezTo>
                    <a:pt x="273" y="7"/>
                    <a:pt x="273" y="8"/>
                    <a:pt x="273" y="8"/>
                  </a:cubicBezTo>
                  <a:cubicBezTo>
                    <a:pt x="272" y="8"/>
                    <a:pt x="272" y="9"/>
                    <a:pt x="271" y="9"/>
                  </a:cubicBezTo>
                  <a:cubicBezTo>
                    <a:pt x="271" y="10"/>
                    <a:pt x="271" y="10"/>
                    <a:pt x="270" y="10"/>
                  </a:cubicBezTo>
                  <a:cubicBezTo>
                    <a:pt x="270" y="11"/>
                    <a:pt x="269" y="12"/>
                    <a:pt x="268" y="13"/>
                  </a:cubicBezTo>
                  <a:cubicBezTo>
                    <a:pt x="253" y="32"/>
                    <a:pt x="240" y="30"/>
                    <a:pt x="231" y="22"/>
                  </a:cubicBezTo>
                  <a:cubicBezTo>
                    <a:pt x="221" y="14"/>
                    <a:pt x="209" y="26"/>
                    <a:pt x="195" y="26"/>
                  </a:cubicBezTo>
                  <a:cubicBezTo>
                    <a:pt x="180" y="26"/>
                    <a:pt x="181" y="33"/>
                    <a:pt x="175" y="40"/>
                  </a:cubicBezTo>
                  <a:cubicBezTo>
                    <a:pt x="168" y="46"/>
                    <a:pt x="160" y="42"/>
                    <a:pt x="152" y="33"/>
                  </a:cubicBezTo>
                  <a:cubicBezTo>
                    <a:pt x="144" y="24"/>
                    <a:pt x="124" y="33"/>
                    <a:pt x="105" y="30"/>
                  </a:cubicBezTo>
                  <a:cubicBezTo>
                    <a:pt x="104" y="30"/>
                    <a:pt x="103" y="30"/>
                    <a:pt x="102" y="30"/>
                  </a:cubicBezTo>
                  <a:cubicBezTo>
                    <a:pt x="102" y="30"/>
                    <a:pt x="102" y="30"/>
                    <a:pt x="102" y="30"/>
                  </a:cubicBezTo>
                  <a:cubicBezTo>
                    <a:pt x="101" y="30"/>
                    <a:pt x="100" y="30"/>
                    <a:pt x="100" y="30"/>
                  </a:cubicBezTo>
                  <a:cubicBezTo>
                    <a:pt x="99" y="30"/>
                    <a:pt x="99" y="30"/>
                    <a:pt x="99" y="30"/>
                  </a:cubicBezTo>
                  <a:cubicBezTo>
                    <a:pt x="98" y="30"/>
                    <a:pt x="98" y="30"/>
                    <a:pt x="97" y="30"/>
                  </a:cubicBezTo>
                  <a:cubicBezTo>
                    <a:pt x="97" y="30"/>
                    <a:pt x="97" y="30"/>
                    <a:pt x="97" y="30"/>
                  </a:cubicBezTo>
                  <a:cubicBezTo>
                    <a:pt x="95" y="31"/>
                    <a:pt x="94" y="31"/>
                    <a:pt x="93" y="32"/>
                  </a:cubicBezTo>
                  <a:cubicBezTo>
                    <a:pt x="93" y="32"/>
                    <a:pt x="93" y="32"/>
                    <a:pt x="93" y="32"/>
                  </a:cubicBezTo>
                  <a:cubicBezTo>
                    <a:pt x="92" y="32"/>
                    <a:pt x="92" y="33"/>
                    <a:pt x="91" y="33"/>
                  </a:cubicBezTo>
                  <a:cubicBezTo>
                    <a:pt x="91" y="33"/>
                    <a:pt x="91" y="33"/>
                    <a:pt x="91" y="33"/>
                  </a:cubicBezTo>
                  <a:cubicBezTo>
                    <a:pt x="88" y="35"/>
                    <a:pt x="86" y="39"/>
                    <a:pt x="83" y="41"/>
                  </a:cubicBezTo>
                  <a:cubicBezTo>
                    <a:pt x="83" y="41"/>
                    <a:pt x="83" y="41"/>
                    <a:pt x="83" y="41"/>
                  </a:cubicBezTo>
                  <a:cubicBezTo>
                    <a:pt x="83" y="43"/>
                    <a:pt x="84" y="45"/>
                    <a:pt x="85" y="46"/>
                  </a:cubicBezTo>
                  <a:cubicBezTo>
                    <a:pt x="93" y="56"/>
                    <a:pt x="93" y="60"/>
                    <a:pt x="88" y="64"/>
                  </a:cubicBezTo>
                  <a:cubicBezTo>
                    <a:pt x="83" y="68"/>
                    <a:pt x="80" y="80"/>
                    <a:pt x="80" y="86"/>
                  </a:cubicBezTo>
                  <a:cubicBezTo>
                    <a:pt x="80" y="93"/>
                    <a:pt x="85" y="97"/>
                    <a:pt x="79" y="104"/>
                  </a:cubicBezTo>
                  <a:cubicBezTo>
                    <a:pt x="72" y="110"/>
                    <a:pt x="76" y="122"/>
                    <a:pt x="88" y="125"/>
                  </a:cubicBezTo>
                  <a:cubicBezTo>
                    <a:pt x="100" y="128"/>
                    <a:pt x="109" y="118"/>
                    <a:pt x="111" y="132"/>
                  </a:cubicBezTo>
                  <a:cubicBezTo>
                    <a:pt x="112" y="145"/>
                    <a:pt x="116" y="173"/>
                    <a:pt x="100" y="172"/>
                  </a:cubicBezTo>
                  <a:cubicBezTo>
                    <a:pt x="84" y="170"/>
                    <a:pt x="69" y="173"/>
                    <a:pt x="63" y="184"/>
                  </a:cubicBezTo>
                  <a:cubicBezTo>
                    <a:pt x="56" y="194"/>
                    <a:pt x="39" y="198"/>
                    <a:pt x="28" y="221"/>
                  </a:cubicBezTo>
                  <a:cubicBezTo>
                    <a:pt x="17" y="244"/>
                    <a:pt x="4" y="273"/>
                    <a:pt x="4" y="293"/>
                  </a:cubicBezTo>
                  <a:cubicBezTo>
                    <a:pt x="4" y="313"/>
                    <a:pt x="0" y="326"/>
                    <a:pt x="0" y="338"/>
                  </a:cubicBezTo>
                  <a:cubicBezTo>
                    <a:pt x="0" y="342"/>
                    <a:pt x="0" y="347"/>
                    <a:pt x="0" y="351"/>
                  </a:cubicBezTo>
                  <a:cubicBezTo>
                    <a:pt x="0" y="351"/>
                    <a:pt x="0" y="351"/>
                    <a:pt x="0" y="351"/>
                  </a:cubicBezTo>
                  <a:cubicBezTo>
                    <a:pt x="3" y="354"/>
                    <a:pt x="7" y="357"/>
                    <a:pt x="12" y="357"/>
                  </a:cubicBezTo>
                  <a:cubicBezTo>
                    <a:pt x="20" y="358"/>
                    <a:pt x="17" y="361"/>
                    <a:pt x="23" y="366"/>
                  </a:cubicBezTo>
                  <a:cubicBezTo>
                    <a:pt x="30" y="370"/>
                    <a:pt x="34" y="367"/>
                    <a:pt x="35" y="361"/>
                  </a:cubicBezTo>
                  <a:cubicBezTo>
                    <a:pt x="35" y="355"/>
                    <a:pt x="34" y="351"/>
                    <a:pt x="41" y="347"/>
                  </a:cubicBezTo>
                  <a:cubicBezTo>
                    <a:pt x="49" y="343"/>
                    <a:pt x="45" y="340"/>
                    <a:pt x="55" y="340"/>
                  </a:cubicBezTo>
                  <a:cubicBezTo>
                    <a:pt x="56" y="340"/>
                    <a:pt x="57" y="340"/>
                    <a:pt x="58" y="339"/>
                  </a:cubicBezTo>
                  <a:cubicBezTo>
                    <a:pt x="58" y="339"/>
                    <a:pt x="58" y="339"/>
                    <a:pt x="58" y="339"/>
                  </a:cubicBezTo>
                  <a:cubicBezTo>
                    <a:pt x="59" y="339"/>
                    <a:pt x="59" y="339"/>
                    <a:pt x="60" y="339"/>
                  </a:cubicBezTo>
                  <a:cubicBezTo>
                    <a:pt x="60" y="339"/>
                    <a:pt x="60" y="339"/>
                    <a:pt x="60" y="339"/>
                  </a:cubicBezTo>
                  <a:cubicBezTo>
                    <a:pt x="61" y="339"/>
                    <a:pt x="62" y="338"/>
                    <a:pt x="62" y="338"/>
                  </a:cubicBezTo>
                  <a:cubicBezTo>
                    <a:pt x="62" y="338"/>
                    <a:pt x="62" y="338"/>
                    <a:pt x="62" y="338"/>
                  </a:cubicBezTo>
                  <a:cubicBezTo>
                    <a:pt x="63" y="338"/>
                    <a:pt x="64" y="338"/>
                    <a:pt x="64" y="337"/>
                  </a:cubicBezTo>
                  <a:cubicBezTo>
                    <a:pt x="66" y="337"/>
                    <a:pt x="67" y="336"/>
                    <a:pt x="68" y="335"/>
                  </a:cubicBezTo>
                  <a:cubicBezTo>
                    <a:pt x="69" y="335"/>
                    <a:pt x="69" y="335"/>
                    <a:pt x="69" y="33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524" name="Freeform 25735"/>
            <p:cNvSpPr>
              <a:spLocks/>
            </p:cNvSpPr>
            <p:nvPr/>
          </p:nvSpPr>
          <p:spPr bwMode="auto">
            <a:xfrm>
              <a:off x="4987104" y="3852474"/>
              <a:ext cx="256796" cy="265950"/>
            </a:xfrm>
            <a:custGeom>
              <a:avLst/>
              <a:gdLst>
                <a:gd name="T0" fmla="*/ 634 w 689"/>
                <a:gd name="T1" fmla="*/ 526 h 713"/>
                <a:gd name="T2" fmla="*/ 621 w 689"/>
                <a:gd name="T3" fmla="*/ 423 h 713"/>
                <a:gd name="T4" fmla="*/ 587 w 689"/>
                <a:gd name="T5" fmla="*/ 337 h 713"/>
                <a:gd name="T6" fmla="*/ 614 w 689"/>
                <a:gd name="T7" fmla="*/ 248 h 713"/>
                <a:gd name="T8" fmla="*/ 326 w 689"/>
                <a:gd name="T9" fmla="*/ 38 h 713"/>
                <a:gd name="T10" fmla="*/ 312 w 689"/>
                <a:gd name="T11" fmla="*/ 29 h 713"/>
                <a:gd name="T12" fmla="*/ 298 w 689"/>
                <a:gd name="T13" fmla="*/ 19 h 713"/>
                <a:gd name="T14" fmla="*/ 285 w 689"/>
                <a:gd name="T15" fmla="*/ 8 h 713"/>
                <a:gd name="T16" fmla="*/ 277 w 689"/>
                <a:gd name="T17" fmla="*/ 0 h 713"/>
                <a:gd name="T18" fmla="*/ 264 w 689"/>
                <a:gd name="T19" fmla="*/ 28 h 713"/>
                <a:gd name="T20" fmla="*/ 230 w 689"/>
                <a:gd name="T21" fmla="*/ 68 h 713"/>
                <a:gd name="T22" fmla="*/ 210 w 689"/>
                <a:gd name="T23" fmla="*/ 74 h 713"/>
                <a:gd name="T24" fmla="*/ 240 w 689"/>
                <a:gd name="T25" fmla="*/ 98 h 713"/>
                <a:gd name="T26" fmla="*/ 206 w 689"/>
                <a:gd name="T27" fmla="*/ 103 h 713"/>
                <a:gd name="T28" fmla="*/ 181 w 689"/>
                <a:gd name="T29" fmla="*/ 87 h 713"/>
                <a:gd name="T30" fmla="*/ 152 w 689"/>
                <a:gd name="T31" fmla="*/ 92 h 713"/>
                <a:gd name="T32" fmla="*/ 131 w 689"/>
                <a:gd name="T33" fmla="*/ 73 h 713"/>
                <a:gd name="T34" fmla="*/ 156 w 689"/>
                <a:gd name="T35" fmla="*/ 17 h 713"/>
                <a:gd name="T36" fmla="*/ 122 w 689"/>
                <a:gd name="T37" fmla="*/ 7 h 713"/>
                <a:gd name="T38" fmla="*/ 72 w 689"/>
                <a:gd name="T39" fmla="*/ 5 h 713"/>
                <a:gd name="T40" fmla="*/ 68 w 689"/>
                <a:gd name="T41" fmla="*/ 6 h 713"/>
                <a:gd name="T42" fmla="*/ 64 w 689"/>
                <a:gd name="T43" fmla="*/ 7 h 713"/>
                <a:gd name="T44" fmla="*/ 61 w 689"/>
                <a:gd name="T45" fmla="*/ 8 h 713"/>
                <a:gd name="T46" fmla="*/ 64 w 689"/>
                <a:gd name="T47" fmla="*/ 37 h 713"/>
                <a:gd name="T48" fmla="*/ 78 w 689"/>
                <a:gd name="T49" fmla="*/ 84 h 713"/>
                <a:gd name="T50" fmla="*/ 62 w 689"/>
                <a:gd name="T51" fmla="*/ 103 h 713"/>
                <a:gd name="T52" fmla="*/ 57 w 689"/>
                <a:gd name="T53" fmla="*/ 104 h 713"/>
                <a:gd name="T54" fmla="*/ 54 w 689"/>
                <a:gd name="T55" fmla="*/ 106 h 713"/>
                <a:gd name="T56" fmla="*/ 51 w 689"/>
                <a:gd name="T57" fmla="*/ 108 h 713"/>
                <a:gd name="T58" fmla="*/ 50 w 689"/>
                <a:gd name="T59" fmla="*/ 111 h 713"/>
                <a:gd name="T60" fmla="*/ 59 w 689"/>
                <a:gd name="T61" fmla="*/ 129 h 713"/>
                <a:gd name="T62" fmla="*/ 54 w 689"/>
                <a:gd name="T63" fmla="*/ 167 h 713"/>
                <a:gd name="T64" fmla="*/ 5 w 689"/>
                <a:gd name="T65" fmla="*/ 226 h 713"/>
                <a:gd name="T66" fmla="*/ 9 w 689"/>
                <a:gd name="T67" fmla="*/ 308 h 713"/>
                <a:gd name="T68" fmla="*/ 54 w 689"/>
                <a:gd name="T69" fmla="*/ 409 h 713"/>
                <a:gd name="T70" fmla="*/ 80 w 689"/>
                <a:gd name="T71" fmla="*/ 470 h 713"/>
                <a:gd name="T72" fmla="*/ 77 w 689"/>
                <a:gd name="T73" fmla="*/ 467 h 713"/>
                <a:gd name="T74" fmla="*/ 79 w 689"/>
                <a:gd name="T75" fmla="*/ 471 h 713"/>
                <a:gd name="T76" fmla="*/ 145 w 689"/>
                <a:gd name="T77" fmla="*/ 521 h 713"/>
                <a:gd name="T78" fmla="*/ 189 w 689"/>
                <a:gd name="T79" fmla="*/ 536 h 713"/>
                <a:gd name="T80" fmla="*/ 192 w 689"/>
                <a:gd name="T81" fmla="*/ 539 h 713"/>
                <a:gd name="T82" fmla="*/ 194 w 689"/>
                <a:gd name="T83" fmla="*/ 541 h 713"/>
                <a:gd name="T84" fmla="*/ 196 w 689"/>
                <a:gd name="T85" fmla="*/ 542 h 713"/>
                <a:gd name="T86" fmla="*/ 200 w 689"/>
                <a:gd name="T87" fmla="*/ 544 h 713"/>
                <a:gd name="T88" fmla="*/ 203 w 689"/>
                <a:gd name="T89" fmla="*/ 545 h 713"/>
                <a:gd name="T90" fmla="*/ 207 w 689"/>
                <a:gd name="T91" fmla="*/ 546 h 713"/>
                <a:gd name="T92" fmla="*/ 211 w 689"/>
                <a:gd name="T93" fmla="*/ 548 h 713"/>
                <a:gd name="T94" fmla="*/ 216 w 689"/>
                <a:gd name="T95" fmla="*/ 549 h 713"/>
                <a:gd name="T96" fmla="*/ 221 w 689"/>
                <a:gd name="T97" fmla="*/ 550 h 713"/>
                <a:gd name="T98" fmla="*/ 268 w 689"/>
                <a:gd name="T99" fmla="*/ 559 h 713"/>
                <a:gd name="T100" fmla="*/ 326 w 689"/>
                <a:gd name="T101" fmla="*/ 661 h 713"/>
                <a:gd name="T102" fmla="*/ 341 w 689"/>
                <a:gd name="T103" fmla="*/ 683 h 713"/>
                <a:gd name="T104" fmla="*/ 344 w 689"/>
                <a:gd name="T105" fmla="*/ 684 h 713"/>
                <a:gd name="T106" fmla="*/ 350 w 689"/>
                <a:gd name="T107" fmla="*/ 686 h 713"/>
                <a:gd name="T108" fmla="*/ 449 w 689"/>
                <a:gd name="T109" fmla="*/ 695 h 713"/>
                <a:gd name="T110" fmla="*/ 542 w 689"/>
                <a:gd name="T111" fmla="*/ 666 h 713"/>
                <a:gd name="T112" fmla="*/ 689 w 689"/>
                <a:gd name="T113" fmla="*/ 616 h 7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89" h="713">
                  <a:moveTo>
                    <a:pt x="684" y="606"/>
                  </a:moveTo>
                  <a:cubicBezTo>
                    <a:pt x="672" y="590"/>
                    <a:pt x="655" y="598"/>
                    <a:pt x="650" y="575"/>
                  </a:cubicBezTo>
                  <a:cubicBezTo>
                    <a:pt x="644" y="553"/>
                    <a:pt x="641" y="538"/>
                    <a:pt x="634" y="526"/>
                  </a:cubicBezTo>
                  <a:cubicBezTo>
                    <a:pt x="626" y="514"/>
                    <a:pt x="612" y="489"/>
                    <a:pt x="620" y="476"/>
                  </a:cubicBezTo>
                  <a:cubicBezTo>
                    <a:pt x="627" y="463"/>
                    <a:pt x="634" y="452"/>
                    <a:pt x="625" y="444"/>
                  </a:cubicBezTo>
                  <a:cubicBezTo>
                    <a:pt x="616" y="437"/>
                    <a:pt x="616" y="433"/>
                    <a:pt x="621" y="423"/>
                  </a:cubicBezTo>
                  <a:cubicBezTo>
                    <a:pt x="625" y="412"/>
                    <a:pt x="641" y="397"/>
                    <a:pt x="629" y="388"/>
                  </a:cubicBezTo>
                  <a:cubicBezTo>
                    <a:pt x="618" y="380"/>
                    <a:pt x="614" y="368"/>
                    <a:pt x="604" y="364"/>
                  </a:cubicBezTo>
                  <a:cubicBezTo>
                    <a:pt x="593" y="361"/>
                    <a:pt x="588" y="353"/>
                    <a:pt x="587" y="337"/>
                  </a:cubicBezTo>
                  <a:cubicBezTo>
                    <a:pt x="586" y="320"/>
                    <a:pt x="586" y="315"/>
                    <a:pt x="592" y="306"/>
                  </a:cubicBezTo>
                  <a:cubicBezTo>
                    <a:pt x="597" y="298"/>
                    <a:pt x="606" y="267"/>
                    <a:pt x="611" y="254"/>
                  </a:cubicBezTo>
                  <a:cubicBezTo>
                    <a:pt x="612" y="252"/>
                    <a:pt x="613" y="250"/>
                    <a:pt x="614" y="248"/>
                  </a:cubicBezTo>
                  <a:cubicBezTo>
                    <a:pt x="585" y="225"/>
                    <a:pt x="534" y="183"/>
                    <a:pt x="524" y="181"/>
                  </a:cubicBezTo>
                  <a:cubicBezTo>
                    <a:pt x="512" y="178"/>
                    <a:pt x="510" y="167"/>
                    <a:pt x="514" y="149"/>
                  </a:cubicBezTo>
                  <a:cubicBezTo>
                    <a:pt x="518" y="130"/>
                    <a:pt x="360" y="59"/>
                    <a:pt x="326" y="38"/>
                  </a:cubicBezTo>
                  <a:cubicBezTo>
                    <a:pt x="324" y="36"/>
                    <a:pt x="321" y="35"/>
                    <a:pt x="319" y="33"/>
                  </a:cubicBezTo>
                  <a:cubicBezTo>
                    <a:pt x="318" y="33"/>
                    <a:pt x="318" y="33"/>
                    <a:pt x="317" y="32"/>
                  </a:cubicBezTo>
                  <a:cubicBezTo>
                    <a:pt x="316" y="31"/>
                    <a:pt x="314" y="30"/>
                    <a:pt x="312" y="29"/>
                  </a:cubicBezTo>
                  <a:cubicBezTo>
                    <a:pt x="312" y="28"/>
                    <a:pt x="311" y="28"/>
                    <a:pt x="311" y="28"/>
                  </a:cubicBezTo>
                  <a:cubicBezTo>
                    <a:pt x="306" y="25"/>
                    <a:pt x="303" y="22"/>
                    <a:pt x="299" y="20"/>
                  </a:cubicBezTo>
                  <a:cubicBezTo>
                    <a:pt x="299" y="19"/>
                    <a:pt x="299" y="19"/>
                    <a:pt x="298" y="19"/>
                  </a:cubicBezTo>
                  <a:cubicBezTo>
                    <a:pt x="297" y="18"/>
                    <a:pt x="295" y="17"/>
                    <a:pt x="294" y="16"/>
                  </a:cubicBezTo>
                  <a:cubicBezTo>
                    <a:pt x="294" y="16"/>
                    <a:pt x="294" y="15"/>
                    <a:pt x="294" y="15"/>
                  </a:cubicBezTo>
                  <a:cubicBezTo>
                    <a:pt x="290" y="13"/>
                    <a:pt x="288" y="11"/>
                    <a:pt x="285" y="8"/>
                  </a:cubicBezTo>
                  <a:cubicBezTo>
                    <a:pt x="285" y="8"/>
                    <a:pt x="285" y="8"/>
                    <a:pt x="285" y="8"/>
                  </a:cubicBezTo>
                  <a:cubicBezTo>
                    <a:pt x="284" y="7"/>
                    <a:pt x="283" y="6"/>
                    <a:pt x="282" y="5"/>
                  </a:cubicBezTo>
                  <a:cubicBezTo>
                    <a:pt x="280" y="3"/>
                    <a:pt x="278" y="1"/>
                    <a:pt x="277" y="0"/>
                  </a:cubicBezTo>
                  <a:cubicBezTo>
                    <a:pt x="277" y="1"/>
                    <a:pt x="278" y="3"/>
                    <a:pt x="278" y="5"/>
                  </a:cubicBezTo>
                  <a:cubicBezTo>
                    <a:pt x="279" y="12"/>
                    <a:pt x="281" y="18"/>
                    <a:pt x="281" y="21"/>
                  </a:cubicBezTo>
                  <a:cubicBezTo>
                    <a:pt x="281" y="28"/>
                    <a:pt x="273" y="26"/>
                    <a:pt x="264" y="28"/>
                  </a:cubicBezTo>
                  <a:cubicBezTo>
                    <a:pt x="255" y="31"/>
                    <a:pt x="254" y="40"/>
                    <a:pt x="251" y="45"/>
                  </a:cubicBezTo>
                  <a:cubicBezTo>
                    <a:pt x="248" y="51"/>
                    <a:pt x="245" y="53"/>
                    <a:pt x="237" y="53"/>
                  </a:cubicBezTo>
                  <a:cubicBezTo>
                    <a:pt x="228" y="53"/>
                    <a:pt x="231" y="62"/>
                    <a:pt x="230" y="68"/>
                  </a:cubicBezTo>
                  <a:cubicBezTo>
                    <a:pt x="229" y="73"/>
                    <a:pt x="222" y="71"/>
                    <a:pt x="222" y="65"/>
                  </a:cubicBezTo>
                  <a:cubicBezTo>
                    <a:pt x="221" y="60"/>
                    <a:pt x="218" y="60"/>
                    <a:pt x="213" y="60"/>
                  </a:cubicBezTo>
                  <a:cubicBezTo>
                    <a:pt x="208" y="60"/>
                    <a:pt x="208" y="64"/>
                    <a:pt x="210" y="74"/>
                  </a:cubicBezTo>
                  <a:cubicBezTo>
                    <a:pt x="212" y="84"/>
                    <a:pt x="215" y="79"/>
                    <a:pt x="217" y="81"/>
                  </a:cubicBezTo>
                  <a:cubicBezTo>
                    <a:pt x="220" y="84"/>
                    <a:pt x="231" y="83"/>
                    <a:pt x="240" y="85"/>
                  </a:cubicBezTo>
                  <a:cubicBezTo>
                    <a:pt x="249" y="86"/>
                    <a:pt x="240" y="89"/>
                    <a:pt x="240" y="98"/>
                  </a:cubicBezTo>
                  <a:cubicBezTo>
                    <a:pt x="240" y="107"/>
                    <a:pt x="239" y="107"/>
                    <a:pt x="229" y="107"/>
                  </a:cubicBezTo>
                  <a:cubicBezTo>
                    <a:pt x="219" y="107"/>
                    <a:pt x="226" y="99"/>
                    <a:pt x="222" y="95"/>
                  </a:cubicBezTo>
                  <a:cubicBezTo>
                    <a:pt x="218" y="91"/>
                    <a:pt x="208" y="97"/>
                    <a:pt x="206" y="103"/>
                  </a:cubicBezTo>
                  <a:cubicBezTo>
                    <a:pt x="204" y="109"/>
                    <a:pt x="200" y="112"/>
                    <a:pt x="200" y="107"/>
                  </a:cubicBezTo>
                  <a:cubicBezTo>
                    <a:pt x="200" y="101"/>
                    <a:pt x="194" y="96"/>
                    <a:pt x="188" y="96"/>
                  </a:cubicBezTo>
                  <a:cubicBezTo>
                    <a:pt x="181" y="95"/>
                    <a:pt x="181" y="92"/>
                    <a:pt x="181" y="87"/>
                  </a:cubicBezTo>
                  <a:cubicBezTo>
                    <a:pt x="181" y="82"/>
                    <a:pt x="175" y="82"/>
                    <a:pt x="172" y="78"/>
                  </a:cubicBezTo>
                  <a:cubicBezTo>
                    <a:pt x="170" y="75"/>
                    <a:pt x="166" y="84"/>
                    <a:pt x="161" y="84"/>
                  </a:cubicBezTo>
                  <a:cubicBezTo>
                    <a:pt x="155" y="84"/>
                    <a:pt x="152" y="86"/>
                    <a:pt x="152" y="92"/>
                  </a:cubicBezTo>
                  <a:cubicBezTo>
                    <a:pt x="152" y="97"/>
                    <a:pt x="151" y="101"/>
                    <a:pt x="144" y="101"/>
                  </a:cubicBezTo>
                  <a:cubicBezTo>
                    <a:pt x="138" y="101"/>
                    <a:pt x="140" y="86"/>
                    <a:pt x="137" y="85"/>
                  </a:cubicBezTo>
                  <a:cubicBezTo>
                    <a:pt x="134" y="84"/>
                    <a:pt x="131" y="79"/>
                    <a:pt x="131" y="73"/>
                  </a:cubicBezTo>
                  <a:cubicBezTo>
                    <a:pt x="131" y="67"/>
                    <a:pt x="131" y="62"/>
                    <a:pt x="140" y="55"/>
                  </a:cubicBezTo>
                  <a:cubicBezTo>
                    <a:pt x="148" y="48"/>
                    <a:pt x="143" y="40"/>
                    <a:pt x="143" y="30"/>
                  </a:cubicBezTo>
                  <a:cubicBezTo>
                    <a:pt x="142" y="19"/>
                    <a:pt x="153" y="22"/>
                    <a:pt x="156" y="17"/>
                  </a:cubicBezTo>
                  <a:cubicBezTo>
                    <a:pt x="159" y="12"/>
                    <a:pt x="150" y="13"/>
                    <a:pt x="149" y="8"/>
                  </a:cubicBezTo>
                  <a:cubicBezTo>
                    <a:pt x="149" y="8"/>
                    <a:pt x="149" y="7"/>
                    <a:pt x="149" y="7"/>
                  </a:cubicBezTo>
                  <a:cubicBezTo>
                    <a:pt x="137" y="7"/>
                    <a:pt x="126" y="7"/>
                    <a:pt x="122" y="7"/>
                  </a:cubicBezTo>
                  <a:cubicBezTo>
                    <a:pt x="116" y="7"/>
                    <a:pt x="90" y="7"/>
                    <a:pt x="76" y="5"/>
                  </a:cubicBezTo>
                  <a:cubicBezTo>
                    <a:pt x="75" y="5"/>
                    <a:pt x="74" y="5"/>
                    <a:pt x="73" y="5"/>
                  </a:cubicBezTo>
                  <a:cubicBezTo>
                    <a:pt x="72" y="5"/>
                    <a:pt x="72" y="5"/>
                    <a:pt x="72" y="5"/>
                  </a:cubicBezTo>
                  <a:cubicBezTo>
                    <a:pt x="71" y="5"/>
                    <a:pt x="71" y="5"/>
                    <a:pt x="70" y="5"/>
                  </a:cubicBezTo>
                  <a:cubicBezTo>
                    <a:pt x="70" y="5"/>
                    <a:pt x="70" y="5"/>
                    <a:pt x="69" y="5"/>
                  </a:cubicBezTo>
                  <a:cubicBezTo>
                    <a:pt x="69" y="6"/>
                    <a:pt x="68" y="6"/>
                    <a:pt x="68" y="6"/>
                  </a:cubicBezTo>
                  <a:cubicBezTo>
                    <a:pt x="67" y="6"/>
                    <a:pt x="67" y="6"/>
                    <a:pt x="67" y="6"/>
                  </a:cubicBezTo>
                  <a:cubicBezTo>
                    <a:pt x="66" y="6"/>
                    <a:pt x="66" y="6"/>
                    <a:pt x="65" y="6"/>
                  </a:cubicBezTo>
                  <a:cubicBezTo>
                    <a:pt x="65" y="7"/>
                    <a:pt x="65" y="7"/>
                    <a:pt x="64" y="7"/>
                  </a:cubicBezTo>
                  <a:cubicBezTo>
                    <a:pt x="64" y="7"/>
                    <a:pt x="64" y="7"/>
                    <a:pt x="63" y="7"/>
                  </a:cubicBezTo>
                  <a:cubicBezTo>
                    <a:pt x="63" y="7"/>
                    <a:pt x="63" y="7"/>
                    <a:pt x="62" y="8"/>
                  </a:cubicBezTo>
                  <a:cubicBezTo>
                    <a:pt x="62" y="8"/>
                    <a:pt x="62" y="8"/>
                    <a:pt x="61" y="8"/>
                  </a:cubicBezTo>
                  <a:cubicBezTo>
                    <a:pt x="60" y="9"/>
                    <a:pt x="59" y="10"/>
                    <a:pt x="57" y="10"/>
                  </a:cubicBezTo>
                  <a:cubicBezTo>
                    <a:pt x="60" y="12"/>
                    <a:pt x="63" y="16"/>
                    <a:pt x="63" y="19"/>
                  </a:cubicBezTo>
                  <a:cubicBezTo>
                    <a:pt x="62" y="24"/>
                    <a:pt x="56" y="35"/>
                    <a:pt x="64" y="37"/>
                  </a:cubicBezTo>
                  <a:cubicBezTo>
                    <a:pt x="71" y="39"/>
                    <a:pt x="74" y="47"/>
                    <a:pt x="73" y="53"/>
                  </a:cubicBezTo>
                  <a:cubicBezTo>
                    <a:pt x="72" y="59"/>
                    <a:pt x="69" y="68"/>
                    <a:pt x="74" y="71"/>
                  </a:cubicBezTo>
                  <a:cubicBezTo>
                    <a:pt x="78" y="75"/>
                    <a:pt x="83" y="81"/>
                    <a:pt x="78" y="84"/>
                  </a:cubicBezTo>
                  <a:cubicBezTo>
                    <a:pt x="74" y="87"/>
                    <a:pt x="74" y="93"/>
                    <a:pt x="74" y="96"/>
                  </a:cubicBezTo>
                  <a:cubicBezTo>
                    <a:pt x="74" y="99"/>
                    <a:pt x="72" y="105"/>
                    <a:pt x="64" y="103"/>
                  </a:cubicBezTo>
                  <a:cubicBezTo>
                    <a:pt x="63" y="103"/>
                    <a:pt x="63" y="103"/>
                    <a:pt x="62" y="103"/>
                  </a:cubicBezTo>
                  <a:cubicBezTo>
                    <a:pt x="62" y="103"/>
                    <a:pt x="61" y="103"/>
                    <a:pt x="61" y="103"/>
                  </a:cubicBezTo>
                  <a:cubicBezTo>
                    <a:pt x="61" y="103"/>
                    <a:pt x="61" y="103"/>
                    <a:pt x="61" y="103"/>
                  </a:cubicBezTo>
                  <a:cubicBezTo>
                    <a:pt x="60" y="103"/>
                    <a:pt x="58" y="104"/>
                    <a:pt x="57" y="104"/>
                  </a:cubicBezTo>
                  <a:cubicBezTo>
                    <a:pt x="57" y="104"/>
                    <a:pt x="57" y="104"/>
                    <a:pt x="56" y="104"/>
                  </a:cubicBezTo>
                  <a:cubicBezTo>
                    <a:pt x="56" y="105"/>
                    <a:pt x="55" y="105"/>
                    <a:pt x="55" y="105"/>
                  </a:cubicBezTo>
                  <a:cubicBezTo>
                    <a:pt x="55" y="105"/>
                    <a:pt x="54" y="105"/>
                    <a:pt x="54" y="106"/>
                  </a:cubicBezTo>
                  <a:cubicBezTo>
                    <a:pt x="54" y="106"/>
                    <a:pt x="53" y="106"/>
                    <a:pt x="53" y="106"/>
                  </a:cubicBezTo>
                  <a:cubicBezTo>
                    <a:pt x="53" y="107"/>
                    <a:pt x="52" y="107"/>
                    <a:pt x="52" y="107"/>
                  </a:cubicBezTo>
                  <a:cubicBezTo>
                    <a:pt x="52" y="108"/>
                    <a:pt x="52" y="108"/>
                    <a:pt x="51" y="108"/>
                  </a:cubicBezTo>
                  <a:cubicBezTo>
                    <a:pt x="51" y="108"/>
                    <a:pt x="51" y="109"/>
                    <a:pt x="51" y="109"/>
                  </a:cubicBezTo>
                  <a:cubicBezTo>
                    <a:pt x="50" y="109"/>
                    <a:pt x="50" y="110"/>
                    <a:pt x="50" y="110"/>
                  </a:cubicBezTo>
                  <a:cubicBezTo>
                    <a:pt x="50" y="110"/>
                    <a:pt x="50" y="111"/>
                    <a:pt x="50" y="111"/>
                  </a:cubicBezTo>
                  <a:cubicBezTo>
                    <a:pt x="49" y="111"/>
                    <a:pt x="49" y="112"/>
                    <a:pt x="49" y="112"/>
                  </a:cubicBezTo>
                  <a:cubicBezTo>
                    <a:pt x="49" y="113"/>
                    <a:pt x="49" y="113"/>
                    <a:pt x="49" y="114"/>
                  </a:cubicBezTo>
                  <a:cubicBezTo>
                    <a:pt x="49" y="120"/>
                    <a:pt x="50" y="129"/>
                    <a:pt x="59" y="129"/>
                  </a:cubicBezTo>
                  <a:cubicBezTo>
                    <a:pt x="68" y="129"/>
                    <a:pt x="79" y="127"/>
                    <a:pt x="79" y="134"/>
                  </a:cubicBezTo>
                  <a:cubicBezTo>
                    <a:pt x="79" y="141"/>
                    <a:pt x="79" y="149"/>
                    <a:pt x="71" y="151"/>
                  </a:cubicBezTo>
                  <a:cubicBezTo>
                    <a:pt x="63" y="154"/>
                    <a:pt x="59" y="155"/>
                    <a:pt x="54" y="167"/>
                  </a:cubicBezTo>
                  <a:cubicBezTo>
                    <a:pt x="50" y="179"/>
                    <a:pt x="42" y="197"/>
                    <a:pt x="33" y="204"/>
                  </a:cubicBezTo>
                  <a:cubicBezTo>
                    <a:pt x="24" y="211"/>
                    <a:pt x="15" y="221"/>
                    <a:pt x="9" y="224"/>
                  </a:cubicBezTo>
                  <a:cubicBezTo>
                    <a:pt x="8" y="225"/>
                    <a:pt x="7" y="225"/>
                    <a:pt x="5" y="226"/>
                  </a:cubicBezTo>
                  <a:cubicBezTo>
                    <a:pt x="7" y="229"/>
                    <a:pt x="9" y="232"/>
                    <a:pt x="12" y="237"/>
                  </a:cubicBezTo>
                  <a:cubicBezTo>
                    <a:pt x="19" y="248"/>
                    <a:pt x="11" y="264"/>
                    <a:pt x="11" y="264"/>
                  </a:cubicBezTo>
                  <a:cubicBezTo>
                    <a:pt x="0" y="279"/>
                    <a:pt x="9" y="293"/>
                    <a:pt x="9" y="308"/>
                  </a:cubicBezTo>
                  <a:cubicBezTo>
                    <a:pt x="9" y="324"/>
                    <a:pt x="9" y="320"/>
                    <a:pt x="17" y="347"/>
                  </a:cubicBezTo>
                  <a:cubicBezTo>
                    <a:pt x="20" y="364"/>
                    <a:pt x="34" y="360"/>
                    <a:pt x="46" y="371"/>
                  </a:cubicBezTo>
                  <a:cubicBezTo>
                    <a:pt x="58" y="383"/>
                    <a:pt x="54" y="395"/>
                    <a:pt x="54" y="409"/>
                  </a:cubicBezTo>
                  <a:cubicBezTo>
                    <a:pt x="54" y="423"/>
                    <a:pt x="72" y="435"/>
                    <a:pt x="79" y="445"/>
                  </a:cubicBezTo>
                  <a:cubicBezTo>
                    <a:pt x="86" y="454"/>
                    <a:pt x="90" y="464"/>
                    <a:pt x="91" y="469"/>
                  </a:cubicBezTo>
                  <a:cubicBezTo>
                    <a:pt x="93" y="473"/>
                    <a:pt x="85" y="477"/>
                    <a:pt x="80" y="470"/>
                  </a:cubicBezTo>
                  <a:cubicBezTo>
                    <a:pt x="79" y="468"/>
                    <a:pt x="78" y="467"/>
                    <a:pt x="76" y="467"/>
                  </a:cubicBezTo>
                  <a:cubicBezTo>
                    <a:pt x="77" y="467"/>
                    <a:pt x="77" y="467"/>
                    <a:pt x="77" y="467"/>
                  </a:cubicBezTo>
                  <a:cubicBezTo>
                    <a:pt x="77" y="467"/>
                    <a:pt x="77" y="467"/>
                    <a:pt x="77" y="467"/>
                  </a:cubicBezTo>
                  <a:cubicBezTo>
                    <a:pt x="78" y="468"/>
                    <a:pt x="78" y="468"/>
                    <a:pt x="78" y="469"/>
                  </a:cubicBezTo>
                  <a:cubicBezTo>
                    <a:pt x="78" y="469"/>
                    <a:pt x="78" y="469"/>
                    <a:pt x="78" y="469"/>
                  </a:cubicBezTo>
                  <a:cubicBezTo>
                    <a:pt x="79" y="470"/>
                    <a:pt x="79" y="470"/>
                    <a:pt x="79" y="471"/>
                  </a:cubicBezTo>
                  <a:cubicBezTo>
                    <a:pt x="81" y="484"/>
                    <a:pt x="86" y="496"/>
                    <a:pt x="98" y="493"/>
                  </a:cubicBezTo>
                  <a:cubicBezTo>
                    <a:pt x="109" y="491"/>
                    <a:pt x="119" y="496"/>
                    <a:pt x="126" y="508"/>
                  </a:cubicBezTo>
                  <a:cubicBezTo>
                    <a:pt x="132" y="520"/>
                    <a:pt x="136" y="517"/>
                    <a:pt x="145" y="521"/>
                  </a:cubicBezTo>
                  <a:cubicBezTo>
                    <a:pt x="154" y="526"/>
                    <a:pt x="181" y="524"/>
                    <a:pt x="188" y="534"/>
                  </a:cubicBezTo>
                  <a:cubicBezTo>
                    <a:pt x="188" y="535"/>
                    <a:pt x="188" y="535"/>
                    <a:pt x="189" y="536"/>
                  </a:cubicBezTo>
                  <a:cubicBezTo>
                    <a:pt x="189" y="536"/>
                    <a:pt x="189" y="536"/>
                    <a:pt x="189" y="536"/>
                  </a:cubicBezTo>
                  <a:cubicBezTo>
                    <a:pt x="190" y="537"/>
                    <a:pt x="190" y="537"/>
                    <a:pt x="190" y="537"/>
                  </a:cubicBezTo>
                  <a:cubicBezTo>
                    <a:pt x="190" y="538"/>
                    <a:pt x="191" y="538"/>
                    <a:pt x="191" y="538"/>
                  </a:cubicBezTo>
                  <a:cubicBezTo>
                    <a:pt x="191" y="538"/>
                    <a:pt x="191" y="539"/>
                    <a:pt x="192" y="539"/>
                  </a:cubicBezTo>
                  <a:cubicBezTo>
                    <a:pt x="192" y="539"/>
                    <a:pt x="192" y="539"/>
                    <a:pt x="192" y="540"/>
                  </a:cubicBezTo>
                  <a:cubicBezTo>
                    <a:pt x="193" y="540"/>
                    <a:pt x="193" y="540"/>
                    <a:pt x="193" y="540"/>
                  </a:cubicBezTo>
                  <a:cubicBezTo>
                    <a:pt x="193" y="540"/>
                    <a:pt x="194" y="541"/>
                    <a:pt x="194" y="541"/>
                  </a:cubicBezTo>
                  <a:cubicBezTo>
                    <a:pt x="194" y="541"/>
                    <a:pt x="195" y="541"/>
                    <a:pt x="195" y="541"/>
                  </a:cubicBezTo>
                  <a:cubicBezTo>
                    <a:pt x="195" y="542"/>
                    <a:pt x="195" y="542"/>
                    <a:pt x="196" y="542"/>
                  </a:cubicBezTo>
                  <a:cubicBezTo>
                    <a:pt x="196" y="542"/>
                    <a:pt x="196" y="542"/>
                    <a:pt x="196" y="542"/>
                  </a:cubicBezTo>
                  <a:cubicBezTo>
                    <a:pt x="197" y="543"/>
                    <a:pt x="197" y="543"/>
                    <a:pt x="198" y="543"/>
                  </a:cubicBezTo>
                  <a:cubicBezTo>
                    <a:pt x="198" y="543"/>
                    <a:pt x="198" y="543"/>
                    <a:pt x="198" y="543"/>
                  </a:cubicBezTo>
                  <a:cubicBezTo>
                    <a:pt x="199" y="544"/>
                    <a:pt x="199" y="544"/>
                    <a:pt x="200" y="544"/>
                  </a:cubicBezTo>
                  <a:cubicBezTo>
                    <a:pt x="200" y="544"/>
                    <a:pt x="200" y="544"/>
                    <a:pt x="200" y="544"/>
                  </a:cubicBezTo>
                  <a:cubicBezTo>
                    <a:pt x="201" y="544"/>
                    <a:pt x="201" y="545"/>
                    <a:pt x="202" y="545"/>
                  </a:cubicBezTo>
                  <a:cubicBezTo>
                    <a:pt x="202" y="545"/>
                    <a:pt x="202" y="545"/>
                    <a:pt x="203" y="545"/>
                  </a:cubicBezTo>
                  <a:cubicBezTo>
                    <a:pt x="203" y="545"/>
                    <a:pt x="204" y="546"/>
                    <a:pt x="204" y="546"/>
                  </a:cubicBezTo>
                  <a:cubicBezTo>
                    <a:pt x="204" y="546"/>
                    <a:pt x="205" y="546"/>
                    <a:pt x="205" y="546"/>
                  </a:cubicBezTo>
                  <a:cubicBezTo>
                    <a:pt x="206" y="546"/>
                    <a:pt x="206" y="546"/>
                    <a:pt x="207" y="546"/>
                  </a:cubicBezTo>
                  <a:cubicBezTo>
                    <a:pt x="207" y="547"/>
                    <a:pt x="207" y="547"/>
                    <a:pt x="208" y="547"/>
                  </a:cubicBezTo>
                  <a:cubicBezTo>
                    <a:pt x="208" y="547"/>
                    <a:pt x="209" y="547"/>
                    <a:pt x="209" y="547"/>
                  </a:cubicBezTo>
                  <a:cubicBezTo>
                    <a:pt x="210" y="547"/>
                    <a:pt x="210" y="548"/>
                    <a:pt x="211" y="548"/>
                  </a:cubicBezTo>
                  <a:cubicBezTo>
                    <a:pt x="211" y="548"/>
                    <a:pt x="212" y="548"/>
                    <a:pt x="212" y="548"/>
                  </a:cubicBezTo>
                  <a:cubicBezTo>
                    <a:pt x="213" y="548"/>
                    <a:pt x="213" y="548"/>
                    <a:pt x="214" y="548"/>
                  </a:cubicBezTo>
                  <a:cubicBezTo>
                    <a:pt x="214" y="549"/>
                    <a:pt x="215" y="549"/>
                    <a:pt x="216" y="549"/>
                  </a:cubicBezTo>
                  <a:cubicBezTo>
                    <a:pt x="216" y="549"/>
                    <a:pt x="217" y="549"/>
                    <a:pt x="217" y="549"/>
                  </a:cubicBezTo>
                  <a:cubicBezTo>
                    <a:pt x="218" y="549"/>
                    <a:pt x="219" y="550"/>
                    <a:pt x="219" y="550"/>
                  </a:cubicBezTo>
                  <a:cubicBezTo>
                    <a:pt x="220" y="550"/>
                    <a:pt x="220" y="550"/>
                    <a:pt x="221" y="550"/>
                  </a:cubicBezTo>
                  <a:cubicBezTo>
                    <a:pt x="222" y="550"/>
                    <a:pt x="223" y="551"/>
                    <a:pt x="224" y="551"/>
                  </a:cubicBezTo>
                  <a:cubicBezTo>
                    <a:pt x="224" y="551"/>
                    <a:pt x="225" y="551"/>
                    <a:pt x="226" y="551"/>
                  </a:cubicBezTo>
                  <a:cubicBezTo>
                    <a:pt x="248" y="557"/>
                    <a:pt x="249" y="559"/>
                    <a:pt x="268" y="559"/>
                  </a:cubicBezTo>
                  <a:cubicBezTo>
                    <a:pt x="286" y="559"/>
                    <a:pt x="302" y="563"/>
                    <a:pt x="306" y="573"/>
                  </a:cubicBezTo>
                  <a:cubicBezTo>
                    <a:pt x="310" y="583"/>
                    <a:pt x="315" y="590"/>
                    <a:pt x="317" y="605"/>
                  </a:cubicBezTo>
                  <a:cubicBezTo>
                    <a:pt x="319" y="619"/>
                    <a:pt x="318" y="656"/>
                    <a:pt x="326" y="661"/>
                  </a:cubicBezTo>
                  <a:cubicBezTo>
                    <a:pt x="332" y="666"/>
                    <a:pt x="337" y="672"/>
                    <a:pt x="339" y="683"/>
                  </a:cubicBezTo>
                  <a:cubicBezTo>
                    <a:pt x="339" y="683"/>
                    <a:pt x="339" y="683"/>
                    <a:pt x="339" y="683"/>
                  </a:cubicBezTo>
                  <a:cubicBezTo>
                    <a:pt x="340" y="683"/>
                    <a:pt x="340" y="683"/>
                    <a:pt x="341" y="683"/>
                  </a:cubicBezTo>
                  <a:cubicBezTo>
                    <a:pt x="341" y="683"/>
                    <a:pt x="341" y="683"/>
                    <a:pt x="341" y="683"/>
                  </a:cubicBezTo>
                  <a:cubicBezTo>
                    <a:pt x="342" y="683"/>
                    <a:pt x="343" y="683"/>
                    <a:pt x="344" y="684"/>
                  </a:cubicBezTo>
                  <a:cubicBezTo>
                    <a:pt x="344" y="684"/>
                    <a:pt x="344" y="684"/>
                    <a:pt x="344" y="684"/>
                  </a:cubicBezTo>
                  <a:cubicBezTo>
                    <a:pt x="345" y="684"/>
                    <a:pt x="346" y="684"/>
                    <a:pt x="347" y="684"/>
                  </a:cubicBezTo>
                  <a:cubicBezTo>
                    <a:pt x="347" y="685"/>
                    <a:pt x="347" y="685"/>
                    <a:pt x="347" y="685"/>
                  </a:cubicBezTo>
                  <a:cubicBezTo>
                    <a:pt x="348" y="685"/>
                    <a:pt x="349" y="685"/>
                    <a:pt x="350" y="686"/>
                  </a:cubicBezTo>
                  <a:cubicBezTo>
                    <a:pt x="364" y="693"/>
                    <a:pt x="374" y="693"/>
                    <a:pt x="384" y="685"/>
                  </a:cubicBezTo>
                  <a:cubicBezTo>
                    <a:pt x="393" y="677"/>
                    <a:pt x="401" y="679"/>
                    <a:pt x="409" y="686"/>
                  </a:cubicBezTo>
                  <a:cubicBezTo>
                    <a:pt x="417" y="693"/>
                    <a:pt x="438" y="702"/>
                    <a:pt x="449" y="695"/>
                  </a:cubicBezTo>
                  <a:cubicBezTo>
                    <a:pt x="460" y="689"/>
                    <a:pt x="472" y="686"/>
                    <a:pt x="480" y="693"/>
                  </a:cubicBezTo>
                  <a:cubicBezTo>
                    <a:pt x="488" y="699"/>
                    <a:pt x="496" y="713"/>
                    <a:pt x="508" y="686"/>
                  </a:cubicBezTo>
                  <a:cubicBezTo>
                    <a:pt x="520" y="659"/>
                    <a:pt x="529" y="655"/>
                    <a:pt x="542" y="666"/>
                  </a:cubicBezTo>
                  <a:cubicBezTo>
                    <a:pt x="556" y="677"/>
                    <a:pt x="560" y="686"/>
                    <a:pt x="580" y="670"/>
                  </a:cubicBezTo>
                  <a:cubicBezTo>
                    <a:pt x="600" y="654"/>
                    <a:pt x="593" y="669"/>
                    <a:pt x="620" y="653"/>
                  </a:cubicBezTo>
                  <a:cubicBezTo>
                    <a:pt x="642" y="639"/>
                    <a:pt x="660" y="634"/>
                    <a:pt x="689" y="616"/>
                  </a:cubicBezTo>
                  <a:cubicBezTo>
                    <a:pt x="688" y="613"/>
                    <a:pt x="687" y="610"/>
                    <a:pt x="684" y="606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525" name="Freeform 25736"/>
            <p:cNvSpPr>
              <a:spLocks/>
            </p:cNvSpPr>
            <p:nvPr/>
          </p:nvSpPr>
          <p:spPr bwMode="auto">
            <a:xfrm>
              <a:off x="3872479" y="3153585"/>
              <a:ext cx="293098" cy="322928"/>
            </a:xfrm>
            <a:custGeom>
              <a:avLst/>
              <a:gdLst>
                <a:gd name="T0" fmla="*/ 125 w 786"/>
                <a:gd name="T1" fmla="*/ 740 h 866"/>
                <a:gd name="T2" fmla="*/ 201 w 786"/>
                <a:gd name="T3" fmla="*/ 752 h 866"/>
                <a:gd name="T4" fmla="*/ 259 w 786"/>
                <a:gd name="T5" fmla="*/ 798 h 866"/>
                <a:gd name="T6" fmla="*/ 323 w 786"/>
                <a:gd name="T7" fmla="*/ 865 h 866"/>
                <a:gd name="T8" fmla="*/ 334 w 786"/>
                <a:gd name="T9" fmla="*/ 864 h 866"/>
                <a:gd name="T10" fmla="*/ 338 w 786"/>
                <a:gd name="T11" fmla="*/ 862 h 866"/>
                <a:gd name="T12" fmla="*/ 342 w 786"/>
                <a:gd name="T13" fmla="*/ 859 h 866"/>
                <a:gd name="T14" fmla="*/ 345 w 786"/>
                <a:gd name="T15" fmla="*/ 852 h 866"/>
                <a:gd name="T16" fmla="*/ 385 w 786"/>
                <a:gd name="T17" fmla="*/ 811 h 866"/>
                <a:gd name="T18" fmla="*/ 410 w 786"/>
                <a:gd name="T19" fmla="*/ 834 h 866"/>
                <a:gd name="T20" fmla="*/ 494 w 786"/>
                <a:gd name="T21" fmla="*/ 816 h 866"/>
                <a:gd name="T22" fmla="*/ 749 w 786"/>
                <a:gd name="T23" fmla="*/ 815 h 866"/>
                <a:gd name="T24" fmla="*/ 757 w 786"/>
                <a:gd name="T25" fmla="*/ 754 h 866"/>
                <a:gd name="T26" fmla="*/ 786 w 786"/>
                <a:gd name="T27" fmla="*/ 176 h 866"/>
                <a:gd name="T28" fmla="*/ 769 w 786"/>
                <a:gd name="T29" fmla="*/ 165 h 866"/>
                <a:gd name="T30" fmla="*/ 755 w 786"/>
                <a:gd name="T31" fmla="*/ 155 h 866"/>
                <a:gd name="T32" fmla="*/ 720 w 786"/>
                <a:gd name="T33" fmla="*/ 131 h 866"/>
                <a:gd name="T34" fmla="*/ 710 w 786"/>
                <a:gd name="T35" fmla="*/ 124 h 866"/>
                <a:gd name="T36" fmla="*/ 687 w 786"/>
                <a:gd name="T37" fmla="*/ 108 h 866"/>
                <a:gd name="T38" fmla="*/ 673 w 786"/>
                <a:gd name="T39" fmla="*/ 99 h 866"/>
                <a:gd name="T40" fmla="*/ 657 w 786"/>
                <a:gd name="T41" fmla="*/ 88 h 866"/>
                <a:gd name="T42" fmla="*/ 645 w 786"/>
                <a:gd name="T43" fmla="*/ 80 h 866"/>
                <a:gd name="T44" fmla="*/ 634 w 786"/>
                <a:gd name="T45" fmla="*/ 72 h 866"/>
                <a:gd name="T46" fmla="*/ 620 w 786"/>
                <a:gd name="T47" fmla="*/ 63 h 866"/>
                <a:gd name="T48" fmla="*/ 612 w 786"/>
                <a:gd name="T49" fmla="*/ 57 h 866"/>
                <a:gd name="T50" fmla="*/ 601 w 786"/>
                <a:gd name="T51" fmla="*/ 50 h 866"/>
                <a:gd name="T52" fmla="*/ 595 w 786"/>
                <a:gd name="T53" fmla="*/ 46 h 866"/>
                <a:gd name="T54" fmla="*/ 588 w 786"/>
                <a:gd name="T55" fmla="*/ 41 h 866"/>
                <a:gd name="T56" fmla="*/ 585 w 786"/>
                <a:gd name="T57" fmla="*/ 39 h 866"/>
                <a:gd name="T58" fmla="*/ 582 w 786"/>
                <a:gd name="T59" fmla="*/ 37 h 866"/>
                <a:gd name="T60" fmla="*/ 550 w 786"/>
                <a:gd name="T61" fmla="*/ 97 h 866"/>
                <a:gd name="T62" fmla="*/ 550 w 786"/>
                <a:gd name="T63" fmla="*/ 102 h 866"/>
                <a:gd name="T64" fmla="*/ 551 w 786"/>
                <a:gd name="T65" fmla="*/ 106 h 866"/>
                <a:gd name="T66" fmla="*/ 551 w 786"/>
                <a:gd name="T67" fmla="*/ 110 h 866"/>
                <a:gd name="T68" fmla="*/ 337 w 786"/>
                <a:gd name="T69" fmla="*/ 114 h 866"/>
                <a:gd name="T70" fmla="*/ 289 w 786"/>
                <a:gd name="T71" fmla="*/ 302 h 866"/>
                <a:gd name="T72" fmla="*/ 270 w 786"/>
                <a:gd name="T73" fmla="*/ 363 h 866"/>
                <a:gd name="T74" fmla="*/ 12 w 786"/>
                <a:gd name="T75" fmla="*/ 426 h 866"/>
                <a:gd name="T76" fmla="*/ 5 w 786"/>
                <a:gd name="T77" fmla="*/ 469 h 866"/>
                <a:gd name="T78" fmla="*/ 42 w 786"/>
                <a:gd name="T79" fmla="*/ 470 h 866"/>
                <a:gd name="T80" fmla="*/ 55 w 786"/>
                <a:gd name="T81" fmla="*/ 529 h 866"/>
                <a:gd name="T82" fmla="*/ 77 w 786"/>
                <a:gd name="T83" fmla="*/ 630 h 866"/>
                <a:gd name="T84" fmla="*/ 55 w 786"/>
                <a:gd name="T85" fmla="*/ 751 h 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786" h="866">
                  <a:moveTo>
                    <a:pt x="83" y="746"/>
                  </a:moveTo>
                  <a:cubicBezTo>
                    <a:pt x="88" y="748"/>
                    <a:pt x="98" y="748"/>
                    <a:pt x="102" y="745"/>
                  </a:cubicBezTo>
                  <a:cubicBezTo>
                    <a:pt x="106" y="741"/>
                    <a:pt x="117" y="740"/>
                    <a:pt x="125" y="740"/>
                  </a:cubicBezTo>
                  <a:cubicBezTo>
                    <a:pt x="134" y="739"/>
                    <a:pt x="141" y="738"/>
                    <a:pt x="147" y="736"/>
                  </a:cubicBezTo>
                  <a:cubicBezTo>
                    <a:pt x="154" y="734"/>
                    <a:pt x="168" y="735"/>
                    <a:pt x="179" y="739"/>
                  </a:cubicBezTo>
                  <a:cubicBezTo>
                    <a:pt x="191" y="743"/>
                    <a:pt x="199" y="745"/>
                    <a:pt x="201" y="752"/>
                  </a:cubicBezTo>
                  <a:cubicBezTo>
                    <a:pt x="204" y="759"/>
                    <a:pt x="211" y="766"/>
                    <a:pt x="221" y="766"/>
                  </a:cubicBezTo>
                  <a:cubicBezTo>
                    <a:pt x="231" y="766"/>
                    <a:pt x="237" y="766"/>
                    <a:pt x="240" y="771"/>
                  </a:cubicBezTo>
                  <a:cubicBezTo>
                    <a:pt x="243" y="776"/>
                    <a:pt x="254" y="789"/>
                    <a:pt x="259" y="798"/>
                  </a:cubicBezTo>
                  <a:cubicBezTo>
                    <a:pt x="264" y="806"/>
                    <a:pt x="280" y="833"/>
                    <a:pt x="288" y="836"/>
                  </a:cubicBezTo>
                  <a:cubicBezTo>
                    <a:pt x="296" y="839"/>
                    <a:pt x="303" y="839"/>
                    <a:pt x="307" y="845"/>
                  </a:cubicBezTo>
                  <a:cubicBezTo>
                    <a:pt x="311" y="851"/>
                    <a:pt x="314" y="862"/>
                    <a:pt x="323" y="865"/>
                  </a:cubicBezTo>
                  <a:cubicBezTo>
                    <a:pt x="323" y="865"/>
                    <a:pt x="324" y="865"/>
                    <a:pt x="324" y="865"/>
                  </a:cubicBezTo>
                  <a:cubicBezTo>
                    <a:pt x="324" y="865"/>
                    <a:pt x="324" y="865"/>
                    <a:pt x="324" y="865"/>
                  </a:cubicBezTo>
                  <a:cubicBezTo>
                    <a:pt x="327" y="866"/>
                    <a:pt x="331" y="865"/>
                    <a:pt x="334" y="864"/>
                  </a:cubicBezTo>
                  <a:cubicBezTo>
                    <a:pt x="334" y="864"/>
                    <a:pt x="334" y="864"/>
                    <a:pt x="334" y="864"/>
                  </a:cubicBezTo>
                  <a:cubicBezTo>
                    <a:pt x="335" y="864"/>
                    <a:pt x="336" y="863"/>
                    <a:pt x="337" y="863"/>
                  </a:cubicBezTo>
                  <a:cubicBezTo>
                    <a:pt x="337" y="863"/>
                    <a:pt x="338" y="863"/>
                    <a:pt x="338" y="862"/>
                  </a:cubicBezTo>
                  <a:cubicBezTo>
                    <a:pt x="339" y="862"/>
                    <a:pt x="339" y="862"/>
                    <a:pt x="340" y="861"/>
                  </a:cubicBezTo>
                  <a:cubicBezTo>
                    <a:pt x="340" y="861"/>
                    <a:pt x="341" y="860"/>
                    <a:pt x="341" y="860"/>
                  </a:cubicBezTo>
                  <a:cubicBezTo>
                    <a:pt x="341" y="860"/>
                    <a:pt x="342" y="859"/>
                    <a:pt x="342" y="859"/>
                  </a:cubicBezTo>
                  <a:cubicBezTo>
                    <a:pt x="343" y="858"/>
                    <a:pt x="343" y="857"/>
                    <a:pt x="343" y="857"/>
                  </a:cubicBezTo>
                  <a:cubicBezTo>
                    <a:pt x="344" y="856"/>
                    <a:pt x="344" y="856"/>
                    <a:pt x="344" y="856"/>
                  </a:cubicBezTo>
                  <a:cubicBezTo>
                    <a:pt x="344" y="855"/>
                    <a:pt x="345" y="854"/>
                    <a:pt x="345" y="852"/>
                  </a:cubicBezTo>
                  <a:cubicBezTo>
                    <a:pt x="347" y="843"/>
                    <a:pt x="349" y="837"/>
                    <a:pt x="350" y="827"/>
                  </a:cubicBezTo>
                  <a:cubicBezTo>
                    <a:pt x="351" y="816"/>
                    <a:pt x="351" y="811"/>
                    <a:pt x="361" y="807"/>
                  </a:cubicBezTo>
                  <a:cubicBezTo>
                    <a:pt x="371" y="804"/>
                    <a:pt x="382" y="804"/>
                    <a:pt x="385" y="811"/>
                  </a:cubicBezTo>
                  <a:cubicBezTo>
                    <a:pt x="388" y="819"/>
                    <a:pt x="390" y="823"/>
                    <a:pt x="394" y="826"/>
                  </a:cubicBezTo>
                  <a:cubicBezTo>
                    <a:pt x="397" y="828"/>
                    <a:pt x="400" y="827"/>
                    <a:pt x="401" y="834"/>
                  </a:cubicBezTo>
                  <a:cubicBezTo>
                    <a:pt x="401" y="840"/>
                    <a:pt x="409" y="843"/>
                    <a:pt x="410" y="834"/>
                  </a:cubicBezTo>
                  <a:cubicBezTo>
                    <a:pt x="411" y="825"/>
                    <a:pt x="411" y="816"/>
                    <a:pt x="424" y="815"/>
                  </a:cubicBezTo>
                  <a:cubicBezTo>
                    <a:pt x="437" y="814"/>
                    <a:pt x="445" y="811"/>
                    <a:pt x="455" y="816"/>
                  </a:cubicBezTo>
                  <a:cubicBezTo>
                    <a:pt x="465" y="821"/>
                    <a:pt x="490" y="823"/>
                    <a:pt x="494" y="816"/>
                  </a:cubicBezTo>
                  <a:cubicBezTo>
                    <a:pt x="498" y="809"/>
                    <a:pt x="504" y="799"/>
                    <a:pt x="514" y="807"/>
                  </a:cubicBezTo>
                  <a:cubicBezTo>
                    <a:pt x="524" y="815"/>
                    <a:pt x="534" y="815"/>
                    <a:pt x="551" y="815"/>
                  </a:cubicBezTo>
                  <a:cubicBezTo>
                    <a:pt x="568" y="815"/>
                    <a:pt x="749" y="815"/>
                    <a:pt x="749" y="815"/>
                  </a:cubicBezTo>
                  <a:cubicBezTo>
                    <a:pt x="749" y="815"/>
                    <a:pt x="742" y="801"/>
                    <a:pt x="753" y="795"/>
                  </a:cubicBezTo>
                  <a:cubicBezTo>
                    <a:pt x="764" y="789"/>
                    <a:pt x="761" y="783"/>
                    <a:pt x="761" y="776"/>
                  </a:cubicBezTo>
                  <a:cubicBezTo>
                    <a:pt x="761" y="769"/>
                    <a:pt x="768" y="762"/>
                    <a:pt x="757" y="754"/>
                  </a:cubicBezTo>
                  <a:cubicBezTo>
                    <a:pt x="746" y="746"/>
                    <a:pt x="741" y="740"/>
                    <a:pt x="741" y="725"/>
                  </a:cubicBezTo>
                  <a:cubicBezTo>
                    <a:pt x="741" y="710"/>
                    <a:pt x="684" y="179"/>
                    <a:pt x="684" y="179"/>
                  </a:cubicBezTo>
                  <a:cubicBezTo>
                    <a:pt x="786" y="176"/>
                    <a:pt x="786" y="176"/>
                    <a:pt x="786" y="176"/>
                  </a:cubicBezTo>
                  <a:cubicBezTo>
                    <a:pt x="784" y="175"/>
                    <a:pt x="782" y="173"/>
                    <a:pt x="780" y="172"/>
                  </a:cubicBezTo>
                  <a:cubicBezTo>
                    <a:pt x="778" y="171"/>
                    <a:pt x="777" y="170"/>
                    <a:pt x="776" y="169"/>
                  </a:cubicBezTo>
                  <a:cubicBezTo>
                    <a:pt x="774" y="168"/>
                    <a:pt x="771" y="166"/>
                    <a:pt x="769" y="165"/>
                  </a:cubicBezTo>
                  <a:cubicBezTo>
                    <a:pt x="768" y="164"/>
                    <a:pt x="766" y="163"/>
                    <a:pt x="765" y="162"/>
                  </a:cubicBezTo>
                  <a:cubicBezTo>
                    <a:pt x="762" y="160"/>
                    <a:pt x="760" y="158"/>
                    <a:pt x="758" y="157"/>
                  </a:cubicBezTo>
                  <a:cubicBezTo>
                    <a:pt x="757" y="156"/>
                    <a:pt x="756" y="155"/>
                    <a:pt x="755" y="155"/>
                  </a:cubicBezTo>
                  <a:cubicBezTo>
                    <a:pt x="747" y="149"/>
                    <a:pt x="739" y="144"/>
                    <a:pt x="731" y="139"/>
                  </a:cubicBezTo>
                  <a:cubicBezTo>
                    <a:pt x="730" y="138"/>
                    <a:pt x="729" y="137"/>
                    <a:pt x="728" y="136"/>
                  </a:cubicBezTo>
                  <a:cubicBezTo>
                    <a:pt x="725" y="134"/>
                    <a:pt x="723" y="133"/>
                    <a:pt x="720" y="131"/>
                  </a:cubicBezTo>
                  <a:cubicBezTo>
                    <a:pt x="719" y="131"/>
                    <a:pt x="719" y="130"/>
                    <a:pt x="718" y="130"/>
                  </a:cubicBezTo>
                  <a:cubicBezTo>
                    <a:pt x="716" y="128"/>
                    <a:pt x="713" y="126"/>
                    <a:pt x="710" y="124"/>
                  </a:cubicBezTo>
                  <a:cubicBezTo>
                    <a:pt x="710" y="124"/>
                    <a:pt x="710" y="124"/>
                    <a:pt x="710" y="124"/>
                  </a:cubicBezTo>
                  <a:cubicBezTo>
                    <a:pt x="705" y="121"/>
                    <a:pt x="701" y="118"/>
                    <a:pt x="697" y="115"/>
                  </a:cubicBezTo>
                  <a:cubicBezTo>
                    <a:pt x="696" y="114"/>
                    <a:pt x="694" y="113"/>
                    <a:pt x="693" y="112"/>
                  </a:cubicBezTo>
                  <a:cubicBezTo>
                    <a:pt x="691" y="111"/>
                    <a:pt x="689" y="110"/>
                    <a:pt x="687" y="108"/>
                  </a:cubicBezTo>
                  <a:cubicBezTo>
                    <a:pt x="686" y="108"/>
                    <a:pt x="685" y="107"/>
                    <a:pt x="683" y="106"/>
                  </a:cubicBezTo>
                  <a:cubicBezTo>
                    <a:pt x="682" y="105"/>
                    <a:pt x="680" y="104"/>
                    <a:pt x="678" y="102"/>
                  </a:cubicBezTo>
                  <a:cubicBezTo>
                    <a:pt x="676" y="101"/>
                    <a:pt x="674" y="100"/>
                    <a:pt x="673" y="99"/>
                  </a:cubicBezTo>
                  <a:cubicBezTo>
                    <a:pt x="672" y="98"/>
                    <a:pt x="671" y="97"/>
                    <a:pt x="670" y="97"/>
                  </a:cubicBezTo>
                  <a:cubicBezTo>
                    <a:pt x="667" y="95"/>
                    <a:pt x="664" y="93"/>
                    <a:pt x="661" y="91"/>
                  </a:cubicBezTo>
                  <a:cubicBezTo>
                    <a:pt x="660" y="90"/>
                    <a:pt x="659" y="89"/>
                    <a:pt x="657" y="88"/>
                  </a:cubicBezTo>
                  <a:cubicBezTo>
                    <a:pt x="656" y="87"/>
                    <a:pt x="655" y="86"/>
                    <a:pt x="653" y="85"/>
                  </a:cubicBezTo>
                  <a:cubicBezTo>
                    <a:pt x="652" y="84"/>
                    <a:pt x="650" y="83"/>
                    <a:pt x="649" y="82"/>
                  </a:cubicBezTo>
                  <a:cubicBezTo>
                    <a:pt x="647" y="81"/>
                    <a:pt x="646" y="80"/>
                    <a:pt x="645" y="80"/>
                  </a:cubicBezTo>
                  <a:cubicBezTo>
                    <a:pt x="644" y="79"/>
                    <a:pt x="642" y="78"/>
                    <a:pt x="641" y="77"/>
                  </a:cubicBezTo>
                  <a:cubicBezTo>
                    <a:pt x="639" y="76"/>
                    <a:pt x="637" y="75"/>
                    <a:pt x="636" y="73"/>
                  </a:cubicBezTo>
                  <a:cubicBezTo>
                    <a:pt x="635" y="73"/>
                    <a:pt x="634" y="73"/>
                    <a:pt x="634" y="72"/>
                  </a:cubicBezTo>
                  <a:cubicBezTo>
                    <a:pt x="631" y="70"/>
                    <a:pt x="629" y="69"/>
                    <a:pt x="627" y="67"/>
                  </a:cubicBezTo>
                  <a:cubicBezTo>
                    <a:pt x="626" y="67"/>
                    <a:pt x="626" y="67"/>
                    <a:pt x="625" y="66"/>
                  </a:cubicBezTo>
                  <a:cubicBezTo>
                    <a:pt x="623" y="65"/>
                    <a:pt x="622" y="64"/>
                    <a:pt x="620" y="63"/>
                  </a:cubicBezTo>
                  <a:cubicBezTo>
                    <a:pt x="619" y="62"/>
                    <a:pt x="618" y="62"/>
                    <a:pt x="618" y="61"/>
                  </a:cubicBezTo>
                  <a:cubicBezTo>
                    <a:pt x="616" y="60"/>
                    <a:pt x="615" y="59"/>
                    <a:pt x="614" y="59"/>
                  </a:cubicBezTo>
                  <a:cubicBezTo>
                    <a:pt x="613" y="58"/>
                    <a:pt x="612" y="58"/>
                    <a:pt x="612" y="57"/>
                  </a:cubicBezTo>
                  <a:cubicBezTo>
                    <a:pt x="610" y="56"/>
                    <a:pt x="608" y="55"/>
                    <a:pt x="607" y="54"/>
                  </a:cubicBezTo>
                  <a:cubicBezTo>
                    <a:pt x="606" y="53"/>
                    <a:pt x="606" y="53"/>
                    <a:pt x="605" y="53"/>
                  </a:cubicBezTo>
                  <a:cubicBezTo>
                    <a:pt x="604" y="52"/>
                    <a:pt x="603" y="51"/>
                    <a:pt x="601" y="50"/>
                  </a:cubicBezTo>
                  <a:cubicBezTo>
                    <a:pt x="601" y="50"/>
                    <a:pt x="600" y="49"/>
                    <a:pt x="600" y="49"/>
                  </a:cubicBezTo>
                  <a:cubicBezTo>
                    <a:pt x="599" y="48"/>
                    <a:pt x="598" y="48"/>
                    <a:pt x="597" y="47"/>
                  </a:cubicBezTo>
                  <a:cubicBezTo>
                    <a:pt x="596" y="47"/>
                    <a:pt x="596" y="46"/>
                    <a:pt x="595" y="46"/>
                  </a:cubicBezTo>
                  <a:cubicBezTo>
                    <a:pt x="594" y="45"/>
                    <a:pt x="593" y="45"/>
                    <a:pt x="592" y="44"/>
                  </a:cubicBezTo>
                  <a:cubicBezTo>
                    <a:pt x="592" y="44"/>
                    <a:pt x="592" y="44"/>
                    <a:pt x="591" y="43"/>
                  </a:cubicBezTo>
                  <a:cubicBezTo>
                    <a:pt x="590" y="43"/>
                    <a:pt x="589" y="42"/>
                    <a:pt x="588" y="41"/>
                  </a:cubicBezTo>
                  <a:cubicBezTo>
                    <a:pt x="588" y="41"/>
                    <a:pt x="588" y="41"/>
                    <a:pt x="588" y="41"/>
                  </a:cubicBezTo>
                  <a:cubicBezTo>
                    <a:pt x="587" y="40"/>
                    <a:pt x="586" y="40"/>
                    <a:pt x="586" y="40"/>
                  </a:cubicBezTo>
                  <a:cubicBezTo>
                    <a:pt x="585" y="40"/>
                    <a:pt x="585" y="39"/>
                    <a:pt x="585" y="39"/>
                  </a:cubicBezTo>
                  <a:cubicBezTo>
                    <a:pt x="584" y="39"/>
                    <a:pt x="584" y="39"/>
                    <a:pt x="584" y="38"/>
                  </a:cubicBezTo>
                  <a:cubicBezTo>
                    <a:pt x="583" y="38"/>
                    <a:pt x="583" y="38"/>
                    <a:pt x="583" y="38"/>
                  </a:cubicBezTo>
                  <a:cubicBezTo>
                    <a:pt x="583" y="38"/>
                    <a:pt x="582" y="37"/>
                    <a:pt x="582" y="37"/>
                  </a:cubicBezTo>
                  <a:cubicBezTo>
                    <a:pt x="571" y="31"/>
                    <a:pt x="558" y="29"/>
                    <a:pt x="549" y="28"/>
                  </a:cubicBezTo>
                  <a:cubicBezTo>
                    <a:pt x="549" y="19"/>
                    <a:pt x="548" y="9"/>
                    <a:pt x="548" y="0"/>
                  </a:cubicBezTo>
                  <a:cubicBezTo>
                    <a:pt x="549" y="34"/>
                    <a:pt x="550" y="76"/>
                    <a:pt x="550" y="97"/>
                  </a:cubicBezTo>
                  <a:cubicBezTo>
                    <a:pt x="550" y="98"/>
                    <a:pt x="550" y="98"/>
                    <a:pt x="550" y="98"/>
                  </a:cubicBezTo>
                  <a:cubicBezTo>
                    <a:pt x="550" y="99"/>
                    <a:pt x="550" y="100"/>
                    <a:pt x="550" y="101"/>
                  </a:cubicBezTo>
                  <a:cubicBezTo>
                    <a:pt x="550" y="102"/>
                    <a:pt x="550" y="102"/>
                    <a:pt x="550" y="102"/>
                  </a:cubicBezTo>
                  <a:cubicBezTo>
                    <a:pt x="550" y="103"/>
                    <a:pt x="550" y="104"/>
                    <a:pt x="551" y="105"/>
                  </a:cubicBezTo>
                  <a:cubicBezTo>
                    <a:pt x="551" y="105"/>
                    <a:pt x="551" y="106"/>
                    <a:pt x="551" y="106"/>
                  </a:cubicBezTo>
                  <a:cubicBezTo>
                    <a:pt x="551" y="106"/>
                    <a:pt x="551" y="106"/>
                    <a:pt x="551" y="106"/>
                  </a:cubicBezTo>
                  <a:cubicBezTo>
                    <a:pt x="551" y="106"/>
                    <a:pt x="551" y="107"/>
                    <a:pt x="551" y="107"/>
                  </a:cubicBezTo>
                  <a:cubicBezTo>
                    <a:pt x="551" y="108"/>
                    <a:pt x="551" y="109"/>
                    <a:pt x="551" y="109"/>
                  </a:cubicBezTo>
                  <a:cubicBezTo>
                    <a:pt x="551" y="110"/>
                    <a:pt x="551" y="110"/>
                    <a:pt x="551" y="110"/>
                  </a:cubicBezTo>
                  <a:cubicBezTo>
                    <a:pt x="551" y="110"/>
                    <a:pt x="551" y="110"/>
                    <a:pt x="551" y="111"/>
                  </a:cubicBezTo>
                  <a:cubicBezTo>
                    <a:pt x="551" y="111"/>
                    <a:pt x="551" y="111"/>
                    <a:pt x="551" y="111"/>
                  </a:cubicBezTo>
                  <a:cubicBezTo>
                    <a:pt x="337" y="114"/>
                    <a:pt x="337" y="114"/>
                    <a:pt x="337" y="114"/>
                  </a:cubicBezTo>
                  <a:cubicBezTo>
                    <a:pt x="334" y="281"/>
                    <a:pt x="334" y="281"/>
                    <a:pt x="334" y="281"/>
                  </a:cubicBezTo>
                  <a:cubicBezTo>
                    <a:pt x="334" y="281"/>
                    <a:pt x="320" y="293"/>
                    <a:pt x="311" y="293"/>
                  </a:cubicBezTo>
                  <a:cubicBezTo>
                    <a:pt x="303" y="292"/>
                    <a:pt x="294" y="298"/>
                    <a:pt x="289" y="302"/>
                  </a:cubicBezTo>
                  <a:cubicBezTo>
                    <a:pt x="285" y="306"/>
                    <a:pt x="267" y="312"/>
                    <a:pt x="266" y="319"/>
                  </a:cubicBezTo>
                  <a:cubicBezTo>
                    <a:pt x="265" y="327"/>
                    <a:pt x="258" y="339"/>
                    <a:pt x="264" y="343"/>
                  </a:cubicBezTo>
                  <a:cubicBezTo>
                    <a:pt x="270" y="348"/>
                    <a:pt x="271" y="355"/>
                    <a:pt x="270" y="363"/>
                  </a:cubicBezTo>
                  <a:cubicBezTo>
                    <a:pt x="269" y="371"/>
                    <a:pt x="271" y="427"/>
                    <a:pt x="271" y="427"/>
                  </a:cubicBezTo>
                  <a:cubicBezTo>
                    <a:pt x="12" y="426"/>
                    <a:pt x="12" y="426"/>
                    <a:pt x="12" y="426"/>
                  </a:cubicBezTo>
                  <a:cubicBezTo>
                    <a:pt x="12" y="426"/>
                    <a:pt x="12" y="426"/>
                    <a:pt x="12" y="426"/>
                  </a:cubicBezTo>
                  <a:cubicBezTo>
                    <a:pt x="11" y="427"/>
                    <a:pt x="10" y="429"/>
                    <a:pt x="10" y="431"/>
                  </a:cubicBezTo>
                  <a:cubicBezTo>
                    <a:pt x="9" y="435"/>
                    <a:pt x="8" y="446"/>
                    <a:pt x="4" y="450"/>
                  </a:cubicBezTo>
                  <a:cubicBezTo>
                    <a:pt x="0" y="454"/>
                    <a:pt x="1" y="465"/>
                    <a:pt x="5" y="469"/>
                  </a:cubicBezTo>
                  <a:cubicBezTo>
                    <a:pt x="8" y="473"/>
                    <a:pt x="16" y="477"/>
                    <a:pt x="21" y="465"/>
                  </a:cubicBezTo>
                  <a:cubicBezTo>
                    <a:pt x="25" y="454"/>
                    <a:pt x="33" y="442"/>
                    <a:pt x="35" y="452"/>
                  </a:cubicBezTo>
                  <a:cubicBezTo>
                    <a:pt x="37" y="462"/>
                    <a:pt x="38" y="467"/>
                    <a:pt x="42" y="470"/>
                  </a:cubicBezTo>
                  <a:cubicBezTo>
                    <a:pt x="47" y="474"/>
                    <a:pt x="52" y="471"/>
                    <a:pt x="59" y="484"/>
                  </a:cubicBezTo>
                  <a:cubicBezTo>
                    <a:pt x="66" y="496"/>
                    <a:pt x="71" y="504"/>
                    <a:pt x="69" y="512"/>
                  </a:cubicBezTo>
                  <a:cubicBezTo>
                    <a:pt x="67" y="520"/>
                    <a:pt x="58" y="522"/>
                    <a:pt x="55" y="529"/>
                  </a:cubicBezTo>
                  <a:cubicBezTo>
                    <a:pt x="51" y="535"/>
                    <a:pt x="48" y="554"/>
                    <a:pt x="54" y="561"/>
                  </a:cubicBezTo>
                  <a:cubicBezTo>
                    <a:pt x="60" y="568"/>
                    <a:pt x="69" y="574"/>
                    <a:pt x="70" y="588"/>
                  </a:cubicBezTo>
                  <a:cubicBezTo>
                    <a:pt x="72" y="601"/>
                    <a:pt x="77" y="616"/>
                    <a:pt x="77" y="630"/>
                  </a:cubicBezTo>
                  <a:cubicBezTo>
                    <a:pt x="77" y="643"/>
                    <a:pt x="83" y="665"/>
                    <a:pt x="76" y="685"/>
                  </a:cubicBezTo>
                  <a:cubicBezTo>
                    <a:pt x="70" y="705"/>
                    <a:pt x="52" y="730"/>
                    <a:pt x="51" y="738"/>
                  </a:cubicBezTo>
                  <a:cubicBezTo>
                    <a:pt x="50" y="743"/>
                    <a:pt x="53" y="747"/>
                    <a:pt x="55" y="751"/>
                  </a:cubicBezTo>
                  <a:cubicBezTo>
                    <a:pt x="57" y="750"/>
                    <a:pt x="60" y="748"/>
                    <a:pt x="62" y="748"/>
                  </a:cubicBezTo>
                  <a:cubicBezTo>
                    <a:pt x="76" y="746"/>
                    <a:pt x="79" y="743"/>
                    <a:pt x="83" y="746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526" name="Freeform 25737"/>
            <p:cNvSpPr>
              <a:spLocks/>
            </p:cNvSpPr>
            <p:nvPr/>
          </p:nvSpPr>
          <p:spPr bwMode="auto">
            <a:xfrm>
              <a:off x="3877057" y="3151376"/>
              <a:ext cx="200922" cy="161464"/>
            </a:xfrm>
            <a:custGeom>
              <a:avLst/>
              <a:gdLst>
                <a:gd name="T0" fmla="*/ 259 w 539"/>
                <a:gd name="T1" fmla="*/ 433 h 433"/>
                <a:gd name="T2" fmla="*/ 258 w 539"/>
                <a:gd name="T3" fmla="*/ 369 h 433"/>
                <a:gd name="T4" fmla="*/ 252 w 539"/>
                <a:gd name="T5" fmla="*/ 349 h 433"/>
                <a:gd name="T6" fmla="*/ 254 w 539"/>
                <a:gd name="T7" fmla="*/ 325 h 433"/>
                <a:gd name="T8" fmla="*/ 277 w 539"/>
                <a:gd name="T9" fmla="*/ 308 h 433"/>
                <a:gd name="T10" fmla="*/ 299 w 539"/>
                <a:gd name="T11" fmla="*/ 299 h 433"/>
                <a:gd name="T12" fmla="*/ 322 w 539"/>
                <a:gd name="T13" fmla="*/ 287 h 433"/>
                <a:gd name="T14" fmla="*/ 325 w 539"/>
                <a:gd name="T15" fmla="*/ 120 h 433"/>
                <a:gd name="T16" fmla="*/ 539 w 539"/>
                <a:gd name="T17" fmla="*/ 117 h 433"/>
                <a:gd name="T18" fmla="*/ 539 w 539"/>
                <a:gd name="T19" fmla="*/ 117 h 433"/>
                <a:gd name="T20" fmla="*/ 539 w 539"/>
                <a:gd name="T21" fmla="*/ 116 h 433"/>
                <a:gd name="T22" fmla="*/ 539 w 539"/>
                <a:gd name="T23" fmla="*/ 115 h 433"/>
                <a:gd name="T24" fmla="*/ 539 w 539"/>
                <a:gd name="T25" fmla="*/ 113 h 433"/>
                <a:gd name="T26" fmla="*/ 539 w 539"/>
                <a:gd name="T27" fmla="*/ 112 h 433"/>
                <a:gd name="T28" fmla="*/ 539 w 539"/>
                <a:gd name="T29" fmla="*/ 112 h 433"/>
                <a:gd name="T30" fmla="*/ 539 w 539"/>
                <a:gd name="T31" fmla="*/ 111 h 433"/>
                <a:gd name="T32" fmla="*/ 538 w 539"/>
                <a:gd name="T33" fmla="*/ 108 h 433"/>
                <a:gd name="T34" fmla="*/ 538 w 539"/>
                <a:gd name="T35" fmla="*/ 107 h 433"/>
                <a:gd name="T36" fmla="*/ 538 w 539"/>
                <a:gd name="T37" fmla="*/ 104 h 433"/>
                <a:gd name="T38" fmla="*/ 538 w 539"/>
                <a:gd name="T39" fmla="*/ 103 h 433"/>
                <a:gd name="T40" fmla="*/ 536 w 539"/>
                <a:gd name="T41" fmla="*/ 6 h 433"/>
                <a:gd name="T42" fmla="*/ 536 w 539"/>
                <a:gd name="T43" fmla="*/ 6 h 433"/>
                <a:gd name="T44" fmla="*/ 536 w 539"/>
                <a:gd name="T45" fmla="*/ 2 h 433"/>
                <a:gd name="T46" fmla="*/ 246 w 539"/>
                <a:gd name="T47" fmla="*/ 0 h 433"/>
                <a:gd name="T48" fmla="*/ 211 w 539"/>
                <a:gd name="T49" fmla="*/ 75 h 433"/>
                <a:gd name="T50" fmla="*/ 161 w 539"/>
                <a:gd name="T51" fmla="*/ 124 h 433"/>
                <a:gd name="T52" fmla="*/ 130 w 539"/>
                <a:gd name="T53" fmla="*/ 210 h 433"/>
                <a:gd name="T54" fmla="*/ 84 w 539"/>
                <a:gd name="T55" fmla="*/ 259 h 433"/>
                <a:gd name="T56" fmla="*/ 58 w 539"/>
                <a:gd name="T57" fmla="*/ 309 h 433"/>
                <a:gd name="T58" fmla="*/ 45 w 539"/>
                <a:gd name="T59" fmla="*/ 348 h 433"/>
                <a:gd name="T60" fmla="*/ 10 w 539"/>
                <a:gd name="T61" fmla="*/ 392 h 433"/>
                <a:gd name="T62" fmla="*/ 0 w 539"/>
                <a:gd name="T63" fmla="*/ 432 h 433"/>
                <a:gd name="T64" fmla="*/ 4 w 539"/>
                <a:gd name="T65" fmla="*/ 428 h 433"/>
                <a:gd name="T66" fmla="*/ 0 w 539"/>
                <a:gd name="T67" fmla="*/ 432 h 433"/>
                <a:gd name="T68" fmla="*/ 0 w 539"/>
                <a:gd name="T69" fmla="*/ 432 h 433"/>
                <a:gd name="T70" fmla="*/ 259 w 539"/>
                <a:gd name="T71" fmla="*/ 433 h 4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39" h="433">
                  <a:moveTo>
                    <a:pt x="259" y="433"/>
                  </a:moveTo>
                  <a:cubicBezTo>
                    <a:pt x="259" y="433"/>
                    <a:pt x="257" y="377"/>
                    <a:pt x="258" y="369"/>
                  </a:cubicBezTo>
                  <a:cubicBezTo>
                    <a:pt x="259" y="361"/>
                    <a:pt x="258" y="354"/>
                    <a:pt x="252" y="349"/>
                  </a:cubicBezTo>
                  <a:cubicBezTo>
                    <a:pt x="246" y="345"/>
                    <a:pt x="253" y="333"/>
                    <a:pt x="254" y="325"/>
                  </a:cubicBezTo>
                  <a:cubicBezTo>
                    <a:pt x="255" y="318"/>
                    <a:pt x="273" y="312"/>
                    <a:pt x="277" y="308"/>
                  </a:cubicBezTo>
                  <a:cubicBezTo>
                    <a:pt x="282" y="304"/>
                    <a:pt x="291" y="298"/>
                    <a:pt x="299" y="299"/>
                  </a:cubicBezTo>
                  <a:cubicBezTo>
                    <a:pt x="308" y="299"/>
                    <a:pt x="322" y="287"/>
                    <a:pt x="322" y="287"/>
                  </a:cubicBezTo>
                  <a:cubicBezTo>
                    <a:pt x="325" y="120"/>
                    <a:pt x="325" y="120"/>
                    <a:pt x="325" y="120"/>
                  </a:cubicBezTo>
                  <a:cubicBezTo>
                    <a:pt x="539" y="117"/>
                    <a:pt x="539" y="117"/>
                    <a:pt x="539" y="117"/>
                  </a:cubicBezTo>
                  <a:cubicBezTo>
                    <a:pt x="539" y="117"/>
                    <a:pt x="539" y="117"/>
                    <a:pt x="539" y="117"/>
                  </a:cubicBezTo>
                  <a:cubicBezTo>
                    <a:pt x="539" y="116"/>
                    <a:pt x="539" y="116"/>
                    <a:pt x="539" y="116"/>
                  </a:cubicBezTo>
                  <a:cubicBezTo>
                    <a:pt x="539" y="116"/>
                    <a:pt x="539" y="116"/>
                    <a:pt x="539" y="115"/>
                  </a:cubicBezTo>
                  <a:cubicBezTo>
                    <a:pt x="539" y="115"/>
                    <a:pt x="539" y="114"/>
                    <a:pt x="539" y="113"/>
                  </a:cubicBezTo>
                  <a:cubicBezTo>
                    <a:pt x="539" y="113"/>
                    <a:pt x="539" y="112"/>
                    <a:pt x="539" y="112"/>
                  </a:cubicBezTo>
                  <a:cubicBezTo>
                    <a:pt x="539" y="112"/>
                    <a:pt x="539" y="112"/>
                    <a:pt x="539" y="112"/>
                  </a:cubicBezTo>
                  <a:cubicBezTo>
                    <a:pt x="539" y="112"/>
                    <a:pt x="539" y="111"/>
                    <a:pt x="539" y="111"/>
                  </a:cubicBezTo>
                  <a:cubicBezTo>
                    <a:pt x="538" y="110"/>
                    <a:pt x="538" y="109"/>
                    <a:pt x="538" y="108"/>
                  </a:cubicBezTo>
                  <a:cubicBezTo>
                    <a:pt x="538" y="108"/>
                    <a:pt x="538" y="108"/>
                    <a:pt x="538" y="107"/>
                  </a:cubicBezTo>
                  <a:cubicBezTo>
                    <a:pt x="538" y="106"/>
                    <a:pt x="538" y="105"/>
                    <a:pt x="538" y="104"/>
                  </a:cubicBezTo>
                  <a:cubicBezTo>
                    <a:pt x="538" y="104"/>
                    <a:pt x="538" y="104"/>
                    <a:pt x="538" y="103"/>
                  </a:cubicBezTo>
                  <a:cubicBezTo>
                    <a:pt x="538" y="82"/>
                    <a:pt x="537" y="40"/>
                    <a:pt x="536" y="6"/>
                  </a:cubicBezTo>
                  <a:cubicBezTo>
                    <a:pt x="536" y="6"/>
                    <a:pt x="536" y="6"/>
                    <a:pt x="536" y="6"/>
                  </a:cubicBezTo>
                  <a:cubicBezTo>
                    <a:pt x="536" y="4"/>
                    <a:pt x="536" y="3"/>
                    <a:pt x="536" y="2"/>
                  </a:cubicBezTo>
                  <a:cubicBezTo>
                    <a:pt x="246" y="0"/>
                    <a:pt x="246" y="0"/>
                    <a:pt x="246" y="0"/>
                  </a:cubicBezTo>
                  <a:cubicBezTo>
                    <a:pt x="235" y="19"/>
                    <a:pt x="233" y="63"/>
                    <a:pt x="211" y="75"/>
                  </a:cubicBezTo>
                  <a:cubicBezTo>
                    <a:pt x="189" y="88"/>
                    <a:pt x="170" y="97"/>
                    <a:pt x="161" y="124"/>
                  </a:cubicBezTo>
                  <a:cubicBezTo>
                    <a:pt x="152" y="150"/>
                    <a:pt x="148" y="194"/>
                    <a:pt x="130" y="210"/>
                  </a:cubicBezTo>
                  <a:cubicBezTo>
                    <a:pt x="112" y="225"/>
                    <a:pt x="90" y="239"/>
                    <a:pt x="84" y="259"/>
                  </a:cubicBezTo>
                  <a:cubicBezTo>
                    <a:pt x="77" y="279"/>
                    <a:pt x="59" y="286"/>
                    <a:pt x="58" y="309"/>
                  </a:cubicBezTo>
                  <a:cubicBezTo>
                    <a:pt x="57" y="333"/>
                    <a:pt x="63" y="333"/>
                    <a:pt x="45" y="348"/>
                  </a:cubicBezTo>
                  <a:cubicBezTo>
                    <a:pt x="27" y="363"/>
                    <a:pt x="17" y="374"/>
                    <a:pt x="10" y="392"/>
                  </a:cubicBezTo>
                  <a:cubicBezTo>
                    <a:pt x="6" y="405"/>
                    <a:pt x="4" y="419"/>
                    <a:pt x="0" y="432"/>
                  </a:cubicBezTo>
                  <a:cubicBezTo>
                    <a:pt x="2" y="430"/>
                    <a:pt x="4" y="428"/>
                    <a:pt x="4" y="428"/>
                  </a:cubicBezTo>
                  <a:cubicBezTo>
                    <a:pt x="4" y="428"/>
                    <a:pt x="2" y="430"/>
                    <a:pt x="0" y="432"/>
                  </a:cubicBezTo>
                  <a:cubicBezTo>
                    <a:pt x="0" y="432"/>
                    <a:pt x="0" y="432"/>
                    <a:pt x="0" y="432"/>
                  </a:cubicBezTo>
                  <a:lnTo>
                    <a:pt x="259" y="433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527" name="Freeform 25738"/>
            <p:cNvSpPr>
              <a:spLocks/>
            </p:cNvSpPr>
            <p:nvPr/>
          </p:nvSpPr>
          <p:spPr bwMode="auto">
            <a:xfrm>
              <a:off x="4076874" y="2900735"/>
              <a:ext cx="491811" cy="474765"/>
            </a:xfrm>
            <a:custGeom>
              <a:avLst/>
              <a:gdLst>
                <a:gd name="T0" fmla="*/ 1183 w 1319"/>
                <a:gd name="T1" fmla="*/ 827 h 1273"/>
                <a:gd name="T2" fmla="*/ 1183 w 1319"/>
                <a:gd name="T3" fmla="*/ 732 h 1273"/>
                <a:gd name="T4" fmla="*/ 1182 w 1319"/>
                <a:gd name="T5" fmla="*/ 646 h 1273"/>
                <a:gd name="T6" fmla="*/ 1160 w 1319"/>
                <a:gd name="T7" fmla="*/ 527 h 1273"/>
                <a:gd name="T8" fmla="*/ 1163 w 1319"/>
                <a:gd name="T9" fmla="*/ 495 h 1273"/>
                <a:gd name="T10" fmla="*/ 1159 w 1319"/>
                <a:gd name="T11" fmla="*/ 480 h 1273"/>
                <a:gd name="T12" fmla="*/ 1138 w 1319"/>
                <a:gd name="T13" fmla="*/ 414 h 1273"/>
                <a:gd name="T14" fmla="*/ 1057 w 1319"/>
                <a:gd name="T15" fmla="*/ 297 h 1273"/>
                <a:gd name="T16" fmla="*/ 1070 w 1319"/>
                <a:gd name="T17" fmla="*/ 197 h 1273"/>
                <a:gd name="T18" fmla="*/ 1084 w 1319"/>
                <a:gd name="T19" fmla="*/ 76 h 1273"/>
                <a:gd name="T20" fmla="*/ 1104 w 1319"/>
                <a:gd name="T21" fmla="*/ 12 h 1273"/>
                <a:gd name="T22" fmla="*/ 978 w 1319"/>
                <a:gd name="T23" fmla="*/ 10 h 1273"/>
                <a:gd name="T24" fmla="*/ 835 w 1319"/>
                <a:gd name="T25" fmla="*/ 12 h 1273"/>
                <a:gd name="T26" fmla="*/ 603 w 1319"/>
                <a:gd name="T27" fmla="*/ 56 h 1273"/>
                <a:gd name="T28" fmla="*/ 431 w 1319"/>
                <a:gd name="T29" fmla="*/ 149 h 1273"/>
                <a:gd name="T30" fmla="*/ 449 w 1319"/>
                <a:gd name="T31" fmla="*/ 208 h 1273"/>
                <a:gd name="T32" fmla="*/ 463 w 1319"/>
                <a:gd name="T33" fmla="*/ 312 h 1273"/>
                <a:gd name="T34" fmla="*/ 425 w 1319"/>
                <a:gd name="T35" fmla="*/ 367 h 1273"/>
                <a:gd name="T36" fmla="*/ 317 w 1319"/>
                <a:gd name="T37" fmla="*/ 397 h 1273"/>
                <a:gd name="T38" fmla="*/ 287 w 1319"/>
                <a:gd name="T39" fmla="*/ 459 h 1273"/>
                <a:gd name="T40" fmla="*/ 194 w 1319"/>
                <a:gd name="T41" fmla="*/ 521 h 1273"/>
                <a:gd name="T42" fmla="*/ 64 w 1319"/>
                <a:gd name="T43" fmla="*/ 561 h 1273"/>
                <a:gd name="T44" fmla="*/ 1 w 1319"/>
                <a:gd name="T45" fmla="*/ 642 h 1273"/>
                <a:gd name="T46" fmla="*/ 0 w 1319"/>
                <a:gd name="T47" fmla="*/ 649 h 1273"/>
                <a:gd name="T48" fmla="*/ 0 w 1319"/>
                <a:gd name="T49" fmla="*/ 658 h 1273"/>
                <a:gd name="T50" fmla="*/ 0 w 1319"/>
                <a:gd name="T51" fmla="*/ 666 h 1273"/>
                <a:gd name="T52" fmla="*/ 0 w 1319"/>
                <a:gd name="T53" fmla="*/ 678 h 1273"/>
                <a:gd name="T54" fmla="*/ 36 w 1319"/>
                <a:gd name="T55" fmla="*/ 716 h 1273"/>
                <a:gd name="T56" fmla="*/ 40 w 1319"/>
                <a:gd name="T57" fmla="*/ 719 h 1273"/>
                <a:gd name="T58" fmla="*/ 49 w 1319"/>
                <a:gd name="T59" fmla="*/ 725 h 1273"/>
                <a:gd name="T60" fmla="*/ 59 w 1319"/>
                <a:gd name="T61" fmla="*/ 732 h 1273"/>
                <a:gd name="T62" fmla="*/ 72 w 1319"/>
                <a:gd name="T63" fmla="*/ 741 h 1273"/>
                <a:gd name="T64" fmla="*/ 88 w 1319"/>
                <a:gd name="T65" fmla="*/ 751 h 1273"/>
                <a:gd name="T66" fmla="*/ 105 w 1319"/>
                <a:gd name="T67" fmla="*/ 763 h 1273"/>
                <a:gd name="T68" fmla="*/ 125 w 1319"/>
                <a:gd name="T69" fmla="*/ 777 h 1273"/>
                <a:gd name="T70" fmla="*/ 145 w 1319"/>
                <a:gd name="T71" fmla="*/ 790 h 1273"/>
                <a:gd name="T72" fmla="*/ 170 w 1319"/>
                <a:gd name="T73" fmla="*/ 808 h 1273"/>
                <a:gd name="T74" fmla="*/ 207 w 1319"/>
                <a:gd name="T75" fmla="*/ 833 h 1273"/>
                <a:gd name="T76" fmla="*/ 228 w 1319"/>
                <a:gd name="T77" fmla="*/ 847 h 1273"/>
                <a:gd name="T78" fmla="*/ 243 w 1319"/>
                <a:gd name="T79" fmla="*/ 858 h 1273"/>
                <a:gd name="T80" fmla="*/ 267 w 1319"/>
                <a:gd name="T81" fmla="*/ 874 h 1273"/>
                <a:gd name="T82" fmla="*/ 307 w 1319"/>
                <a:gd name="T83" fmla="*/ 901 h 1273"/>
                <a:gd name="T84" fmla="*/ 333 w 1319"/>
                <a:gd name="T85" fmla="*/ 919 h 1273"/>
                <a:gd name="T86" fmla="*/ 526 w 1319"/>
                <a:gd name="T87" fmla="*/ 1052 h 1273"/>
                <a:gd name="T88" fmla="*/ 593 w 1319"/>
                <a:gd name="T89" fmla="*/ 1098 h 1273"/>
                <a:gd name="T90" fmla="*/ 611 w 1319"/>
                <a:gd name="T91" fmla="*/ 1111 h 1273"/>
                <a:gd name="T92" fmla="*/ 630 w 1319"/>
                <a:gd name="T93" fmla="*/ 1134 h 1273"/>
                <a:gd name="T94" fmla="*/ 711 w 1319"/>
                <a:gd name="T95" fmla="*/ 1193 h 1273"/>
                <a:gd name="T96" fmla="*/ 755 w 1319"/>
                <a:gd name="T97" fmla="*/ 1259 h 1273"/>
                <a:gd name="T98" fmla="*/ 829 w 1319"/>
                <a:gd name="T99" fmla="*/ 1251 h 1273"/>
                <a:gd name="T100" fmla="*/ 833 w 1319"/>
                <a:gd name="T101" fmla="*/ 1250 h 1273"/>
                <a:gd name="T102" fmla="*/ 842 w 1319"/>
                <a:gd name="T103" fmla="*/ 1246 h 1273"/>
                <a:gd name="T104" fmla="*/ 847 w 1319"/>
                <a:gd name="T105" fmla="*/ 1244 h 1273"/>
                <a:gd name="T106" fmla="*/ 853 w 1319"/>
                <a:gd name="T107" fmla="*/ 1243 h 1273"/>
                <a:gd name="T108" fmla="*/ 862 w 1319"/>
                <a:gd name="T109" fmla="*/ 1242 h 1273"/>
                <a:gd name="T110" fmla="*/ 1088 w 1319"/>
                <a:gd name="T111" fmla="*/ 1100 h 1273"/>
                <a:gd name="T112" fmla="*/ 1099 w 1319"/>
                <a:gd name="T113" fmla="*/ 1094 h 1273"/>
                <a:gd name="T114" fmla="*/ 1111 w 1319"/>
                <a:gd name="T115" fmla="*/ 1087 h 1273"/>
                <a:gd name="T116" fmla="*/ 1124 w 1319"/>
                <a:gd name="T117" fmla="*/ 1078 h 1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319" h="1273">
                  <a:moveTo>
                    <a:pt x="1290" y="913"/>
                  </a:moveTo>
                  <a:cubicBezTo>
                    <a:pt x="1283" y="903"/>
                    <a:pt x="1258" y="901"/>
                    <a:pt x="1231" y="900"/>
                  </a:cubicBezTo>
                  <a:cubicBezTo>
                    <a:pt x="1204" y="899"/>
                    <a:pt x="1196" y="874"/>
                    <a:pt x="1196" y="857"/>
                  </a:cubicBezTo>
                  <a:cubicBezTo>
                    <a:pt x="1196" y="840"/>
                    <a:pt x="1190" y="831"/>
                    <a:pt x="1183" y="827"/>
                  </a:cubicBezTo>
                  <a:cubicBezTo>
                    <a:pt x="1176" y="823"/>
                    <a:pt x="1169" y="805"/>
                    <a:pt x="1158" y="794"/>
                  </a:cubicBezTo>
                  <a:cubicBezTo>
                    <a:pt x="1147" y="783"/>
                    <a:pt x="1153" y="772"/>
                    <a:pt x="1160" y="770"/>
                  </a:cubicBezTo>
                  <a:cubicBezTo>
                    <a:pt x="1167" y="768"/>
                    <a:pt x="1166" y="758"/>
                    <a:pt x="1178" y="756"/>
                  </a:cubicBezTo>
                  <a:cubicBezTo>
                    <a:pt x="1190" y="754"/>
                    <a:pt x="1184" y="741"/>
                    <a:pt x="1183" y="732"/>
                  </a:cubicBezTo>
                  <a:cubicBezTo>
                    <a:pt x="1182" y="723"/>
                    <a:pt x="1180" y="720"/>
                    <a:pt x="1173" y="713"/>
                  </a:cubicBezTo>
                  <a:cubicBezTo>
                    <a:pt x="1166" y="706"/>
                    <a:pt x="1172" y="693"/>
                    <a:pt x="1177" y="691"/>
                  </a:cubicBezTo>
                  <a:cubicBezTo>
                    <a:pt x="1182" y="689"/>
                    <a:pt x="1184" y="682"/>
                    <a:pt x="1189" y="672"/>
                  </a:cubicBezTo>
                  <a:cubicBezTo>
                    <a:pt x="1194" y="662"/>
                    <a:pt x="1188" y="651"/>
                    <a:pt x="1182" y="646"/>
                  </a:cubicBezTo>
                  <a:cubicBezTo>
                    <a:pt x="1176" y="641"/>
                    <a:pt x="1175" y="631"/>
                    <a:pt x="1182" y="620"/>
                  </a:cubicBezTo>
                  <a:cubicBezTo>
                    <a:pt x="1189" y="609"/>
                    <a:pt x="1182" y="597"/>
                    <a:pt x="1184" y="582"/>
                  </a:cubicBezTo>
                  <a:cubicBezTo>
                    <a:pt x="1186" y="567"/>
                    <a:pt x="1176" y="557"/>
                    <a:pt x="1174" y="550"/>
                  </a:cubicBezTo>
                  <a:cubicBezTo>
                    <a:pt x="1172" y="543"/>
                    <a:pt x="1171" y="534"/>
                    <a:pt x="1160" y="527"/>
                  </a:cubicBezTo>
                  <a:cubicBezTo>
                    <a:pt x="1149" y="520"/>
                    <a:pt x="1149" y="507"/>
                    <a:pt x="1159" y="499"/>
                  </a:cubicBezTo>
                  <a:cubicBezTo>
                    <a:pt x="1160" y="498"/>
                    <a:pt x="1160" y="498"/>
                    <a:pt x="1161" y="497"/>
                  </a:cubicBezTo>
                  <a:cubicBezTo>
                    <a:pt x="1161" y="497"/>
                    <a:pt x="1161" y="497"/>
                    <a:pt x="1161" y="497"/>
                  </a:cubicBezTo>
                  <a:cubicBezTo>
                    <a:pt x="1162" y="496"/>
                    <a:pt x="1162" y="496"/>
                    <a:pt x="1163" y="495"/>
                  </a:cubicBezTo>
                  <a:cubicBezTo>
                    <a:pt x="1163" y="495"/>
                    <a:pt x="1163" y="495"/>
                    <a:pt x="1163" y="495"/>
                  </a:cubicBezTo>
                  <a:cubicBezTo>
                    <a:pt x="1166" y="490"/>
                    <a:pt x="1162" y="485"/>
                    <a:pt x="1159" y="481"/>
                  </a:cubicBezTo>
                  <a:cubicBezTo>
                    <a:pt x="1159" y="481"/>
                    <a:pt x="1159" y="481"/>
                    <a:pt x="1159" y="481"/>
                  </a:cubicBezTo>
                  <a:cubicBezTo>
                    <a:pt x="1159" y="480"/>
                    <a:pt x="1159" y="480"/>
                    <a:pt x="1159" y="480"/>
                  </a:cubicBezTo>
                  <a:cubicBezTo>
                    <a:pt x="1159" y="479"/>
                    <a:pt x="1159" y="479"/>
                    <a:pt x="1159" y="479"/>
                  </a:cubicBezTo>
                  <a:cubicBezTo>
                    <a:pt x="1158" y="479"/>
                    <a:pt x="1158" y="478"/>
                    <a:pt x="1158" y="478"/>
                  </a:cubicBezTo>
                  <a:cubicBezTo>
                    <a:pt x="1155" y="471"/>
                    <a:pt x="1151" y="460"/>
                    <a:pt x="1148" y="446"/>
                  </a:cubicBezTo>
                  <a:cubicBezTo>
                    <a:pt x="1145" y="432"/>
                    <a:pt x="1143" y="428"/>
                    <a:pt x="1138" y="414"/>
                  </a:cubicBezTo>
                  <a:cubicBezTo>
                    <a:pt x="1133" y="400"/>
                    <a:pt x="1137" y="390"/>
                    <a:pt x="1133" y="378"/>
                  </a:cubicBezTo>
                  <a:cubicBezTo>
                    <a:pt x="1129" y="366"/>
                    <a:pt x="1121" y="357"/>
                    <a:pt x="1102" y="351"/>
                  </a:cubicBezTo>
                  <a:cubicBezTo>
                    <a:pt x="1083" y="345"/>
                    <a:pt x="1081" y="328"/>
                    <a:pt x="1081" y="313"/>
                  </a:cubicBezTo>
                  <a:cubicBezTo>
                    <a:pt x="1081" y="298"/>
                    <a:pt x="1072" y="298"/>
                    <a:pt x="1057" y="297"/>
                  </a:cubicBezTo>
                  <a:cubicBezTo>
                    <a:pt x="1042" y="296"/>
                    <a:pt x="1044" y="265"/>
                    <a:pt x="1037" y="260"/>
                  </a:cubicBezTo>
                  <a:cubicBezTo>
                    <a:pt x="1030" y="255"/>
                    <a:pt x="1027" y="241"/>
                    <a:pt x="1027" y="228"/>
                  </a:cubicBezTo>
                  <a:cubicBezTo>
                    <a:pt x="1027" y="215"/>
                    <a:pt x="1047" y="215"/>
                    <a:pt x="1049" y="209"/>
                  </a:cubicBezTo>
                  <a:cubicBezTo>
                    <a:pt x="1051" y="203"/>
                    <a:pt x="1057" y="197"/>
                    <a:pt x="1070" y="197"/>
                  </a:cubicBezTo>
                  <a:cubicBezTo>
                    <a:pt x="1083" y="197"/>
                    <a:pt x="1080" y="170"/>
                    <a:pt x="1086" y="162"/>
                  </a:cubicBezTo>
                  <a:cubicBezTo>
                    <a:pt x="1092" y="154"/>
                    <a:pt x="1088" y="144"/>
                    <a:pt x="1086" y="128"/>
                  </a:cubicBezTo>
                  <a:cubicBezTo>
                    <a:pt x="1084" y="112"/>
                    <a:pt x="1083" y="110"/>
                    <a:pt x="1080" y="104"/>
                  </a:cubicBezTo>
                  <a:cubicBezTo>
                    <a:pt x="1077" y="98"/>
                    <a:pt x="1084" y="88"/>
                    <a:pt x="1084" y="76"/>
                  </a:cubicBezTo>
                  <a:cubicBezTo>
                    <a:pt x="1084" y="64"/>
                    <a:pt x="1080" y="59"/>
                    <a:pt x="1074" y="52"/>
                  </a:cubicBezTo>
                  <a:cubicBezTo>
                    <a:pt x="1068" y="45"/>
                    <a:pt x="1084" y="45"/>
                    <a:pt x="1083" y="39"/>
                  </a:cubicBezTo>
                  <a:cubicBezTo>
                    <a:pt x="1082" y="33"/>
                    <a:pt x="1088" y="28"/>
                    <a:pt x="1100" y="27"/>
                  </a:cubicBezTo>
                  <a:cubicBezTo>
                    <a:pt x="1106" y="26"/>
                    <a:pt x="1106" y="19"/>
                    <a:pt x="1104" y="12"/>
                  </a:cubicBezTo>
                  <a:cubicBezTo>
                    <a:pt x="1099" y="12"/>
                    <a:pt x="1094" y="13"/>
                    <a:pt x="1089" y="13"/>
                  </a:cubicBezTo>
                  <a:cubicBezTo>
                    <a:pt x="1063" y="13"/>
                    <a:pt x="1054" y="32"/>
                    <a:pt x="1041" y="16"/>
                  </a:cubicBezTo>
                  <a:cubicBezTo>
                    <a:pt x="1028" y="0"/>
                    <a:pt x="1027" y="3"/>
                    <a:pt x="1010" y="8"/>
                  </a:cubicBezTo>
                  <a:cubicBezTo>
                    <a:pt x="992" y="12"/>
                    <a:pt x="987" y="16"/>
                    <a:pt x="978" y="10"/>
                  </a:cubicBezTo>
                  <a:cubicBezTo>
                    <a:pt x="970" y="3"/>
                    <a:pt x="952" y="8"/>
                    <a:pt x="945" y="16"/>
                  </a:cubicBezTo>
                  <a:cubicBezTo>
                    <a:pt x="939" y="25"/>
                    <a:pt x="919" y="26"/>
                    <a:pt x="909" y="26"/>
                  </a:cubicBezTo>
                  <a:cubicBezTo>
                    <a:pt x="898" y="26"/>
                    <a:pt x="895" y="33"/>
                    <a:pt x="877" y="24"/>
                  </a:cubicBezTo>
                  <a:cubicBezTo>
                    <a:pt x="860" y="14"/>
                    <a:pt x="854" y="10"/>
                    <a:pt x="835" y="12"/>
                  </a:cubicBezTo>
                  <a:cubicBezTo>
                    <a:pt x="817" y="14"/>
                    <a:pt x="798" y="9"/>
                    <a:pt x="787" y="22"/>
                  </a:cubicBezTo>
                  <a:cubicBezTo>
                    <a:pt x="776" y="34"/>
                    <a:pt x="740" y="28"/>
                    <a:pt x="719" y="33"/>
                  </a:cubicBezTo>
                  <a:cubicBezTo>
                    <a:pt x="699" y="39"/>
                    <a:pt x="692" y="40"/>
                    <a:pt x="670" y="42"/>
                  </a:cubicBezTo>
                  <a:cubicBezTo>
                    <a:pt x="647" y="44"/>
                    <a:pt x="613" y="45"/>
                    <a:pt x="603" y="56"/>
                  </a:cubicBezTo>
                  <a:cubicBezTo>
                    <a:pt x="594" y="67"/>
                    <a:pt x="574" y="65"/>
                    <a:pt x="566" y="80"/>
                  </a:cubicBezTo>
                  <a:cubicBezTo>
                    <a:pt x="557" y="95"/>
                    <a:pt x="527" y="97"/>
                    <a:pt x="512" y="99"/>
                  </a:cubicBezTo>
                  <a:cubicBezTo>
                    <a:pt x="497" y="101"/>
                    <a:pt x="480" y="106"/>
                    <a:pt x="470" y="121"/>
                  </a:cubicBezTo>
                  <a:cubicBezTo>
                    <a:pt x="460" y="137"/>
                    <a:pt x="453" y="149"/>
                    <a:pt x="431" y="149"/>
                  </a:cubicBezTo>
                  <a:cubicBezTo>
                    <a:pt x="425" y="149"/>
                    <a:pt x="420" y="149"/>
                    <a:pt x="415" y="149"/>
                  </a:cubicBezTo>
                  <a:cubicBezTo>
                    <a:pt x="415" y="154"/>
                    <a:pt x="418" y="159"/>
                    <a:pt x="423" y="161"/>
                  </a:cubicBezTo>
                  <a:cubicBezTo>
                    <a:pt x="435" y="166"/>
                    <a:pt x="443" y="172"/>
                    <a:pt x="444" y="179"/>
                  </a:cubicBezTo>
                  <a:cubicBezTo>
                    <a:pt x="445" y="185"/>
                    <a:pt x="453" y="201"/>
                    <a:pt x="449" y="208"/>
                  </a:cubicBezTo>
                  <a:cubicBezTo>
                    <a:pt x="445" y="215"/>
                    <a:pt x="451" y="236"/>
                    <a:pt x="445" y="241"/>
                  </a:cubicBezTo>
                  <a:cubicBezTo>
                    <a:pt x="438" y="247"/>
                    <a:pt x="445" y="253"/>
                    <a:pt x="448" y="259"/>
                  </a:cubicBezTo>
                  <a:cubicBezTo>
                    <a:pt x="451" y="266"/>
                    <a:pt x="446" y="283"/>
                    <a:pt x="453" y="291"/>
                  </a:cubicBezTo>
                  <a:cubicBezTo>
                    <a:pt x="459" y="299"/>
                    <a:pt x="463" y="305"/>
                    <a:pt x="463" y="312"/>
                  </a:cubicBezTo>
                  <a:cubicBezTo>
                    <a:pt x="463" y="319"/>
                    <a:pt x="469" y="325"/>
                    <a:pt x="474" y="328"/>
                  </a:cubicBezTo>
                  <a:cubicBezTo>
                    <a:pt x="479" y="331"/>
                    <a:pt x="487" y="334"/>
                    <a:pt x="485" y="344"/>
                  </a:cubicBezTo>
                  <a:cubicBezTo>
                    <a:pt x="483" y="354"/>
                    <a:pt x="488" y="370"/>
                    <a:pt x="470" y="369"/>
                  </a:cubicBezTo>
                  <a:cubicBezTo>
                    <a:pt x="452" y="369"/>
                    <a:pt x="436" y="373"/>
                    <a:pt x="425" y="367"/>
                  </a:cubicBezTo>
                  <a:cubicBezTo>
                    <a:pt x="413" y="361"/>
                    <a:pt x="393" y="359"/>
                    <a:pt x="385" y="363"/>
                  </a:cubicBezTo>
                  <a:cubicBezTo>
                    <a:pt x="378" y="368"/>
                    <a:pt x="365" y="373"/>
                    <a:pt x="364" y="379"/>
                  </a:cubicBezTo>
                  <a:cubicBezTo>
                    <a:pt x="363" y="386"/>
                    <a:pt x="350" y="386"/>
                    <a:pt x="345" y="393"/>
                  </a:cubicBezTo>
                  <a:cubicBezTo>
                    <a:pt x="341" y="401"/>
                    <a:pt x="323" y="395"/>
                    <a:pt x="317" y="397"/>
                  </a:cubicBezTo>
                  <a:cubicBezTo>
                    <a:pt x="311" y="398"/>
                    <a:pt x="311" y="407"/>
                    <a:pt x="312" y="413"/>
                  </a:cubicBezTo>
                  <a:cubicBezTo>
                    <a:pt x="313" y="418"/>
                    <a:pt x="312" y="429"/>
                    <a:pt x="316" y="433"/>
                  </a:cubicBezTo>
                  <a:cubicBezTo>
                    <a:pt x="320" y="437"/>
                    <a:pt x="325" y="446"/>
                    <a:pt x="315" y="449"/>
                  </a:cubicBezTo>
                  <a:cubicBezTo>
                    <a:pt x="306" y="453"/>
                    <a:pt x="295" y="450"/>
                    <a:pt x="287" y="459"/>
                  </a:cubicBezTo>
                  <a:cubicBezTo>
                    <a:pt x="280" y="469"/>
                    <a:pt x="271" y="467"/>
                    <a:pt x="262" y="469"/>
                  </a:cubicBezTo>
                  <a:cubicBezTo>
                    <a:pt x="253" y="471"/>
                    <a:pt x="241" y="475"/>
                    <a:pt x="235" y="485"/>
                  </a:cubicBezTo>
                  <a:cubicBezTo>
                    <a:pt x="229" y="495"/>
                    <a:pt x="223" y="502"/>
                    <a:pt x="221" y="509"/>
                  </a:cubicBezTo>
                  <a:cubicBezTo>
                    <a:pt x="218" y="515"/>
                    <a:pt x="208" y="521"/>
                    <a:pt x="194" y="521"/>
                  </a:cubicBezTo>
                  <a:cubicBezTo>
                    <a:pt x="180" y="521"/>
                    <a:pt x="152" y="522"/>
                    <a:pt x="145" y="531"/>
                  </a:cubicBezTo>
                  <a:cubicBezTo>
                    <a:pt x="137" y="539"/>
                    <a:pt x="131" y="545"/>
                    <a:pt x="121" y="543"/>
                  </a:cubicBezTo>
                  <a:cubicBezTo>
                    <a:pt x="111" y="542"/>
                    <a:pt x="98" y="531"/>
                    <a:pt x="90" y="544"/>
                  </a:cubicBezTo>
                  <a:cubicBezTo>
                    <a:pt x="82" y="557"/>
                    <a:pt x="72" y="560"/>
                    <a:pt x="64" y="561"/>
                  </a:cubicBezTo>
                  <a:cubicBezTo>
                    <a:pt x="56" y="563"/>
                    <a:pt x="56" y="572"/>
                    <a:pt x="45" y="578"/>
                  </a:cubicBezTo>
                  <a:cubicBezTo>
                    <a:pt x="35" y="584"/>
                    <a:pt x="25" y="593"/>
                    <a:pt x="13" y="597"/>
                  </a:cubicBezTo>
                  <a:cubicBezTo>
                    <a:pt x="1" y="602"/>
                    <a:pt x="2" y="597"/>
                    <a:pt x="1" y="639"/>
                  </a:cubicBezTo>
                  <a:cubicBezTo>
                    <a:pt x="1" y="640"/>
                    <a:pt x="1" y="641"/>
                    <a:pt x="1" y="642"/>
                  </a:cubicBezTo>
                  <a:cubicBezTo>
                    <a:pt x="1" y="642"/>
                    <a:pt x="1" y="643"/>
                    <a:pt x="1" y="643"/>
                  </a:cubicBezTo>
                  <a:cubicBezTo>
                    <a:pt x="1" y="644"/>
                    <a:pt x="1" y="645"/>
                    <a:pt x="0" y="646"/>
                  </a:cubicBezTo>
                  <a:cubicBezTo>
                    <a:pt x="0" y="646"/>
                    <a:pt x="0" y="647"/>
                    <a:pt x="0" y="647"/>
                  </a:cubicBezTo>
                  <a:cubicBezTo>
                    <a:pt x="0" y="648"/>
                    <a:pt x="0" y="649"/>
                    <a:pt x="0" y="649"/>
                  </a:cubicBezTo>
                  <a:cubicBezTo>
                    <a:pt x="0" y="650"/>
                    <a:pt x="0" y="651"/>
                    <a:pt x="0" y="651"/>
                  </a:cubicBezTo>
                  <a:cubicBezTo>
                    <a:pt x="0" y="652"/>
                    <a:pt x="0" y="653"/>
                    <a:pt x="0" y="653"/>
                  </a:cubicBezTo>
                  <a:cubicBezTo>
                    <a:pt x="0" y="654"/>
                    <a:pt x="0" y="655"/>
                    <a:pt x="0" y="656"/>
                  </a:cubicBezTo>
                  <a:cubicBezTo>
                    <a:pt x="0" y="656"/>
                    <a:pt x="0" y="657"/>
                    <a:pt x="0" y="658"/>
                  </a:cubicBezTo>
                  <a:cubicBezTo>
                    <a:pt x="0" y="658"/>
                    <a:pt x="0" y="659"/>
                    <a:pt x="0" y="660"/>
                  </a:cubicBezTo>
                  <a:cubicBezTo>
                    <a:pt x="0" y="661"/>
                    <a:pt x="0" y="661"/>
                    <a:pt x="0" y="662"/>
                  </a:cubicBezTo>
                  <a:cubicBezTo>
                    <a:pt x="0" y="663"/>
                    <a:pt x="0" y="664"/>
                    <a:pt x="0" y="664"/>
                  </a:cubicBezTo>
                  <a:cubicBezTo>
                    <a:pt x="0" y="665"/>
                    <a:pt x="0" y="666"/>
                    <a:pt x="0" y="666"/>
                  </a:cubicBezTo>
                  <a:cubicBezTo>
                    <a:pt x="0" y="668"/>
                    <a:pt x="0" y="670"/>
                    <a:pt x="0" y="672"/>
                  </a:cubicBezTo>
                  <a:cubicBezTo>
                    <a:pt x="0" y="672"/>
                    <a:pt x="0" y="673"/>
                    <a:pt x="0" y="673"/>
                  </a:cubicBezTo>
                  <a:cubicBezTo>
                    <a:pt x="0" y="675"/>
                    <a:pt x="0" y="676"/>
                    <a:pt x="0" y="678"/>
                  </a:cubicBezTo>
                  <a:cubicBezTo>
                    <a:pt x="0" y="678"/>
                    <a:pt x="0" y="678"/>
                    <a:pt x="0" y="678"/>
                  </a:cubicBezTo>
                  <a:cubicBezTo>
                    <a:pt x="0" y="687"/>
                    <a:pt x="1" y="697"/>
                    <a:pt x="1" y="706"/>
                  </a:cubicBezTo>
                  <a:cubicBezTo>
                    <a:pt x="10" y="707"/>
                    <a:pt x="23" y="709"/>
                    <a:pt x="34" y="715"/>
                  </a:cubicBezTo>
                  <a:cubicBezTo>
                    <a:pt x="34" y="715"/>
                    <a:pt x="35" y="716"/>
                    <a:pt x="35" y="716"/>
                  </a:cubicBezTo>
                  <a:cubicBezTo>
                    <a:pt x="35" y="716"/>
                    <a:pt x="35" y="716"/>
                    <a:pt x="36" y="716"/>
                  </a:cubicBezTo>
                  <a:cubicBezTo>
                    <a:pt x="36" y="717"/>
                    <a:pt x="36" y="717"/>
                    <a:pt x="37" y="717"/>
                  </a:cubicBezTo>
                  <a:cubicBezTo>
                    <a:pt x="37" y="717"/>
                    <a:pt x="37" y="718"/>
                    <a:pt x="38" y="718"/>
                  </a:cubicBezTo>
                  <a:cubicBezTo>
                    <a:pt x="38" y="718"/>
                    <a:pt x="39" y="718"/>
                    <a:pt x="40" y="719"/>
                  </a:cubicBezTo>
                  <a:cubicBezTo>
                    <a:pt x="40" y="719"/>
                    <a:pt x="40" y="719"/>
                    <a:pt x="40" y="719"/>
                  </a:cubicBezTo>
                  <a:cubicBezTo>
                    <a:pt x="41" y="720"/>
                    <a:pt x="42" y="721"/>
                    <a:pt x="43" y="721"/>
                  </a:cubicBezTo>
                  <a:cubicBezTo>
                    <a:pt x="44" y="722"/>
                    <a:pt x="44" y="722"/>
                    <a:pt x="44" y="722"/>
                  </a:cubicBezTo>
                  <a:cubicBezTo>
                    <a:pt x="45" y="723"/>
                    <a:pt x="46" y="723"/>
                    <a:pt x="47" y="724"/>
                  </a:cubicBezTo>
                  <a:cubicBezTo>
                    <a:pt x="48" y="724"/>
                    <a:pt x="48" y="725"/>
                    <a:pt x="49" y="725"/>
                  </a:cubicBezTo>
                  <a:cubicBezTo>
                    <a:pt x="50" y="726"/>
                    <a:pt x="51" y="726"/>
                    <a:pt x="52" y="727"/>
                  </a:cubicBezTo>
                  <a:cubicBezTo>
                    <a:pt x="52" y="727"/>
                    <a:pt x="53" y="728"/>
                    <a:pt x="53" y="728"/>
                  </a:cubicBezTo>
                  <a:cubicBezTo>
                    <a:pt x="55" y="729"/>
                    <a:pt x="56" y="730"/>
                    <a:pt x="57" y="731"/>
                  </a:cubicBezTo>
                  <a:cubicBezTo>
                    <a:pt x="58" y="731"/>
                    <a:pt x="58" y="731"/>
                    <a:pt x="59" y="732"/>
                  </a:cubicBezTo>
                  <a:cubicBezTo>
                    <a:pt x="60" y="733"/>
                    <a:pt x="62" y="734"/>
                    <a:pt x="64" y="735"/>
                  </a:cubicBezTo>
                  <a:cubicBezTo>
                    <a:pt x="64" y="736"/>
                    <a:pt x="65" y="736"/>
                    <a:pt x="66" y="737"/>
                  </a:cubicBezTo>
                  <a:cubicBezTo>
                    <a:pt x="67" y="737"/>
                    <a:pt x="68" y="738"/>
                    <a:pt x="70" y="739"/>
                  </a:cubicBezTo>
                  <a:cubicBezTo>
                    <a:pt x="70" y="740"/>
                    <a:pt x="71" y="740"/>
                    <a:pt x="72" y="741"/>
                  </a:cubicBezTo>
                  <a:cubicBezTo>
                    <a:pt x="74" y="742"/>
                    <a:pt x="75" y="743"/>
                    <a:pt x="77" y="744"/>
                  </a:cubicBezTo>
                  <a:cubicBezTo>
                    <a:pt x="78" y="745"/>
                    <a:pt x="78" y="745"/>
                    <a:pt x="79" y="745"/>
                  </a:cubicBezTo>
                  <a:cubicBezTo>
                    <a:pt x="81" y="747"/>
                    <a:pt x="83" y="748"/>
                    <a:pt x="86" y="750"/>
                  </a:cubicBezTo>
                  <a:cubicBezTo>
                    <a:pt x="86" y="751"/>
                    <a:pt x="87" y="751"/>
                    <a:pt x="88" y="751"/>
                  </a:cubicBezTo>
                  <a:cubicBezTo>
                    <a:pt x="89" y="753"/>
                    <a:pt x="91" y="754"/>
                    <a:pt x="93" y="755"/>
                  </a:cubicBezTo>
                  <a:cubicBezTo>
                    <a:pt x="94" y="756"/>
                    <a:pt x="96" y="757"/>
                    <a:pt x="97" y="758"/>
                  </a:cubicBezTo>
                  <a:cubicBezTo>
                    <a:pt x="98" y="758"/>
                    <a:pt x="99" y="759"/>
                    <a:pt x="101" y="760"/>
                  </a:cubicBezTo>
                  <a:cubicBezTo>
                    <a:pt x="102" y="761"/>
                    <a:pt x="104" y="762"/>
                    <a:pt x="105" y="763"/>
                  </a:cubicBezTo>
                  <a:cubicBezTo>
                    <a:pt x="107" y="764"/>
                    <a:pt x="108" y="765"/>
                    <a:pt x="109" y="766"/>
                  </a:cubicBezTo>
                  <a:cubicBezTo>
                    <a:pt x="111" y="767"/>
                    <a:pt x="112" y="768"/>
                    <a:pt x="113" y="769"/>
                  </a:cubicBezTo>
                  <a:cubicBezTo>
                    <a:pt x="116" y="771"/>
                    <a:pt x="119" y="773"/>
                    <a:pt x="122" y="775"/>
                  </a:cubicBezTo>
                  <a:cubicBezTo>
                    <a:pt x="123" y="775"/>
                    <a:pt x="124" y="776"/>
                    <a:pt x="125" y="777"/>
                  </a:cubicBezTo>
                  <a:cubicBezTo>
                    <a:pt x="126" y="778"/>
                    <a:pt x="128" y="779"/>
                    <a:pt x="130" y="780"/>
                  </a:cubicBezTo>
                  <a:cubicBezTo>
                    <a:pt x="132" y="782"/>
                    <a:pt x="134" y="783"/>
                    <a:pt x="135" y="784"/>
                  </a:cubicBezTo>
                  <a:cubicBezTo>
                    <a:pt x="137" y="785"/>
                    <a:pt x="138" y="786"/>
                    <a:pt x="139" y="786"/>
                  </a:cubicBezTo>
                  <a:cubicBezTo>
                    <a:pt x="141" y="788"/>
                    <a:pt x="143" y="789"/>
                    <a:pt x="145" y="790"/>
                  </a:cubicBezTo>
                  <a:cubicBezTo>
                    <a:pt x="146" y="791"/>
                    <a:pt x="148" y="792"/>
                    <a:pt x="149" y="793"/>
                  </a:cubicBezTo>
                  <a:cubicBezTo>
                    <a:pt x="153" y="796"/>
                    <a:pt x="157" y="799"/>
                    <a:pt x="162" y="802"/>
                  </a:cubicBezTo>
                  <a:cubicBezTo>
                    <a:pt x="162" y="802"/>
                    <a:pt x="162" y="802"/>
                    <a:pt x="162" y="802"/>
                  </a:cubicBezTo>
                  <a:cubicBezTo>
                    <a:pt x="165" y="804"/>
                    <a:pt x="168" y="806"/>
                    <a:pt x="170" y="808"/>
                  </a:cubicBezTo>
                  <a:cubicBezTo>
                    <a:pt x="171" y="808"/>
                    <a:pt x="171" y="809"/>
                    <a:pt x="172" y="809"/>
                  </a:cubicBezTo>
                  <a:cubicBezTo>
                    <a:pt x="175" y="811"/>
                    <a:pt x="177" y="812"/>
                    <a:pt x="180" y="814"/>
                  </a:cubicBezTo>
                  <a:cubicBezTo>
                    <a:pt x="181" y="815"/>
                    <a:pt x="182" y="816"/>
                    <a:pt x="183" y="817"/>
                  </a:cubicBezTo>
                  <a:cubicBezTo>
                    <a:pt x="191" y="822"/>
                    <a:pt x="199" y="827"/>
                    <a:pt x="207" y="833"/>
                  </a:cubicBezTo>
                  <a:cubicBezTo>
                    <a:pt x="208" y="833"/>
                    <a:pt x="209" y="834"/>
                    <a:pt x="210" y="835"/>
                  </a:cubicBezTo>
                  <a:cubicBezTo>
                    <a:pt x="212" y="836"/>
                    <a:pt x="214" y="838"/>
                    <a:pt x="217" y="840"/>
                  </a:cubicBezTo>
                  <a:cubicBezTo>
                    <a:pt x="218" y="841"/>
                    <a:pt x="220" y="842"/>
                    <a:pt x="221" y="843"/>
                  </a:cubicBezTo>
                  <a:cubicBezTo>
                    <a:pt x="223" y="844"/>
                    <a:pt x="226" y="846"/>
                    <a:pt x="228" y="847"/>
                  </a:cubicBezTo>
                  <a:cubicBezTo>
                    <a:pt x="229" y="848"/>
                    <a:pt x="230" y="849"/>
                    <a:pt x="232" y="850"/>
                  </a:cubicBezTo>
                  <a:cubicBezTo>
                    <a:pt x="234" y="851"/>
                    <a:pt x="236" y="853"/>
                    <a:pt x="238" y="854"/>
                  </a:cubicBezTo>
                  <a:cubicBezTo>
                    <a:pt x="238" y="854"/>
                    <a:pt x="238" y="854"/>
                    <a:pt x="238" y="854"/>
                  </a:cubicBezTo>
                  <a:cubicBezTo>
                    <a:pt x="240" y="856"/>
                    <a:pt x="242" y="857"/>
                    <a:pt x="243" y="858"/>
                  </a:cubicBezTo>
                  <a:cubicBezTo>
                    <a:pt x="245" y="859"/>
                    <a:pt x="246" y="860"/>
                    <a:pt x="247" y="861"/>
                  </a:cubicBezTo>
                  <a:cubicBezTo>
                    <a:pt x="252" y="864"/>
                    <a:pt x="256" y="867"/>
                    <a:pt x="261" y="870"/>
                  </a:cubicBezTo>
                  <a:cubicBezTo>
                    <a:pt x="261" y="870"/>
                    <a:pt x="262" y="871"/>
                    <a:pt x="262" y="871"/>
                  </a:cubicBezTo>
                  <a:cubicBezTo>
                    <a:pt x="264" y="872"/>
                    <a:pt x="265" y="873"/>
                    <a:pt x="267" y="874"/>
                  </a:cubicBezTo>
                  <a:cubicBezTo>
                    <a:pt x="270" y="876"/>
                    <a:pt x="273" y="878"/>
                    <a:pt x="276" y="881"/>
                  </a:cubicBezTo>
                  <a:cubicBezTo>
                    <a:pt x="277" y="881"/>
                    <a:pt x="278" y="881"/>
                    <a:pt x="278" y="882"/>
                  </a:cubicBezTo>
                  <a:cubicBezTo>
                    <a:pt x="278" y="882"/>
                    <a:pt x="279" y="882"/>
                    <a:pt x="279" y="882"/>
                  </a:cubicBezTo>
                  <a:cubicBezTo>
                    <a:pt x="288" y="889"/>
                    <a:pt x="298" y="895"/>
                    <a:pt x="307" y="901"/>
                  </a:cubicBezTo>
                  <a:cubicBezTo>
                    <a:pt x="310" y="904"/>
                    <a:pt x="314" y="906"/>
                    <a:pt x="317" y="908"/>
                  </a:cubicBezTo>
                  <a:cubicBezTo>
                    <a:pt x="317" y="909"/>
                    <a:pt x="318" y="909"/>
                    <a:pt x="318" y="909"/>
                  </a:cubicBezTo>
                  <a:cubicBezTo>
                    <a:pt x="322" y="912"/>
                    <a:pt x="326" y="914"/>
                    <a:pt x="330" y="917"/>
                  </a:cubicBezTo>
                  <a:cubicBezTo>
                    <a:pt x="331" y="918"/>
                    <a:pt x="332" y="919"/>
                    <a:pt x="333" y="919"/>
                  </a:cubicBezTo>
                  <a:cubicBezTo>
                    <a:pt x="363" y="940"/>
                    <a:pt x="394" y="961"/>
                    <a:pt x="423" y="981"/>
                  </a:cubicBezTo>
                  <a:cubicBezTo>
                    <a:pt x="427" y="984"/>
                    <a:pt x="432" y="987"/>
                    <a:pt x="436" y="990"/>
                  </a:cubicBezTo>
                  <a:cubicBezTo>
                    <a:pt x="469" y="1013"/>
                    <a:pt x="500" y="1034"/>
                    <a:pt x="526" y="1052"/>
                  </a:cubicBezTo>
                  <a:cubicBezTo>
                    <a:pt x="526" y="1052"/>
                    <a:pt x="526" y="1052"/>
                    <a:pt x="526" y="1052"/>
                  </a:cubicBezTo>
                  <a:cubicBezTo>
                    <a:pt x="538" y="1060"/>
                    <a:pt x="549" y="1068"/>
                    <a:pt x="558" y="1074"/>
                  </a:cubicBezTo>
                  <a:cubicBezTo>
                    <a:pt x="565" y="1079"/>
                    <a:pt x="571" y="1083"/>
                    <a:pt x="576" y="1087"/>
                  </a:cubicBezTo>
                  <a:cubicBezTo>
                    <a:pt x="578" y="1088"/>
                    <a:pt x="580" y="1089"/>
                    <a:pt x="581" y="1090"/>
                  </a:cubicBezTo>
                  <a:cubicBezTo>
                    <a:pt x="586" y="1093"/>
                    <a:pt x="590" y="1096"/>
                    <a:pt x="593" y="1098"/>
                  </a:cubicBezTo>
                  <a:cubicBezTo>
                    <a:pt x="595" y="1100"/>
                    <a:pt x="597" y="1101"/>
                    <a:pt x="599" y="1102"/>
                  </a:cubicBezTo>
                  <a:cubicBezTo>
                    <a:pt x="600" y="1103"/>
                    <a:pt x="601" y="1104"/>
                    <a:pt x="602" y="1105"/>
                  </a:cubicBezTo>
                  <a:cubicBezTo>
                    <a:pt x="603" y="1105"/>
                    <a:pt x="604" y="1106"/>
                    <a:pt x="605" y="1106"/>
                  </a:cubicBezTo>
                  <a:cubicBezTo>
                    <a:pt x="608" y="1108"/>
                    <a:pt x="610" y="1110"/>
                    <a:pt x="611" y="1111"/>
                  </a:cubicBezTo>
                  <a:cubicBezTo>
                    <a:pt x="611" y="1111"/>
                    <a:pt x="612" y="1111"/>
                    <a:pt x="612" y="1111"/>
                  </a:cubicBezTo>
                  <a:cubicBezTo>
                    <a:pt x="613" y="1112"/>
                    <a:pt x="613" y="1112"/>
                    <a:pt x="614" y="1112"/>
                  </a:cubicBezTo>
                  <a:cubicBezTo>
                    <a:pt x="614" y="1113"/>
                    <a:pt x="614" y="1113"/>
                    <a:pt x="614" y="1113"/>
                  </a:cubicBezTo>
                  <a:cubicBezTo>
                    <a:pt x="614" y="1113"/>
                    <a:pt x="631" y="1126"/>
                    <a:pt x="630" y="1134"/>
                  </a:cubicBezTo>
                  <a:cubicBezTo>
                    <a:pt x="629" y="1142"/>
                    <a:pt x="638" y="1155"/>
                    <a:pt x="647" y="1155"/>
                  </a:cubicBezTo>
                  <a:cubicBezTo>
                    <a:pt x="657" y="1155"/>
                    <a:pt x="661" y="1162"/>
                    <a:pt x="666" y="1171"/>
                  </a:cubicBezTo>
                  <a:cubicBezTo>
                    <a:pt x="671" y="1181"/>
                    <a:pt x="671" y="1182"/>
                    <a:pt x="685" y="1182"/>
                  </a:cubicBezTo>
                  <a:cubicBezTo>
                    <a:pt x="698" y="1182"/>
                    <a:pt x="710" y="1189"/>
                    <a:pt x="711" y="1193"/>
                  </a:cubicBezTo>
                  <a:cubicBezTo>
                    <a:pt x="713" y="1197"/>
                    <a:pt x="726" y="1198"/>
                    <a:pt x="734" y="1198"/>
                  </a:cubicBezTo>
                  <a:cubicBezTo>
                    <a:pt x="742" y="1198"/>
                    <a:pt x="751" y="1201"/>
                    <a:pt x="753" y="1213"/>
                  </a:cubicBezTo>
                  <a:cubicBezTo>
                    <a:pt x="754" y="1225"/>
                    <a:pt x="771" y="1223"/>
                    <a:pt x="765" y="1234"/>
                  </a:cubicBezTo>
                  <a:cubicBezTo>
                    <a:pt x="758" y="1245"/>
                    <a:pt x="743" y="1247"/>
                    <a:pt x="755" y="1259"/>
                  </a:cubicBezTo>
                  <a:cubicBezTo>
                    <a:pt x="767" y="1271"/>
                    <a:pt x="787" y="1273"/>
                    <a:pt x="787" y="1262"/>
                  </a:cubicBezTo>
                  <a:cubicBezTo>
                    <a:pt x="787" y="1251"/>
                    <a:pt x="801" y="1249"/>
                    <a:pt x="818" y="1251"/>
                  </a:cubicBezTo>
                  <a:cubicBezTo>
                    <a:pt x="819" y="1252"/>
                    <a:pt x="820" y="1252"/>
                    <a:pt x="821" y="1252"/>
                  </a:cubicBezTo>
                  <a:cubicBezTo>
                    <a:pt x="824" y="1252"/>
                    <a:pt x="826" y="1252"/>
                    <a:pt x="829" y="1251"/>
                  </a:cubicBezTo>
                  <a:cubicBezTo>
                    <a:pt x="829" y="1251"/>
                    <a:pt x="829" y="1251"/>
                    <a:pt x="829" y="1251"/>
                  </a:cubicBezTo>
                  <a:cubicBezTo>
                    <a:pt x="829" y="1251"/>
                    <a:pt x="830" y="1251"/>
                    <a:pt x="830" y="1251"/>
                  </a:cubicBezTo>
                  <a:cubicBezTo>
                    <a:pt x="831" y="1251"/>
                    <a:pt x="831" y="1250"/>
                    <a:pt x="831" y="1250"/>
                  </a:cubicBezTo>
                  <a:cubicBezTo>
                    <a:pt x="831" y="1250"/>
                    <a:pt x="832" y="1250"/>
                    <a:pt x="833" y="1250"/>
                  </a:cubicBezTo>
                  <a:cubicBezTo>
                    <a:pt x="833" y="1250"/>
                    <a:pt x="833" y="1250"/>
                    <a:pt x="833" y="1250"/>
                  </a:cubicBezTo>
                  <a:cubicBezTo>
                    <a:pt x="835" y="1249"/>
                    <a:pt x="837" y="1248"/>
                    <a:pt x="840" y="1247"/>
                  </a:cubicBezTo>
                  <a:cubicBezTo>
                    <a:pt x="840" y="1247"/>
                    <a:pt x="840" y="1247"/>
                    <a:pt x="840" y="1247"/>
                  </a:cubicBezTo>
                  <a:cubicBezTo>
                    <a:pt x="840" y="1246"/>
                    <a:pt x="841" y="1246"/>
                    <a:pt x="842" y="1246"/>
                  </a:cubicBezTo>
                  <a:cubicBezTo>
                    <a:pt x="842" y="1246"/>
                    <a:pt x="842" y="1246"/>
                    <a:pt x="842" y="1246"/>
                  </a:cubicBezTo>
                  <a:cubicBezTo>
                    <a:pt x="843" y="1245"/>
                    <a:pt x="843" y="1245"/>
                    <a:pt x="844" y="1245"/>
                  </a:cubicBezTo>
                  <a:cubicBezTo>
                    <a:pt x="844" y="1245"/>
                    <a:pt x="845" y="1245"/>
                    <a:pt x="845" y="1245"/>
                  </a:cubicBezTo>
                  <a:cubicBezTo>
                    <a:pt x="846" y="1244"/>
                    <a:pt x="846" y="1244"/>
                    <a:pt x="847" y="1244"/>
                  </a:cubicBezTo>
                  <a:cubicBezTo>
                    <a:pt x="847" y="1244"/>
                    <a:pt x="847" y="1244"/>
                    <a:pt x="848" y="1244"/>
                  </a:cubicBezTo>
                  <a:cubicBezTo>
                    <a:pt x="848" y="1244"/>
                    <a:pt x="849" y="1243"/>
                    <a:pt x="850" y="1243"/>
                  </a:cubicBezTo>
                  <a:cubicBezTo>
                    <a:pt x="850" y="1243"/>
                    <a:pt x="850" y="1243"/>
                    <a:pt x="851" y="1243"/>
                  </a:cubicBezTo>
                  <a:cubicBezTo>
                    <a:pt x="851" y="1243"/>
                    <a:pt x="852" y="1243"/>
                    <a:pt x="853" y="1243"/>
                  </a:cubicBezTo>
                  <a:cubicBezTo>
                    <a:pt x="853" y="1243"/>
                    <a:pt x="854" y="1243"/>
                    <a:pt x="854" y="1242"/>
                  </a:cubicBezTo>
                  <a:cubicBezTo>
                    <a:pt x="855" y="1242"/>
                    <a:pt x="856" y="1242"/>
                    <a:pt x="857" y="1242"/>
                  </a:cubicBezTo>
                  <a:cubicBezTo>
                    <a:pt x="857" y="1242"/>
                    <a:pt x="857" y="1242"/>
                    <a:pt x="858" y="1242"/>
                  </a:cubicBezTo>
                  <a:cubicBezTo>
                    <a:pt x="859" y="1242"/>
                    <a:pt x="861" y="1242"/>
                    <a:pt x="862" y="1242"/>
                  </a:cubicBezTo>
                  <a:cubicBezTo>
                    <a:pt x="886" y="1242"/>
                    <a:pt x="909" y="1239"/>
                    <a:pt x="927" y="1223"/>
                  </a:cubicBezTo>
                  <a:cubicBezTo>
                    <a:pt x="946" y="1207"/>
                    <a:pt x="1049" y="1122"/>
                    <a:pt x="1083" y="1103"/>
                  </a:cubicBezTo>
                  <a:cubicBezTo>
                    <a:pt x="1084" y="1103"/>
                    <a:pt x="1086" y="1102"/>
                    <a:pt x="1087" y="1101"/>
                  </a:cubicBezTo>
                  <a:cubicBezTo>
                    <a:pt x="1087" y="1101"/>
                    <a:pt x="1088" y="1101"/>
                    <a:pt x="1088" y="1100"/>
                  </a:cubicBezTo>
                  <a:cubicBezTo>
                    <a:pt x="1089" y="1100"/>
                    <a:pt x="1090" y="1099"/>
                    <a:pt x="1091" y="1099"/>
                  </a:cubicBezTo>
                  <a:cubicBezTo>
                    <a:pt x="1092" y="1098"/>
                    <a:pt x="1093" y="1098"/>
                    <a:pt x="1093" y="1098"/>
                  </a:cubicBezTo>
                  <a:cubicBezTo>
                    <a:pt x="1094" y="1097"/>
                    <a:pt x="1095" y="1096"/>
                    <a:pt x="1096" y="1096"/>
                  </a:cubicBezTo>
                  <a:cubicBezTo>
                    <a:pt x="1097" y="1095"/>
                    <a:pt x="1098" y="1095"/>
                    <a:pt x="1099" y="1094"/>
                  </a:cubicBezTo>
                  <a:cubicBezTo>
                    <a:pt x="1100" y="1094"/>
                    <a:pt x="1101" y="1093"/>
                    <a:pt x="1102" y="1092"/>
                  </a:cubicBezTo>
                  <a:cubicBezTo>
                    <a:pt x="1103" y="1092"/>
                    <a:pt x="1104" y="1091"/>
                    <a:pt x="1104" y="1091"/>
                  </a:cubicBezTo>
                  <a:cubicBezTo>
                    <a:pt x="1106" y="1090"/>
                    <a:pt x="1107" y="1089"/>
                    <a:pt x="1108" y="1088"/>
                  </a:cubicBezTo>
                  <a:cubicBezTo>
                    <a:pt x="1109" y="1088"/>
                    <a:pt x="1110" y="1087"/>
                    <a:pt x="1111" y="1087"/>
                  </a:cubicBezTo>
                  <a:cubicBezTo>
                    <a:pt x="1112" y="1086"/>
                    <a:pt x="1114" y="1085"/>
                    <a:pt x="1115" y="1084"/>
                  </a:cubicBezTo>
                  <a:cubicBezTo>
                    <a:pt x="1116" y="1083"/>
                    <a:pt x="1117" y="1083"/>
                    <a:pt x="1117" y="1083"/>
                  </a:cubicBezTo>
                  <a:cubicBezTo>
                    <a:pt x="1119" y="1081"/>
                    <a:pt x="1121" y="1080"/>
                    <a:pt x="1123" y="1079"/>
                  </a:cubicBezTo>
                  <a:cubicBezTo>
                    <a:pt x="1123" y="1079"/>
                    <a:pt x="1124" y="1079"/>
                    <a:pt x="1124" y="1078"/>
                  </a:cubicBezTo>
                  <a:cubicBezTo>
                    <a:pt x="1185" y="1039"/>
                    <a:pt x="1289" y="972"/>
                    <a:pt x="1319" y="965"/>
                  </a:cubicBezTo>
                  <a:cubicBezTo>
                    <a:pt x="1311" y="949"/>
                    <a:pt x="1295" y="920"/>
                    <a:pt x="1290" y="913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528" name="Freeform 25739"/>
            <p:cNvSpPr>
              <a:spLocks/>
            </p:cNvSpPr>
            <p:nvPr/>
          </p:nvSpPr>
          <p:spPr bwMode="auto">
            <a:xfrm>
              <a:off x="3874374" y="3427270"/>
              <a:ext cx="139052" cy="108274"/>
            </a:xfrm>
            <a:custGeom>
              <a:avLst/>
              <a:gdLst>
                <a:gd name="T0" fmla="*/ 366 w 373"/>
                <a:gd name="T1" fmla="*/ 238 h 290"/>
                <a:gd name="T2" fmla="*/ 344 w 373"/>
                <a:gd name="T3" fmla="*/ 212 h 290"/>
                <a:gd name="T4" fmla="*/ 328 w 373"/>
                <a:gd name="T5" fmla="*/ 185 h 290"/>
                <a:gd name="T6" fmla="*/ 318 w 373"/>
                <a:gd name="T7" fmla="*/ 146 h 290"/>
                <a:gd name="T8" fmla="*/ 318 w 373"/>
                <a:gd name="T9" fmla="*/ 131 h 290"/>
                <a:gd name="T10" fmla="*/ 283 w 373"/>
                <a:gd name="T11" fmla="*/ 102 h 290"/>
                <a:gd name="T12" fmla="*/ 235 w 373"/>
                <a:gd name="T13" fmla="*/ 37 h 290"/>
                <a:gd name="T14" fmla="*/ 196 w 373"/>
                <a:gd name="T15" fmla="*/ 18 h 290"/>
                <a:gd name="T16" fmla="*/ 142 w 373"/>
                <a:gd name="T17" fmla="*/ 2 h 290"/>
                <a:gd name="T18" fmla="*/ 97 w 373"/>
                <a:gd name="T19" fmla="*/ 11 h 290"/>
                <a:gd name="T20" fmla="*/ 57 w 373"/>
                <a:gd name="T21" fmla="*/ 14 h 290"/>
                <a:gd name="T22" fmla="*/ 53 w 373"/>
                <a:gd name="T23" fmla="*/ 21 h 290"/>
                <a:gd name="T24" fmla="*/ 50 w 373"/>
                <a:gd name="T25" fmla="*/ 18 h 290"/>
                <a:gd name="T26" fmla="*/ 12 w 373"/>
                <a:gd name="T27" fmla="*/ 99 h 290"/>
                <a:gd name="T28" fmla="*/ 30 w 373"/>
                <a:gd name="T29" fmla="*/ 188 h 290"/>
                <a:gd name="T30" fmla="*/ 31 w 373"/>
                <a:gd name="T31" fmla="*/ 203 h 290"/>
                <a:gd name="T32" fmla="*/ 70 w 373"/>
                <a:gd name="T33" fmla="*/ 205 h 290"/>
                <a:gd name="T34" fmla="*/ 109 w 373"/>
                <a:gd name="T35" fmla="*/ 197 h 290"/>
                <a:gd name="T36" fmla="*/ 143 w 373"/>
                <a:gd name="T37" fmla="*/ 187 h 290"/>
                <a:gd name="T38" fmla="*/ 180 w 373"/>
                <a:gd name="T39" fmla="*/ 211 h 290"/>
                <a:gd name="T40" fmla="*/ 212 w 373"/>
                <a:gd name="T41" fmla="*/ 208 h 290"/>
                <a:gd name="T42" fmla="*/ 196 w 373"/>
                <a:gd name="T43" fmla="*/ 222 h 290"/>
                <a:gd name="T44" fmla="*/ 169 w 373"/>
                <a:gd name="T45" fmla="*/ 220 h 290"/>
                <a:gd name="T46" fmla="*/ 142 w 373"/>
                <a:gd name="T47" fmla="*/ 209 h 290"/>
                <a:gd name="T48" fmla="*/ 106 w 373"/>
                <a:gd name="T49" fmla="*/ 220 h 290"/>
                <a:gd name="T50" fmla="*/ 67 w 373"/>
                <a:gd name="T51" fmla="*/ 229 h 290"/>
                <a:gd name="T52" fmla="*/ 29 w 373"/>
                <a:gd name="T53" fmla="*/ 237 h 290"/>
                <a:gd name="T54" fmla="*/ 34 w 373"/>
                <a:gd name="T55" fmla="*/ 277 h 290"/>
                <a:gd name="T56" fmla="*/ 83 w 373"/>
                <a:gd name="T57" fmla="*/ 277 h 290"/>
                <a:gd name="T58" fmla="*/ 136 w 373"/>
                <a:gd name="T59" fmla="*/ 261 h 290"/>
                <a:gd name="T60" fmla="*/ 217 w 373"/>
                <a:gd name="T61" fmla="*/ 261 h 290"/>
                <a:gd name="T62" fmla="*/ 234 w 373"/>
                <a:gd name="T63" fmla="*/ 260 h 290"/>
                <a:gd name="T64" fmla="*/ 236 w 373"/>
                <a:gd name="T65" fmla="*/ 261 h 290"/>
                <a:gd name="T66" fmla="*/ 269 w 373"/>
                <a:gd name="T67" fmla="*/ 273 h 290"/>
                <a:gd name="T68" fmla="*/ 306 w 373"/>
                <a:gd name="T69" fmla="*/ 289 h 290"/>
                <a:gd name="T70" fmla="*/ 329 w 373"/>
                <a:gd name="T71" fmla="*/ 279 h 290"/>
                <a:gd name="T72" fmla="*/ 331 w 373"/>
                <a:gd name="T73" fmla="*/ 279 h 290"/>
                <a:gd name="T74" fmla="*/ 334 w 373"/>
                <a:gd name="T75" fmla="*/ 279 h 290"/>
                <a:gd name="T76" fmla="*/ 338 w 373"/>
                <a:gd name="T77" fmla="*/ 278 h 290"/>
                <a:gd name="T78" fmla="*/ 341 w 373"/>
                <a:gd name="T79" fmla="*/ 278 h 290"/>
                <a:gd name="T80" fmla="*/ 344 w 373"/>
                <a:gd name="T81" fmla="*/ 278 h 290"/>
                <a:gd name="T82" fmla="*/ 348 w 373"/>
                <a:gd name="T83" fmla="*/ 278 h 290"/>
                <a:gd name="T84" fmla="*/ 350 w 373"/>
                <a:gd name="T85" fmla="*/ 278 h 290"/>
                <a:gd name="T86" fmla="*/ 353 w 373"/>
                <a:gd name="T87" fmla="*/ 278 h 290"/>
                <a:gd name="T88" fmla="*/ 355 w 373"/>
                <a:gd name="T89" fmla="*/ 278 h 290"/>
                <a:gd name="T90" fmla="*/ 358 w 373"/>
                <a:gd name="T91" fmla="*/ 279 h 290"/>
                <a:gd name="T92" fmla="*/ 360 w 373"/>
                <a:gd name="T93" fmla="*/ 279 h 290"/>
                <a:gd name="T94" fmla="*/ 361 w 373"/>
                <a:gd name="T95" fmla="*/ 280 h 290"/>
                <a:gd name="T96" fmla="*/ 363 w 373"/>
                <a:gd name="T97" fmla="*/ 281 h 290"/>
                <a:gd name="T98" fmla="*/ 371 w 373"/>
                <a:gd name="T99" fmla="*/ 255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73" h="290">
                  <a:moveTo>
                    <a:pt x="371" y="255"/>
                  </a:moveTo>
                  <a:cubicBezTo>
                    <a:pt x="370" y="247"/>
                    <a:pt x="370" y="241"/>
                    <a:pt x="366" y="238"/>
                  </a:cubicBezTo>
                  <a:cubicBezTo>
                    <a:pt x="362" y="235"/>
                    <a:pt x="360" y="228"/>
                    <a:pt x="359" y="220"/>
                  </a:cubicBezTo>
                  <a:cubicBezTo>
                    <a:pt x="358" y="212"/>
                    <a:pt x="354" y="214"/>
                    <a:pt x="344" y="212"/>
                  </a:cubicBezTo>
                  <a:cubicBezTo>
                    <a:pt x="334" y="210"/>
                    <a:pt x="334" y="203"/>
                    <a:pt x="329" y="199"/>
                  </a:cubicBezTo>
                  <a:cubicBezTo>
                    <a:pt x="324" y="195"/>
                    <a:pt x="326" y="191"/>
                    <a:pt x="328" y="185"/>
                  </a:cubicBezTo>
                  <a:cubicBezTo>
                    <a:pt x="330" y="179"/>
                    <a:pt x="330" y="169"/>
                    <a:pt x="330" y="161"/>
                  </a:cubicBezTo>
                  <a:cubicBezTo>
                    <a:pt x="330" y="153"/>
                    <a:pt x="323" y="149"/>
                    <a:pt x="318" y="146"/>
                  </a:cubicBezTo>
                  <a:cubicBezTo>
                    <a:pt x="316" y="144"/>
                    <a:pt x="317" y="137"/>
                    <a:pt x="319" y="131"/>
                  </a:cubicBezTo>
                  <a:cubicBezTo>
                    <a:pt x="319" y="131"/>
                    <a:pt x="318" y="131"/>
                    <a:pt x="318" y="131"/>
                  </a:cubicBezTo>
                  <a:cubicBezTo>
                    <a:pt x="309" y="128"/>
                    <a:pt x="306" y="117"/>
                    <a:pt x="302" y="111"/>
                  </a:cubicBezTo>
                  <a:cubicBezTo>
                    <a:pt x="298" y="105"/>
                    <a:pt x="291" y="105"/>
                    <a:pt x="283" y="102"/>
                  </a:cubicBezTo>
                  <a:cubicBezTo>
                    <a:pt x="275" y="99"/>
                    <a:pt x="259" y="72"/>
                    <a:pt x="254" y="64"/>
                  </a:cubicBezTo>
                  <a:cubicBezTo>
                    <a:pt x="249" y="55"/>
                    <a:pt x="238" y="42"/>
                    <a:pt x="235" y="37"/>
                  </a:cubicBezTo>
                  <a:cubicBezTo>
                    <a:pt x="232" y="32"/>
                    <a:pt x="226" y="32"/>
                    <a:pt x="216" y="32"/>
                  </a:cubicBezTo>
                  <a:cubicBezTo>
                    <a:pt x="206" y="32"/>
                    <a:pt x="199" y="25"/>
                    <a:pt x="196" y="18"/>
                  </a:cubicBezTo>
                  <a:cubicBezTo>
                    <a:pt x="194" y="11"/>
                    <a:pt x="186" y="9"/>
                    <a:pt x="174" y="5"/>
                  </a:cubicBezTo>
                  <a:cubicBezTo>
                    <a:pt x="163" y="1"/>
                    <a:pt x="149" y="0"/>
                    <a:pt x="142" y="2"/>
                  </a:cubicBezTo>
                  <a:cubicBezTo>
                    <a:pt x="136" y="4"/>
                    <a:pt x="129" y="5"/>
                    <a:pt x="120" y="6"/>
                  </a:cubicBezTo>
                  <a:cubicBezTo>
                    <a:pt x="112" y="6"/>
                    <a:pt x="101" y="7"/>
                    <a:pt x="97" y="11"/>
                  </a:cubicBezTo>
                  <a:cubicBezTo>
                    <a:pt x="93" y="14"/>
                    <a:pt x="83" y="14"/>
                    <a:pt x="78" y="12"/>
                  </a:cubicBezTo>
                  <a:cubicBezTo>
                    <a:pt x="74" y="9"/>
                    <a:pt x="71" y="12"/>
                    <a:pt x="57" y="14"/>
                  </a:cubicBezTo>
                  <a:cubicBezTo>
                    <a:pt x="55" y="14"/>
                    <a:pt x="52" y="16"/>
                    <a:pt x="50" y="17"/>
                  </a:cubicBezTo>
                  <a:cubicBezTo>
                    <a:pt x="51" y="19"/>
                    <a:pt x="53" y="20"/>
                    <a:pt x="53" y="21"/>
                  </a:cubicBezTo>
                  <a:cubicBezTo>
                    <a:pt x="53" y="20"/>
                    <a:pt x="51" y="19"/>
                    <a:pt x="50" y="17"/>
                  </a:cubicBezTo>
                  <a:cubicBezTo>
                    <a:pt x="50" y="17"/>
                    <a:pt x="50" y="17"/>
                    <a:pt x="50" y="18"/>
                  </a:cubicBezTo>
                  <a:cubicBezTo>
                    <a:pt x="50" y="23"/>
                    <a:pt x="50" y="29"/>
                    <a:pt x="48" y="37"/>
                  </a:cubicBezTo>
                  <a:cubicBezTo>
                    <a:pt x="41" y="63"/>
                    <a:pt x="24" y="85"/>
                    <a:pt x="12" y="99"/>
                  </a:cubicBezTo>
                  <a:cubicBezTo>
                    <a:pt x="0" y="113"/>
                    <a:pt x="10" y="140"/>
                    <a:pt x="24" y="150"/>
                  </a:cubicBezTo>
                  <a:cubicBezTo>
                    <a:pt x="38" y="160"/>
                    <a:pt x="24" y="174"/>
                    <a:pt x="30" y="188"/>
                  </a:cubicBezTo>
                  <a:cubicBezTo>
                    <a:pt x="37" y="202"/>
                    <a:pt x="30" y="187"/>
                    <a:pt x="31" y="203"/>
                  </a:cubicBezTo>
                  <a:cubicBezTo>
                    <a:pt x="31" y="203"/>
                    <a:pt x="31" y="203"/>
                    <a:pt x="31" y="203"/>
                  </a:cubicBezTo>
                  <a:cubicBezTo>
                    <a:pt x="38" y="202"/>
                    <a:pt x="46" y="200"/>
                    <a:pt x="51" y="200"/>
                  </a:cubicBezTo>
                  <a:cubicBezTo>
                    <a:pt x="56" y="200"/>
                    <a:pt x="62" y="205"/>
                    <a:pt x="70" y="205"/>
                  </a:cubicBezTo>
                  <a:cubicBezTo>
                    <a:pt x="79" y="206"/>
                    <a:pt x="90" y="204"/>
                    <a:pt x="93" y="199"/>
                  </a:cubicBezTo>
                  <a:cubicBezTo>
                    <a:pt x="96" y="195"/>
                    <a:pt x="101" y="197"/>
                    <a:pt x="109" y="197"/>
                  </a:cubicBezTo>
                  <a:cubicBezTo>
                    <a:pt x="116" y="197"/>
                    <a:pt x="122" y="195"/>
                    <a:pt x="124" y="190"/>
                  </a:cubicBezTo>
                  <a:cubicBezTo>
                    <a:pt x="125" y="185"/>
                    <a:pt x="135" y="188"/>
                    <a:pt x="143" y="187"/>
                  </a:cubicBezTo>
                  <a:cubicBezTo>
                    <a:pt x="152" y="186"/>
                    <a:pt x="160" y="195"/>
                    <a:pt x="165" y="202"/>
                  </a:cubicBezTo>
                  <a:cubicBezTo>
                    <a:pt x="171" y="208"/>
                    <a:pt x="172" y="208"/>
                    <a:pt x="180" y="211"/>
                  </a:cubicBezTo>
                  <a:cubicBezTo>
                    <a:pt x="188" y="213"/>
                    <a:pt x="196" y="211"/>
                    <a:pt x="201" y="209"/>
                  </a:cubicBezTo>
                  <a:cubicBezTo>
                    <a:pt x="205" y="207"/>
                    <a:pt x="208" y="205"/>
                    <a:pt x="212" y="208"/>
                  </a:cubicBezTo>
                  <a:cubicBezTo>
                    <a:pt x="216" y="211"/>
                    <a:pt x="216" y="216"/>
                    <a:pt x="213" y="218"/>
                  </a:cubicBezTo>
                  <a:cubicBezTo>
                    <a:pt x="211" y="220"/>
                    <a:pt x="205" y="222"/>
                    <a:pt x="196" y="222"/>
                  </a:cubicBezTo>
                  <a:cubicBezTo>
                    <a:pt x="188" y="222"/>
                    <a:pt x="190" y="228"/>
                    <a:pt x="184" y="227"/>
                  </a:cubicBezTo>
                  <a:cubicBezTo>
                    <a:pt x="179" y="227"/>
                    <a:pt x="172" y="224"/>
                    <a:pt x="169" y="220"/>
                  </a:cubicBezTo>
                  <a:cubicBezTo>
                    <a:pt x="165" y="216"/>
                    <a:pt x="161" y="214"/>
                    <a:pt x="155" y="213"/>
                  </a:cubicBezTo>
                  <a:cubicBezTo>
                    <a:pt x="149" y="213"/>
                    <a:pt x="146" y="212"/>
                    <a:pt x="142" y="209"/>
                  </a:cubicBezTo>
                  <a:cubicBezTo>
                    <a:pt x="139" y="206"/>
                    <a:pt x="133" y="205"/>
                    <a:pt x="131" y="210"/>
                  </a:cubicBezTo>
                  <a:cubicBezTo>
                    <a:pt x="128" y="216"/>
                    <a:pt x="115" y="219"/>
                    <a:pt x="106" y="220"/>
                  </a:cubicBezTo>
                  <a:cubicBezTo>
                    <a:pt x="98" y="220"/>
                    <a:pt x="96" y="221"/>
                    <a:pt x="91" y="224"/>
                  </a:cubicBezTo>
                  <a:cubicBezTo>
                    <a:pt x="87" y="228"/>
                    <a:pt x="78" y="229"/>
                    <a:pt x="67" y="229"/>
                  </a:cubicBezTo>
                  <a:cubicBezTo>
                    <a:pt x="56" y="229"/>
                    <a:pt x="50" y="231"/>
                    <a:pt x="40" y="232"/>
                  </a:cubicBezTo>
                  <a:cubicBezTo>
                    <a:pt x="36" y="232"/>
                    <a:pt x="32" y="234"/>
                    <a:pt x="29" y="237"/>
                  </a:cubicBezTo>
                  <a:cubicBezTo>
                    <a:pt x="29" y="237"/>
                    <a:pt x="29" y="238"/>
                    <a:pt x="29" y="239"/>
                  </a:cubicBezTo>
                  <a:cubicBezTo>
                    <a:pt x="31" y="250"/>
                    <a:pt x="29" y="268"/>
                    <a:pt x="34" y="277"/>
                  </a:cubicBezTo>
                  <a:cubicBezTo>
                    <a:pt x="41" y="277"/>
                    <a:pt x="54" y="276"/>
                    <a:pt x="59" y="277"/>
                  </a:cubicBezTo>
                  <a:cubicBezTo>
                    <a:pt x="65" y="278"/>
                    <a:pt x="72" y="276"/>
                    <a:pt x="83" y="277"/>
                  </a:cubicBezTo>
                  <a:cubicBezTo>
                    <a:pt x="93" y="279"/>
                    <a:pt x="106" y="278"/>
                    <a:pt x="110" y="271"/>
                  </a:cubicBezTo>
                  <a:cubicBezTo>
                    <a:pt x="115" y="265"/>
                    <a:pt x="128" y="261"/>
                    <a:pt x="136" y="261"/>
                  </a:cubicBezTo>
                  <a:cubicBezTo>
                    <a:pt x="144" y="261"/>
                    <a:pt x="159" y="263"/>
                    <a:pt x="175" y="263"/>
                  </a:cubicBezTo>
                  <a:cubicBezTo>
                    <a:pt x="191" y="263"/>
                    <a:pt x="209" y="261"/>
                    <a:pt x="217" y="261"/>
                  </a:cubicBezTo>
                  <a:cubicBezTo>
                    <a:pt x="222" y="261"/>
                    <a:pt x="224" y="260"/>
                    <a:pt x="227" y="262"/>
                  </a:cubicBezTo>
                  <a:cubicBezTo>
                    <a:pt x="228" y="260"/>
                    <a:pt x="231" y="260"/>
                    <a:pt x="234" y="260"/>
                  </a:cubicBezTo>
                  <a:cubicBezTo>
                    <a:pt x="234" y="260"/>
                    <a:pt x="234" y="260"/>
                    <a:pt x="235" y="261"/>
                  </a:cubicBezTo>
                  <a:cubicBezTo>
                    <a:pt x="235" y="261"/>
                    <a:pt x="235" y="261"/>
                    <a:pt x="236" y="261"/>
                  </a:cubicBezTo>
                  <a:cubicBezTo>
                    <a:pt x="237" y="261"/>
                    <a:pt x="237" y="261"/>
                    <a:pt x="238" y="261"/>
                  </a:cubicBezTo>
                  <a:cubicBezTo>
                    <a:pt x="250" y="263"/>
                    <a:pt x="262" y="265"/>
                    <a:pt x="269" y="273"/>
                  </a:cubicBezTo>
                  <a:cubicBezTo>
                    <a:pt x="276" y="281"/>
                    <a:pt x="280" y="281"/>
                    <a:pt x="290" y="281"/>
                  </a:cubicBezTo>
                  <a:cubicBezTo>
                    <a:pt x="300" y="281"/>
                    <a:pt x="300" y="288"/>
                    <a:pt x="306" y="289"/>
                  </a:cubicBezTo>
                  <a:cubicBezTo>
                    <a:pt x="312" y="290"/>
                    <a:pt x="316" y="279"/>
                    <a:pt x="327" y="279"/>
                  </a:cubicBezTo>
                  <a:cubicBezTo>
                    <a:pt x="328" y="279"/>
                    <a:pt x="328" y="279"/>
                    <a:pt x="329" y="279"/>
                  </a:cubicBezTo>
                  <a:cubicBezTo>
                    <a:pt x="329" y="279"/>
                    <a:pt x="330" y="279"/>
                    <a:pt x="330" y="279"/>
                  </a:cubicBezTo>
                  <a:cubicBezTo>
                    <a:pt x="330" y="279"/>
                    <a:pt x="331" y="279"/>
                    <a:pt x="331" y="279"/>
                  </a:cubicBezTo>
                  <a:cubicBezTo>
                    <a:pt x="332" y="279"/>
                    <a:pt x="332" y="279"/>
                    <a:pt x="332" y="279"/>
                  </a:cubicBezTo>
                  <a:cubicBezTo>
                    <a:pt x="333" y="279"/>
                    <a:pt x="334" y="279"/>
                    <a:pt x="334" y="279"/>
                  </a:cubicBezTo>
                  <a:cubicBezTo>
                    <a:pt x="334" y="279"/>
                    <a:pt x="335" y="279"/>
                    <a:pt x="335" y="279"/>
                  </a:cubicBezTo>
                  <a:cubicBezTo>
                    <a:pt x="336" y="278"/>
                    <a:pt x="337" y="278"/>
                    <a:pt x="338" y="278"/>
                  </a:cubicBezTo>
                  <a:cubicBezTo>
                    <a:pt x="338" y="278"/>
                    <a:pt x="339" y="278"/>
                    <a:pt x="339" y="278"/>
                  </a:cubicBezTo>
                  <a:cubicBezTo>
                    <a:pt x="339" y="278"/>
                    <a:pt x="340" y="278"/>
                    <a:pt x="341" y="278"/>
                  </a:cubicBezTo>
                  <a:cubicBezTo>
                    <a:pt x="341" y="278"/>
                    <a:pt x="341" y="278"/>
                    <a:pt x="342" y="278"/>
                  </a:cubicBezTo>
                  <a:cubicBezTo>
                    <a:pt x="342" y="278"/>
                    <a:pt x="343" y="278"/>
                    <a:pt x="344" y="278"/>
                  </a:cubicBezTo>
                  <a:cubicBezTo>
                    <a:pt x="344" y="278"/>
                    <a:pt x="344" y="278"/>
                    <a:pt x="345" y="278"/>
                  </a:cubicBezTo>
                  <a:cubicBezTo>
                    <a:pt x="346" y="278"/>
                    <a:pt x="347" y="278"/>
                    <a:pt x="348" y="278"/>
                  </a:cubicBezTo>
                  <a:cubicBezTo>
                    <a:pt x="348" y="278"/>
                    <a:pt x="349" y="278"/>
                    <a:pt x="349" y="278"/>
                  </a:cubicBezTo>
                  <a:cubicBezTo>
                    <a:pt x="349" y="278"/>
                    <a:pt x="350" y="278"/>
                    <a:pt x="350" y="278"/>
                  </a:cubicBezTo>
                  <a:cubicBezTo>
                    <a:pt x="351" y="278"/>
                    <a:pt x="351" y="278"/>
                    <a:pt x="352" y="278"/>
                  </a:cubicBezTo>
                  <a:cubicBezTo>
                    <a:pt x="352" y="278"/>
                    <a:pt x="353" y="278"/>
                    <a:pt x="353" y="278"/>
                  </a:cubicBezTo>
                  <a:cubicBezTo>
                    <a:pt x="353" y="278"/>
                    <a:pt x="354" y="278"/>
                    <a:pt x="354" y="278"/>
                  </a:cubicBezTo>
                  <a:cubicBezTo>
                    <a:pt x="355" y="278"/>
                    <a:pt x="355" y="278"/>
                    <a:pt x="355" y="278"/>
                  </a:cubicBezTo>
                  <a:cubicBezTo>
                    <a:pt x="356" y="278"/>
                    <a:pt x="356" y="278"/>
                    <a:pt x="357" y="278"/>
                  </a:cubicBezTo>
                  <a:cubicBezTo>
                    <a:pt x="357" y="278"/>
                    <a:pt x="357" y="278"/>
                    <a:pt x="358" y="279"/>
                  </a:cubicBezTo>
                  <a:cubicBezTo>
                    <a:pt x="358" y="279"/>
                    <a:pt x="358" y="279"/>
                    <a:pt x="359" y="279"/>
                  </a:cubicBezTo>
                  <a:cubicBezTo>
                    <a:pt x="359" y="279"/>
                    <a:pt x="359" y="279"/>
                    <a:pt x="360" y="279"/>
                  </a:cubicBezTo>
                  <a:cubicBezTo>
                    <a:pt x="360" y="279"/>
                    <a:pt x="360" y="279"/>
                    <a:pt x="361" y="280"/>
                  </a:cubicBezTo>
                  <a:cubicBezTo>
                    <a:pt x="361" y="280"/>
                    <a:pt x="361" y="280"/>
                    <a:pt x="361" y="280"/>
                  </a:cubicBezTo>
                  <a:cubicBezTo>
                    <a:pt x="362" y="280"/>
                    <a:pt x="362" y="280"/>
                    <a:pt x="362" y="281"/>
                  </a:cubicBezTo>
                  <a:cubicBezTo>
                    <a:pt x="362" y="281"/>
                    <a:pt x="362" y="281"/>
                    <a:pt x="363" y="281"/>
                  </a:cubicBezTo>
                  <a:cubicBezTo>
                    <a:pt x="365" y="279"/>
                    <a:pt x="367" y="278"/>
                    <a:pt x="369" y="276"/>
                  </a:cubicBezTo>
                  <a:cubicBezTo>
                    <a:pt x="373" y="273"/>
                    <a:pt x="372" y="263"/>
                    <a:pt x="371" y="25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529" name="Freeform 25740"/>
            <p:cNvSpPr>
              <a:spLocks/>
            </p:cNvSpPr>
            <p:nvPr/>
          </p:nvSpPr>
          <p:spPr bwMode="auto">
            <a:xfrm>
              <a:off x="3992276" y="3219244"/>
              <a:ext cx="390639" cy="366648"/>
            </a:xfrm>
            <a:custGeom>
              <a:avLst/>
              <a:gdLst>
                <a:gd name="T0" fmla="*/ 992 w 1048"/>
                <a:gd name="T1" fmla="*/ 380 h 983"/>
                <a:gd name="T2" fmla="*/ 938 w 1048"/>
                <a:gd name="T3" fmla="*/ 339 h 983"/>
                <a:gd name="T4" fmla="*/ 874 w 1048"/>
                <a:gd name="T5" fmla="*/ 301 h 983"/>
                <a:gd name="T6" fmla="*/ 841 w 1048"/>
                <a:gd name="T7" fmla="*/ 258 h 983"/>
                <a:gd name="T8" fmla="*/ 832 w 1048"/>
                <a:gd name="T9" fmla="*/ 252 h 983"/>
                <a:gd name="T10" fmla="*/ 820 w 1048"/>
                <a:gd name="T11" fmla="*/ 244 h 983"/>
                <a:gd name="T12" fmla="*/ 785 w 1048"/>
                <a:gd name="T13" fmla="*/ 220 h 983"/>
                <a:gd name="T14" fmla="*/ 663 w 1048"/>
                <a:gd name="T15" fmla="*/ 136 h 983"/>
                <a:gd name="T16" fmla="*/ 557 w 1048"/>
                <a:gd name="T17" fmla="*/ 63 h 983"/>
                <a:gd name="T18" fmla="*/ 534 w 1048"/>
                <a:gd name="T19" fmla="*/ 47 h 983"/>
                <a:gd name="T20" fmla="*/ 503 w 1048"/>
                <a:gd name="T21" fmla="*/ 27 h 983"/>
                <a:gd name="T22" fmla="*/ 488 w 1048"/>
                <a:gd name="T23" fmla="*/ 16 h 983"/>
                <a:gd name="T24" fmla="*/ 465 w 1048"/>
                <a:gd name="T25" fmla="*/ 0 h 983"/>
                <a:gd name="T26" fmla="*/ 436 w 1048"/>
                <a:gd name="T27" fmla="*/ 578 h 983"/>
                <a:gd name="T28" fmla="*/ 428 w 1048"/>
                <a:gd name="T29" fmla="*/ 639 h 983"/>
                <a:gd name="T30" fmla="*/ 173 w 1048"/>
                <a:gd name="T31" fmla="*/ 640 h 983"/>
                <a:gd name="T32" fmla="*/ 89 w 1048"/>
                <a:gd name="T33" fmla="*/ 658 h 983"/>
                <a:gd name="T34" fmla="*/ 64 w 1048"/>
                <a:gd name="T35" fmla="*/ 635 h 983"/>
                <a:gd name="T36" fmla="*/ 24 w 1048"/>
                <a:gd name="T37" fmla="*/ 676 h 983"/>
                <a:gd name="T38" fmla="*/ 21 w 1048"/>
                <a:gd name="T39" fmla="*/ 683 h 983"/>
                <a:gd name="T40" fmla="*/ 17 w 1048"/>
                <a:gd name="T41" fmla="*/ 686 h 983"/>
                <a:gd name="T42" fmla="*/ 13 w 1048"/>
                <a:gd name="T43" fmla="*/ 688 h 983"/>
                <a:gd name="T44" fmla="*/ 2 w 1048"/>
                <a:gd name="T45" fmla="*/ 704 h 983"/>
                <a:gd name="T46" fmla="*/ 13 w 1048"/>
                <a:gd name="T47" fmla="*/ 757 h 983"/>
                <a:gd name="T48" fmla="*/ 50 w 1048"/>
                <a:gd name="T49" fmla="*/ 796 h 983"/>
                <a:gd name="T50" fmla="*/ 47 w 1048"/>
                <a:gd name="T51" fmla="*/ 839 h 983"/>
                <a:gd name="T52" fmla="*/ 54 w 1048"/>
                <a:gd name="T53" fmla="*/ 863 h 983"/>
                <a:gd name="T54" fmla="*/ 95 w 1048"/>
                <a:gd name="T55" fmla="*/ 870 h 983"/>
                <a:gd name="T56" fmla="*/ 143 w 1048"/>
                <a:gd name="T57" fmla="*/ 858 h 983"/>
                <a:gd name="T58" fmla="*/ 185 w 1048"/>
                <a:gd name="T59" fmla="*/ 840 h 983"/>
                <a:gd name="T60" fmla="*/ 223 w 1048"/>
                <a:gd name="T61" fmla="*/ 883 h 983"/>
                <a:gd name="T62" fmla="*/ 232 w 1048"/>
                <a:gd name="T63" fmla="*/ 928 h 983"/>
                <a:gd name="T64" fmla="*/ 263 w 1048"/>
                <a:gd name="T65" fmla="*/ 974 h 983"/>
                <a:gd name="T66" fmla="*/ 269 w 1048"/>
                <a:gd name="T67" fmla="*/ 981 h 983"/>
                <a:gd name="T68" fmla="*/ 271 w 1048"/>
                <a:gd name="T69" fmla="*/ 982 h 983"/>
                <a:gd name="T70" fmla="*/ 272 w 1048"/>
                <a:gd name="T71" fmla="*/ 982 h 983"/>
                <a:gd name="T72" fmla="*/ 274 w 1048"/>
                <a:gd name="T73" fmla="*/ 982 h 983"/>
                <a:gd name="T74" fmla="*/ 275 w 1048"/>
                <a:gd name="T75" fmla="*/ 982 h 983"/>
                <a:gd name="T76" fmla="*/ 277 w 1048"/>
                <a:gd name="T77" fmla="*/ 981 h 983"/>
                <a:gd name="T78" fmla="*/ 279 w 1048"/>
                <a:gd name="T79" fmla="*/ 979 h 983"/>
                <a:gd name="T80" fmla="*/ 297 w 1048"/>
                <a:gd name="T81" fmla="*/ 964 h 983"/>
                <a:gd name="T82" fmla="*/ 338 w 1048"/>
                <a:gd name="T83" fmla="*/ 973 h 983"/>
                <a:gd name="T84" fmla="*/ 379 w 1048"/>
                <a:gd name="T85" fmla="*/ 964 h 983"/>
                <a:gd name="T86" fmla="*/ 419 w 1048"/>
                <a:gd name="T87" fmla="*/ 965 h 983"/>
                <a:gd name="T88" fmla="*/ 427 w 1048"/>
                <a:gd name="T89" fmla="*/ 965 h 983"/>
                <a:gd name="T90" fmla="*/ 436 w 1048"/>
                <a:gd name="T91" fmla="*/ 879 h 983"/>
                <a:gd name="T92" fmla="*/ 489 w 1048"/>
                <a:gd name="T93" fmla="*/ 853 h 983"/>
                <a:gd name="T94" fmla="*/ 515 w 1048"/>
                <a:gd name="T95" fmla="*/ 779 h 983"/>
                <a:gd name="T96" fmla="*/ 558 w 1048"/>
                <a:gd name="T97" fmla="*/ 787 h 983"/>
                <a:gd name="T98" fmla="*/ 596 w 1048"/>
                <a:gd name="T99" fmla="*/ 747 h 983"/>
                <a:gd name="T100" fmla="*/ 639 w 1048"/>
                <a:gd name="T101" fmla="*/ 723 h 983"/>
                <a:gd name="T102" fmla="*/ 678 w 1048"/>
                <a:gd name="T103" fmla="*/ 700 h 983"/>
                <a:gd name="T104" fmla="*/ 736 w 1048"/>
                <a:gd name="T105" fmla="*/ 663 h 983"/>
                <a:gd name="T106" fmla="*/ 774 w 1048"/>
                <a:gd name="T107" fmla="*/ 673 h 983"/>
                <a:gd name="T108" fmla="*/ 801 w 1048"/>
                <a:gd name="T109" fmla="*/ 674 h 983"/>
                <a:gd name="T110" fmla="*/ 847 w 1048"/>
                <a:gd name="T111" fmla="*/ 667 h 983"/>
                <a:gd name="T112" fmla="*/ 1005 w 1048"/>
                <a:gd name="T113" fmla="*/ 641 h 983"/>
                <a:gd name="T114" fmla="*/ 1048 w 1048"/>
                <a:gd name="T115" fmla="*/ 398 h 9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048" h="983">
                  <a:moveTo>
                    <a:pt x="1014" y="408"/>
                  </a:moveTo>
                  <a:cubicBezTo>
                    <a:pt x="1014" y="419"/>
                    <a:pt x="994" y="417"/>
                    <a:pt x="982" y="405"/>
                  </a:cubicBezTo>
                  <a:cubicBezTo>
                    <a:pt x="970" y="393"/>
                    <a:pt x="985" y="391"/>
                    <a:pt x="992" y="380"/>
                  </a:cubicBezTo>
                  <a:cubicBezTo>
                    <a:pt x="998" y="369"/>
                    <a:pt x="981" y="371"/>
                    <a:pt x="980" y="359"/>
                  </a:cubicBezTo>
                  <a:cubicBezTo>
                    <a:pt x="978" y="347"/>
                    <a:pt x="969" y="344"/>
                    <a:pt x="961" y="344"/>
                  </a:cubicBezTo>
                  <a:cubicBezTo>
                    <a:pt x="953" y="344"/>
                    <a:pt x="940" y="343"/>
                    <a:pt x="938" y="339"/>
                  </a:cubicBezTo>
                  <a:cubicBezTo>
                    <a:pt x="937" y="335"/>
                    <a:pt x="925" y="328"/>
                    <a:pt x="912" y="328"/>
                  </a:cubicBezTo>
                  <a:cubicBezTo>
                    <a:pt x="898" y="328"/>
                    <a:pt x="898" y="327"/>
                    <a:pt x="893" y="317"/>
                  </a:cubicBezTo>
                  <a:cubicBezTo>
                    <a:pt x="888" y="308"/>
                    <a:pt x="884" y="301"/>
                    <a:pt x="874" y="301"/>
                  </a:cubicBezTo>
                  <a:cubicBezTo>
                    <a:pt x="865" y="301"/>
                    <a:pt x="856" y="288"/>
                    <a:pt x="857" y="280"/>
                  </a:cubicBezTo>
                  <a:cubicBezTo>
                    <a:pt x="858" y="272"/>
                    <a:pt x="841" y="259"/>
                    <a:pt x="841" y="259"/>
                  </a:cubicBezTo>
                  <a:cubicBezTo>
                    <a:pt x="841" y="259"/>
                    <a:pt x="841" y="259"/>
                    <a:pt x="841" y="258"/>
                  </a:cubicBezTo>
                  <a:cubicBezTo>
                    <a:pt x="840" y="258"/>
                    <a:pt x="840" y="258"/>
                    <a:pt x="839" y="257"/>
                  </a:cubicBezTo>
                  <a:cubicBezTo>
                    <a:pt x="839" y="257"/>
                    <a:pt x="838" y="257"/>
                    <a:pt x="838" y="257"/>
                  </a:cubicBezTo>
                  <a:cubicBezTo>
                    <a:pt x="836" y="256"/>
                    <a:pt x="835" y="254"/>
                    <a:pt x="832" y="252"/>
                  </a:cubicBezTo>
                  <a:cubicBezTo>
                    <a:pt x="831" y="252"/>
                    <a:pt x="830" y="251"/>
                    <a:pt x="829" y="251"/>
                  </a:cubicBezTo>
                  <a:cubicBezTo>
                    <a:pt x="828" y="250"/>
                    <a:pt x="827" y="249"/>
                    <a:pt x="826" y="248"/>
                  </a:cubicBezTo>
                  <a:cubicBezTo>
                    <a:pt x="824" y="247"/>
                    <a:pt x="822" y="246"/>
                    <a:pt x="820" y="244"/>
                  </a:cubicBezTo>
                  <a:cubicBezTo>
                    <a:pt x="817" y="242"/>
                    <a:pt x="813" y="239"/>
                    <a:pt x="808" y="236"/>
                  </a:cubicBezTo>
                  <a:cubicBezTo>
                    <a:pt x="807" y="235"/>
                    <a:pt x="805" y="234"/>
                    <a:pt x="803" y="233"/>
                  </a:cubicBezTo>
                  <a:cubicBezTo>
                    <a:pt x="798" y="229"/>
                    <a:pt x="792" y="225"/>
                    <a:pt x="785" y="220"/>
                  </a:cubicBezTo>
                  <a:cubicBezTo>
                    <a:pt x="776" y="214"/>
                    <a:pt x="765" y="206"/>
                    <a:pt x="753" y="198"/>
                  </a:cubicBezTo>
                  <a:cubicBezTo>
                    <a:pt x="753" y="198"/>
                    <a:pt x="753" y="198"/>
                    <a:pt x="753" y="198"/>
                  </a:cubicBezTo>
                  <a:cubicBezTo>
                    <a:pt x="727" y="180"/>
                    <a:pt x="696" y="159"/>
                    <a:pt x="663" y="136"/>
                  </a:cubicBezTo>
                  <a:cubicBezTo>
                    <a:pt x="659" y="133"/>
                    <a:pt x="654" y="130"/>
                    <a:pt x="650" y="127"/>
                  </a:cubicBezTo>
                  <a:cubicBezTo>
                    <a:pt x="621" y="107"/>
                    <a:pt x="590" y="86"/>
                    <a:pt x="560" y="65"/>
                  </a:cubicBezTo>
                  <a:cubicBezTo>
                    <a:pt x="559" y="65"/>
                    <a:pt x="558" y="64"/>
                    <a:pt x="557" y="63"/>
                  </a:cubicBezTo>
                  <a:cubicBezTo>
                    <a:pt x="553" y="60"/>
                    <a:pt x="549" y="58"/>
                    <a:pt x="545" y="55"/>
                  </a:cubicBezTo>
                  <a:cubicBezTo>
                    <a:pt x="545" y="55"/>
                    <a:pt x="544" y="55"/>
                    <a:pt x="544" y="54"/>
                  </a:cubicBezTo>
                  <a:cubicBezTo>
                    <a:pt x="541" y="52"/>
                    <a:pt x="537" y="50"/>
                    <a:pt x="534" y="47"/>
                  </a:cubicBezTo>
                  <a:cubicBezTo>
                    <a:pt x="525" y="41"/>
                    <a:pt x="515" y="35"/>
                    <a:pt x="506" y="28"/>
                  </a:cubicBezTo>
                  <a:cubicBezTo>
                    <a:pt x="506" y="28"/>
                    <a:pt x="505" y="28"/>
                    <a:pt x="505" y="28"/>
                  </a:cubicBezTo>
                  <a:cubicBezTo>
                    <a:pt x="505" y="27"/>
                    <a:pt x="504" y="27"/>
                    <a:pt x="503" y="27"/>
                  </a:cubicBezTo>
                  <a:cubicBezTo>
                    <a:pt x="500" y="24"/>
                    <a:pt x="497" y="22"/>
                    <a:pt x="494" y="20"/>
                  </a:cubicBezTo>
                  <a:cubicBezTo>
                    <a:pt x="492" y="19"/>
                    <a:pt x="491" y="18"/>
                    <a:pt x="489" y="17"/>
                  </a:cubicBezTo>
                  <a:cubicBezTo>
                    <a:pt x="489" y="17"/>
                    <a:pt x="488" y="16"/>
                    <a:pt x="488" y="16"/>
                  </a:cubicBezTo>
                  <a:cubicBezTo>
                    <a:pt x="483" y="13"/>
                    <a:pt x="479" y="10"/>
                    <a:pt x="474" y="7"/>
                  </a:cubicBezTo>
                  <a:cubicBezTo>
                    <a:pt x="473" y="6"/>
                    <a:pt x="472" y="5"/>
                    <a:pt x="470" y="4"/>
                  </a:cubicBezTo>
                  <a:cubicBezTo>
                    <a:pt x="469" y="3"/>
                    <a:pt x="467" y="2"/>
                    <a:pt x="465" y="0"/>
                  </a:cubicBezTo>
                  <a:cubicBezTo>
                    <a:pt x="363" y="3"/>
                    <a:pt x="363" y="3"/>
                    <a:pt x="363" y="3"/>
                  </a:cubicBezTo>
                  <a:cubicBezTo>
                    <a:pt x="363" y="3"/>
                    <a:pt x="420" y="534"/>
                    <a:pt x="420" y="549"/>
                  </a:cubicBezTo>
                  <a:cubicBezTo>
                    <a:pt x="420" y="564"/>
                    <a:pt x="425" y="570"/>
                    <a:pt x="436" y="578"/>
                  </a:cubicBezTo>
                  <a:cubicBezTo>
                    <a:pt x="447" y="586"/>
                    <a:pt x="440" y="593"/>
                    <a:pt x="440" y="600"/>
                  </a:cubicBezTo>
                  <a:cubicBezTo>
                    <a:pt x="440" y="607"/>
                    <a:pt x="443" y="613"/>
                    <a:pt x="432" y="619"/>
                  </a:cubicBezTo>
                  <a:cubicBezTo>
                    <a:pt x="421" y="625"/>
                    <a:pt x="428" y="639"/>
                    <a:pt x="428" y="639"/>
                  </a:cubicBezTo>
                  <a:cubicBezTo>
                    <a:pt x="428" y="639"/>
                    <a:pt x="247" y="639"/>
                    <a:pt x="230" y="639"/>
                  </a:cubicBezTo>
                  <a:cubicBezTo>
                    <a:pt x="213" y="639"/>
                    <a:pt x="203" y="639"/>
                    <a:pt x="193" y="631"/>
                  </a:cubicBezTo>
                  <a:cubicBezTo>
                    <a:pt x="183" y="623"/>
                    <a:pt x="177" y="633"/>
                    <a:pt x="173" y="640"/>
                  </a:cubicBezTo>
                  <a:cubicBezTo>
                    <a:pt x="169" y="647"/>
                    <a:pt x="144" y="645"/>
                    <a:pt x="134" y="640"/>
                  </a:cubicBezTo>
                  <a:cubicBezTo>
                    <a:pt x="124" y="635"/>
                    <a:pt x="116" y="638"/>
                    <a:pt x="103" y="639"/>
                  </a:cubicBezTo>
                  <a:cubicBezTo>
                    <a:pt x="90" y="640"/>
                    <a:pt x="90" y="649"/>
                    <a:pt x="89" y="658"/>
                  </a:cubicBezTo>
                  <a:cubicBezTo>
                    <a:pt x="88" y="667"/>
                    <a:pt x="80" y="664"/>
                    <a:pt x="80" y="658"/>
                  </a:cubicBezTo>
                  <a:cubicBezTo>
                    <a:pt x="79" y="651"/>
                    <a:pt x="76" y="652"/>
                    <a:pt x="73" y="650"/>
                  </a:cubicBezTo>
                  <a:cubicBezTo>
                    <a:pt x="69" y="647"/>
                    <a:pt x="67" y="643"/>
                    <a:pt x="64" y="635"/>
                  </a:cubicBezTo>
                  <a:cubicBezTo>
                    <a:pt x="61" y="628"/>
                    <a:pt x="50" y="628"/>
                    <a:pt x="40" y="631"/>
                  </a:cubicBezTo>
                  <a:cubicBezTo>
                    <a:pt x="30" y="635"/>
                    <a:pt x="30" y="640"/>
                    <a:pt x="29" y="651"/>
                  </a:cubicBezTo>
                  <a:cubicBezTo>
                    <a:pt x="28" y="661"/>
                    <a:pt x="26" y="667"/>
                    <a:pt x="24" y="676"/>
                  </a:cubicBezTo>
                  <a:cubicBezTo>
                    <a:pt x="24" y="678"/>
                    <a:pt x="23" y="679"/>
                    <a:pt x="23" y="680"/>
                  </a:cubicBezTo>
                  <a:cubicBezTo>
                    <a:pt x="23" y="680"/>
                    <a:pt x="23" y="680"/>
                    <a:pt x="22" y="681"/>
                  </a:cubicBezTo>
                  <a:cubicBezTo>
                    <a:pt x="22" y="681"/>
                    <a:pt x="22" y="682"/>
                    <a:pt x="21" y="683"/>
                  </a:cubicBezTo>
                  <a:cubicBezTo>
                    <a:pt x="21" y="683"/>
                    <a:pt x="20" y="684"/>
                    <a:pt x="20" y="684"/>
                  </a:cubicBezTo>
                  <a:cubicBezTo>
                    <a:pt x="20" y="684"/>
                    <a:pt x="19" y="685"/>
                    <a:pt x="19" y="685"/>
                  </a:cubicBezTo>
                  <a:cubicBezTo>
                    <a:pt x="18" y="686"/>
                    <a:pt x="18" y="686"/>
                    <a:pt x="17" y="686"/>
                  </a:cubicBezTo>
                  <a:cubicBezTo>
                    <a:pt x="17" y="687"/>
                    <a:pt x="16" y="687"/>
                    <a:pt x="16" y="687"/>
                  </a:cubicBezTo>
                  <a:cubicBezTo>
                    <a:pt x="15" y="687"/>
                    <a:pt x="14" y="688"/>
                    <a:pt x="13" y="688"/>
                  </a:cubicBezTo>
                  <a:cubicBezTo>
                    <a:pt x="13" y="688"/>
                    <a:pt x="13" y="688"/>
                    <a:pt x="13" y="688"/>
                  </a:cubicBezTo>
                  <a:cubicBezTo>
                    <a:pt x="10" y="689"/>
                    <a:pt x="6" y="690"/>
                    <a:pt x="3" y="689"/>
                  </a:cubicBezTo>
                  <a:cubicBezTo>
                    <a:pt x="3" y="689"/>
                    <a:pt x="3" y="689"/>
                    <a:pt x="3" y="689"/>
                  </a:cubicBezTo>
                  <a:cubicBezTo>
                    <a:pt x="1" y="695"/>
                    <a:pt x="0" y="702"/>
                    <a:pt x="2" y="704"/>
                  </a:cubicBezTo>
                  <a:cubicBezTo>
                    <a:pt x="7" y="707"/>
                    <a:pt x="14" y="711"/>
                    <a:pt x="14" y="719"/>
                  </a:cubicBezTo>
                  <a:cubicBezTo>
                    <a:pt x="14" y="727"/>
                    <a:pt x="14" y="737"/>
                    <a:pt x="12" y="743"/>
                  </a:cubicBezTo>
                  <a:cubicBezTo>
                    <a:pt x="10" y="749"/>
                    <a:pt x="8" y="753"/>
                    <a:pt x="13" y="757"/>
                  </a:cubicBezTo>
                  <a:cubicBezTo>
                    <a:pt x="18" y="761"/>
                    <a:pt x="18" y="768"/>
                    <a:pt x="28" y="770"/>
                  </a:cubicBezTo>
                  <a:cubicBezTo>
                    <a:pt x="38" y="772"/>
                    <a:pt x="42" y="770"/>
                    <a:pt x="43" y="778"/>
                  </a:cubicBezTo>
                  <a:cubicBezTo>
                    <a:pt x="44" y="786"/>
                    <a:pt x="46" y="793"/>
                    <a:pt x="50" y="796"/>
                  </a:cubicBezTo>
                  <a:cubicBezTo>
                    <a:pt x="54" y="799"/>
                    <a:pt x="54" y="805"/>
                    <a:pt x="55" y="813"/>
                  </a:cubicBezTo>
                  <a:cubicBezTo>
                    <a:pt x="56" y="821"/>
                    <a:pt x="57" y="831"/>
                    <a:pt x="53" y="834"/>
                  </a:cubicBezTo>
                  <a:cubicBezTo>
                    <a:pt x="51" y="836"/>
                    <a:pt x="49" y="837"/>
                    <a:pt x="47" y="839"/>
                  </a:cubicBezTo>
                  <a:cubicBezTo>
                    <a:pt x="47" y="839"/>
                    <a:pt x="47" y="840"/>
                    <a:pt x="48" y="840"/>
                  </a:cubicBezTo>
                  <a:cubicBezTo>
                    <a:pt x="48" y="841"/>
                    <a:pt x="48" y="841"/>
                    <a:pt x="48" y="842"/>
                  </a:cubicBezTo>
                  <a:cubicBezTo>
                    <a:pt x="49" y="852"/>
                    <a:pt x="47" y="862"/>
                    <a:pt x="54" y="863"/>
                  </a:cubicBezTo>
                  <a:cubicBezTo>
                    <a:pt x="61" y="864"/>
                    <a:pt x="72" y="867"/>
                    <a:pt x="74" y="858"/>
                  </a:cubicBezTo>
                  <a:cubicBezTo>
                    <a:pt x="76" y="849"/>
                    <a:pt x="88" y="847"/>
                    <a:pt x="89" y="855"/>
                  </a:cubicBezTo>
                  <a:cubicBezTo>
                    <a:pt x="90" y="863"/>
                    <a:pt x="86" y="868"/>
                    <a:pt x="95" y="870"/>
                  </a:cubicBezTo>
                  <a:cubicBezTo>
                    <a:pt x="104" y="872"/>
                    <a:pt x="109" y="870"/>
                    <a:pt x="111" y="862"/>
                  </a:cubicBezTo>
                  <a:cubicBezTo>
                    <a:pt x="113" y="854"/>
                    <a:pt x="110" y="850"/>
                    <a:pt x="123" y="851"/>
                  </a:cubicBezTo>
                  <a:cubicBezTo>
                    <a:pt x="136" y="852"/>
                    <a:pt x="138" y="852"/>
                    <a:pt x="143" y="858"/>
                  </a:cubicBezTo>
                  <a:cubicBezTo>
                    <a:pt x="148" y="864"/>
                    <a:pt x="151" y="865"/>
                    <a:pt x="159" y="864"/>
                  </a:cubicBezTo>
                  <a:cubicBezTo>
                    <a:pt x="167" y="863"/>
                    <a:pt x="169" y="846"/>
                    <a:pt x="175" y="846"/>
                  </a:cubicBezTo>
                  <a:cubicBezTo>
                    <a:pt x="181" y="846"/>
                    <a:pt x="185" y="846"/>
                    <a:pt x="185" y="840"/>
                  </a:cubicBezTo>
                  <a:cubicBezTo>
                    <a:pt x="185" y="834"/>
                    <a:pt x="201" y="827"/>
                    <a:pt x="206" y="839"/>
                  </a:cubicBezTo>
                  <a:cubicBezTo>
                    <a:pt x="211" y="851"/>
                    <a:pt x="208" y="859"/>
                    <a:pt x="215" y="862"/>
                  </a:cubicBezTo>
                  <a:cubicBezTo>
                    <a:pt x="223" y="865"/>
                    <a:pt x="223" y="878"/>
                    <a:pt x="223" y="883"/>
                  </a:cubicBezTo>
                  <a:cubicBezTo>
                    <a:pt x="223" y="888"/>
                    <a:pt x="221" y="897"/>
                    <a:pt x="234" y="898"/>
                  </a:cubicBezTo>
                  <a:cubicBezTo>
                    <a:pt x="247" y="899"/>
                    <a:pt x="246" y="904"/>
                    <a:pt x="242" y="909"/>
                  </a:cubicBezTo>
                  <a:cubicBezTo>
                    <a:pt x="238" y="914"/>
                    <a:pt x="223" y="927"/>
                    <a:pt x="232" y="928"/>
                  </a:cubicBezTo>
                  <a:cubicBezTo>
                    <a:pt x="241" y="930"/>
                    <a:pt x="248" y="925"/>
                    <a:pt x="250" y="934"/>
                  </a:cubicBezTo>
                  <a:cubicBezTo>
                    <a:pt x="251" y="942"/>
                    <a:pt x="241" y="953"/>
                    <a:pt x="253" y="957"/>
                  </a:cubicBezTo>
                  <a:cubicBezTo>
                    <a:pt x="265" y="962"/>
                    <a:pt x="256" y="964"/>
                    <a:pt x="263" y="974"/>
                  </a:cubicBezTo>
                  <a:cubicBezTo>
                    <a:pt x="263" y="974"/>
                    <a:pt x="263" y="974"/>
                    <a:pt x="263" y="974"/>
                  </a:cubicBezTo>
                  <a:cubicBezTo>
                    <a:pt x="265" y="977"/>
                    <a:pt x="267" y="979"/>
                    <a:pt x="269" y="981"/>
                  </a:cubicBezTo>
                  <a:cubicBezTo>
                    <a:pt x="269" y="981"/>
                    <a:pt x="269" y="981"/>
                    <a:pt x="269" y="981"/>
                  </a:cubicBezTo>
                  <a:cubicBezTo>
                    <a:pt x="269" y="981"/>
                    <a:pt x="270" y="981"/>
                    <a:pt x="270" y="981"/>
                  </a:cubicBezTo>
                  <a:cubicBezTo>
                    <a:pt x="270" y="981"/>
                    <a:pt x="270" y="981"/>
                    <a:pt x="270" y="981"/>
                  </a:cubicBezTo>
                  <a:cubicBezTo>
                    <a:pt x="270" y="982"/>
                    <a:pt x="271" y="982"/>
                    <a:pt x="271" y="982"/>
                  </a:cubicBezTo>
                  <a:cubicBezTo>
                    <a:pt x="271" y="982"/>
                    <a:pt x="271" y="982"/>
                    <a:pt x="271" y="982"/>
                  </a:cubicBezTo>
                  <a:cubicBezTo>
                    <a:pt x="271" y="982"/>
                    <a:pt x="272" y="982"/>
                    <a:pt x="272" y="982"/>
                  </a:cubicBezTo>
                  <a:cubicBezTo>
                    <a:pt x="272" y="982"/>
                    <a:pt x="272" y="982"/>
                    <a:pt x="272" y="982"/>
                  </a:cubicBezTo>
                  <a:cubicBezTo>
                    <a:pt x="273" y="982"/>
                    <a:pt x="273" y="983"/>
                    <a:pt x="273" y="983"/>
                  </a:cubicBezTo>
                  <a:cubicBezTo>
                    <a:pt x="273" y="983"/>
                    <a:pt x="273" y="983"/>
                    <a:pt x="273" y="983"/>
                  </a:cubicBezTo>
                  <a:cubicBezTo>
                    <a:pt x="274" y="983"/>
                    <a:pt x="274" y="983"/>
                    <a:pt x="274" y="982"/>
                  </a:cubicBezTo>
                  <a:cubicBezTo>
                    <a:pt x="274" y="982"/>
                    <a:pt x="274" y="982"/>
                    <a:pt x="274" y="982"/>
                  </a:cubicBezTo>
                  <a:cubicBezTo>
                    <a:pt x="275" y="982"/>
                    <a:pt x="275" y="982"/>
                    <a:pt x="275" y="982"/>
                  </a:cubicBezTo>
                  <a:cubicBezTo>
                    <a:pt x="275" y="982"/>
                    <a:pt x="275" y="982"/>
                    <a:pt x="275" y="982"/>
                  </a:cubicBezTo>
                  <a:cubicBezTo>
                    <a:pt x="276" y="982"/>
                    <a:pt x="276" y="982"/>
                    <a:pt x="276" y="982"/>
                  </a:cubicBezTo>
                  <a:cubicBezTo>
                    <a:pt x="276" y="982"/>
                    <a:pt x="276" y="981"/>
                    <a:pt x="276" y="981"/>
                  </a:cubicBezTo>
                  <a:cubicBezTo>
                    <a:pt x="277" y="981"/>
                    <a:pt x="277" y="981"/>
                    <a:pt x="277" y="981"/>
                  </a:cubicBezTo>
                  <a:cubicBezTo>
                    <a:pt x="277" y="981"/>
                    <a:pt x="277" y="981"/>
                    <a:pt x="278" y="980"/>
                  </a:cubicBezTo>
                  <a:cubicBezTo>
                    <a:pt x="278" y="980"/>
                    <a:pt x="278" y="980"/>
                    <a:pt x="278" y="980"/>
                  </a:cubicBezTo>
                  <a:cubicBezTo>
                    <a:pt x="278" y="980"/>
                    <a:pt x="278" y="979"/>
                    <a:pt x="279" y="979"/>
                  </a:cubicBezTo>
                  <a:cubicBezTo>
                    <a:pt x="279" y="979"/>
                    <a:pt x="279" y="979"/>
                    <a:pt x="279" y="979"/>
                  </a:cubicBezTo>
                  <a:cubicBezTo>
                    <a:pt x="279" y="978"/>
                    <a:pt x="280" y="978"/>
                    <a:pt x="280" y="977"/>
                  </a:cubicBezTo>
                  <a:cubicBezTo>
                    <a:pt x="285" y="968"/>
                    <a:pt x="291" y="964"/>
                    <a:pt x="297" y="964"/>
                  </a:cubicBezTo>
                  <a:cubicBezTo>
                    <a:pt x="303" y="964"/>
                    <a:pt x="306" y="968"/>
                    <a:pt x="306" y="972"/>
                  </a:cubicBezTo>
                  <a:cubicBezTo>
                    <a:pt x="306" y="976"/>
                    <a:pt x="307" y="979"/>
                    <a:pt x="316" y="979"/>
                  </a:cubicBezTo>
                  <a:cubicBezTo>
                    <a:pt x="325" y="979"/>
                    <a:pt x="337" y="981"/>
                    <a:pt x="338" y="973"/>
                  </a:cubicBezTo>
                  <a:cubicBezTo>
                    <a:pt x="338" y="965"/>
                    <a:pt x="353" y="974"/>
                    <a:pt x="353" y="965"/>
                  </a:cubicBezTo>
                  <a:cubicBezTo>
                    <a:pt x="353" y="955"/>
                    <a:pt x="353" y="954"/>
                    <a:pt x="363" y="954"/>
                  </a:cubicBezTo>
                  <a:cubicBezTo>
                    <a:pt x="373" y="954"/>
                    <a:pt x="379" y="954"/>
                    <a:pt x="379" y="964"/>
                  </a:cubicBezTo>
                  <a:cubicBezTo>
                    <a:pt x="378" y="975"/>
                    <a:pt x="376" y="979"/>
                    <a:pt x="384" y="979"/>
                  </a:cubicBezTo>
                  <a:cubicBezTo>
                    <a:pt x="393" y="979"/>
                    <a:pt x="399" y="980"/>
                    <a:pt x="401" y="973"/>
                  </a:cubicBezTo>
                  <a:cubicBezTo>
                    <a:pt x="403" y="965"/>
                    <a:pt x="408" y="964"/>
                    <a:pt x="419" y="965"/>
                  </a:cubicBezTo>
                  <a:cubicBezTo>
                    <a:pt x="420" y="965"/>
                    <a:pt x="422" y="965"/>
                    <a:pt x="423" y="965"/>
                  </a:cubicBezTo>
                  <a:cubicBezTo>
                    <a:pt x="423" y="965"/>
                    <a:pt x="423" y="965"/>
                    <a:pt x="423" y="965"/>
                  </a:cubicBezTo>
                  <a:cubicBezTo>
                    <a:pt x="425" y="965"/>
                    <a:pt x="426" y="965"/>
                    <a:pt x="427" y="965"/>
                  </a:cubicBezTo>
                  <a:cubicBezTo>
                    <a:pt x="428" y="958"/>
                    <a:pt x="428" y="947"/>
                    <a:pt x="428" y="942"/>
                  </a:cubicBezTo>
                  <a:cubicBezTo>
                    <a:pt x="428" y="933"/>
                    <a:pt x="446" y="919"/>
                    <a:pt x="445" y="907"/>
                  </a:cubicBezTo>
                  <a:cubicBezTo>
                    <a:pt x="444" y="895"/>
                    <a:pt x="440" y="881"/>
                    <a:pt x="436" y="879"/>
                  </a:cubicBezTo>
                  <a:cubicBezTo>
                    <a:pt x="432" y="878"/>
                    <a:pt x="435" y="868"/>
                    <a:pt x="444" y="869"/>
                  </a:cubicBezTo>
                  <a:cubicBezTo>
                    <a:pt x="454" y="869"/>
                    <a:pt x="462" y="872"/>
                    <a:pt x="465" y="866"/>
                  </a:cubicBezTo>
                  <a:cubicBezTo>
                    <a:pt x="468" y="860"/>
                    <a:pt x="486" y="862"/>
                    <a:pt x="489" y="853"/>
                  </a:cubicBezTo>
                  <a:cubicBezTo>
                    <a:pt x="492" y="845"/>
                    <a:pt x="490" y="821"/>
                    <a:pt x="500" y="819"/>
                  </a:cubicBezTo>
                  <a:cubicBezTo>
                    <a:pt x="509" y="817"/>
                    <a:pt x="514" y="813"/>
                    <a:pt x="512" y="804"/>
                  </a:cubicBezTo>
                  <a:cubicBezTo>
                    <a:pt x="510" y="795"/>
                    <a:pt x="506" y="787"/>
                    <a:pt x="515" y="779"/>
                  </a:cubicBezTo>
                  <a:cubicBezTo>
                    <a:pt x="524" y="771"/>
                    <a:pt x="521" y="763"/>
                    <a:pt x="530" y="767"/>
                  </a:cubicBezTo>
                  <a:cubicBezTo>
                    <a:pt x="538" y="771"/>
                    <a:pt x="535" y="778"/>
                    <a:pt x="542" y="779"/>
                  </a:cubicBezTo>
                  <a:cubicBezTo>
                    <a:pt x="548" y="779"/>
                    <a:pt x="552" y="787"/>
                    <a:pt x="558" y="787"/>
                  </a:cubicBezTo>
                  <a:cubicBezTo>
                    <a:pt x="565" y="787"/>
                    <a:pt x="571" y="786"/>
                    <a:pt x="571" y="776"/>
                  </a:cubicBezTo>
                  <a:cubicBezTo>
                    <a:pt x="571" y="766"/>
                    <a:pt x="571" y="762"/>
                    <a:pt x="580" y="762"/>
                  </a:cubicBezTo>
                  <a:cubicBezTo>
                    <a:pt x="588" y="762"/>
                    <a:pt x="594" y="756"/>
                    <a:pt x="596" y="747"/>
                  </a:cubicBezTo>
                  <a:cubicBezTo>
                    <a:pt x="597" y="737"/>
                    <a:pt x="600" y="729"/>
                    <a:pt x="608" y="727"/>
                  </a:cubicBezTo>
                  <a:cubicBezTo>
                    <a:pt x="616" y="724"/>
                    <a:pt x="611" y="716"/>
                    <a:pt x="622" y="717"/>
                  </a:cubicBezTo>
                  <a:cubicBezTo>
                    <a:pt x="632" y="717"/>
                    <a:pt x="632" y="723"/>
                    <a:pt x="639" y="723"/>
                  </a:cubicBezTo>
                  <a:cubicBezTo>
                    <a:pt x="646" y="723"/>
                    <a:pt x="652" y="723"/>
                    <a:pt x="652" y="715"/>
                  </a:cubicBezTo>
                  <a:cubicBezTo>
                    <a:pt x="652" y="707"/>
                    <a:pt x="655" y="703"/>
                    <a:pt x="663" y="704"/>
                  </a:cubicBezTo>
                  <a:cubicBezTo>
                    <a:pt x="671" y="705"/>
                    <a:pt x="674" y="705"/>
                    <a:pt x="678" y="700"/>
                  </a:cubicBezTo>
                  <a:cubicBezTo>
                    <a:pt x="682" y="695"/>
                    <a:pt x="685" y="685"/>
                    <a:pt x="698" y="687"/>
                  </a:cubicBezTo>
                  <a:cubicBezTo>
                    <a:pt x="712" y="690"/>
                    <a:pt x="707" y="689"/>
                    <a:pt x="714" y="679"/>
                  </a:cubicBezTo>
                  <a:cubicBezTo>
                    <a:pt x="722" y="669"/>
                    <a:pt x="726" y="663"/>
                    <a:pt x="736" y="663"/>
                  </a:cubicBezTo>
                  <a:cubicBezTo>
                    <a:pt x="747" y="663"/>
                    <a:pt x="756" y="659"/>
                    <a:pt x="758" y="665"/>
                  </a:cubicBezTo>
                  <a:cubicBezTo>
                    <a:pt x="760" y="670"/>
                    <a:pt x="762" y="673"/>
                    <a:pt x="771" y="673"/>
                  </a:cubicBezTo>
                  <a:cubicBezTo>
                    <a:pt x="772" y="673"/>
                    <a:pt x="773" y="673"/>
                    <a:pt x="774" y="673"/>
                  </a:cubicBezTo>
                  <a:cubicBezTo>
                    <a:pt x="774" y="673"/>
                    <a:pt x="775" y="673"/>
                    <a:pt x="775" y="673"/>
                  </a:cubicBezTo>
                  <a:cubicBezTo>
                    <a:pt x="780" y="673"/>
                    <a:pt x="787" y="673"/>
                    <a:pt x="795" y="673"/>
                  </a:cubicBezTo>
                  <a:cubicBezTo>
                    <a:pt x="797" y="673"/>
                    <a:pt x="799" y="674"/>
                    <a:pt x="801" y="674"/>
                  </a:cubicBezTo>
                  <a:cubicBezTo>
                    <a:pt x="802" y="674"/>
                    <a:pt x="802" y="674"/>
                    <a:pt x="803" y="673"/>
                  </a:cubicBezTo>
                  <a:cubicBezTo>
                    <a:pt x="805" y="673"/>
                    <a:pt x="807" y="673"/>
                    <a:pt x="810" y="673"/>
                  </a:cubicBezTo>
                  <a:cubicBezTo>
                    <a:pt x="826" y="673"/>
                    <a:pt x="842" y="676"/>
                    <a:pt x="847" y="667"/>
                  </a:cubicBezTo>
                  <a:cubicBezTo>
                    <a:pt x="852" y="659"/>
                    <a:pt x="864" y="648"/>
                    <a:pt x="880" y="648"/>
                  </a:cubicBezTo>
                  <a:cubicBezTo>
                    <a:pt x="896" y="648"/>
                    <a:pt x="908" y="647"/>
                    <a:pt x="928" y="647"/>
                  </a:cubicBezTo>
                  <a:cubicBezTo>
                    <a:pt x="949" y="647"/>
                    <a:pt x="998" y="648"/>
                    <a:pt x="1005" y="641"/>
                  </a:cubicBezTo>
                  <a:cubicBezTo>
                    <a:pt x="1012" y="633"/>
                    <a:pt x="1031" y="625"/>
                    <a:pt x="1034" y="610"/>
                  </a:cubicBezTo>
                  <a:cubicBezTo>
                    <a:pt x="1038" y="595"/>
                    <a:pt x="1036" y="592"/>
                    <a:pt x="1042" y="581"/>
                  </a:cubicBezTo>
                  <a:cubicBezTo>
                    <a:pt x="1047" y="572"/>
                    <a:pt x="1048" y="437"/>
                    <a:pt x="1048" y="398"/>
                  </a:cubicBezTo>
                  <a:cubicBezTo>
                    <a:pt x="1047" y="398"/>
                    <a:pt x="1046" y="398"/>
                    <a:pt x="1045" y="397"/>
                  </a:cubicBezTo>
                  <a:cubicBezTo>
                    <a:pt x="1028" y="395"/>
                    <a:pt x="1014" y="397"/>
                    <a:pt x="1014" y="408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530" name="Freeform 25741"/>
            <p:cNvSpPr>
              <a:spLocks/>
            </p:cNvSpPr>
            <p:nvPr/>
          </p:nvSpPr>
          <p:spPr bwMode="auto">
            <a:xfrm>
              <a:off x="2850031" y="5157761"/>
              <a:ext cx="50033" cy="37722"/>
            </a:xfrm>
            <a:custGeom>
              <a:avLst/>
              <a:gdLst>
                <a:gd name="T0" fmla="*/ 62 w 134"/>
                <a:gd name="T1" fmla="*/ 25 h 101"/>
                <a:gd name="T2" fmla="*/ 50 w 134"/>
                <a:gd name="T3" fmla="*/ 28 h 101"/>
                <a:gd name="T4" fmla="*/ 32 w 134"/>
                <a:gd name="T5" fmla="*/ 31 h 101"/>
                <a:gd name="T6" fmla="*/ 49 w 134"/>
                <a:gd name="T7" fmla="*/ 44 h 101"/>
                <a:gd name="T8" fmla="*/ 50 w 134"/>
                <a:gd name="T9" fmla="*/ 57 h 101"/>
                <a:gd name="T10" fmla="*/ 37 w 134"/>
                <a:gd name="T11" fmla="*/ 59 h 101"/>
                <a:gd name="T12" fmla="*/ 41 w 134"/>
                <a:gd name="T13" fmla="*/ 77 h 101"/>
                <a:gd name="T14" fmla="*/ 25 w 134"/>
                <a:gd name="T15" fmla="*/ 74 h 101"/>
                <a:gd name="T16" fmla="*/ 7 w 134"/>
                <a:gd name="T17" fmla="*/ 62 h 101"/>
                <a:gd name="T18" fmla="*/ 7 w 134"/>
                <a:gd name="T19" fmla="*/ 71 h 101"/>
                <a:gd name="T20" fmla="*/ 22 w 134"/>
                <a:gd name="T21" fmla="*/ 96 h 101"/>
                <a:gd name="T22" fmla="*/ 49 w 134"/>
                <a:gd name="T23" fmla="*/ 99 h 101"/>
                <a:gd name="T24" fmla="*/ 77 w 134"/>
                <a:gd name="T25" fmla="*/ 88 h 101"/>
                <a:gd name="T26" fmla="*/ 97 w 134"/>
                <a:gd name="T27" fmla="*/ 73 h 101"/>
                <a:gd name="T28" fmla="*/ 121 w 134"/>
                <a:gd name="T29" fmla="*/ 47 h 101"/>
                <a:gd name="T30" fmla="*/ 134 w 134"/>
                <a:gd name="T31" fmla="*/ 34 h 101"/>
                <a:gd name="T32" fmla="*/ 120 w 134"/>
                <a:gd name="T33" fmla="*/ 30 h 101"/>
                <a:gd name="T34" fmla="*/ 106 w 134"/>
                <a:gd name="T35" fmla="*/ 30 h 101"/>
                <a:gd name="T36" fmla="*/ 99 w 134"/>
                <a:gd name="T37" fmla="*/ 14 h 101"/>
                <a:gd name="T38" fmla="*/ 90 w 134"/>
                <a:gd name="T39" fmla="*/ 23 h 101"/>
                <a:gd name="T40" fmla="*/ 86 w 134"/>
                <a:gd name="T41" fmla="*/ 14 h 101"/>
                <a:gd name="T42" fmla="*/ 80 w 134"/>
                <a:gd name="T43" fmla="*/ 2 h 101"/>
                <a:gd name="T44" fmla="*/ 71 w 134"/>
                <a:gd name="T45" fmla="*/ 17 h 101"/>
                <a:gd name="T46" fmla="*/ 62 w 134"/>
                <a:gd name="T47" fmla="*/ 25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34" h="101">
                  <a:moveTo>
                    <a:pt x="62" y="25"/>
                  </a:moveTo>
                  <a:cubicBezTo>
                    <a:pt x="62" y="25"/>
                    <a:pt x="62" y="31"/>
                    <a:pt x="50" y="28"/>
                  </a:cubicBezTo>
                  <a:cubicBezTo>
                    <a:pt x="37" y="24"/>
                    <a:pt x="30" y="26"/>
                    <a:pt x="32" y="31"/>
                  </a:cubicBezTo>
                  <a:cubicBezTo>
                    <a:pt x="34" y="36"/>
                    <a:pt x="46" y="38"/>
                    <a:pt x="49" y="44"/>
                  </a:cubicBezTo>
                  <a:cubicBezTo>
                    <a:pt x="51" y="49"/>
                    <a:pt x="60" y="58"/>
                    <a:pt x="50" y="57"/>
                  </a:cubicBezTo>
                  <a:cubicBezTo>
                    <a:pt x="40" y="57"/>
                    <a:pt x="31" y="55"/>
                    <a:pt x="37" y="59"/>
                  </a:cubicBezTo>
                  <a:cubicBezTo>
                    <a:pt x="42" y="64"/>
                    <a:pt x="48" y="75"/>
                    <a:pt x="41" y="77"/>
                  </a:cubicBezTo>
                  <a:cubicBezTo>
                    <a:pt x="35" y="79"/>
                    <a:pt x="29" y="81"/>
                    <a:pt x="25" y="74"/>
                  </a:cubicBezTo>
                  <a:cubicBezTo>
                    <a:pt x="21" y="66"/>
                    <a:pt x="14" y="61"/>
                    <a:pt x="7" y="62"/>
                  </a:cubicBezTo>
                  <a:cubicBezTo>
                    <a:pt x="0" y="62"/>
                    <a:pt x="5" y="65"/>
                    <a:pt x="7" y="71"/>
                  </a:cubicBezTo>
                  <a:cubicBezTo>
                    <a:pt x="10" y="77"/>
                    <a:pt x="15" y="94"/>
                    <a:pt x="22" y="96"/>
                  </a:cubicBezTo>
                  <a:cubicBezTo>
                    <a:pt x="28" y="98"/>
                    <a:pt x="39" y="101"/>
                    <a:pt x="49" y="99"/>
                  </a:cubicBezTo>
                  <a:cubicBezTo>
                    <a:pt x="58" y="96"/>
                    <a:pt x="70" y="93"/>
                    <a:pt x="77" y="88"/>
                  </a:cubicBezTo>
                  <a:cubicBezTo>
                    <a:pt x="84" y="82"/>
                    <a:pt x="86" y="82"/>
                    <a:pt x="97" y="73"/>
                  </a:cubicBezTo>
                  <a:cubicBezTo>
                    <a:pt x="107" y="63"/>
                    <a:pt x="115" y="50"/>
                    <a:pt x="121" y="47"/>
                  </a:cubicBezTo>
                  <a:cubicBezTo>
                    <a:pt x="127" y="43"/>
                    <a:pt x="133" y="39"/>
                    <a:pt x="134" y="34"/>
                  </a:cubicBezTo>
                  <a:cubicBezTo>
                    <a:pt x="134" y="29"/>
                    <a:pt x="122" y="25"/>
                    <a:pt x="120" y="30"/>
                  </a:cubicBezTo>
                  <a:cubicBezTo>
                    <a:pt x="117" y="34"/>
                    <a:pt x="108" y="38"/>
                    <a:pt x="106" y="30"/>
                  </a:cubicBezTo>
                  <a:cubicBezTo>
                    <a:pt x="105" y="23"/>
                    <a:pt x="106" y="14"/>
                    <a:pt x="99" y="14"/>
                  </a:cubicBezTo>
                  <a:cubicBezTo>
                    <a:pt x="93" y="14"/>
                    <a:pt x="95" y="24"/>
                    <a:pt x="90" y="23"/>
                  </a:cubicBezTo>
                  <a:cubicBezTo>
                    <a:pt x="84" y="22"/>
                    <a:pt x="84" y="19"/>
                    <a:pt x="86" y="14"/>
                  </a:cubicBezTo>
                  <a:cubicBezTo>
                    <a:pt x="88" y="8"/>
                    <a:pt x="84" y="0"/>
                    <a:pt x="80" y="2"/>
                  </a:cubicBezTo>
                  <a:cubicBezTo>
                    <a:pt x="75" y="4"/>
                    <a:pt x="79" y="15"/>
                    <a:pt x="71" y="17"/>
                  </a:cubicBezTo>
                  <a:cubicBezTo>
                    <a:pt x="64" y="19"/>
                    <a:pt x="62" y="21"/>
                    <a:pt x="62" y="2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531" name="Freeform 25742"/>
            <p:cNvSpPr>
              <a:spLocks/>
            </p:cNvSpPr>
            <p:nvPr/>
          </p:nvSpPr>
          <p:spPr bwMode="auto">
            <a:xfrm>
              <a:off x="2883966" y="5163759"/>
              <a:ext cx="50033" cy="36144"/>
            </a:xfrm>
            <a:custGeom>
              <a:avLst/>
              <a:gdLst>
                <a:gd name="T0" fmla="*/ 62 w 134"/>
                <a:gd name="T1" fmla="*/ 5 h 97"/>
                <a:gd name="T2" fmla="*/ 47 w 134"/>
                <a:gd name="T3" fmla="*/ 28 h 97"/>
                <a:gd name="T4" fmla="*/ 33 w 134"/>
                <a:gd name="T5" fmla="*/ 46 h 97"/>
                <a:gd name="T6" fmla="*/ 14 w 134"/>
                <a:gd name="T7" fmla="*/ 67 h 97"/>
                <a:gd name="T8" fmla="*/ 8 w 134"/>
                <a:gd name="T9" fmla="*/ 82 h 97"/>
                <a:gd name="T10" fmla="*/ 30 w 134"/>
                <a:gd name="T11" fmla="*/ 91 h 97"/>
                <a:gd name="T12" fmla="*/ 42 w 134"/>
                <a:gd name="T13" fmla="*/ 79 h 97"/>
                <a:gd name="T14" fmla="*/ 52 w 134"/>
                <a:gd name="T15" fmla="*/ 71 h 97"/>
                <a:gd name="T16" fmla="*/ 63 w 134"/>
                <a:gd name="T17" fmla="*/ 78 h 97"/>
                <a:gd name="T18" fmla="*/ 77 w 134"/>
                <a:gd name="T19" fmla="*/ 83 h 97"/>
                <a:gd name="T20" fmla="*/ 75 w 134"/>
                <a:gd name="T21" fmla="*/ 70 h 97"/>
                <a:gd name="T22" fmla="*/ 73 w 134"/>
                <a:gd name="T23" fmla="*/ 61 h 97"/>
                <a:gd name="T24" fmla="*/ 96 w 134"/>
                <a:gd name="T25" fmla="*/ 58 h 97"/>
                <a:gd name="T26" fmla="*/ 104 w 134"/>
                <a:gd name="T27" fmla="*/ 53 h 97"/>
                <a:gd name="T28" fmla="*/ 116 w 134"/>
                <a:gd name="T29" fmla="*/ 50 h 97"/>
                <a:gd name="T30" fmla="*/ 121 w 134"/>
                <a:gd name="T31" fmla="*/ 45 h 97"/>
                <a:gd name="T32" fmla="*/ 133 w 134"/>
                <a:gd name="T33" fmla="*/ 34 h 97"/>
                <a:gd name="T34" fmla="*/ 126 w 134"/>
                <a:gd name="T35" fmla="*/ 19 h 97"/>
                <a:gd name="T36" fmla="*/ 111 w 134"/>
                <a:gd name="T37" fmla="*/ 8 h 97"/>
                <a:gd name="T38" fmla="*/ 95 w 134"/>
                <a:gd name="T39" fmla="*/ 18 h 97"/>
                <a:gd name="T40" fmla="*/ 87 w 134"/>
                <a:gd name="T41" fmla="*/ 4 h 97"/>
                <a:gd name="T42" fmla="*/ 62 w 134"/>
                <a:gd name="T43" fmla="*/ 5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34" h="97">
                  <a:moveTo>
                    <a:pt x="62" y="5"/>
                  </a:moveTo>
                  <a:cubicBezTo>
                    <a:pt x="62" y="5"/>
                    <a:pt x="50" y="22"/>
                    <a:pt x="47" y="28"/>
                  </a:cubicBezTo>
                  <a:cubicBezTo>
                    <a:pt x="44" y="33"/>
                    <a:pt x="39" y="41"/>
                    <a:pt x="33" y="46"/>
                  </a:cubicBezTo>
                  <a:cubicBezTo>
                    <a:pt x="26" y="51"/>
                    <a:pt x="19" y="64"/>
                    <a:pt x="14" y="67"/>
                  </a:cubicBezTo>
                  <a:cubicBezTo>
                    <a:pt x="9" y="70"/>
                    <a:pt x="0" y="75"/>
                    <a:pt x="8" y="82"/>
                  </a:cubicBezTo>
                  <a:cubicBezTo>
                    <a:pt x="16" y="89"/>
                    <a:pt x="28" y="97"/>
                    <a:pt x="30" y="91"/>
                  </a:cubicBezTo>
                  <a:cubicBezTo>
                    <a:pt x="31" y="85"/>
                    <a:pt x="42" y="86"/>
                    <a:pt x="42" y="79"/>
                  </a:cubicBezTo>
                  <a:cubicBezTo>
                    <a:pt x="41" y="73"/>
                    <a:pt x="47" y="67"/>
                    <a:pt x="52" y="71"/>
                  </a:cubicBezTo>
                  <a:cubicBezTo>
                    <a:pt x="57" y="75"/>
                    <a:pt x="61" y="74"/>
                    <a:pt x="63" y="78"/>
                  </a:cubicBezTo>
                  <a:cubicBezTo>
                    <a:pt x="66" y="82"/>
                    <a:pt x="75" y="85"/>
                    <a:pt x="77" y="83"/>
                  </a:cubicBezTo>
                  <a:cubicBezTo>
                    <a:pt x="79" y="81"/>
                    <a:pt x="80" y="72"/>
                    <a:pt x="75" y="70"/>
                  </a:cubicBezTo>
                  <a:cubicBezTo>
                    <a:pt x="70" y="67"/>
                    <a:pt x="66" y="62"/>
                    <a:pt x="73" y="61"/>
                  </a:cubicBezTo>
                  <a:cubicBezTo>
                    <a:pt x="80" y="61"/>
                    <a:pt x="95" y="65"/>
                    <a:pt x="96" y="58"/>
                  </a:cubicBezTo>
                  <a:cubicBezTo>
                    <a:pt x="96" y="52"/>
                    <a:pt x="95" y="52"/>
                    <a:pt x="104" y="53"/>
                  </a:cubicBezTo>
                  <a:cubicBezTo>
                    <a:pt x="113" y="53"/>
                    <a:pt x="117" y="53"/>
                    <a:pt x="116" y="50"/>
                  </a:cubicBezTo>
                  <a:cubicBezTo>
                    <a:pt x="115" y="47"/>
                    <a:pt x="115" y="46"/>
                    <a:pt x="121" y="45"/>
                  </a:cubicBezTo>
                  <a:cubicBezTo>
                    <a:pt x="127" y="44"/>
                    <a:pt x="134" y="43"/>
                    <a:pt x="133" y="34"/>
                  </a:cubicBezTo>
                  <a:cubicBezTo>
                    <a:pt x="132" y="25"/>
                    <a:pt x="133" y="17"/>
                    <a:pt x="126" y="19"/>
                  </a:cubicBezTo>
                  <a:cubicBezTo>
                    <a:pt x="118" y="21"/>
                    <a:pt x="121" y="9"/>
                    <a:pt x="111" y="8"/>
                  </a:cubicBezTo>
                  <a:cubicBezTo>
                    <a:pt x="101" y="8"/>
                    <a:pt x="104" y="22"/>
                    <a:pt x="95" y="18"/>
                  </a:cubicBezTo>
                  <a:cubicBezTo>
                    <a:pt x="86" y="14"/>
                    <a:pt x="96" y="7"/>
                    <a:pt x="87" y="4"/>
                  </a:cubicBezTo>
                  <a:cubicBezTo>
                    <a:pt x="78" y="1"/>
                    <a:pt x="65" y="0"/>
                    <a:pt x="62" y="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532" name="Freeform 25743"/>
            <p:cNvSpPr>
              <a:spLocks/>
            </p:cNvSpPr>
            <p:nvPr/>
          </p:nvSpPr>
          <p:spPr bwMode="auto">
            <a:xfrm>
              <a:off x="3379564" y="5254039"/>
              <a:ext cx="56347" cy="31251"/>
            </a:xfrm>
            <a:custGeom>
              <a:avLst/>
              <a:gdLst>
                <a:gd name="T0" fmla="*/ 30 w 151"/>
                <a:gd name="T1" fmla="*/ 1 h 84"/>
                <a:gd name="T2" fmla="*/ 1 w 151"/>
                <a:gd name="T3" fmla="*/ 5 h 84"/>
                <a:gd name="T4" fmla="*/ 17 w 151"/>
                <a:gd name="T5" fmla="*/ 13 h 84"/>
                <a:gd name="T6" fmla="*/ 44 w 151"/>
                <a:gd name="T7" fmla="*/ 29 h 84"/>
                <a:gd name="T8" fmla="*/ 60 w 151"/>
                <a:gd name="T9" fmla="*/ 36 h 84"/>
                <a:gd name="T10" fmla="*/ 93 w 151"/>
                <a:gd name="T11" fmla="*/ 56 h 84"/>
                <a:gd name="T12" fmla="*/ 109 w 151"/>
                <a:gd name="T13" fmla="*/ 73 h 84"/>
                <a:gd name="T14" fmla="*/ 127 w 151"/>
                <a:gd name="T15" fmla="*/ 76 h 84"/>
                <a:gd name="T16" fmla="*/ 135 w 151"/>
                <a:gd name="T17" fmla="*/ 65 h 84"/>
                <a:gd name="T18" fmla="*/ 140 w 151"/>
                <a:gd name="T19" fmla="*/ 50 h 84"/>
                <a:gd name="T20" fmla="*/ 115 w 151"/>
                <a:gd name="T21" fmla="*/ 34 h 84"/>
                <a:gd name="T22" fmla="*/ 96 w 151"/>
                <a:gd name="T23" fmla="*/ 22 h 84"/>
                <a:gd name="T24" fmla="*/ 80 w 151"/>
                <a:gd name="T25" fmla="*/ 8 h 84"/>
                <a:gd name="T26" fmla="*/ 48 w 151"/>
                <a:gd name="T27" fmla="*/ 4 h 84"/>
                <a:gd name="T28" fmla="*/ 30 w 151"/>
                <a:gd name="T29" fmla="*/ 1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51" h="84">
                  <a:moveTo>
                    <a:pt x="30" y="1"/>
                  </a:moveTo>
                  <a:cubicBezTo>
                    <a:pt x="30" y="1"/>
                    <a:pt x="0" y="1"/>
                    <a:pt x="1" y="5"/>
                  </a:cubicBezTo>
                  <a:cubicBezTo>
                    <a:pt x="2" y="8"/>
                    <a:pt x="11" y="7"/>
                    <a:pt x="17" y="13"/>
                  </a:cubicBezTo>
                  <a:cubicBezTo>
                    <a:pt x="23" y="18"/>
                    <a:pt x="34" y="31"/>
                    <a:pt x="44" y="29"/>
                  </a:cubicBezTo>
                  <a:cubicBezTo>
                    <a:pt x="54" y="28"/>
                    <a:pt x="52" y="27"/>
                    <a:pt x="60" y="36"/>
                  </a:cubicBezTo>
                  <a:cubicBezTo>
                    <a:pt x="68" y="44"/>
                    <a:pt x="85" y="53"/>
                    <a:pt x="93" y="56"/>
                  </a:cubicBezTo>
                  <a:cubicBezTo>
                    <a:pt x="102" y="60"/>
                    <a:pt x="108" y="64"/>
                    <a:pt x="109" y="73"/>
                  </a:cubicBezTo>
                  <a:cubicBezTo>
                    <a:pt x="110" y="81"/>
                    <a:pt x="123" y="84"/>
                    <a:pt x="127" y="76"/>
                  </a:cubicBezTo>
                  <a:cubicBezTo>
                    <a:pt x="131" y="68"/>
                    <a:pt x="128" y="67"/>
                    <a:pt x="135" y="65"/>
                  </a:cubicBezTo>
                  <a:cubicBezTo>
                    <a:pt x="141" y="62"/>
                    <a:pt x="151" y="54"/>
                    <a:pt x="140" y="50"/>
                  </a:cubicBezTo>
                  <a:cubicBezTo>
                    <a:pt x="129" y="47"/>
                    <a:pt x="120" y="43"/>
                    <a:pt x="115" y="34"/>
                  </a:cubicBezTo>
                  <a:cubicBezTo>
                    <a:pt x="110" y="24"/>
                    <a:pt x="103" y="23"/>
                    <a:pt x="96" y="22"/>
                  </a:cubicBezTo>
                  <a:cubicBezTo>
                    <a:pt x="90" y="20"/>
                    <a:pt x="89" y="10"/>
                    <a:pt x="80" y="8"/>
                  </a:cubicBezTo>
                  <a:cubicBezTo>
                    <a:pt x="71" y="7"/>
                    <a:pt x="52" y="8"/>
                    <a:pt x="48" y="4"/>
                  </a:cubicBezTo>
                  <a:cubicBezTo>
                    <a:pt x="44" y="0"/>
                    <a:pt x="37" y="1"/>
                    <a:pt x="30" y="1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533" name="Freeform 25744"/>
            <p:cNvSpPr>
              <a:spLocks/>
            </p:cNvSpPr>
            <p:nvPr/>
          </p:nvSpPr>
          <p:spPr bwMode="auto">
            <a:xfrm>
              <a:off x="2422774" y="3526863"/>
              <a:ext cx="281102" cy="400267"/>
            </a:xfrm>
            <a:custGeom>
              <a:avLst/>
              <a:gdLst>
                <a:gd name="T0" fmla="*/ 94 w 754"/>
                <a:gd name="T1" fmla="*/ 762 h 1073"/>
                <a:gd name="T2" fmla="*/ 143 w 754"/>
                <a:gd name="T3" fmla="*/ 793 h 1073"/>
                <a:gd name="T4" fmla="*/ 189 w 754"/>
                <a:gd name="T5" fmla="*/ 783 h 1073"/>
                <a:gd name="T6" fmla="*/ 235 w 754"/>
                <a:gd name="T7" fmla="*/ 810 h 1073"/>
                <a:gd name="T8" fmla="*/ 303 w 754"/>
                <a:gd name="T9" fmla="*/ 850 h 1073"/>
                <a:gd name="T10" fmla="*/ 347 w 754"/>
                <a:gd name="T11" fmla="*/ 894 h 1073"/>
                <a:gd name="T12" fmla="*/ 381 w 754"/>
                <a:gd name="T13" fmla="*/ 947 h 1073"/>
                <a:gd name="T14" fmla="*/ 458 w 754"/>
                <a:gd name="T15" fmla="*/ 956 h 1073"/>
                <a:gd name="T16" fmla="*/ 488 w 754"/>
                <a:gd name="T17" fmla="*/ 956 h 1073"/>
                <a:gd name="T18" fmla="*/ 521 w 754"/>
                <a:gd name="T19" fmla="*/ 950 h 1073"/>
                <a:gd name="T20" fmla="*/ 569 w 754"/>
                <a:gd name="T21" fmla="*/ 982 h 1073"/>
                <a:gd name="T22" fmla="*/ 536 w 754"/>
                <a:gd name="T23" fmla="*/ 1049 h 1073"/>
                <a:gd name="T24" fmla="*/ 583 w 754"/>
                <a:gd name="T25" fmla="*/ 1073 h 1073"/>
                <a:gd name="T26" fmla="*/ 591 w 754"/>
                <a:gd name="T27" fmla="*/ 1013 h 1073"/>
                <a:gd name="T28" fmla="*/ 603 w 754"/>
                <a:gd name="T29" fmla="*/ 932 h 1073"/>
                <a:gd name="T30" fmla="*/ 613 w 754"/>
                <a:gd name="T31" fmla="*/ 877 h 1073"/>
                <a:gd name="T32" fmla="*/ 577 w 754"/>
                <a:gd name="T33" fmla="*/ 820 h 1073"/>
                <a:gd name="T34" fmla="*/ 622 w 754"/>
                <a:gd name="T35" fmla="*/ 764 h 1073"/>
                <a:gd name="T36" fmla="*/ 593 w 754"/>
                <a:gd name="T37" fmla="*/ 738 h 1073"/>
                <a:gd name="T38" fmla="*/ 653 w 754"/>
                <a:gd name="T39" fmla="*/ 694 h 1073"/>
                <a:gd name="T40" fmla="*/ 695 w 754"/>
                <a:gd name="T41" fmla="*/ 686 h 1073"/>
                <a:gd name="T42" fmla="*/ 736 w 754"/>
                <a:gd name="T43" fmla="*/ 674 h 1073"/>
                <a:gd name="T44" fmla="*/ 725 w 754"/>
                <a:gd name="T45" fmla="*/ 625 h 1073"/>
                <a:gd name="T46" fmla="*/ 732 w 754"/>
                <a:gd name="T47" fmla="*/ 568 h 1073"/>
                <a:gd name="T48" fmla="*/ 711 w 754"/>
                <a:gd name="T49" fmla="*/ 504 h 1073"/>
                <a:gd name="T50" fmla="*/ 721 w 754"/>
                <a:gd name="T51" fmla="*/ 456 h 1073"/>
                <a:gd name="T52" fmla="*/ 737 w 754"/>
                <a:gd name="T53" fmla="*/ 412 h 1073"/>
                <a:gd name="T54" fmla="*/ 699 w 754"/>
                <a:gd name="T55" fmla="*/ 404 h 1073"/>
                <a:gd name="T56" fmla="*/ 627 w 754"/>
                <a:gd name="T57" fmla="*/ 412 h 1073"/>
                <a:gd name="T58" fmla="*/ 581 w 754"/>
                <a:gd name="T59" fmla="*/ 374 h 1073"/>
                <a:gd name="T60" fmla="*/ 537 w 754"/>
                <a:gd name="T61" fmla="*/ 351 h 1073"/>
                <a:gd name="T62" fmla="*/ 471 w 754"/>
                <a:gd name="T63" fmla="*/ 358 h 1073"/>
                <a:gd name="T64" fmla="*/ 425 w 754"/>
                <a:gd name="T65" fmla="*/ 332 h 1073"/>
                <a:gd name="T66" fmla="*/ 425 w 754"/>
                <a:gd name="T67" fmla="*/ 279 h 1073"/>
                <a:gd name="T68" fmla="*/ 398 w 754"/>
                <a:gd name="T69" fmla="*/ 236 h 1073"/>
                <a:gd name="T70" fmla="*/ 373 w 754"/>
                <a:gd name="T71" fmla="*/ 215 h 1073"/>
                <a:gd name="T72" fmla="*/ 381 w 754"/>
                <a:gd name="T73" fmla="*/ 180 h 1073"/>
                <a:gd name="T74" fmla="*/ 393 w 754"/>
                <a:gd name="T75" fmla="*/ 123 h 1073"/>
                <a:gd name="T76" fmla="*/ 447 w 754"/>
                <a:gd name="T77" fmla="*/ 57 h 1073"/>
                <a:gd name="T78" fmla="*/ 485 w 754"/>
                <a:gd name="T79" fmla="*/ 43 h 1073"/>
                <a:gd name="T80" fmla="*/ 474 w 754"/>
                <a:gd name="T81" fmla="*/ 0 h 1073"/>
                <a:gd name="T82" fmla="*/ 378 w 754"/>
                <a:gd name="T83" fmla="*/ 63 h 1073"/>
                <a:gd name="T84" fmla="*/ 308 w 754"/>
                <a:gd name="T85" fmla="*/ 82 h 1073"/>
                <a:gd name="T86" fmla="*/ 243 w 754"/>
                <a:gd name="T87" fmla="*/ 102 h 1073"/>
                <a:gd name="T88" fmla="*/ 209 w 754"/>
                <a:gd name="T89" fmla="*/ 192 h 1073"/>
                <a:gd name="T90" fmla="*/ 149 w 754"/>
                <a:gd name="T91" fmla="*/ 254 h 1073"/>
                <a:gd name="T92" fmla="*/ 106 w 754"/>
                <a:gd name="T93" fmla="*/ 239 h 1073"/>
                <a:gd name="T94" fmla="*/ 102 w 754"/>
                <a:gd name="T95" fmla="*/ 264 h 1073"/>
                <a:gd name="T96" fmla="*/ 115 w 754"/>
                <a:gd name="T97" fmla="*/ 289 h 1073"/>
                <a:gd name="T98" fmla="*/ 92 w 754"/>
                <a:gd name="T99" fmla="*/ 316 h 1073"/>
                <a:gd name="T100" fmla="*/ 79 w 754"/>
                <a:gd name="T101" fmla="*/ 333 h 1073"/>
                <a:gd name="T102" fmla="*/ 80 w 754"/>
                <a:gd name="T103" fmla="*/ 343 h 1073"/>
                <a:gd name="T104" fmla="*/ 106 w 754"/>
                <a:gd name="T105" fmla="*/ 405 h 1073"/>
                <a:gd name="T106" fmla="*/ 110 w 754"/>
                <a:gd name="T107" fmla="*/ 433 h 1073"/>
                <a:gd name="T108" fmla="*/ 109 w 754"/>
                <a:gd name="T109" fmla="*/ 485 h 1073"/>
                <a:gd name="T110" fmla="*/ 105 w 754"/>
                <a:gd name="T111" fmla="*/ 544 h 1073"/>
                <a:gd name="T112" fmla="*/ 98 w 754"/>
                <a:gd name="T113" fmla="*/ 599 h 1073"/>
                <a:gd name="T114" fmla="*/ 30 w 754"/>
                <a:gd name="T115" fmla="*/ 651 h 1073"/>
                <a:gd name="T116" fmla="*/ 3 w 754"/>
                <a:gd name="T117" fmla="*/ 699 h 1073"/>
                <a:gd name="T118" fmla="*/ 27 w 754"/>
                <a:gd name="T119" fmla="*/ 721 h 10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754" h="1073">
                  <a:moveTo>
                    <a:pt x="65" y="746"/>
                  </a:moveTo>
                  <a:cubicBezTo>
                    <a:pt x="82" y="748"/>
                    <a:pt x="91" y="750"/>
                    <a:pt x="94" y="762"/>
                  </a:cubicBezTo>
                  <a:cubicBezTo>
                    <a:pt x="97" y="774"/>
                    <a:pt x="109" y="783"/>
                    <a:pt x="117" y="783"/>
                  </a:cubicBezTo>
                  <a:cubicBezTo>
                    <a:pt x="125" y="783"/>
                    <a:pt x="128" y="793"/>
                    <a:pt x="143" y="793"/>
                  </a:cubicBezTo>
                  <a:cubicBezTo>
                    <a:pt x="158" y="793"/>
                    <a:pt x="165" y="794"/>
                    <a:pt x="166" y="786"/>
                  </a:cubicBezTo>
                  <a:cubicBezTo>
                    <a:pt x="167" y="778"/>
                    <a:pt x="182" y="773"/>
                    <a:pt x="189" y="783"/>
                  </a:cubicBezTo>
                  <a:cubicBezTo>
                    <a:pt x="196" y="793"/>
                    <a:pt x="199" y="797"/>
                    <a:pt x="209" y="800"/>
                  </a:cubicBezTo>
                  <a:cubicBezTo>
                    <a:pt x="219" y="803"/>
                    <a:pt x="219" y="810"/>
                    <a:pt x="235" y="810"/>
                  </a:cubicBezTo>
                  <a:cubicBezTo>
                    <a:pt x="251" y="810"/>
                    <a:pt x="259" y="801"/>
                    <a:pt x="270" y="815"/>
                  </a:cubicBezTo>
                  <a:cubicBezTo>
                    <a:pt x="281" y="829"/>
                    <a:pt x="303" y="836"/>
                    <a:pt x="303" y="850"/>
                  </a:cubicBezTo>
                  <a:cubicBezTo>
                    <a:pt x="303" y="864"/>
                    <a:pt x="303" y="874"/>
                    <a:pt x="316" y="874"/>
                  </a:cubicBezTo>
                  <a:cubicBezTo>
                    <a:pt x="329" y="874"/>
                    <a:pt x="343" y="883"/>
                    <a:pt x="347" y="894"/>
                  </a:cubicBezTo>
                  <a:cubicBezTo>
                    <a:pt x="351" y="905"/>
                    <a:pt x="359" y="924"/>
                    <a:pt x="371" y="925"/>
                  </a:cubicBezTo>
                  <a:cubicBezTo>
                    <a:pt x="383" y="926"/>
                    <a:pt x="378" y="934"/>
                    <a:pt x="381" y="947"/>
                  </a:cubicBezTo>
                  <a:cubicBezTo>
                    <a:pt x="384" y="960"/>
                    <a:pt x="388" y="959"/>
                    <a:pt x="402" y="961"/>
                  </a:cubicBezTo>
                  <a:cubicBezTo>
                    <a:pt x="416" y="963"/>
                    <a:pt x="458" y="965"/>
                    <a:pt x="458" y="956"/>
                  </a:cubicBezTo>
                  <a:cubicBezTo>
                    <a:pt x="458" y="947"/>
                    <a:pt x="462" y="941"/>
                    <a:pt x="473" y="943"/>
                  </a:cubicBezTo>
                  <a:cubicBezTo>
                    <a:pt x="484" y="945"/>
                    <a:pt x="484" y="950"/>
                    <a:pt x="488" y="956"/>
                  </a:cubicBezTo>
                  <a:cubicBezTo>
                    <a:pt x="492" y="962"/>
                    <a:pt x="501" y="958"/>
                    <a:pt x="501" y="954"/>
                  </a:cubicBezTo>
                  <a:cubicBezTo>
                    <a:pt x="501" y="950"/>
                    <a:pt x="510" y="950"/>
                    <a:pt x="521" y="950"/>
                  </a:cubicBezTo>
                  <a:cubicBezTo>
                    <a:pt x="532" y="950"/>
                    <a:pt x="538" y="957"/>
                    <a:pt x="548" y="960"/>
                  </a:cubicBezTo>
                  <a:cubicBezTo>
                    <a:pt x="558" y="963"/>
                    <a:pt x="575" y="970"/>
                    <a:pt x="569" y="982"/>
                  </a:cubicBezTo>
                  <a:cubicBezTo>
                    <a:pt x="563" y="994"/>
                    <a:pt x="564" y="1005"/>
                    <a:pt x="552" y="1013"/>
                  </a:cubicBezTo>
                  <a:cubicBezTo>
                    <a:pt x="540" y="1021"/>
                    <a:pt x="525" y="1040"/>
                    <a:pt x="536" y="1049"/>
                  </a:cubicBezTo>
                  <a:cubicBezTo>
                    <a:pt x="547" y="1058"/>
                    <a:pt x="559" y="1043"/>
                    <a:pt x="563" y="1052"/>
                  </a:cubicBezTo>
                  <a:cubicBezTo>
                    <a:pt x="566" y="1060"/>
                    <a:pt x="571" y="1066"/>
                    <a:pt x="583" y="1073"/>
                  </a:cubicBezTo>
                  <a:cubicBezTo>
                    <a:pt x="584" y="1068"/>
                    <a:pt x="584" y="1060"/>
                    <a:pt x="584" y="1053"/>
                  </a:cubicBezTo>
                  <a:cubicBezTo>
                    <a:pt x="584" y="1041"/>
                    <a:pt x="591" y="1028"/>
                    <a:pt x="591" y="1013"/>
                  </a:cubicBezTo>
                  <a:cubicBezTo>
                    <a:pt x="591" y="998"/>
                    <a:pt x="601" y="968"/>
                    <a:pt x="601" y="961"/>
                  </a:cubicBezTo>
                  <a:cubicBezTo>
                    <a:pt x="601" y="954"/>
                    <a:pt x="603" y="942"/>
                    <a:pt x="603" y="932"/>
                  </a:cubicBezTo>
                  <a:cubicBezTo>
                    <a:pt x="603" y="922"/>
                    <a:pt x="605" y="911"/>
                    <a:pt x="609" y="902"/>
                  </a:cubicBezTo>
                  <a:cubicBezTo>
                    <a:pt x="614" y="892"/>
                    <a:pt x="614" y="888"/>
                    <a:pt x="613" y="877"/>
                  </a:cubicBezTo>
                  <a:cubicBezTo>
                    <a:pt x="613" y="866"/>
                    <a:pt x="611" y="864"/>
                    <a:pt x="607" y="853"/>
                  </a:cubicBezTo>
                  <a:cubicBezTo>
                    <a:pt x="603" y="842"/>
                    <a:pt x="585" y="827"/>
                    <a:pt x="577" y="820"/>
                  </a:cubicBezTo>
                  <a:cubicBezTo>
                    <a:pt x="569" y="814"/>
                    <a:pt x="572" y="788"/>
                    <a:pt x="574" y="774"/>
                  </a:cubicBezTo>
                  <a:cubicBezTo>
                    <a:pt x="576" y="760"/>
                    <a:pt x="608" y="765"/>
                    <a:pt x="622" y="764"/>
                  </a:cubicBezTo>
                  <a:cubicBezTo>
                    <a:pt x="636" y="764"/>
                    <a:pt x="626" y="758"/>
                    <a:pt x="627" y="748"/>
                  </a:cubicBezTo>
                  <a:cubicBezTo>
                    <a:pt x="629" y="737"/>
                    <a:pt x="605" y="740"/>
                    <a:pt x="593" y="738"/>
                  </a:cubicBezTo>
                  <a:cubicBezTo>
                    <a:pt x="580" y="736"/>
                    <a:pt x="587" y="724"/>
                    <a:pt x="583" y="703"/>
                  </a:cubicBezTo>
                  <a:cubicBezTo>
                    <a:pt x="580" y="682"/>
                    <a:pt x="629" y="693"/>
                    <a:pt x="653" y="694"/>
                  </a:cubicBezTo>
                  <a:cubicBezTo>
                    <a:pt x="677" y="694"/>
                    <a:pt x="679" y="694"/>
                    <a:pt x="679" y="685"/>
                  </a:cubicBezTo>
                  <a:cubicBezTo>
                    <a:pt x="679" y="676"/>
                    <a:pt x="691" y="679"/>
                    <a:pt x="695" y="686"/>
                  </a:cubicBezTo>
                  <a:cubicBezTo>
                    <a:pt x="700" y="694"/>
                    <a:pt x="713" y="692"/>
                    <a:pt x="715" y="686"/>
                  </a:cubicBezTo>
                  <a:cubicBezTo>
                    <a:pt x="717" y="679"/>
                    <a:pt x="719" y="677"/>
                    <a:pt x="736" y="674"/>
                  </a:cubicBezTo>
                  <a:cubicBezTo>
                    <a:pt x="753" y="670"/>
                    <a:pt x="751" y="666"/>
                    <a:pt x="748" y="650"/>
                  </a:cubicBezTo>
                  <a:cubicBezTo>
                    <a:pt x="745" y="634"/>
                    <a:pt x="741" y="635"/>
                    <a:pt x="725" y="625"/>
                  </a:cubicBezTo>
                  <a:cubicBezTo>
                    <a:pt x="708" y="615"/>
                    <a:pt x="727" y="606"/>
                    <a:pt x="741" y="593"/>
                  </a:cubicBezTo>
                  <a:cubicBezTo>
                    <a:pt x="754" y="580"/>
                    <a:pt x="743" y="572"/>
                    <a:pt x="732" y="568"/>
                  </a:cubicBezTo>
                  <a:cubicBezTo>
                    <a:pt x="721" y="564"/>
                    <a:pt x="729" y="557"/>
                    <a:pt x="719" y="546"/>
                  </a:cubicBezTo>
                  <a:cubicBezTo>
                    <a:pt x="708" y="534"/>
                    <a:pt x="711" y="516"/>
                    <a:pt x="711" y="504"/>
                  </a:cubicBezTo>
                  <a:cubicBezTo>
                    <a:pt x="712" y="493"/>
                    <a:pt x="715" y="487"/>
                    <a:pt x="713" y="476"/>
                  </a:cubicBezTo>
                  <a:cubicBezTo>
                    <a:pt x="711" y="464"/>
                    <a:pt x="711" y="462"/>
                    <a:pt x="721" y="456"/>
                  </a:cubicBezTo>
                  <a:cubicBezTo>
                    <a:pt x="731" y="451"/>
                    <a:pt x="727" y="440"/>
                    <a:pt x="729" y="434"/>
                  </a:cubicBezTo>
                  <a:cubicBezTo>
                    <a:pt x="731" y="427"/>
                    <a:pt x="737" y="420"/>
                    <a:pt x="737" y="412"/>
                  </a:cubicBezTo>
                  <a:cubicBezTo>
                    <a:pt x="737" y="404"/>
                    <a:pt x="728" y="399"/>
                    <a:pt x="719" y="398"/>
                  </a:cubicBezTo>
                  <a:cubicBezTo>
                    <a:pt x="709" y="398"/>
                    <a:pt x="707" y="398"/>
                    <a:pt x="699" y="404"/>
                  </a:cubicBezTo>
                  <a:cubicBezTo>
                    <a:pt x="691" y="410"/>
                    <a:pt x="660" y="413"/>
                    <a:pt x="651" y="409"/>
                  </a:cubicBezTo>
                  <a:cubicBezTo>
                    <a:pt x="643" y="405"/>
                    <a:pt x="631" y="406"/>
                    <a:pt x="627" y="412"/>
                  </a:cubicBezTo>
                  <a:cubicBezTo>
                    <a:pt x="624" y="418"/>
                    <a:pt x="618" y="417"/>
                    <a:pt x="611" y="410"/>
                  </a:cubicBezTo>
                  <a:cubicBezTo>
                    <a:pt x="603" y="404"/>
                    <a:pt x="590" y="387"/>
                    <a:pt x="581" y="374"/>
                  </a:cubicBezTo>
                  <a:cubicBezTo>
                    <a:pt x="573" y="360"/>
                    <a:pt x="566" y="360"/>
                    <a:pt x="557" y="359"/>
                  </a:cubicBezTo>
                  <a:cubicBezTo>
                    <a:pt x="547" y="358"/>
                    <a:pt x="546" y="358"/>
                    <a:pt x="537" y="351"/>
                  </a:cubicBezTo>
                  <a:cubicBezTo>
                    <a:pt x="529" y="344"/>
                    <a:pt x="517" y="350"/>
                    <a:pt x="513" y="357"/>
                  </a:cubicBezTo>
                  <a:cubicBezTo>
                    <a:pt x="510" y="364"/>
                    <a:pt x="486" y="358"/>
                    <a:pt x="471" y="358"/>
                  </a:cubicBezTo>
                  <a:cubicBezTo>
                    <a:pt x="455" y="358"/>
                    <a:pt x="447" y="358"/>
                    <a:pt x="444" y="353"/>
                  </a:cubicBezTo>
                  <a:cubicBezTo>
                    <a:pt x="441" y="348"/>
                    <a:pt x="436" y="338"/>
                    <a:pt x="425" y="332"/>
                  </a:cubicBezTo>
                  <a:cubicBezTo>
                    <a:pt x="415" y="326"/>
                    <a:pt x="416" y="318"/>
                    <a:pt x="415" y="302"/>
                  </a:cubicBezTo>
                  <a:cubicBezTo>
                    <a:pt x="415" y="287"/>
                    <a:pt x="422" y="290"/>
                    <a:pt x="425" y="279"/>
                  </a:cubicBezTo>
                  <a:cubicBezTo>
                    <a:pt x="427" y="268"/>
                    <a:pt x="417" y="257"/>
                    <a:pt x="409" y="252"/>
                  </a:cubicBezTo>
                  <a:cubicBezTo>
                    <a:pt x="401" y="248"/>
                    <a:pt x="399" y="244"/>
                    <a:pt x="398" y="236"/>
                  </a:cubicBezTo>
                  <a:cubicBezTo>
                    <a:pt x="397" y="227"/>
                    <a:pt x="407" y="227"/>
                    <a:pt x="406" y="218"/>
                  </a:cubicBezTo>
                  <a:cubicBezTo>
                    <a:pt x="405" y="210"/>
                    <a:pt x="382" y="215"/>
                    <a:pt x="373" y="215"/>
                  </a:cubicBezTo>
                  <a:cubicBezTo>
                    <a:pt x="363" y="215"/>
                    <a:pt x="357" y="216"/>
                    <a:pt x="361" y="208"/>
                  </a:cubicBezTo>
                  <a:cubicBezTo>
                    <a:pt x="366" y="199"/>
                    <a:pt x="371" y="191"/>
                    <a:pt x="381" y="180"/>
                  </a:cubicBezTo>
                  <a:cubicBezTo>
                    <a:pt x="390" y="168"/>
                    <a:pt x="386" y="158"/>
                    <a:pt x="386" y="145"/>
                  </a:cubicBezTo>
                  <a:cubicBezTo>
                    <a:pt x="386" y="132"/>
                    <a:pt x="390" y="131"/>
                    <a:pt x="393" y="123"/>
                  </a:cubicBezTo>
                  <a:cubicBezTo>
                    <a:pt x="395" y="115"/>
                    <a:pt x="412" y="99"/>
                    <a:pt x="420" y="91"/>
                  </a:cubicBezTo>
                  <a:cubicBezTo>
                    <a:pt x="427" y="84"/>
                    <a:pt x="443" y="65"/>
                    <a:pt x="447" y="57"/>
                  </a:cubicBezTo>
                  <a:cubicBezTo>
                    <a:pt x="451" y="49"/>
                    <a:pt x="457" y="44"/>
                    <a:pt x="467" y="42"/>
                  </a:cubicBezTo>
                  <a:cubicBezTo>
                    <a:pt x="472" y="41"/>
                    <a:pt x="480" y="42"/>
                    <a:pt x="485" y="43"/>
                  </a:cubicBezTo>
                  <a:cubicBezTo>
                    <a:pt x="496" y="40"/>
                    <a:pt x="503" y="37"/>
                    <a:pt x="503" y="27"/>
                  </a:cubicBezTo>
                  <a:cubicBezTo>
                    <a:pt x="503" y="13"/>
                    <a:pt x="486" y="0"/>
                    <a:pt x="474" y="0"/>
                  </a:cubicBezTo>
                  <a:cubicBezTo>
                    <a:pt x="463" y="0"/>
                    <a:pt x="440" y="20"/>
                    <a:pt x="432" y="31"/>
                  </a:cubicBezTo>
                  <a:cubicBezTo>
                    <a:pt x="425" y="43"/>
                    <a:pt x="387" y="57"/>
                    <a:pt x="378" y="63"/>
                  </a:cubicBezTo>
                  <a:cubicBezTo>
                    <a:pt x="369" y="69"/>
                    <a:pt x="375" y="79"/>
                    <a:pt x="349" y="76"/>
                  </a:cubicBezTo>
                  <a:cubicBezTo>
                    <a:pt x="324" y="73"/>
                    <a:pt x="314" y="70"/>
                    <a:pt x="308" y="82"/>
                  </a:cubicBezTo>
                  <a:cubicBezTo>
                    <a:pt x="302" y="93"/>
                    <a:pt x="302" y="110"/>
                    <a:pt x="282" y="97"/>
                  </a:cubicBezTo>
                  <a:cubicBezTo>
                    <a:pt x="262" y="84"/>
                    <a:pt x="260" y="89"/>
                    <a:pt x="243" y="102"/>
                  </a:cubicBezTo>
                  <a:cubicBezTo>
                    <a:pt x="226" y="114"/>
                    <a:pt x="212" y="133"/>
                    <a:pt x="217" y="150"/>
                  </a:cubicBezTo>
                  <a:cubicBezTo>
                    <a:pt x="223" y="168"/>
                    <a:pt x="228" y="188"/>
                    <a:pt x="209" y="192"/>
                  </a:cubicBezTo>
                  <a:cubicBezTo>
                    <a:pt x="190" y="196"/>
                    <a:pt x="183" y="209"/>
                    <a:pt x="173" y="221"/>
                  </a:cubicBezTo>
                  <a:cubicBezTo>
                    <a:pt x="163" y="232"/>
                    <a:pt x="149" y="242"/>
                    <a:pt x="149" y="254"/>
                  </a:cubicBezTo>
                  <a:cubicBezTo>
                    <a:pt x="149" y="265"/>
                    <a:pt x="134" y="289"/>
                    <a:pt x="123" y="266"/>
                  </a:cubicBezTo>
                  <a:cubicBezTo>
                    <a:pt x="118" y="256"/>
                    <a:pt x="112" y="247"/>
                    <a:pt x="106" y="239"/>
                  </a:cubicBezTo>
                  <a:cubicBezTo>
                    <a:pt x="104" y="242"/>
                    <a:pt x="103" y="246"/>
                    <a:pt x="103" y="250"/>
                  </a:cubicBezTo>
                  <a:cubicBezTo>
                    <a:pt x="104" y="257"/>
                    <a:pt x="99" y="257"/>
                    <a:pt x="102" y="264"/>
                  </a:cubicBezTo>
                  <a:cubicBezTo>
                    <a:pt x="105" y="271"/>
                    <a:pt x="101" y="275"/>
                    <a:pt x="108" y="277"/>
                  </a:cubicBezTo>
                  <a:cubicBezTo>
                    <a:pt x="114" y="278"/>
                    <a:pt x="115" y="286"/>
                    <a:pt x="115" y="289"/>
                  </a:cubicBezTo>
                  <a:cubicBezTo>
                    <a:pt x="115" y="293"/>
                    <a:pt x="116" y="301"/>
                    <a:pt x="110" y="306"/>
                  </a:cubicBezTo>
                  <a:cubicBezTo>
                    <a:pt x="105" y="311"/>
                    <a:pt x="95" y="322"/>
                    <a:pt x="92" y="316"/>
                  </a:cubicBezTo>
                  <a:cubicBezTo>
                    <a:pt x="89" y="309"/>
                    <a:pt x="81" y="303"/>
                    <a:pt x="81" y="308"/>
                  </a:cubicBezTo>
                  <a:cubicBezTo>
                    <a:pt x="80" y="314"/>
                    <a:pt x="81" y="330"/>
                    <a:pt x="79" y="333"/>
                  </a:cubicBezTo>
                  <a:cubicBezTo>
                    <a:pt x="79" y="335"/>
                    <a:pt x="78" y="336"/>
                    <a:pt x="76" y="337"/>
                  </a:cubicBezTo>
                  <a:cubicBezTo>
                    <a:pt x="77" y="339"/>
                    <a:pt x="79" y="341"/>
                    <a:pt x="80" y="343"/>
                  </a:cubicBezTo>
                  <a:cubicBezTo>
                    <a:pt x="90" y="358"/>
                    <a:pt x="96" y="362"/>
                    <a:pt x="101" y="374"/>
                  </a:cubicBezTo>
                  <a:cubicBezTo>
                    <a:pt x="105" y="385"/>
                    <a:pt x="106" y="400"/>
                    <a:pt x="106" y="405"/>
                  </a:cubicBezTo>
                  <a:cubicBezTo>
                    <a:pt x="106" y="411"/>
                    <a:pt x="104" y="416"/>
                    <a:pt x="109" y="419"/>
                  </a:cubicBezTo>
                  <a:cubicBezTo>
                    <a:pt x="113" y="422"/>
                    <a:pt x="115" y="428"/>
                    <a:pt x="110" y="433"/>
                  </a:cubicBezTo>
                  <a:cubicBezTo>
                    <a:pt x="105" y="439"/>
                    <a:pt x="97" y="441"/>
                    <a:pt x="100" y="453"/>
                  </a:cubicBezTo>
                  <a:cubicBezTo>
                    <a:pt x="102" y="464"/>
                    <a:pt x="103" y="474"/>
                    <a:pt x="109" y="485"/>
                  </a:cubicBezTo>
                  <a:cubicBezTo>
                    <a:pt x="114" y="496"/>
                    <a:pt x="113" y="497"/>
                    <a:pt x="112" y="515"/>
                  </a:cubicBezTo>
                  <a:cubicBezTo>
                    <a:pt x="111" y="532"/>
                    <a:pt x="97" y="533"/>
                    <a:pt x="105" y="544"/>
                  </a:cubicBezTo>
                  <a:cubicBezTo>
                    <a:pt x="112" y="554"/>
                    <a:pt x="123" y="556"/>
                    <a:pt x="116" y="568"/>
                  </a:cubicBezTo>
                  <a:cubicBezTo>
                    <a:pt x="109" y="580"/>
                    <a:pt x="104" y="585"/>
                    <a:pt x="98" y="599"/>
                  </a:cubicBezTo>
                  <a:cubicBezTo>
                    <a:pt x="92" y="612"/>
                    <a:pt x="83" y="628"/>
                    <a:pt x="71" y="634"/>
                  </a:cubicBezTo>
                  <a:cubicBezTo>
                    <a:pt x="58" y="640"/>
                    <a:pt x="35" y="643"/>
                    <a:pt x="30" y="651"/>
                  </a:cubicBezTo>
                  <a:cubicBezTo>
                    <a:pt x="25" y="659"/>
                    <a:pt x="36" y="671"/>
                    <a:pt x="21" y="679"/>
                  </a:cubicBezTo>
                  <a:cubicBezTo>
                    <a:pt x="5" y="687"/>
                    <a:pt x="0" y="690"/>
                    <a:pt x="3" y="699"/>
                  </a:cubicBezTo>
                  <a:cubicBezTo>
                    <a:pt x="4" y="702"/>
                    <a:pt x="6" y="708"/>
                    <a:pt x="7" y="713"/>
                  </a:cubicBezTo>
                  <a:cubicBezTo>
                    <a:pt x="13" y="714"/>
                    <a:pt x="22" y="715"/>
                    <a:pt x="27" y="721"/>
                  </a:cubicBezTo>
                  <a:cubicBezTo>
                    <a:pt x="36" y="731"/>
                    <a:pt x="48" y="744"/>
                    <a:pt x="65" y="746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534" name="Freeform 25745"/>
            <p:cNvSpPr>
              <a:spLocks/>
            </p:cNvSpPr>
            <p:nvPr/>
          </p:nvSpPr>
          <p:spPr bwMode="auto">
            <a:xfrm>
              <a:off x="2375740" y="3792812"/>
              <a:ext cx="141735" cy="157834"/>
            </a:xfrm>
            <a:custGeom>
              <a:avLst/>
              <a:gdLst>
                <a:gd name="T0" fmla="*/ 49 w 380"/>
                <a:gd name="T1" fmla="*/ 312 h 423"/>
                <a:gd name="T2" fmla="*/ 49 w 380"/>
                <a:gd name="T3" fmla="*/ 344 h 423"/>
                <a:gd name="T4" fmla="*/ 35 w 380"/>
                <a:gd name="T5" fmla="*/ 359 h 423"/>
                <a:gd name="T6" fmla="*/ 45 w 380"/>
                <a:gd name="T7" fmla="*/ 382 h 423"/>
                <a:gd name="T8" fmla="*/ 66 w 380"/>
                <a:gd name="T9" fmla="*/ 369 h 423"/>
                <a:gd name="T10" fmla="*/ 93 w 380"/>
                <a:gd name="T11" fmla="*/ 382 h 423"/>
                <a:gd name="T12" fmla="*/ 107 w 380"/>
                <a:gd name="T13" fmla="*/ 407 h 423"/>
                <a:gd name="T14" fmla="*/ 131 w 380"/>
                <a:gd name="T15" fmla="*/ 409 h 423"/>
                <a:gd name="T16" fmla="*/ 142 w 380"/>
                <a:gd name="T17" fmla="*/ 390 h 423"/>
                <a:gd name="T18" fmla="*/ 155 w 380"/>
                <a:gd name="T19" fmla="*/ 375 h 423"/>
                <a:gd name="T20" fmla="*/ 161 w 380"/>
                <a:gd name="T21" fmla="*/ 338 h 423"/>
                <a:gd name="T22" fmla="*/ 212 w 380"/>
                <a:gd name="T23" fmla="*/ 278 h 423"/>
                <a:gd name="T24" fmla="*/ 274 w 380"/>
                <a:gd name="T25" fmla="*/ 261 h 423"/>
                <a:gd name="T26" fmla="*/ 351 w 380"/>
                <a:gd name="T27" fmla="*/ 189 h 423"/>
                <a:gd name="T28" fmla="*/ 361 w 380"/>
                <a:gd name="T29" fmla="*/ 155 h 423"/>
                <a:gd name="T30" fmla="*/ 370 w 380"/>
                <a:gd name="T31" fmla="*/ 140 h 423"/>
                <a:gd name="T32" fmla="*/ 364 w 380"/>
                <a:gd name="T33" fmla="*/ 122 h 423"/>
                <a:gd name="T34" fmla="*/ 345 w 380"/>
                <a:gd name="T35" fmla="*/ 93 h 423"/>
                <a:gd name="T36" fmla="*/ 335 w 380"/>
                <a:gd name="T37" fmla="*/ 87 h 423"/>
                <a:gd name="T38" fmla="*/ 315 w 380"/>
                <a:gd name="T39" fmla="*/ 70 h 423"/>
                <a:gd name="T40" fmla="*/ 292 w 380"/>
                <a:gd name="T41" fmla="*/ 73 h 423"/>
                <a:gd name="T42" fmla="*/ 269 w 380"/>
                <a:gd name="T43" fmla="*/ 80 h 423"/>
                <a:gd name="T44" fmla="*/ 243 w 380"/>
                <a:gd name="T45" fmla="*/ 70 h 423"/>
                <a:gd name="T46" fmla="*/ 220 w 380"/>
                <a:gd name="T47" fmla="*/ 49 h 423"/>
                <a:gd name="T48" fmla="*/ 191 w 380"/>
                <a:gd name="T49" fmla="*/ 33 h 423"/>
                <a:gd name="T50" fmla="*/ 153 w 380"/>
                <a:gd name="T51" fmla="*/ 8 h 423"/>
                <a:gd name="T52" fmla="*/ 133 w 380"/>
                <a:gd name="T53" fmla="*/ 0 h 423"/>
                <a:gd name="T54" fmla="*/ 125 w 380"/>
                <a:gd name="T55" fmla="*/ 17 h 423"/>
                <a:gd name="T56" fmla="*/ 98 w 380"/>
                <a:gd name="T57" fmla="*/ 25 h 423"/>
                <a:gd name="T58" fmla="*/ 79 w 380"/>
                <a:gd name="T59" fmla="*/ 32 h 423"/>
                <a:gd name="T60" fmla="*/ 58 w 380"/>
                <a:gd name="T61" fmla="*/ 51 h 423"/>
                <a:gd name="T62" fmla="*/ 57 w 380"/>
                <a:gd name="T63" fmla="*/ 92 h 423"/>
                <a:gd name="T64" fmla="*/ 39 w 380"/>
                <a:gd name="T65" fmla="*/ 109 h 423"/>
                <a:gd name="T66" fmla="*/ 28 w 380"/>
                <a:gd name="T67" fmla="*/ 139 h 423"/>
                <a:gd name="T68" fmla="*/ 3 w 380"/>
                <a:gd name="T69" fmla="*/ 162 h 423"/>
                <a:gd name="T70" fmla="*/ 11 w 380"/>
                <a:gd name="T71" fmla="*/ 199 h 423"/>
                <a:gd name="T72" fmla="*/ 15 w 380"/>
                <a:gd name="T73" fmla="*/ 219 h 423"/>
                <a:gd name="T74" fmla="*/ 12 w 380"/>
                <a:gd name="T75" fmla="*/ 237 h 423"/>
                <a:gd name="T76" fmla="*/ 32 w 380"/>
                <a:gd name="T77" fmla="*/ 253 h 423"/>
                <a:gd name="T78" fmla="*/ 53 w 380"/>
                <a:gd name="T79" fmla="*/ 262 h 423"/>
                <a:gd name="T80" fmla="*/ 66 w 380"/>
                <a:gd name="T81" fmla="*/ 242 h 423"/>
                <a:gd name="T82" fmla="*/ 75 w 380"/>
                <a:gd name="T83" fmla="*/ 240 h 423"/>
                <a:gd name="T84" fmla="*/ 79 w 380"/>
                <a:gd name="T85" fmla="*/ 262 h 423"/>
                <a:gd name="T86" fmla="*/ 66 w 380"/>
                <a:gd name="T87" fmla="*/ 276 h 423"/>
                <a:gd name="T88" fmla="*/ 65 w 380"/>
                <a:gd name="T89" fmla="*/ 295 h 423"/>
                <a:gd name="T90" fmla="*/ 41 w 380"/>
                <a:gd name="T91" fmla="*/ 303 h 423"/>
                <a:gd name="T92" fmla="*/ 49 w 380"/>
                <a:gd name="T93" fmla="*/ 312 h 4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80" h="423">
                  <a:moveTo>
                    <a:pt x="49" y="312"/>
                  </a:moveTo>
                  <a:cubicBezTo>
                    <a:pt x="56" y="316"/>
                    <a:pt x="61" y="341"/>
                    <a:pt x="49" y="344"/>
                  </a:cubicBezTo>
                  <a:cubicBezTo>
                    <a:pt x="37" y="347"/>
                    <a:pt x="31" y="350"/>
                    <a:pt x="35" y="359"/>
                  </a:cubicBezTo>
                  <a:cubicBezTo>
                    <a:pt x="39" y="368"/>
                    <a:pt x="41" y="393"/>
                    <a:pt x="45" y="382"/>
                  </a:cubicBezTo>
                  <a:cubicBezTo>
                    <a:pt x="49" y="371"/>
                    <a:pt x="56" y="367"/>
                    <a:pt x="66" y="369"/>
                  </a:cubicBezTo>
                  <a:cubicBezTo>
                    <a:pt x="76" y="371"/>
                    <a:pt x="87" y="372"/>
                    <a:pt x="93" y="382"/>
                  </a:cubicBezTo>
                  <a:cubicBezTo>
                    <a:pt x="99" y="392"/>
                    <a:pt x="99" y="404"/>
                    <a:pt x="107" y="407"/>
                  </a:cubicBezTo>
                  <a:cubicBezTo>
                    <a:pt x="115" y="410"/>
                    <a:pt x="127" y="423"/>
                    <a:pt x="131" y="409"/>
                  </a:cubicBezTo>
                  <a:cubicBezTo>
                    <a:pt x="135" y="395"/>
                    <a:pt x="133" y="392"/>
                    <a:pt x="142" y="390"/>
                  </a:cubicBezTo>
                  <a:cubicBezTo>
                    <a:pt x="151" y="388"/>
                    <a:pt x="152" y="387"/>
                    <a:pt x="155" y="375"/>
                  </a:cubicBezTo>
                  <a:cubicBezTo>
                    <a:pt x="158" y="363"/>
                    <a:pt x="152" y="353"/>
                    <a:pt x="161" y="338"/>
                  </a:cubicBezTo>
                  <a:cubicBezTo>
                    <a:pt x="170" y="323"/>
                    <a:pt x="186" y="284"/>
                    <a:pt x="212" y="278"/>
                  </a:cubicBezTo>
                  <a:cubicBezTo>
                    <a:pt x="238" y="272"/>
                    <a:pt x="257" y="268"/>
                    <a:pt x="274" y="261"/>
                  </a:cubicBezTo>
                  <a:cubicBezTo>
                    <a:pt x="291" y="254"/>
                    <a:pt x="347" y="211"/>
                    <a:pt x="351" y="189"/>
                  </a:cubicBezTo>
                  <a:cubicBezTo>
                    <a:pt x="355" y="167"/>
                    <a:pt x="356" y="159"/>
                    <a:pt x="361" y="155"/>
                  </a:cubicBezTo>
                  <a:cubicBezTo>
                    <a:pt x="366" y="151"/>
                    <a:pt x="370" y="151"/>
                    <a:pt x="370" y="140"/>
                  </a:cubicBezTo>
                  <a:cubicBezTo>
                    <a:pt x="370" y="129"/>
                    <a:pt x="380" y="134"/>
                    <a:pt x="364" y="122"/>
                  </a:cubicBezTo>
                  <a:cubicBezTo>
                    <a:pt x="353" y="113"/>
                    <a:pt x="347" y="103"/>
                    <a:pt x="345" y="93"/>
                  </a:cubicBezTo>
                  <a:cubicBezTo>
                    <a:pt x="342" y="91"/>
                    <a:pt x="340" y="88"/>
                    <a:pt x="335" y="87"/>
                  </a:cubicBezTo>
                  <a:cubicBezTo>
                    <a:pt x="325" y="84"/>
                    <a:pt x="322" y="80"/>
                    <a:pt x="315" y="70"/>
                  </a:cubicBezTo>
                  <a:cubicBezTo>
                    <a:pt x="308" y="60"/>
                    <a:pt x="293" y="65"/>
                    <a:pt x="292" y="73"/>
                  </a:cubicBezTo>
                  <a:cubicBezTo>
                    <a:pt x="291" y="81"/>
                    <a:pt x="284" y="80"/>
                    <a:pt x="269" y="80"/>
                  </a:cubicBezTo>
                  <a:cubicBezTo>
                    <a:pt x="254" y="80"/>
                    <a:pt x="251" y="70"/>
                    <a:pt x="243" y="70"/>
                  </a:cubicBezTo>
                  <a:cubicBezTo>
                    <a:pt x="235" y="70"/>
                    <a:pt x="223" y="61"/>
                    <a:pt x="220" y="49"/>
                  </a:cubicBezTo>
                  <a:cubicBezTo>
                    <a:pt x="217" y="37"/>
                    <a:pt x="208" y="35"/>
                    <a:pt x="191" y="33"/>
                  </a:cubicBezTo>
                  <a:cubicBezTo>
                    <a:pt x="174" y="31"/>
                    <a:pt x="162" y="18"/>
                    <a:pt x="153" y="8"/>
                  </a:cubicBezTo>
                  <a:cubicBezTo>
                    <a:pt x="148" y="2"/>
                    <a:pt x="139" y="1"/>
                    <a:pt x="133" y="0"/>
                  </a:cubicBezTo>
                  <a:cubicBezTo>
                    <a:pt x="134" y="8"/>
                    <a:pt x="133" y="15"/>
                    <a:pt x="125" y="17"/>
                  </a:cubicBezTo>
                  <a:cubicBezTo>
                    <a:pt x="110" y="19"/>
                    <a:pt x="103" y="19"/>
                    <a:pt x="98" y="25"/>
                  </a:cubicBezTo>
                  <a:cubicBezTo>
                    <a:pt x="93" y="30"/>
                    <a:pt x="91" y="29"/>
                    <a:pt x="79" y="32"/>
                  </a:cubicBezTo>
                  <a:cubicBezTo>
                    <a:pt x="66" y="34"/>
                    <a:pt x="58" y="38"/>
                    <a:pt x="58" y="51"/>
                  </a:cubicBezTo>
                  <a:cubicBezTo>
                    <a:pt x="58" y="65"/>
                    <a:pt x="71" y="85"/>
                    <a:pt x="57" y="92"/>
                  </a:cubicBezTo>
                  <a:cubicBezTo>
                    <a:pt x="43" y="99"/>
                    <a:pt x="39" y="99"/>
                    <a:pt x="39" y="109"/>
                  </a:cubicBezTo>
                  <a:cubicBezTo>
                    <a:pt x="39" y="119"/>
                    <a:pt x="38" y="133"/>
                    <a:pt x="28" y="139"/>
                  </a:cubicBezTo>
                  <a:cubicBezTo>
                    <a:pt x="19" y="144"/>
                    <a:pt x="0" y="146"/>
                    <a:pt x="3" y="162"/>
                  </a:cubicBezTo>
                  <a:cubicBezTo>
                    <a:pt x="5" y="178"/>
                    <a:pt x="2" y="194"/>
                    <a:pt x="11" y="199"/>
                  </a:cubicBezTo>
                  <a:cubicBezTo>
                    <a:pt x="19" y="205"/>
                    <a:pt x="23" y="214"/>
                    <a:pt x="15" y="219"/>
                  </a:cubicBezTo>
                  <a:cubicBezTo>
                    <a:pt x="6" y="223"/>
                    <a:pt x="1" y="232"/>
                    <a:pt x="12" y="237"/>
                  </a:cubicBezTo>
                  <a:cubicBezTo>
                    <a:pt x="23" y="242"/>
                    <a:pt x="26" y="245"/>
                    <a:pt x="32" y="253"/>
                  </a:cubicBezTo>
                  <a:cubicBezTo>
                    <a:pt x="37" y="260"/>
                    <a:pt x="45" y="269"/>
                    <a:pt x="53" y="262"/>
                  </a:cubicBezTo>
                  <a:cubicBezTo>
                    <a:pt x="60" y="255"/>
                    <a:pt x="65" y="251"/>
                    <a:pt x="66" y="242"/>
                  </a:cubicBezTo>
                  <a:cubicBezTo>
                    <a:pt x="68" y="233"/>
                    <a:pt x="74" y="232"/>
                    <a:pt x="75" y="240"/>
                  </a:cubicBezTo>
                  <a:cubicBezTo>
                    <a:pt x="76" y="248"/>
                    <a:pt x="93" y="256"/>
                    <a:pt x="79" y="262"/>
                  </a:cubicBezTo>
                  <a:cubicBezTo>
                    <a:pt x="66" y="268"/>
                    <a:pt x="60" y="272"/>
                    <a:pt x="66" y="276"/>
                  </a:cubicBezTo>
                  <a:cubicBezTo>
                    <a:pt x="73" y="280"/>
                    <a:pt x="82" y="290"/>
                    <a:pt x="65" y="295"/>
                  </a:cubicBezTo>
                  <a:cubicBezTo>
                    <a:pt x="58" y="297"/>
                    <a:pt x="49" y="299"/>
                    <a:pt x="41" y="303"/>
                  </a:cubicBezTo>
                  <a:cubicBezTo>
                    <a:pt x="43" y="306"/>
                    <a:pt x="46" y="310"/>
                    <a:pt x="49" y="312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535" name="Freeform 25746"/>
            <p:cNvSpPr>
              <a:spLocks/>
            </p:cNvSpPr>
            <p:nvPr/>
          </p:nvSpPr>
          <p:spPr bwMode="auto">
            <a:xfrm>
              <a:off x="2368006" y="3825642"/>
              <a:ext cx="304936" cy="444145"/>
            </a:xfrm>
            <a:custGeom>
              <a:avLst/>
              <a:gdLst>
                <a:gd name="T0" fmla="*/ 740 w 818"/>
                <a:gd name="T1" fmla="*/ 1159 h 1191"/>
                <a:gd name="T2" fmla="*/ 755 w 818"/>
                <a:gd name="T3" fmla="*/ 1136 h 1191"/>
                <a:gd name="T4" fmla="*/ 780 w 818"/>
                <a:gd name="T5" fmla="*/ 1086 h 1191"/>
                <a:gd name="T6" fmla="*/ 767 w 818"/>
                <a:gd name="T7" fmla="*/ 1027 h 1191"/>
                <a:gd name="T8" fmla="*/ 766 w 818"/>
                <a:gd name="T9" fmla="*/ 970 h 1191"/>
                <a:gd name="T10" fmla="*/ 796 w 818"/>
                <a:gd name="T11" fmla="*/ 921 h 1191"/>
                <a:gd name="T12" fmla="*/ 788 w 818"/>
                <a:gd name="T13" fmla="*/ 867 h 1191"/>
                <a:gd name="T14" fmla="*/ 808 w 818"/>
                <a:gd name="T15" fmla="*/ 811 h 1191"/>
                <a:gd name="T16" fmla="*/ 780 w 818"/>
                <a:gd name="T17" fmla="*/ 751 h 1191"/>
                <a:gd name="T18" fmla="*/ 742 w 818"/>
                <a:gd name="T19" fmla="*/ 703 h 1191"/>
                <a:gd name="T20" fmla="*/ 693 w 818"/>
                <a:gd name="T21" fmla="*/ 707 h 1191"/>
                <a:gd name="T22" fmla="*/ 687 w 818"/>
                <a:gd name="T23" fmla="*/ 635 h 1191"/>
                <a:gd name="T24" fmla="*/ 666 w 818"/>
                <a:gd name="T25" fmla="*/ 626 h 1191"/>
                <a:gd name="T26" fmla="*/ 594 w 818"/>
                <a:gd name="T27" fmla="*/ 646 h 1191"/>
                <a:gd name="T28" fmla="*/ 546 w 818"/>
                <a:gd name="T29" fmla="*/ 604 h 1191"/>
                <a:gd name="T30" fmla="*/ 524 w 818"/>
                <a:gd name="T31" fmla="*/ 570 h 1191"/>
                <a:gd name="T32" fmla="*/ 487 w 818"/>
                <a:gd name="T33" fmla="*/ 513 h 1191"/>
                <a:gd name="T34" fmla="*/ 484 w 818"/>
                <a:gd name="T35" fmla="*/ 474 h 1191"/>
                <a:gd name="T36" fmla="*/ 498 w 818"/>
                <a:gd name="T37" fmla="*/ 431 h 1191"/>
                <a:gd name="T38" fmla="*/ 520 w 818"/>
                <a:gd name="T39" fmla="*/ 399 h 1191"/>
                <a:gd name="T40" fmla="*/ 536 w 818"/>
                <a:gd name="T41" fmla="*/ 344 h 1191"/>
                <a:gd name="T42" fmla="*/ 591 w 818"/>
                <a:gd name="T43" fmla="*/ 299 h 1191"/>
                <a:gd name="T44" fmla="*/ 670 w 818"/>
                <a:gd name="T45" fmla="*/ 274 h 1191"/>
                <a:gd name="T46" fmla="*/ 722 w 818"/>
                <a:gd name="T47" fmla="*/ 279 h 1191"/>
                <a:gd name="T48" fmla="*/ 710 w 818"/>
                <a:gd name="T49" fmla="*/ 251 h 1191"/>
                <a:gd name="T50" fmla="*/ 699 w 818"/>
                <a:gd name="T51" fmla="*/ 212 h 1191"/>
                <a:gd name="T52" fmla="*/ 695 w 818"/>
                <a:gd name="T53" fmla="*/ 159 h 1191"/>
                <a:gd name="T54" fmla="*/ 648 w 818"/>
                <a:gd name="T55" fmla="*/ 153 h 1191"/>
                <a:gd name="T56" fmla="*/ 620 w 818"/>
                <a:gd name="T57" fmla="*/ 142 h 1191"/>
                <a:gd name="T58" fmla="*/ 549 w 818"/>
                <a:gd name="T59" fmla="*/ 160 h 1191"/>
                <a:gd name="T60" fmla="*/ 518 w 818"/>
                <a:gd name="T61" fmla="*/ 124 h 1191"/>
                <a:gd name="T62" fmla="*/ 463 w 818"/>
                <a:gd name="T63" fmla="*/ 73 h 1191"/>
                <a:gd name="T64" fmla="*/ 417 w 818"/>
                <a:gd name="T65" fmla="*/ 14 h 1191"/>
                <a:gd name="T66" fmla="*/ 366 w 818"/>
                <a:gd name="T67" fmla="*/ 5 h 1191"/>
                <a:gd name="T68" fmla="*/ 391 w 818"/>
                <a:gd name="T69" fmla="*/ 52 h 1191"/>
                <a:gd name="T70" fmla="*/ 372 w 818"/>
                <a:gd name="T71" fmla="*/ 101 h 1191"/>
                <a:gd name="T72" fmla="*/ 233 w 818"/>
                <a:gd name="T73" fmla="*/ 190 h 1191"/>
                <a:gd name="T74" fmla="*/ 176 w 818"/>
                <a:gd name="T75" fmla="*/ 287 h 1191"/>
                <a:gd name="T76" fmla="*/ 152 w 818"/>
                <a:gd name="T77" fmla="*/ 321 h 1191"/>
                <a:gd name="T78" fmla="*/ 114 w 818"/>
                <a:gd name="T79" fmla="*/ 294 h 1191"/>
                <a:gd name="T80" fmla="*/ 66 w 818"/>
                <a:gd name="T81" fmla="*/ 294 h 1191"/>
                <a:gd name="T82" fmla="*/ 70 w 818"/>
                <a:gd name="T83" fmla="*/ 256 h 1191"/>
                <a:gd name="T84" fmla="*/ 62 w 818"/>
                <a:gd name="T85" fmla="*/ 215 h 1191"/>
                <a:gd name="T86" fmla="*/ 14 w 818"/>
                <a:gd name="T87" fmla="*/ 264 h 1191"/>
                <a:gd name="T88" fmla="*/ 13 w 818"/>
                <a:gd name="T89" fmla="*/ 330 h 1191"/>
                <a:gd name="T90" fmla="*/ 19 w 818"/>
                <a:gd name="T91" fmla="*/ 375 h 1191"/>
                <a:gd name="T92" fmla="*/ 63 w 818"/>
                <a:gd name="T93" fmla="*/ 415 h 1191"/>
                <a:gd name="T94" fmla="*/ 146 w 818"/>
                <a:gd name="T95" fmla="*/ 518 h 1191"/>
                <a:gd name="T96" fmla="*/ 201 w 818"/>
                <a:gd name="T97" fmla="*/ 631 h 1191"/>
                <a:gd name="T98" fmla="*/ 249 w 818"/>
                <a:gd name="T99" fmla="*/ 726 h 1191"/>
                <a:gd name="T100" fmla="*/ 296 w 818"/>
                <a:gd name="T101" fmla="*/ 799 h 1191"/>
                <a:gd name="T102" fmla="*/ 335 w 818"/>
                <a:gd name="T103" fmla="*/ 869 h 1191"/>
                <a:gd name="T104" fmla="*/ 348 w 818"/>
                <a:gd name="T105" fmla="*/ 930 h 1191"/>
                <a:gd name="T106" fmla="*/ 410 w 818"/>
                <a:gd name="T107" fmla="*/ 998 h 1191"/>
                <a:gd name="T108" fmla="*/ 502 w 818"/>
                <a:gd name="T109" fmla="*/ 1050 h 1191"/>
                <a:gd name="T110" fmla="*/ 601 w 818"/>
                <a:gd name="T111" fmla="*/ 1099 h 1191"/>
                <a:gd name="T112" fmla="*/ 660 w 818"/>
                <a:gd name="T113" fmla="*/ 1152 h 1191"/>
                <a:gd name="T114" fmla="*/ 709 w 818"/>
                <a:gd name="T115" fmla="*/ 1187 h 1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818" h="1191">
                  <a:moveTo>
                    <a:pt x="734" y="1182"/>
                  </a:moveTo>
                  <a:cubicBezTo>
                    <a:pt x="739" y="1174"/>
                    <a:pt x="742" y="1169"/>
                    <a:pt x="740" y="1159"/>
                  </a:cubicBezTo>
                  <a:cubicBezTo>
                    <a:pt x="739" y="1149"/>
                    <a:pt x="742" y="1143"/>
                    <a:pt x="746" y="1140"/>
                  </a:cubicBezTo>
                  <a:cubicBezTo>
                    <a:pt x="749" y="1138"/>
                    <a:pt x="752" y="1137"/>
                    <a:pt x="755" y="1136"/>
                  </a:cubicBezTo>
                  <a:cubicBezTo>
                    <a:pt x="752" y="1131"/>
                    <a:pt x="754" y="1124"/>
                    <a:pt x="752" y="1118"/>
                  </a:cubicBezTo>
                  <a:cubicBezTo>
                    <a:pt x="750" y="1110"/>
                    <a:pt x="770" y="1093"/>
                    <a:pt x="780" y="1086"/>
                  </a:cubicBezTo>
                  <a:cubicBezTo>
                    <a:pt x="791" y="1079"/>
                    <a:pt x="793" y="1057"/>
                    <a:pt x="783" y="1050"/>
                  </a:cubicBezTo>
                  <a:cubicBezTo>
                    <a:pt x="773" y="1043"/>
                    <a:pt x="772" y="1037"/>
                    <a:pt x="767" y="1027"/>
                  </a:cubicBezTo>
                  <a:cubicBezTo>
                    <a:pt x="762" y="1018"/>
                    <a:pt x="762" y="1005"/>
                    <a:pt x="770" y="997"/>
                  </a:cubicBezTo>
                  <a:cubicBezTo>
                    <a:pt x="777" y="988"/>
                    <a:pt x="774" y="975"/>
                    <a:pt x="766" y="970"/>
                  </a:cubicBezTo>
                  <a:cubicBezTo>
                    <a:pt x="759" y="965"/>
                    <a:pt x="766" y="957"/>
                    <a:pt x="773" y="947"/>
                  </a:cubicBezTo>
                  <a:cubicBezTo>
                    <a:pt x="780" y="938"/>
                    <a:pt x="788" y="933"/>
                    <a:pt x="796" y="921"/>
                  </a:cubicBezTo>
                  <a:cubicBezTo>
                    <a:pt x="803" y="909"/>
                    <a:pt x="796" y="905"/>
                    <a:pt x="790" y="899"/>
                  </a:cubicBezTo>
                  <a:cubicBezTo>
                    <a:pt x="785" y="892"/>
                    <a:pt x="783" y="874"/>
                    <a:pt x="788" y="867"/>
                  </a:cubicBezTo>
                  <a:cubicBezTo>
                    <a:pt x="792" y="861"/>
                    <a:pt x="793" y="853"/>
                    <a:pt x="794" y="839"/>
                  </a:cubicBezTo>
                  <a:cubicBezTo>
                    <a:pt x="794" y="824"/>
                    <a:pt x="798" y="825"/>
                    <a:pt x="808" y="811"/>
                  </a:cubicBezTo>
                  <a:cubicBezTo>
                    <a:pt x="818" y="797"/>
                    <a:pt x="802" y="782"/>
                    <a:pt x="796" y="775"/>
                  </a:cubicBezTo>
                  <a:cubicBezTo>
                    <a:pt x="790" y="767"/>
                    <a:pt x="789" y="761"/>
                    <a:pt x="780" y="751"/>
                  </a:cubicBezTo>
                  <a:cubicBezTo>
                    <a:pt x="772" y="742"/>
                    <a:pt x="767" y="742"/>
                    <a:pt x="764" y="721"/>
                  </a:cubicBezTo>
                  <a:cubicBezTo>
                    <a:pt x="762" y="699"/>
                    <a:pt x="749" y="705"/>
                    <a:pt x="742" y="703"/>
                  </a:cubicBezTo>
                  <a:cubicBezTo>
                    <a:pt x="734" y="702"/>
                    <a:pt x="722" y="701"/>
                    <a:pt x="717" y="709"/>
                  </a:cubicBezTo>
                  <a:cubicBezTo>
                    <a:pt x="712" y="718"/>
                    <a:pt x="701" y="711"/>
                    <a:pt x="693" y="707"/>
                  </a:cubicBezTo>
                  <a:cubicBezTo>
                    <a:pt x="685" y="702"/>
                    <a:pt x="682" y="691"/>
                    <a:pt x="682" y="678"/>
                  </a:cubicBezTo>
                  <a:cubicBezTo>
                    <a:pt x="682" y="665"/>
                    <a:pt x="688" y="644"/>
                    <a:pt x="687" y="635"/>
                  </a:cubicBezTo>
                  <a:cubicBezTo>
                    <a:pt x="686" y="625"/>
                    <a:pt x="696" y="618"/>
                    <a:pt x="695" y="608"/>
                  </a:cubicBezTo>
                  <a:cubicBezTo>
                    <a:pt x="694" y="598"/>
                    <a:pt x="672" y="617"/>
                    <a:pt x="666" y="626"/>
                  </a:cubicBezTo>
                  <a:cubicBezTo>
                    <a:pt x="660" y="635"/>
                    <a:pt x="654" y="635"/>
                    <a:pt x="636" y="643"/>
                  </a:cubicBezTo>
                  <a:cubicBezTo>
                    <a:pt x="619" y="651"/>
                    <a:pt x="607" y="646"/>
                    <a:pt x="594" y="646"/>
                  </a:cubicBezTo>
                  <a:cubicBezTo>
                    <a:pt x="580" y="646"/>
                    <a:pt x="584" y="630"/>
                    <a:pt x="581" y="619"/>
                  </a:cubicBezTo>
                  <a:cubicBezTo>
                    <a:pt x="578" y="607"/>
                    <a:pt x="558" y="605"/>
                    <a:pt x="546" y="604"/>
                  </a:cubicBezTo>
                  <a:cubicBezTo>
                    <a:pt x="534" y="603"/>
                    <a:pt x="531" y="595"/>
                    <a:pt x="533" y="585"/>
                  </a:cubicBezTo>
                  <a:cubicBezTo>
                    <a:pt x="535" y="576"/>
                    <a:pt x="530" y="575"/>
                    <a:pt x="524" y="570"/>
                  </a:cubicBezTo>
                  <a:cubicBezTo>
                    <a:pt x="517" y="565"/>
                    <a:pt x="517" y="557"/>
                    <a:pt x="508" y="548"/>
                  </a:cubicBezTo>
                  <a:cubicBezTo>
                    <a:pt x="500" y="539"/>
                    <a:pt x="494" y="523"/>
                    <a:pt x="487" y="513"/>
                  </a:cubicBezTo>
                  <a:cubicBezTo>
                    <a:pt x="480" y="504"/>
                    <a:pt x="483" y="504"/>
                    <a:pt x="472" y="495"/>
                  </a:cubicBezTo>
                  <a:cubicBezTo>
                    <a:pt x="460" y="485"/>
                    <a:pt x="474" y="479"/>
                    <a:pt x="484" y="474"/>
                  </a:cubicBezTo>
                  <a:cubicBezTo>
                    <a:pt x="493" y="469"/>
                    <a:pt x="485" y="463"/>
                    <a:pt x="482" y="455"/>
                  </a:cubicBezTo>
                  <a:cubicBezTo>
                    <a:pt x="480" y="447"/>
                    <a:pt x="492" y="439"/>
                    <a:pt x="498" y="431"/>
                  </a:cubicBezTo>
                  <a:cubicBezTo>
                    <a:pt x="505" y="423"/>
                    <a:pt x="512" y="425"/>
                    <a:pt x="521" y="421"/>
                  </a:cubicBezTo>
                  <a:cubicBezTo>
                    <a:pt x="530" y="417"/>
                    <a:pt x="526" y="408"/>
                    <a:pt x="520" y="399"/>
                  </a:cubicBezTo>
                  <a:cubicBezTo>
                    <a:pt x="514" y="391"/>
                    <a:pt x="522" y="385"/>
                    <a:pt x="529" y="377"/>
                  </a:cubicBezTo>
                  <a:cubicBezTo>
                    <a:pt x="536" y="369"/>
                    <a:pt x="539" y="351"/>
                    <a:pt x="536" y="344"/>
                  </a:cubicBezTo>
                  <a:cubicBezTo>
                    <a:pt x="534" y="337"/>
                    <a:pt x="542" y="331"/>
                    <a:pt x="551" y="327"/>
                  </a:cubicBezTo>
                  <a:cubicBezTo>
                    <a:pt x="560" y="323"/>
                    <a:pt x="578" y="313"/>
                    <a:pt x="591" y="299"/>
                  </a:cubicBezTo>
                  <a:cubicBezTo>
                    <a:pt x="604" y="285"/>
                    <a:pt x="619" y="289"/>
                    <a:pt x="636" y="289"/>
                  </a:cubicBezTo>
                  <a:cubicBezTo>
                    <a:pt x="652" y="288"/>
                    <a:pt x="661" y="281"/>
                    <a:pt x="670" y="274"/>
                  </a:cubicBezTo>
                  <a:cubicBezTo>
                    <a:pt x="678" y="267"/>
                    <a:pt x="684" y="269"/>
                    <a:pt x="692" y="272"/>
                  </a:cubicBezTo>
                  <a:cubicBezTo>
                    <a:pt x="700" y="275"/>
                    <a:pt x="711" y="280"/>
                    <a:pt x="722" y="279"/>
                  </a:cubicBezTo>
                  <a:cubicBezTo>
                    <a:pt x="726" y="279"/>
                    <a:pt x="728" y="276"/>
                    <a:pt x="730" y="272"/>
                  </a:cubicBezTo>
                  <a:cubicBezTo>
                    <a:pt x="718" y="265"/>
                    <a:pt x="713" y="259"/>
                    <a:pt x="710" y="251"/>
                  </a:cubicBezTo>
                  <a:cubicBezTo>
                    <a:pt x="706" y="242"/>
                    <a:pt x="694" y="257"/>
                    <a:pt x="683" y="248"/>
                  </a:cubicBezTo>
                  <a:cubicBezTo>
                    <a:pt x="672" y="239"/>
                    <a:pt x="687" y="220"/>
                    <a:pt x="699" y="212"/>
                  </a:cubicBezTo>
                  <a:cubicBezTo>
                    <a:pt x="711" y="204"/>
                    <a:pt x="710" y="193"/>
                    <a:pt x="716" y="181"/>
                  </a:cubicBezTo>
                  <a:cubicBezTo>
                    <a:pt x="722" y="169"/>
                    <a:pt x="705" y="162"/>
                    <a:pt x="695" y="159"/>
                  </a:cubicBezTo>
                  <a:cubicBezTo>
                    <a:pt x="685" y="156"/>
                    <a:pt x="679" y="149"/>
                    <a:pt x="668" y="149"/>
                  </a:cubicBezTo>
                  <a:cubicBezTo>
                    <a:pt x="657" y="149"/>
                    <a:pt x="648" y="149"/>
                    <a:pt x="648" y="153"/>
                  </a:cubicBezTo>
                  <a:cubicBezTo>
                    <a:pt x="648" y="157"/>
                    <a:pt x="639" y="161"/>
                    <a:pt x="635" y="155"/>
                  </a:cubicBezTo>
                  <a:cubicBezTo>
                    <a:pt x="631" y="149"/>
                    <a:pt x="631" y="144"/>
                    <a:pt x="620" y="142"/>
                  </a:cubicBezTo>
                  <a:cubicBezTo>
                    <a:pt x="609" y="140"/>
                    <a:pt x="605" y="146"/>
                    <a:pt x="605" y="155"/>
                  </a:cubicBezTo>
                  <a:cubicBezTo>
                    <a:pt x="605" y="164"/>
                    <a:pt x="563" y="162"/>
                    <a:pt x="549" y="160"/>
                  </a:cubicBezTo>
                  <a:cubicBezTo>
                    <a:pt x="535" y="158"/>
                    <a:pt x="531" y="159"/>
                    <a:pt x="528" y="146"/>
                  </a:cubicBezTo>
                  <a:cubicBezTo>
                    <a:pt x="525" y="133"/>
                    <a:pt x="530" y="125"/>
                    <a:pt x="518" y="124"/>
                  </a:cubicBezTo>
                  <a:cubicBezTo>
                    <a:pt x="506" y="123"/>
                    <a:pt x="498" y="104"/>
                    <a:pt x="494" y="93"/>
                  </a:cubicBezTo>
                  <a:cubicBezTo>
                    <a:pt x="490" y="82"/>
                    <a:pt x="476" y="73"/>
                    <a:pt x="463" y="73"/>
                  </a:cubicBezTo>
                  <a:cubicBezTo>
                    <a:pt x="450" y="73"/>
                    <a:pt x="450" y="63"/>
                    <a:pt x="450" y="49"/>
                  </a:cubicBezTo>
                  <a:cubicBezTo>
                    <a:pt x="450" y="35"/>
                    <a:pt x="428" y="28"/>
                    <a:pt x="417" y="14"/>
                  </a:cubicBezTo>
                  <a:cubicBezTo>
                    <a:pt x="406" y="0"/>
                    <a:pt x="398" y="9"/>
                    <a:pt x="382" y="9"/>
                  </a:cubicBezTo>
                  <a:cubicBezTo>
                    <a:pt x="374" y="9"/>
                    <a:pt x="370" y="7"/>
                    <a:pt x="366" y="5"/>
                  </a:cubicBezTo>
                  <a:cubicBezTo>
                    <a:pt x="368" y="15"/>
                    <a:pt x="374" y="25"/>
                    <a:pt x="385" y="34"/>
                  </a:cubicBezTo>
                  <a:cubicBezTo>
                    <a:pt x="401" y="46"/>
                    <a:pt x="391" y="41"/>
                    <a:pt x="391" y="52"/>
                  </a:cubicBezTo>
                  <a:cubicBezTo>
                    <a:pt x="391" y="63"/>
                    <a:pt x="387" y="63"/>
                    <a:pt x="382" y="67"/>
                  </a:cubicBezTo>
                  <a:cubicBezTo>
                    <a:pt x="377" y="71"/>
                    <a:pt x="376" y="79"/>
                    <a:pt x="372" y="101"/>
                  </a:cubicBezTo>
                  <a:cubicBezTo>
                    <a:pt x="368" y="123"/>
                    <a:pt x="312" y="166"/>
                    <a:pt x="295" y="173"/>
                  </a:cubicBezTo>
                  <a:cubicBezTo>
                    <a:pt x="278" y="180"/>
                    <a:pt x="259" y="184"/>
                    <a:pt x="233" y="190"/>
                  </a:cubicBezTo>
                  <a:cubicBezTo>
                    <a:pt x="207" y="196"/>
                    <a:pt x="191" y="235"/>
                    <a:pt x="182" y="250"/>
                  </a:cubicBezTo>
                  <a:cubicBezTo>
                    <a:pt x="173" y="265"/>
                    <a:pt x="179" y="275"/>
                    <a:pt x="176" y="287"/>
                  </a:cubicBezTo>
                  <a:cubicBezTo>
                    <a:pt x="173" y="299"/>
                    <a:pt x="172" y="300"/>
                    <a:pt x="163" y="302"/>
                  </a:cubicBezTo>
                  <a:cubicBezTo>
                    <a:pt x="154" y="304"/>
                    <a:pt x="156" y="307"/>
                    <a:pt x="152" y="321"/>
                  </a:cubicBezTo>
                  <a:cubicBezTo>
                    <a:pt x="148" y="335"/>
                    <a:pt x="136" y="322"/>
                    <a:pt x="128" y="319"/>
                  </a:cubicBezTo>
                  <a:cubicBezTo>
                    <a:pt x="120" y="316"/>
                    <a:pt x="120" y="304"/>
                    <a:pt x="114" y="294"/>
                  </a:cubicBezTo>
                  <a:cubicBezTo>
                    <a:pt x="108" y="284"/>
                    <a:pt x="97" y="283"/>
                    <a:pt x="87" y="281"/>
                  </a:cubicBezTo>
                  <a:cubicBezTo>
                    <a:pt x="77" y="279"/>
                    <a:pt x="70" y="283"/>
                    <a:pt x="66" y="294"/>
                  </a:cubicBezTo>
                  <a:cubicBezTo>
                    <a:pt x="62" y="305"/>
                    <a:pt x="60" y="280"/>
                    <a:pt x="56" y="271"/>
                  </a:cubicBezTo>
                  <a:cubicBezTo>
                    <a:pt x="52" y="262"/>
                    <a:pt x="58" y="259"/>
                    <a:pt x="70" y="256"/>
                  </a:cubicBezTo>
                  <a:cubicBezTo>
                    <a:pt x="82" y="253"/>
                    <a:pt x="77" y="228"/>
                    <a:pt x="70" y="224"/>
                  </a:cubicBezTo>
                  <a:cubicBezTo>
                    <a:pt x="67" y="222"/>
                    <a:pt x="64" y="218"/>
                    <a:pt x="62" y="215"/>
                  </a:cubicBezTo>
                  <a:cubicBezTo>
                    <a:pt x="53" y="218"/>
                    <a:pt x="44" y="223"/>
                    <a:pt x="38" y="232"/>
                  </a:cubicBezTo>
                  <a:cubicBezTo>
                    <a:pt x="27" y="247"/>
                    <a:pt x="27" y="255"/>
                    <a:pt x="14" y="264"/>
                  </a:cubicBezTo>
                  <a:cubicBezTo>
                    <a:pt x="1" y="274"/>
                    <a:pt x="0" y="286"/>
                    <a:pt x="3" y="299"/>
                  </a:cubicBezTo>
                  <a:cubicBezTo>
                    <a:pt x="6" y="313"/>
                    <a:pt x="7" y="314"/>
                    <a:pt x="13" y="330"/>
                  </a:cubicBezTo>
                  <a:cubicBezTo>
                    <a:pt x="20" y="345"/>
                    <a:pt x="27" y="344"/>
                    <a:pt x="27" y="354"/>
                  </a:cubicBezTo>
                  <a:cubicBezTo>
                    <a:pt x="28" y="364"/>
                    <a:pt x="28" y="370"/>
                    <a:pt x="19" y="375"/>
                  </a:cubicBezTo>
                  <a:cubicBezTo>
                    <a:pt x="10" y="380"/>
                    <a:pt x="4" y="389"/>
                    <a:pt x="24" y="396"/>
                  </a:cubicBezTo>
                  <a:cubicBezTo>
                    <a:pt x="44" y="402"/>
                    <a:pt x="49" y="404"/>
                    <a:pt x="63" y="415"/>
                  </a:cubicBezTo>
                  <a:cubicBezTo>
                    <a:pt x="77" y="426"/>
                    <a:pt x="102" y="452"/>
                    <a:pt x="112" y="471"/>
                  </a:cubicBezTo>
                  <a:cubicBezTo>
                    <a:pt x="122" y="491"/>
                    <a:pt x="135" y="503"/>
                    <a:pt x="146" y="518"/>
                  </a:cubicBezTo>
                  <a:cubicBezTo>
                    <a:pt x="157" y="532"/>
                    <a:pt x="157" y="533"/>
                    <a:pt x="168" y="564"/>
                  </a:cubicBezTo>
                  <a:cubicBezTo>
                    <a:pt x="178" y="596"/>
                    <a:pt x="196" y="607"/>
                    <a:pt x="201" y="631"/>
                  </a:cubicBezTo>
                  <a:cubicBezTo>
                    <a:pt x="207" y="654"/>
                    <a:pt x="217" y="672"/>
                    <a:pt x="230" y="687"/>
                  </a:cubicBezTo>
                  <a:cubicBezTo>
                    <a:pt x="243" y="703"/>
                    <a:pt x="248" y="711"/>
                    <a:pt x="249" y="726"/>
                  </a:cubicBezTo>
                  <a:cubicBezTo>
                    <a:pt x="249" y="741"/>
                    <a:pt x="240" y="755"/>
                    <a:pt x="258" y="768"/>
                  </a:cubicBezTo>
                  <a:cubicBezTo>
                    <a:pt x="277" y="780"/>
                    <a:pt x="279" y="778"/>
                    <a:pt x="296" y="799"/>
                  </a:cubicBezTo>
                  <a:cubicBezTo>
                    <a:pt x="313" y="821"/>
                    <a:pt x="311" y="829"/>
                    <a:pt x="320" y="839"/>
                  </a:cubicBezTo>
                  <a:cubicBezTo>
                    <a:pt x="329" y="848"/>
                    <a:pt x="342" y="860"/>
                    <a:pt x="335" y="869"/>
                  </a:cubicBezTo>
                  <a:cubicBezTo>
                    <a:pt x="327" y="878"/>
                    <a:pt x="319" y="880"/>
                    <a:pt x="322" y="893"/>
                  </a:cubicBezTo>
                  <a:cubicBezTo>
                    <a:pt x="325" y="907"/>
                    <a:pt x="333" y="920"/>
                    <a:pt x="348" y="930"/>
                  </a:cubicBezTo>
                  <a:cubicBezTo>
                    <a:pt x="363" y="941"/>
                    <a:pt x="380" y="956"/>
                    <a:pt x="385" y="969"/>
                  </a:cubicBezTo>
                  <a:cubicBezTo>
                    <a:pt x="390" y="983"/>
                    <a:pt x="400" y="993"/>
                    <a:pt x="410" y="998"/>
                  </a:cubicBezTo>
                  <a:cubicBezTo>
                    <a:pt x="420" y="1002"/>
                    <a:pt x="433" y="1006"/>
                    <a:pt x="448" y="1018"/>
                  </a:cubicBezTo>
                  <a:cubicBezTo>
                    <a:pt x="463" y="1030"/>
                    <a:pt x="480" y="1042"/>
                    <a:pt x="502" y="1050"/>
                  </a:cubicBezTo>
                  <a:cubicBezTo>
                    <a:pt x="525" y="1057"/>
                    <a:pt x="542" y="1066"/>
                    <a:pt x="559" y="1075"/>
                  </a:cubicBezTo>
                  <a:cubicBezTo>
                    <a:pt x="576" y="1084"/>
                    <a:pt x="587" y="1090"/>
                    <a:pt x="601" y="1099"/>
                  </a:cubicBezTo>
                  <a:cubicBezTo>
                    <a:pt x="616" y="1108"/>
                    <a:pt x="633" y="1111"/>
                    <a:pt x="637" y="1127"/>
                  </a:cubicBezTo>
                  <a:cubicBezTo>
                    <a:pt x="641" y="1143"/>
                    <a:pt x="646" y="1145"/>
                    <a:pt x="660" y="1152"/>
                  </a:cubicBezTo>
                  <a:cubicBezTo>
                    <a:pt x="673" y="1159"/>
                    <a:pt x="687" y="1161"/>
                    <a:pt x="696" y="1184"/>
                  </a:cubicBezTo>
                  <a:cubicBezTo>
                    <a:pt x="700" y="1184"/>
                    <a:pt x="705" y="1185"/>
                    <a:pt x="709" y="1187"/>
                  </a:cubicBezTo>
                  <a:cubicBezTo>
                    <a:pt x="718" y="1191"/>
                    <a:pt x="728" y="1189"/>
                    <a:pt x="734" y="1182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536" name="Freeform 25747"/>
            <p:cNvSpPr>
              <a:spLocks/>
            </p:cNvSpPr>
            <p:nvPr/>
          </p:nvSpPr>
          <p:spPr bwMode="auto">
            <a:xfrm>
              <a:off x="2528997" y="4959679"/>
              <a:ext cx="27305" cy="34408"/>
            </a:xfrm>
            <a:custGeom>
              <a:avLst/>
              <a:gdLst>
                <a:gd name="T0" fmla="*/ 37 w 73"/>
                <a:gd name="T1" fmla="*/ 5 h 92"/>
                <a:gd name="T2" fmla="*/ 15 w 73"/>
                <a:gd name="T3" fmla="*/ 7 h 92"/>
                <a:gd name="T4" fmla="*/ 11 w 73"/>
                <a:gd name="T5" fmla="*/ 19 h 92"/>
                <a:gd name="T6" fmla="*/ 24 w 73"/>
                <a:gd name="T7" fmla="*/ 28 h 92"/>
                <a:gd name="T8" fmla="*/ 35 w 73"/>
                <a:gd name="T9" fmla="*/ 39 h 92"/>
                <a:gd name="T10" fmla="*/ 40 w 73"/>
                <a:gd name="T11" fmla="*/ 52 h 92"/>
                <a:gd name="T12" fmla="*/ 46 w 73"/>
                <a:gd name="T13" fmla="*/ 63 h 92"/>
                <a:gd name="T14" fmla="*/ 40 w 73"/>
                <a:gd name="T15" fmla="*/ 79 h 92"/>
                <a:gd name="T16" fmla="*/ 46 w 73"/>
                <a:gd name="T17" fmla="*/ 83 h 92"/>
                <a:gd name="T18" fmla="*/ 57 w 73"/>
                <a:gd name="T19" fmla="*/ 63 h 92"/>
                <a:gd name="T20" fmla="*/ 65 w 73"/>
                <a:gd name="T21" fmla="*/ 51 h 92"/>
                <a:gd name="T22" fmla="*/ 59 w 73"/>
                <a:gd name="T23" fmla="*/ 32 h 92"/>
                <a:gd name="T24" fmla="*/ 62 w 73"/>
                <a:gd name="T25" fmla="*/ 21 h 92"/>
                <a:gd name="T26" fmla="*/ 72 w 73"/>
                <a:gd name="T27" fmla="*/ 13 h 92"/>
                <a:gd name="T28" fmla="*/ 59 w 73"/>
                <a:gd name="T29" fmla="*/ 4 h 92"/>
                <a:gd name="T30" fmla="*/ 51 w 73"/>
                <a:gd name="T31" fmla="*/ 16 h 92"/>
                <a:gd name="T32" fmla="*/ 37 w 73"/>
                <a:gd name="T33" fmla="*/ 5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3" h="92">
                  <a:moveTo>
                    <a:pt x="37" y="5"/>
                  </a:moveTo>
                  <a:cubicBezTo>
                    <a:pt x="37" y="5"/>
                    <a:pt x="19" y="3"/>
                    <a:pt x="15" y="7"/>
                  </a:cubicBezTo>
                  <a:cubicBezTo>
                    <a:pt x="11" y="11"/>
                    <a:pt x="0" y="18"/>
                    <a:pt x="11" y="19"/>
                  </a:cubicBezTo>
                  <a:cubicBezTo>
                    <a:pt x="21" y="20"/>
                    <a:pt x="24" y="22"/>
                    <a:pt x="24" y="28"/>
                  </a:cubicBezTo>
                  <a:cubicBezTo>
                    <a:pt x="25" y="35"/>
                    <a:pt x="31" y="38"/>
                    <a:pt x="35" y="39"/>
                  </a:cubicBezTo>
                  <a:cubicBezTo>
                    <a:pt x="39" y="40"/>
                    <a:pt x="34" y="51"/>
                    <a:pt x="40" y="52"/>
                  </a:cubicBezTo>
                  <a:cubicBezTo>
                    <a:pt x="46" y="54"/>
                    <a:pt x="52" y="57"/>
                    <a:pt x="46" y="63"/>
                  </a:cubicBezTo>
                  <a:cubicBezTo>
                    <a:pt x="39" y="68"/>
                    <a:pt x="39" y="72"/>
                    <a:pt x="40" y="79"/>
                  </a:cubicBezTo>
                  <a:cubicBezTo>
                    <a:pt x="41" y="86"/>
                    <a:pt x="44" y="92"/>
                    <a:pt x="46" y="83"/>
                  </a:cubicBezTo>
                  <a:cubicBezTo>
                    <a:pt x="48" y="73"/>
                    <a:pt x="50" y="66"/>
                    <a:pt x="57" y="63"/>
                  </a:cubicBezTo>
                  <a:cubicBezTo>
                    <a:pt x="63" y="60"/>
                    <a:pt x="65" y="59"/>
                    <a:pt x="65" y="51"/>
                  </a:cubicBezTo>
                  <a:cubicBezTo>
                    <a:pt x="65" y="44"/>
                    <a:pt x="62" y="36"/>
                    <a:pt x="59" y="32"/>
                  </a:cubicBezTo>
                  <a:cubicBezTo>
                    <a:pt x="55" y="29"/>
                    <a:pt x="54" y="21"/>
                    <a:pt x="62" y="21"/>
                  </a:cubicBezTo>
                  <a:cubicBezTo>
                    <a:pt x="71" y="21"/>
                    <a:pt x="71" y="20"/>
                    <a:pt x="72" y="13"/>
                  </a:cubicBezTo>
                  <a:cubicBezTo>
                    <a:pt x="73" y="6"/>
                    <a:pt x="63" y="0"/>
                    <a:pt x="59" y="4"/>
                  </a:cubicBezTo>
                  <a:cubicBezTo>
                    <a:pt x="56" y="8"/>
                    <a:pt x="58" y="20"/>
                    <a:pt x="51" y="16"/>
                  </a:cubicBezTo>
                  <a:cubicBezTo>
                    <a:pt x="45" y="12"/>
                    <a:pt x="47" y="5"/>
                    <a:pt x="37" y="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537" name="Freeform 25748"/>
            <p:cNvSpPr>
              <a:spLocks/>
            </p:cNvSpPr>
            <p:nvPr/>
          </p:nvSpPr>
          <p:spPr bwMode="auto">
            <a:xfrm>
              <a:off x="2545885" y="4934742"/>
              <a:ext cx="3630" cy="11206"/>
            </a:xfrm>
            <a:custGeom>
              <a:avLst/>
              <a:gdLst>
                <a:gd name="T0" fmla="*/ 1 w 10"/>
                <a:gd name="T1" fmla="*/ 12 h 30"/>
                <a:gd name="T2" fmla="*/ 5 w 10"/>
                <a:gd name="T3" fmla="*/ 29 h 30"/>
                <a:gd name="T4" fmla="*/ 9 w 10"/>
                <a:gd name="T5" fmla="*/ 21 h 30"/>
                <a:gd name="T6" fmla="*/ 1 w 10"/>
                <a:gd name="T7" fmla="*/ 12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30">
                  <a:moveTo>
                    <a:pt x="1" y="12"/>
                  </a:moveTo>
                  <a:cubicBezTo>
                    <a:pt x="1" y="12"/>
                    <a:pt x="0" y="28"/>
                    <a:pt x="5" y="29"/>
                  </a:cubicBezTo>
                  <a:cubicBezTo>
                    <a:pt x="10" y="30"/>
                    <a:pt x="9" y="26"/>
                    <a:pt x="9" y="21"/>
                  </a:cubicBezTo>
                  <a:cubicBezTo>
                    <a:pt x="9" y="16"/>
                    <a:pt x="6" y="0"/>
                    <a:pt x="1" y="12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538" name="Freeform 25749"/>
            <p:cNvSpPr>
              <a:spLocks/>
            </p:cNvSpPr>
            <p:nvPr/>
          </p:nvSpPr>
          <p:spPr bwMode="auto">
            <a:xfrm>
              <a:off x="2552830" y="4938529"/>
              <a:ext cx="2683" cy="12942"/>
            </a:xfrm>
            <a:custGeom>
              <a:avLst/>
              <a:gdLst>
                <a:gd name="T0" fmla="*/ 1 w 7"/>
                <a:gd name="T1" fmla="*/ 12 h 35"/>
                <a:gd name="T2" fmla="*/ 0 w 7"/>
                <a:gd name="T3" fmla="*/ 23 h 35"/>
                <a:gd name="T4" fmla="*/ 6 w 7"/>
                <a:gd name="T5" fmla="*/ 27 h 35"/>
                <a:gd name="T6" fmla="*/ 1 w 7"/>
                <a:gd name="T7" fmla="*/ 12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35">
                  <a:moveTo>
                    <a:pt x="1" y="12"/>
                  </a:moveTo>
                  <a:cubicBezTo>
                    <a:pt x="1" y="12"/>
                    <a:pt x="0" y="15"/>
                    <a:pt x="0" y="23"/>
                  </a:cubicBezTo>
                  <a:cubicBezTo>
                    <a:pt x="0" y="31"/>
                    <a:pt x="6" y="35"/>
                    <a:pt x="6" y="27"/>
                  </a:cubicBezTo>
                  <a:cubicBezTo>
                    <a:pt x="7" y="19"/>
                    <a:pt x="5" y="0"/>
                    <a:pt x="1" y="12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539" name="Freeform 25750"/>
            <p:cNvSpPr>
              <a:spLocks/>
            </p:cNvSpPr>
            <p:nvPr/>
          </p:nvSpPr>
          <p:spPr bwMode="auto">
            <a:xfrm>
              <a:off x="2542413" y="4945632"/>
              <a:ext cx="4104" cy="9943"/>
            </a:xfrm>
            <a:custGeom>
              <a:avLst/>
              <a:gdLst>
                <a:gd name="T0" fmla="*/ 4 w 11"/>
                <a:gd name="T1" fmla="*/ 10 h 27"/>
                <a:gd name="T2" fmla="*/ 4 w 11"/>
                <a:gd name="T3" fmla="*/ 25 h 27"/>
                <a:gd name="T4" fmla="*/ 11 w 11"/>
                <a:gd name="T5" fmla="*/ 20 h 27"/>
                <a:gd name="T6" fmla="*/ 4 w 11"/>
                <a:gd name="T7" fmla="*/ 1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" h="27">
                  <a:moveTo>
                    <a:pt x="4" y="10"/>
                  </a:moveTo>
                  <a:cubicBezTo>
                    <a:pt x="4" y="10"/>
                    <a:pt x="0" y="23"/>
                    <a:pt x="4" y="25"/>
                  </a:cubicBezTo>
                  <a:cubicBezTo>
                    <a:pt x="9" y="27"/>
                    <a:pt x="10" y="24"/>
                    <a:pt x="11" y="20"/>
                  </a:cubicBezTo>
                  <a:cubicBezTo>
                    <a:pt x="11" y="16"/>
                    <a:pt x="7" y="0"/>
                    <a:pt x="4" y="1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540" name="Freeform 25751"/>
            <p:cNvSpPr>
              <a:spLocks/>
            </p:cNvSpPr>
            <p:nvPr/>
          </p:nvSpPr>
          <p:spPr bwMode="auto">
            <a:xfrm>
              <a:off x="2510056" y="5126826"/>
              <a:ext cx="17835" cy="26832"/>
            </a:xfrm>
            <a:custGeom>
              <a:avLst/>
              <a:gdLst>
                <a:gd name="T0" fmla="*/ 15 w 48"/>
                <a:gd name="T1" fmla="*/ 6 h 72"/>
                <a:gd name="T2" fmla="*/ 5 w 48"/>
                <a:gd name="T3" fmla="*/ 23 h 72"/>
                <a:gd name="T4" fmla="*/ 3 w 48"/>
                <a:gd name="T5" fmla="*/ 47 h 72"/>
                <a:gd name="T6" fmla="*/ 17 w 48"/>
                <a:gd name="T7" fmla="*/ 61 h 72"/>
                <a:gd name="T8" fmla="*/ 21 w 48"/>
                <a:gd name="T9" fmla="*/ 42 h 72"/>
                <a:gd name="T10" fmla="*/ 32 w 48"/>
                <a:gd name="T11" fmla="*/ 29 h 72"/>
                <a:gd name="T12" fmla="*/ 47 w 48"/>
                <a:gd name="T13" fmla="*/ 16 h 72"/>
                <a:gd name="T14" fmla="*/ 34 w 48"/>
                <a:gd name="T15" fmla="*/ 5 h 72"/>
                <a:gd name="T16" fmla="*/ 15 w 48"/>
                <a:gd name="T17" fmla="*/ 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" h="72">
                  <a:moveTo>
                    <a:pt x="15" y="6"/>
                  </a:moveTo>
                  <a:cubicBezTo>
                    <a:pt x="15" y="6"/>
                    <a:pt x="7" y="17"/>
                    <a:pt x="5" y="23"/>
                  </a:cubicBezTo>
                  <a:cubicBezTo>
                    <a:pt x="3" y="29"/>
                    <a:pt x="0" y="38"/>
                    <a:pt x="3" y="47"/>
                  </a:cubicBezTo>
                  <a:cubicBezTo>
                    <a:pt x="7" y="56"/>
                    <a:pt x="15" y="72"/>
                    <a:pt x="17" y="61"/>
                  </a:cubicBezTo>
                  <a:cubicBezTo>
                    <a:pt x="19" y="50"/>
                    <a:pt x="17" y="46"/>
                    <a:pt x="21" y="42"/>
                  </a:cubicBezTo>
                  <a:cubicBezTo>
                    <a:pt x="25" y="37"/>
                    <a:pt x="23" y="29"/>
                    <a:pt x="32" y="29"/>
                  </a:cubicBezTo>
                  <a:cubicBezTo>
                    <a:pt x="41" y="29"/>
                    <a:pt x="46" y="22"/>
                    <a:pt x="47" y="16"/>
                  </a:cubicBezTo>
                  <a:cubicBezTo>
                    <a:pt x="48" y="9"/>
                    <a:pt x="43" y="7"/>
                    <a:pt x="34" y="5"/>
                  </a:cubicBezTo>
                  <a:cubicBezTo>
                    <a:pt x="26" y="4"/>
                    <a:pt x="19" y="0"/>
                    <a:pt x="15" y="6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541" name="Freeform 25752"/>
            <p:cNvSpPr>
              <a:spLocks/>
            </p:cNvSpPr>
            <p:nvPr/>
          </p:nvSpPr>
          <p:spPr bwMode="auto">
            <a:xfrm>
              <a:off x="2513055" y="5161864"/>
              <a:ext cx="20834" cy="15310"/>
            </a:xfrm>
            <a:custGeom>
              <a:avLst/>
              <a:gdLst>
                <a:gd name="T0" fmla="*/ 47 w 56"/>
                <a:gd name="T1" fmla="*/ 8 h 41"/>
                <a:gd name="T2" fmla="*/ 34 w 56"/>
                <a:gd name="T3" fmla="*/ 16 h 41"/>
                <a:gd name="T4" fmla="*/ 10 w 56"/>
                <a:gd name="T5" fmla="*/ 18 h 41"/>
                <a:gd name="T6" fmla="*/ 8 w 56"/>
                <a:gd name="T7" fmla="*/ 40 h 41"/>
                <a:gd name="T8" fmla="*/ 20 w 56"/>
                <a:gd name="T9" fmla="*/ 34 h 41"/>
                <a:gd name="T10" fmla="*/ 42 w 56"/>
                <a:gd name="T11" fmla="*/ 25 h 41"/>
                <a:gd name="T12" fmla="*/ 55 w 56"/>
                <a:gd name="T13" fmla="*/ 12 h 41"/>
                <a:gd name="T14" fmla="*/ 47 w 56"/>
                <a:gd name="T15" fmla="*/ 8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6" h="41">
                  <a:moveTo>
                    <a:pt x="47" y="8"/>
                  </a:moveTo>
                  <a:cubicBezTo>
                    <a:pt x="47" y="8"/>
                    <a:pt x="44" y="16"/>
                    <a:pt x="34" y="16"/>
                  </a:cubicBezTo>
                  <a:cubicBezTo>
                    <a:pt x="24" y="16"/>
                    <a:pt x="12" y="13"/>
                    <a:pt x="10" y="18"/>
                  </a:cubicBezTo>
                  <a:cubicBezTo>
                    <a:pt x="8" y="24"/>
                    <a:pt x="0" y="38"/>
                    <a:pt x="8" y="40"/>
                  </a:cubicBezTo>
                  <a:cubicBezTo>
                    <a:pt x="15" y="41"/>
                    <a:pt x="12" y="35"/>
                    <a:pt x="20" y="34"/>
                  </a:cubicBezTo>
                  <a:cubicBezTo>
                    <a:pt x="28" y="32"/>
                    <a:pt x="41" y="29"/>
                    <a:pt x="42" y="25"/>
                  </a:cubicBezTo>
                  <a:cubicBezTo>
                    <a:pt x="43" y="21"/>
                    <a:pt x="54" y="19"/>
                    <a:pt x="55" y="12"/>
                  </a:cubicBezTo>
                  <a:cubicBezTo>
                    <a:pt x="56" y="5"/>
                    <a:pt x="50" y="0"/>
                    <a:pt x="47" y="8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542" name="Freeform 25753"/>
            <p:cNvSpPr>
              <a:spLocks/>
            </p:cNvSpPr>
            <p:nvPr/>
          </p:nvSpPr>
          <p:spPr bwMode="auto">
            <a:xfrm>
              <a:off x="2518895" y="5179069"/>
              <a:ext cx="18782" cy="13732"/>
            </a:xfrm>
            <a:custGeom>
              <a:avLst/>
              <a:gdLst>
                <a:gd name="T0" fmla="*/ 22 w 50"/>
                <a:gd name="T1" fmla="*/ 2 h 37"/>
                <a:gd name="T2" fmla="*/ 4 w 50"/>
                <a:gd name="T3" fmla="*/ 5 h 37"/>
                <a:gd name="T4" fmla="*/ 6 w 50"/>
                <a:gd name="T5" fmla="*/ 23 h 37"/>
                <a:gd name="T6" fmla="*/ 24 w 50"/>
                <a:gd name="T7" fmla="*/ 37 h 37"/>
                <a:gd name="T8" fmla="*/ 37 w 50"/>
                <a:gd name="T9" fmla="*/ 22 h 37"/>
                <a:gd name="T10" fmla="*/ 22 w 50"/>
                <a:gd name="T11" fmla="*/ 2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0" h="37">
                  <a:moveTo>
                    <a:pt x="22" y="2"/>
                  </a:moveTo>
                  <a:cubicBezTo>
                    <a:pt x="22" y="2"/>
                    <a:pt x="8" y="0"/>
                    <a:pt x="4" y="5"/>
                  </a:cubicBezTo>
                  <a:cubicBezTo>
                    <a:pt x="0" y="10"/>
                    <a:pt x="1" y="15"/>
                    <a:pt x="6" y="23"/>
                  </a:cubicBezTo>
                  <a:cubicBezTo>
                    <a:pt x="11" y="31"/>
                    <a:pt x="10" y="37"/>
                    <a:pt x="24" y="37"/>
                  </a:cubicBezTo>
                  <a:cubicBezTo>
                    <a:pt x="38" y="37"/>
                    <a:pt x="50" y="28"/>
                    <a:pt x="37" y="22"/>
                  </a:cubicBezTo>
                  <a:cubicBezTo>
                    <a:pt x="24" y="16"/>
                    <a:pt x="31" y="2"/>
                    <a:pt x="22" y="2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543" name="Freeform 25754"/>
            <p:cNvSpPr>
              <a:spLocks/>
            </p:cNvSpPr>
            <p:nvPr/>
          </p:nvSpPr>
          <p:spPr bwMode="auto">
            <a:xfrm>
              <a:off x="2537204" y="5187276"/>
              <a:ext cx="16099" cy="15941"/>
            </a:xfrm>
            <a:custGeom>
              <a:avLst/>
              <a:gdLst>
                <a:gd name="T0" fmla="*/ 18 w 43"/>
                <a:gd name="T1" fmla="*/ 16 h 43"/>
                <a:gd name="T2" fmla="*/ 1 w 43"/>
                <a:gd name="T3" fmla="*/ 18 h 43"/>
                <a:gd name="T4" fmla="*/ 15 w 43"/>
                <a:gd name="T5" fmla="*/ 33 h 43"/>
                <a:gd name="T6" fmla="*/ 25 w 43"/>
                <a:gd name="T7" fmla="*/ 38 h 43"/>
                <a:gd name="T8" fmla="*/ 35 w 43"/>
                <a:gd name="T9" fmla="*/ 28 h 43"/>
                <a:gd name="T10" fmla="*/ 41 w 43"/>
                <a:gd name="T11" fmla="*/ 14 h 43"/>
                <a:gd name="T12" fmla="*/ 31 w 43"/>
                <a:gd name="T13" fmla="*/ 8 h 43"/>
                <a:gd name="T14" fmla="*/ 28 w 43"/>
                <a:gd name="T15" fmla="*/ 24 h 43"/>
                <a:gd name="T16" fmla="*/ 18 w 43"/>
                <a:gd name="T17" fmla="*/ 16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3" h="43">
                  <a:moveTo>
                    <a:pt x="18" y="16"/>
                  </a:moveTo>
                  <a:cubicBezTo>
                    <a:pt x="18" y="16"/>
                    <a:pt x="0" y="10"/>
                    <a:pt x="1" y="18"/>
                  </a:cubicBezTo>
                  <a:cubicBezTo>
                    <a:pt x="2" y="26"/>
                    <a:pt x="12" y="24"/>
                    <a:pt x="15" y="33"/>
                  </a:cubicBezTo>
                  <a:cubicBezTo>
                    <a:pt x="18" y="41"/>
                    <a:pt x="23" y="43"/>
                    <a:pt x="25" y="38"/>
                  </a:cubicBezTo>
                  <a:cubicBezTo>
                    <a:pt x="27" y="33"/>
                    <a:pt x="35" y="33"/>
                    <a:pt x="35" y="28"/>
                  </a:cubicBezTo>
                  <a:cubicBezTo>
                    <a:pt x="35" y="24"/>
                    <a:pt x="43" y="19"/>
                    <a:pt x="41" y="14"/>
                  </a:cubicBezTo>
                  <a:cubicBezTo>
                    <a:pt x="40" y="9"/>
                    <a:pt x="32" y="0"/>
                    <a:pt x="31" y="8"/>
                  </a:cubicBezTo>
                  <a:cubicBezTo>
                    <a:pt x="29" y="15"/>
                    <a:pt x="35" y="24"/>
                    <a:pt x="28" y="24"/>
                  </a:cubicBezTo>
                  <a:cubicBezTo>
                    <a:pt x="21" y="24"/>
                    <a:pt x="24" y="18"/>
                    <a:pt x="18" y="16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544" name="Freeform 25755"/>
            <p:cNvSpPr>
              <a:spLocks/>
            </p:cNvSpPr>
            <p:nvPr/>
          </p:nvSpPr>
          <p:spPr bwMode="auto">
            <a:xfrm>
              <a:off x="2531206" y="5211898"/>
              <a:ext cx="36617" cy="21939"/>
            </a:xfrm>
            <a:custGeom>
              <a:avLst/>
              <a:gdLst>
                <a:gd name="T0" fmla="*/ 35 w 98"/>
                <a:gd name="T1" fmla="*/ 18 h 59"/>
                <a:gd name="T2" fmla="*/ 0 w 98"/>
                <a:gd name="T3" fmla="*/ 10 h 59"/>
                <a:gd name="T4" fmla="*/ 14 w 98"/>
                <a:gd name="T5" fmla="*/ 26 h 59"/>
                <a:gd name="T6" fmla="*/ 44 w 98"/>
                <a:gd name="T7" fmla="*/ 34 h 59"/>
                <a:gd name="T8" fmla="*/ 67 w 98"/>
                <a:gd name="T9" fmla="*/ 46 h 59"/>
                <a:gd name="T10" fmla="*/ 97 w 98"/>
                <a:gd name="T11" fmla="*/ 55 h 59"/>
                <a:gd name="T12" fmla="*/ 82 w 98"/>
                <a:gd name="T13" fmla="*/ 39 h 59"/>
                <a:gd name="T14" fmla="*/ 53 w 98"/>
                <a:gd name="T15" fmla="*/ 27 h 59"/>
                <a:gd name="T16" fmla="*/ 35 w 98"/>
                <a:gd name="T17" fmla="*/ 18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8" h="59">
                  <a:moveTo>
                    <a:pt x="35" y="18"/>
                  </a:moveTo>
                  <a:cubicBezTo>
                    <a:pt x="35" y="18"/>
                    <a:pt x="0" y="0"/>
                    <a:pt x="0" y="10"/>
                  </a:cubicBezTo>
                  <a:cubicBezTo>
                    <a:pt x="0" y="20"/>
                    <a:pt x="4" y="24"/>
                    <a:pt x="14" y="26"/>
                  </a:cubicBezTo>
                  <a:cubicBezTo>
                    <a:pt x="23" y="29"/>
                    <a:pt x="36" y="29"/>
                    <a:pt x="44" y="34"/>
                  </a:cubicBezTo>
                  <a:cubicBezTo>
                    <a:pt x="52" y="38"/>
                    <a:pt x="58" y="42"/>
                    <a:pt x="67" y="46"/>
                  </a:cubicBezTo>
                  <a:cubicBezTo>
                    <a:pt x="75" y="49"/>
                    <a:pt x="96" y="59"/>
                    <a:pt x="97" y="55"/>
                  </a:cubicBezTo>
                  <a:cubicBezTo>
                    <a:pt x="98" y="50"/>
                    <a:pt x="94" y="43"/>
                    <a:pt x="82" y="39"/>
                  </a:cubicBezTo>
                  <a:cubicBezTo>
                    <a:pt x="70" y="36"/>
                    <a:pt x="57" y="31"/>
                    <a:pt x="53" y="27"/>
                  </a:cubicBezTo>
                  <a:cubicBezTo>
                    <a:pt x="49" y="22"/>
                    <a:pt x="48" y="23"/>
                    <a:pt x="35" y="18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545" name="Freeform 25757"/>
            <p:cNvSpPr>
              <a:spLocks/>
            </p:cNvSpPr>
            <p:nvPr/>
          </p:nvSpPr>
          <p:spPr bwMode="auto">
            <a:xfrm>
              <a:off x="2584239" y="5207320"/>
              <a:ext cx="143944" cy="102277"/>
            </a:xfrm>
            <a:custGeom>
              <a:avLst/>
              <a:gdLst>
                <a:gd name="T0" fmla="*/ 350 w 386"/>
                <a:gd name="T1" fmla="*/ 204 h 274"/>
                <a:gd name="T2" fmla="*/ 292 w 386"/>
                <a:gd name="T3" fmla="*/ 203 h 274"/>
                <a:gd name="T4" fmla="*/ 241 w 386"/>
                <a:gd name="T5" fmla="*/ 192 h 274"/>
                <a:gd name="T6" fmla="*/ 231 w 386"/>
                <a:gd name="T7" fmla="*/ 1 h 274"/>
                <a:gd name="T8" fmla="*/ 194 w 386"/>
                <a:gd name="T9" fmla="*/ 1 h 274"/>
                <a:gd name="T10" fmla="*/ 172 w 386"/>
                <a:gd name="T11" fmla="*/ 21 h 274"/>
                <a:gd name="T12" fmla="*/ 127 w 386"/>
                <a:gd name="T13" fmla="*/ 41 h 274"/>
                <a:gd name="T14" fmla="*/ 161 w 386"/>
                <a:gd name="T15" fmla="*/ 68 h 274"/>
                <a:gd name="T16" fmla="*/ 192 w 386"/>
                <a:gd name="T17" fmla="*/ 75 h 274"/>
                <a:gd name="T18" fmla="*/ 147 w 386"/>
                <a:gd name="T19" fmla="*/ 106 h 274"/>
                <a:gd name="T20" fmla="*/ 179 w 386"/>
                <a:gd name="T21" fmla="*/ 149 h 274"/>
                <a:gd name="T22" fmla="*/ 133 w 386"/>
                <a:gd name="T23" fmla="*/ 131 h 274"/>
                <a:gd name="T24" fmla="*/ 116 w 386"/>
                <a:gd name="T25" fmla="*/ 88 h 274"/>
                <a:gd name="T26" fmla="*/ 93 w 386"/>
                <a:gd name="T27" fmla="*/ 125 h 274"/>
                <a:gd name="T28" fmla="*/ 91 w 386"/>
                <a:gd name="T29" fmla="*/ 138 h 274"/>
                <a:gd name="T30" fmla="*/ 39 w 386"/>
                <a:gd name="T31" fmla="*/ 117 h 274"/>
                <a:gd name="T32" fmla="*/ 10 w 386"/>
                <a:gd name="T33" fmla="*/ 144 h 274"/>
                <a:gd name="T34" fmla="*/ 39 w 386"/>
                <a:gd name="T35" fmla="*/ 137 h 274"/>
                <a:gd name="T36" fmla="*/ 70 w 386"/>
                <a:gd name="T37" fmla="*/ 156 h 274"/>
                <a:gd name="T38" fmla="*/ 25 w 386"/>
                <a:gd name="T39" fmla="*/ 173 h 274"/>
                <a:gd name="T40" fmla="*/ 84 w 386"/>
                <a:gd name="T41" fmla="*/ 183 h 274"/>
                <a:gd name="T42" fmla="*/ 98 w 386"/>
                <a:gd name="T43" fmla="*/ 212 h 274"/>
                <a:gd name="T44" fmla="*/ 142 w 386"/>
                <a:gd name="T45" fmla="*/ 198 h 274"/>
                <a:gd name="T46" fmla="*/ 162 w 386"/>
                <a:gd name="T47" fmla="*/ 230 h 274"/>
                <a:gd name="T48" fmla="*/ 208 w 386"/>
                <a:gd name="T49" fmla="*/ 241 h 274"/>
                <a:gd name="T50" fmla="*/ 244 w 386"/>
                <a:gd name="T51" fmla="*/ 248 h 274"/>
                <a:gd name="T52" fmla="*/ 280 w 386"/>
                <a:gd name="T53" fmla="*/ 256 h 274"/>
                <a:gd name="T54" fmla="*/ 272 w 386"/>
                <a:gd name="T55" fmla="*/ 212 h 274"/>
                <a:gd name="T56" fmla="*/ 317 w 386"/>
                <a:gd name="T57" fmla="*/ 230 h 274"/>
                <a:gd name="T58" fmla="*/ 331 w 386"/>
                <a:gd name="T59" fmla="*/ 218 h 274"/>
                <a:gd name="T60" fmla="*/ 367 w 386"/>
                <a:gd name="T61" fmla="*/ 227 h 274"/>
                <a:gd name="T62" fmla="*/ 378 w 386"/>
                <a:gd name="T63" fmla="*/ 222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86" h="274">
                  <a:moveTo>
                    <a:pt x="378" y="222"/>
                  </a:moveTo>
                  <a:cubicBezTo>
                    <a:pt x="374" y="219"/>
                    <a:pt x="360" y="216"/>
                    <a:pt x="350" y="204"/>
                  </a:cubicBezTo>
                  <a:cubicBezTo>
                    <a:pt x="341" y="193"/>
                    <a:pt x="330" y="198"/>
                    <a:pt x="324" y="204"/>
                  </a:cubicBezTo>
                  <a:cubicBezTo>
                    <a:pt x="318" y="209"/>
                    <a:pt x="302" y="207"/>
                    <a:pt x="292" y="203"/>
                  </a:cubicBezTo>
                  <a:cubicBezTo>
                    <a:pt x="283" y="199"/>
                    <a:pt x="274" y="195"/>
                    <a:pt x="265" y="200"/>
                  </a:cubicBezTo>
                  <a:cubicBezTo>
                    <a:pt x="256" y="206"/>
                    <a:pt x="241" y="192"/>
                    <a:pt x="241" y="192"/>
                  </a:cubicBezTo>
                  <a:cubicBezTo>
                    <a:pt x="241" y="3"/>
                    <a:pt x="241" y="3"/>
                    <a:pt x="241" y="3"/>
                  </a:cubicBezTo>
                  <a:cubicBezTo>
                    <a:pt x="239" y="1"/>
                    <a:pt x="237" y="0"/>
                    <a:pt x="231" y="1"/>
                  </a:cubicBezTo>
                  <a:cubicBezTo>
                    <a:pt x="218" y="2"/>
                    <a:pt x="223" y="8"/>
                    <a:pt x="212" y="6"/>
                  </a:cubicBezTo>
                  <a:cubicBezTo>
                    <a:pt x="201" y="5"/>
                    <a:pt x="199" y="1"/>
                    <a:pt x="194" y="1"/>
                  </a:cubicBezTo>
                  <a:cubicBezTo>
                    <a:pt x="190" y="1"/>
                    <a:pt x="184" y="2"/>
                    <a:pt x="182" y="4"/>
                  </a:cubicBezTo>
                  <a:cubicBezTo>
                    <a:pt x="181" y="7"/>
                    <a:pt x="181" y="20"/>
                    <a:pt x="172" y="21"/>
                  </a:cubicBezTo>
                  <a:cubicBezTo>
                    <a:pt x="172" y="21"/>
                    <a:pt x="142" y="18"/>
                    <a:pt x="141" y="29"/>
                  </a:cubicBezTo>
                  <a:cubicBezTo>
                    <a:pt x="140" y="39"/>
                    <a:pt x="126" y="32"/>
                    <a:pt x="127" y="41"/>
                  </a:cubicBezTo>
                  <a:cubicBezTo>
                    <a:pt x="128" y="51"/>
                    <a:pt x="129" y="76"/>
                    <a:pt x="140" y="76"/>
                  </a:cubicBezTo>
                  <a:cubicBezTo>
                    <a:pt x="150" y="76"/>
                    <a:pt x="158" y="76"/>
                    <a:pt x="161" y="68"/>
                  </a:cubicBezTo>
                  <a:cubicBezTo>
                    <a:pt x="164" y="61"/>
                    <a:pt x="176" y="66"/>
                    <a:pt x="183" y="66"/>
                  </a:cubicBezTo>
                  <a:cubicBezTo>
                    <a:pt x="189" y="66"/>
                    <a:pt x="198" y="66"/>
                    <a:pt x="192" y="75"/>
                  </a:cubicBezTo>
                  <a:cubicBezTo>
                    <a:pt x="187" y="83"/>
                    <a:pt x="185" y="90"/>
                    <a:pt x="173" y="91"/>
                  </a:cubicBezTo>
                  <a:cubicBezTo>
                    <a:pt x="161" y="92"/>
                    <a:pt x="146" y="96"/>
                    <a:pt x="147" y="106"/>
                  </a:cubicBezTo>
                  <a:cubicBezTo>
                    <a:pt x="148" y="116"/>
                    <a:pt x="142" y="126"/>
                    <a:pt x="158" y="131"/>
                  </a:cubicBezTo>
                  <a:cubicBezTo>
                    <a:pt x="174" y="135"/>
                    <a:pt x="185" y="146"/>
                    <a:pt x="179" y="149"/>
                  </a:cubicBezTo>
                  <a:cubicBezTo>
                    <a:pt x="174" y="152"/>
                    <a:pt x="149" y="155"/>
                    <a:pt x="141" y="150"/>
                  </a:cubicBezTo>
                  <a:cubicBezTo>
                    <a:pt x="132" y="145"/>
                    <a:pt x="130" y="139"/>
                    <a:pt x="133" y="131"/>
                  </a:cubicBezTo>
                  <a:cubicBezTo>
                    <a:pt x="136" y="122"/>
                    <a:pt x="131" y="117"/>
                    <a:pt x="129" y="110"/>
                  </a:cubicBezTo>
                  <a:cubicBezTo>
                    <a:pt x="127" y="104"/>
                    <a:pt x="116" y="88"/>
                    <a:pt x="116" y="88"/>
                  </a:cubicBezTo>
                  <a:cubicBezTo>
                    <a:pt x="116" y="88"/>
                    <a:pt x="113" y="101"/>
                    <a:pt x="106" y="106"/>
                  </a:cubicBezTo>
                  <a:cubicBezTo>
                    <a:pt x="100" y="111"/>
                    <a:pt x="82" y="116"/>
                    <a:pt x="93" y="125"/>
                  </a:cubicBezTo>
                  <a:cubicBezTo>
                    <a:pt x="105" y="135"/>
                    <a:pt x="114" y="133"/>
                    <a:pt x="112" y="140"/>
                  </a:cubicBezTo>
                  <a:cubicBezTo>
                    <a:pt x="109" y="148"/>
                    <a:pt x="97" y="146"/>
                    <a:pt x="91" y="138"/>
                  </a:cubicBezTo>
                  <a:cubicBezTo>
                    <a:pt x="86" y="131"/>
                    <a:pt x="80" y="124"/>
                    <a:pt x="70" y="120"/>
                  </a:cubicBezTo>
                  <a:cubicBezTo>
                    <a:pt x="59" y="116"/>
                    <a:pt x="48" y="118"/>
                    <a:pt x="39" y="117"/>
                  </a:cubicBezTo>
                  <a:cubicBezTo>
                    <a:pt x="29" y="116"/>
                    <a:pt x="26" y="109"/>
                    <a:pt x="21" y="118"/>
                  </a:cubicBezTo>
                  <a:cubicBezTo>
                    <a:pt x="17" y="126"/>
                    <a:pt x="0" y="141"/>
                    <a:pt x="10" y="144"/>
                  </a:cubicBezTo>
                  <a:cubicBezTo>
                    <a:pt x="19" y="146"/>
                    <a:pt x="18" y="132"/>
                    <a:pt x="25" y="137"/>
                  </a:cubicBezTo>
                  <a:cubicBezTo>
                    <a:pt x="31" y="142"/>
                    <a:pt x="36" y="142"/>
                    <a:pt x="39" y="137"/>
                  </a:cubicBezTo>
                  <a:cubicBezTo>
                    <a:pt x="41" y="132"/>
                    <a:pt x="47" y="130"/>
                    <a:pt x="55" y="137"/>
                  </a:cubicBezTo>
                  <a:cubicBezTo>
                    <a:pt x="62" y="145"/>
                    <a:pt x="77" y="154"/>
                    <a:pt x="70" y="156"/>
                  </a:cubicBezTo>
                  <a:cubicBezTo>
                    <a:pt x="62" y="159"/>
                    <a:pt x="60" y="173"/>
                    <a:pt x="51" y="166"/>
                  </a:cubicBezTo>
                  <a:cubicBezTo>
                    <a:pt x="43" y="160"/>
                    <a:pt x="16" y="162"/>
                    <a:pt x="25" y="173"/>
                  </a:cubicBezTo>
                  <a:cubicBezTo>
                    <a:pt x="33" y="183"/>
                    <a:pt x="32" y="184"/>
                    <a:pt x="47" y="183"/>
                  </a:cubicBezTo>
                  <a:cubicBezTo>
                    <a:pt x="62" y="182"/>
                    <a:pt x="84" y="175"/>
                    <a:pt x="84" y="183"/>
                  </a:cubicBezTo>
                  <a:cubicBezTo>
                    <a:pt x="84" y="192"/>
                    <a:pt x="60" y="202"/>
                    <a:pt x="72" y="204"/>
                  </a:cubicBezTo>
                  <a:cubicBezTo>
                    <a:pt x="84" y="206"/>
                    <a:pt x="88" y="205"/>
                    <a:pt x="98" y="212"/>
                  </a:cubicBezTo>
                  <a:cubicBezTo>
                    <a:pt x="107" y="220"/>
                    <a:pt x="130" y="233"/>
                    <a:pt x="131" y="222"/>
                  </a:cubicBezTo>
                  <a:cubicBezTo>
                    <a:pt x="132" y="211"/>
                    <a:pt x="126" y="198"/>
                    <a:pt x="142" y="198"/>
                  </a:cubicBezTo>
                  <a:cubicBezTo>
                    <a:pt x="158" y="198"/>
                    <a:pt x="165" y="196"/>
                    <a:pt x="163" y="206"/>
                  </a:cubicBezTo>
                  <a:cubicBezTo>
                    <a:pt x="161" y="216"/>
                    <a:pt x="148" y="223"/>
                    <a:pt x="162" y="230"/>
                  </a:cubicBezTo>
                  <a:cubicBezTo>
                    <a:pt x="176" y="236"/>
                    <a:pt x="188" y="248"/>
                    <a:pt x="199" y="252"/>
                  </a:cubicBezTo>
                  <a:cubicBezTo>
                    <a:pt x="209" y="256"/>
                    <a:pt x="221" y="249"/>
                    <a:pt x="208" y="241"/>
                  </a:cubicBezTo>
                  <a:cubicBezTo>
                    <a:pt x="195" y="234"/>
                    <a:pt x="198" y="222"/>
                    <a:pt x="213" y="230"/>
                  </a:cubicBezTo>
                  <a:cubicBezTo>
                    <a:pt x="228" y="237"/>
                    <a:pt x="234" y="248"/>
                    <a:pt x="244" y="248"/>
                  </a:cubicBezTo>
                  <a:cubicBezTo>
                    <a:pt x="254" y="248"/>
                    <a:pt x="260" y="261"/>
                    <a:pt x="276" y="267"/>
                  </a:cubicBezTo>
                  <a:cubicBezTo>
                    <a:pt x="292" y="274"/>
                    <a:pt x="293" y="267"/>
                    <a:pt x="280" y="256"/>
                  </a:cubicBezTo>
                  <a:cubicBezTo>
                    <a:pt x="268" y="246"/>
                    <a:pt x="262" y="238"/>
                    <a:pt x="260" y="227"/>
                  </a:cubicBezTo>
                  <a:cubicBezTo>
                    <a:pt x="258" y="217"/>
                    <a:pt x="266" y="199"/>
                    <a:pt x="272" y="212"/>
                  </a:cubicBezTo>
                  <a:cubicBezTo>
                    <a:pt x="277" y="225"/>
                    <a:pt x="277" y="236"/>
                    <a:pt x="291" y="232"/>
                  </a:cubicBezTo>
                  <a:cubicBezTo>
                    <a:pt x="305" y="227"/>
                    <a:pt x="313" y="222"/>
                    <a:pt x="317" y="230"/>
                  </a:cubicBezTo>
                  <a:cubicBezTo>
                    <a:pt x="321" y="237"/>
                    <a:pt x="334" y="245"/>
                    <a:pt x="338" y="236"/>
                  </a:cubicBezTo>
                  <a:cubicBezTo>
                    <a:pt x="343" y="227"/>
                    <a:pt x="338" y="228"/>
                    <a:pt x="331" y="218"/>
                  </a:cubicBezTo>
                  <a:cubicBezTo>
                    <a:pt x="323" y="207"/>
                    <a:pt x="332" y="195"/>
                    <a:pt x="343" y="208"/>
                  </a:cubicBezTo>
                  <a:cubicBezTo>
                    <a:pt x="354" y="221"/>
                    <a:pt x="358" y="221"/>
                    <a:pt x="367" y="227"/>
                  </a:cubicBezTo>
                  <a:cubicBezTo>
                    <a:pt x="376" y="233"/>
                    <a:pt x="384" y="237"/>
                    <a:pt x="386" y="231"/>
                  </a:cubicBezTo>
                  <a:cubicBezTo>
                    <a:pt x="384" y="227"/>
                    <a:pt x="381" y="224"/>
                    <a:pt x="378" y="222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546" name="Freeform 25758"/>
            <p:cNvSpPr>
              <a:spLocks/>
            </p:cNvSpPr>
            <p:nvPr/>
          </p:nvSpPr>
          <p:spPr bwMode="auto">
            <a:xfrm>
              <a:off x="2501849" y="4249268"/>
              <a:ext cx="207236" cy="1008401"/>
            </a:xfrm>
            <a:custGeom>
              <a:avLst/>
              <a:gdLst>
                <a:gd name="T0" fmla="*/ 452 w 556"/>
                <a:gd name="T1" fmla="*/ 196 h 2704"/>
                <a:gd name="T2" fmla="*/ 429 w 556"/>
                <a:gd name="T3" fmla="*/ 62 h 2704"/>
                <a:gd name="T4" fmla="*/ 381 w 556"/>
                <a:gd name="T5" fmla="*/ 23 h 2704"/>
                <a:gd name="T6" fmla="*/ 355 w 556"/>
                <a:gd name="T7" fmla="*/ 115 h 2704"/>
                <a:gd name="T8" fmla="*/ 353 w 556"/>
                <a:gd name="T9" fmla="*/ 324 h 2704"/>
                <a:gd name="T10" fmla="*/ 335 w 556"/>
                <a:gd name="T11" fmla="*/ 464 h 2704"/>
                <a:gd name="T12" fmla="*/ 310 w 556"/>
                <a:gd name="T13" fmla="*/ 642 h 2704"/>
                <a:gd name="T14" fmla="*/ 282 w 556"/>
                <a:gd name="T15" fmla="*/ 793 h 2704"/>
                <a:gd name="T16" fmla="*/ 272 w 556"/>
                <a:gd name="T17" fmla="*/ 952 h 2704"/>
                <a:gd name="T18" fmla="*/ 253 w 556"/>
                <a:gd name="T19" fmla="*/ 1110 h 2704"/>
                <a:gd name="T20" fmla="*/ 182 w 556"/>
                <a:gd name="T21" fmla="*/ 1303 h 2704"/>
                <a:gd name="T22" fmla="*/ 157 w 556"/>
                <a:gd name="T23" fmla="*/ 1439 h 2704"/>
                <a:gd name="T24" fmla="*/ 120 w 556"/>
                <a:gd name="T25" fmla="*/ 1645 h 2704"/>
                <a:gd name="T26" fmla="*/ 103 w 556"/>
                <a:gd name="T27" fmla="*/ 1757 h 2704"/>
                <a:gd name="T28" fmla="*/ 152 w 556"/>
                <a:gd name="T29" fmla="*/ 1775 h 2704"/>
                <a:gd name="T30" fmla="*/ 179 w 556"/>
                <a:gd name="T31" fmla="*/ 1679 h 2704"/>
                <a:gd name="T32" fmla="*/ 193 w 556"/>
                <a:gd name="T33" fmla="*/ 1744 h 2704"/>
                <a:gd name="T34" fmla="*/ 173 w 556"/>
                <a:gd name="T35" fmla="*/ 1903 h 2704"/>
                <a:gd name="T36" fmla="*/ 149 w 556"/>
                <a:gd name="T37" fmla="*/ 2016 h 2704"/>
                <a:gd name="T38" fmla="*/ 84 w 556"/>
                <a:gd name="T39" fmla="*/ 1988 h 2704"/>
                <a:gd name="T40" fmla="*/ 10 w 556"/>
                <a:gd name="T41" fmla="*/ 2091 h 2704"/>
                <a:gd name="T42" fmla="*/ 97 w 556"/>
                <a:gd name="T43" fmla="*/ 2122 h 2704"/>
                <a:gd name="T44" fmla="*/ 152 w 556"/>
                <a:gd name="T45" fmla="*/ 2199 h 2704"/>
                <a:gd name="T46" fmla="*/ 104 w 556"/>
                <a:gd name="T47" fmla="*/ 2228 h 2704"/>
                <a:gd name="T48" fmla="*/ 23 w 556"/>
                <a:gd name="T49" fmla="*/ 2197 h 2704"/>
                <a:gd name="T50" fmla="*/ 23 w 556"/>
                <a:gd name="T51" fmla="*/ 2286 h 2704"/>
                <a:gd name="T52" fmla="*/ 29 w 556"/>
                <a:gd name="T53" fmla="*/ 2335 h 2704"/>
                <a:gd name="T54" fmla="*/ 106 w 556"/>
                <a:gd name="T55" fmla="*/ 2350 h 2704"/>
                <a:gd name="T56" fmla="*/ 82 w 556"/>
                <a:gd name="T57" fmla="*/ 2444 h 2704"/>
                <a:gd name="T58" fmla="*/ 110 w 556"/>
                <a:gd name="T59" fmla="*/ 2492 h 2704"/>
                <a:gd name="T60" fmla="*/ 159 w 556"/>
                <a:gd name="T61" fmla="*/ 2520 h 2704"/>
                <a:gd name="T62" fmla="*/ 186 w 556"/>
                <a:gd name="T63" fmla="*/ 2536 h 2704"/>
                <a:gd name="T64" fmla="*/ 169 w 556"/>
                <a:gd name="T65" fmla="*/ 2580 h 2704"/>
                <a:gd name="T66" fmla="*/ 219 w 556"/>
                <a:gd name="T67" fmla="*/ 2639 h 2704"/>
                <a:gd name="T68" fmla="*/ 210 w 556"/>
                <a:gd name="T69" fmla="*/ 2591 h 2704"/>
                <a:gd name="T70" fmla="*/ 284 w 556"/>
                <a:gd name="T71" fmla="*/ 2616 h 2704"/>
                <a:gd name="T72" fmla="*/ 148 w 556"/>
                <a:gd name="T73" fmla="*/ 2657 h 2704"/>
                <a:gd name="T74" fmla="*/ 234 w 556"/>
                <a:gd name="T75" fmla="*/ 2683 h 2704"/>
                <a:gd name="T76" fmla="*/ 330 w 556"/>
                <a:gd name="T77" fmla="*/ 2597 h 2704"/>
                <a:gd name="T78" fmla="*/ 439 w 556"/>
                <a:gd name="T79" fmla="*/ 2546 h 2704"/>
                <a:gd name="T80" fmla="*/ 400 w 556"/>
                <a:gd name="T81" fmla="*/ 2531 h 2704"/>
                <a:gd name="T82" fmla="*/ 225 w 556"/>
                <a:gd name="T83" fmla="*/ 2458 h 2704"/>
                <a:gd name="T84" fmla="*/ 173 w 556"/>
                <a:gd name="T85" fmla="*/ 2415 h 2704"/>
                <a:gd name="T86" fmla="*/ 197 w 556"/>
                <a:gd name="T87" fmla="*/ 2269 h 2704"/>
                <a:gd name="T88" fmla="*/ 225 w 556"/>
                <a:gd name="T89" fmla="*/ 2153 h 2704"/>
                <a:gd name="T90" fmla="*/ 265 w 556"/>
                <a:gd name="T91" fmla="*/ 2031 h 2704"/>
                <a:gd name="T92" fmla="*/ 243 w 556"/>
                <a:gd name="T93" fmla="*/ 1931 h 2704"/>
                <a:gd name="T94" fmla="*/ 259 w 556"/>
                <a:gd name="T95" fmla="*/ 1849 h 2704"/>
                <a:gd name="T96" fmla="*/ 259 w 556"/>
                <a:gd name="T97" fmla="*/ 1716 h 2704"/>
                <a:gd name="T98" fmla="*/ 263 w 556"/>
                <a:gd name="T99" fmla="*/ 1559 h 2704"/>
                <a:gd name="T100" fmla="*/ 307 w 556"/>
                <a:gd name="T101" fmla="*/ 1435 h 2704"/>
                <a:gd name="T102" fmla="*/ 336 w 556"/>
                <a:gd name="T103" fmla="*/ 1283 h 2704"/>
                <a:gd name="T104" fmla="*/ 364 w 556"/>
                <a:gd name="T105" fmla="*/ 1152 h 2704"/>
                <a:gd name="T106" fmla="*/ 361 w 556"/>
                <a:gd name="T107" fmla="*/ 1033 h 2704"/>
                <a:gd name="T108" fmla="*/ 346 w 556"/>
                <a:gd name="T109" fmla="*/ 915 h 2704"/>
                <a:gd name="T110" fmla="*/ 368 w 556"/>
                <a:gd name="T111" fmla="*/ 799 h 2704"/>
                <a:gd name="T112" fmla="*/ 436 w 556"/>
                <a:gd name="T113" fmla="*/ 661 h 2704"/>
                <a:gd name="T114" fmla="*/ 470 w 556"/>
                <a:gd name="T115" fmla="*/ 571 h 2704"/>
                <a:gd name="T116" fmla="*/ 491 w 556"/>
                <a:gd name="T117" fmla="*/ 453 h 2704"/>
                <a:gd name="T118" fmla="*/ 515 w 556"/>
                <a:gd name="T119" fmla="*/ 355 h 27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56" h="2704">
                  <a:moveTo>
                    <a:pt x="515" y="355"/>
                  </a:moveTo>
                  <a:cubicBezTo>
                    <a:pt x="499" y="352"/>
                    <a:pt x="505" y="336"/>
                    <a:pt x="501" y="315"/>
                  </a:cubicBezTo>
                  <a:cubicBezTo>
                    <a:pt x="497" y="295"/>
                    <a:pt x="487" y="283"/>
                    <a:pt x="484" y="267"/>
                  </a:cubicBezTo>
                  <a:cubicBezTo>
                    <a:pt x="481" y="251"/>
                    <a:pt x="478" y="239"/>
                    <a:pt x="468" y="233"/>
                  </a:cubicBezTo>
                  <a:cubicBezTo>
                    <a:pt x="458" y="228"/>
                    <a:pt x="460" y="206"/>
                    <a:pt x="452" y="196"/>
                  </a:cubicBezTo>
                  <a:cubicBezTo>
                    <a:pt x="444" y="186"/>
                    <a:pt x="447" y="174"/>
                    <a:pt x="453" y="171"/>
                  </a:cubicBezTo>
                  <a:cubicBezTo>
                    <a:pt x="458" y="167"/>
                    <a:pt x="461" y="159"/>
                    <a:pt x="456" y="151"/>
                  </a:cubicBezTo>
                  <a:cubicBezTo>
                    <a:pt x="451" y="144"/>
                    <a:pt x="459" y="137"/>
                    <a:pt x="463" y="127"/>
                  </a:cubicBezTo>
                  <a:cubicBezTo>
                    <a:pt x="466" y="116"/>
                    <a:pt x="457" y="111"/>
                    <a:pt x="443" y="103"/>
                  </a:cubicBezTo>
                  <a:cubicBezTo>
                    <a:pt x="430" y="95"/>
                    <a:pt x="427" y="76"/>
                    <a:pt x="429" y="62"/>
                  </a:cubicBezTo>
                  <a:cubicBezTo>
                    <a:pt x="431" y="48"/>
                    <a:pt x="428" y="35"/>
                    <a:pt x="419" y="33"/>
                  </a:cubicBezTo>
                  <a:cubicBezTo>
                    <a:pt x="411" y="30"/>
                    <a:pt x="410" y="12"/>
                    <a:pt x="401" y="6"/>
                  </a:cubicBezTo>
                  <a:cubicBezTo>
                    <a:pt x="398" y="4"/>
                    <a:pt x="397" y="2"/>
                    <a:pt x="396" y="0"/>
                  </a:cubicBezTo>
                  <a:cubicBezTo>
                    <a:pt x="393" y="1"/>
                    <a:pt x="390" y="2"/>
                    <a:pt x="387" y="4"/>
                  </a:cubicBezTo>
                  <a:cubicBezTo>
                    <a:pt x="383" y="7"/>
                    <a:pt x="380" y="13"/>
                    <a:pt x="381" y="23"/>
                  </a:cubicBezTo>
                  <a:cubicBezTo>
                    <a:pt x="383" y="33"/>
                    <a:pt x="380" y="38"/>
                    <a:pt x="375" y="46"/>
                  </a:cubicBezTo>
                  <a:cubicBezTo>
                    <a:pt x="369" y="53"/>
                    <a:pt x="359" y="55"/>
                    <a:pt x="350" y="51"/>
                  </a:cubicBezTo>
                  <a:cubicBezTo>
                    <a:pt x="346" y="49"/>
                    <a:pt x="341" y="48"/>
                    <a:pt x="337" y="48"/>
                  </a:cubicBezTo>
                  <a:cubicBezTo>
                    <a:pt x="338" y="50"/>
                    <a:pt x="339" y="51"/>
                    <a:pt x="339" y="52"/>
                  </a:cubicBezTo>
                  <a:cubicBezTo>
                    <a:pt x="349" y="79"/>
                    <a:pt x="344" y="100"/>
                    <a:pt x="355" y="115"/>
                  </a:cubicBezTo>
                  <a:cubicBezTo>
                    <a:pt x="365" y="130"/>
                    <a:pt x="372" y="162"/>
                    <a:pt x="368" y="172"/>
                  </a:cubicBezTo>
                  <a:cubicBezTo>
                    <a:pt x="363" y="182"/>
                    <a:pt x="354" y="179"/>
                    <a:pt x="354" y="195"/>
                  </a:cubicBezTo>
                  <a:cubicBezTo>
                    <a:pt x="354" y="210"/>
                    <a:pt x="359" y="212"/>
                    <a:pt x="362" y="231"/>
                  </a:cubicBezTo>
                  <a:cubicBezTo>
                    <a:pt x="364" y="251"/>
                    <a:pt x="362" y="271"/>
                    <a:pt x="357" y="285"/>
                  </a:cubicBezTo>
                  <a:cubicBezTo>
                    <a:pt x="352" y="299"/>
                    <a:pt x="353" y="312"/>
                    <a:pt x="353" y="324"/>
                  </a:cubicBezTo>
                  <a:cubicBezTo>
                    <a:pt x="353" y="337"/>
                    <a:pt x="353" y="349"/>
                    <a:pt x="343" y="356"/>
                  </a:cubicBezTo>
                  <a:cubicBezTo>
                    <a:pt x="334" y="362"/>
                    <a:pt x="322" y="373"/>
                    <a:pt x="332" y="383"/>
                  </a:cubicBezTo>
                  <a:cubicBezTo>
                    <a:pt x="341" y="393"/>
                    <a:pt x="350" y="398"/>
                    <a:pt x="343" y="407"/>
                  </a:cubicBezTo>
                  <a:cubicBezTo>
                    <a:pt x="337" y="415"/>
                    <a:pt x="333" y="424"/>
                    <a:pt x="334" y="437"/>
                  </a:cubicBezTo>
                  <a:cubicBezTo>
                    <a:pt x="336" y="450"/>
                    <a:pt x="334" y="448"/>
                    <a:pt x="335" y="464"/>
                  </a:cubicBezTo>
                  <a:cubicBezTo>
                    <a:pt x="335" y="479"/>
                    <a:pt x="334" y="498"/>
                    <a:pt x="339" y="502"/>
                  </a:cubicBezTo>
                  <a:cubicBezTo>
                    <a:pt x="344" y="507"/>
                    <a:pt x="335" y="512"/>
                    <a:pt x="326" y="521"/>
                  </a:cubicBezTo>
                  <a:cubicBezTo>
                    <a:pt x="317" y="529"/>
                    <a:pt x="328" y="538"/>
                    <a:pt x="330" y="555"/>
                  </a:cubicBezTo>
                  <a:cubicBezTo>
                    <a:pt x="332" y="572"/>
                    <a:pt x="332" y="581"/>
                    <a:pt x="324" y="600"/>
                  </a:cubicBezTo>
                  <a:cubicBezTo>
                    <a:pt x="315" y="619"/>
                    <a:pt x="311" y="623"/>
                    <a:pt x="310" y="642"/>
                  </a:cubicBezTo>
                  <a:cubicBezTo>
                    <a:pt x="309" y="660"/>
                    <a:pt x="312" y="663"/>
                    <a:pt x="304" y="674"/>
                  </a:cubicBezTo>
                  <a:cubicBezTo>
                    <a:pt x="296" y="686"/>
                    <a:pt x="294" y="686"/>
                    <a:pt x="294" y="702"/>
                  </a:cubicBezTo>
                  <a:cubicBezTo>
                    <a:pt x="293" y="718"/>
                    <a:pt x="303" y="724"/>
                    <a:pt x="293" y="735"/>
                  </a:cubicBezTo>
                  <a:cubicBezTo>
                    <a:pt x="283" y="746"/>
                    <a:pt x="274" y="753"/>
                    <a:pt x="275" y="764"/>
                  </a:cubicBezTo>
                  <a:cubicBezTo>
                    <a:pt x="275" y="775"/>
                    <a:pt x="273" y="784"/>
                    <a:pt x="282" y="793"/>
                  </a:cubicBezTo>
                  <a:cubicBezTo>
                    <a:pt x="291" y="802"/>
                    <a:pt x="291" y="812"/>
                    <a:pt x="287" y="823"/>
                  </a:cubicBezTo>
                  <a:cubicBezTo>
                    <a:pt x="283" y="835"/>
                    <a:pt x="270" y="845"/>
                    <a:pt x="264" y="855"/>
                  </a:cubicBezTo>
                  <a:cubicBezTo>
                    <a:pt x="257" y="866"/>
                    <a:pt x="254" y="875"/>
                    <a:pt x="258" y="896"/>
                  </a:cubicBezTo>
                  <a:cubicBezTo>
                    <a:pt x="262" y="917"/>
                    <a:pt x="261" y="925"/>
                    <a:pt x="267" y="932"/>
                  </a:cubicBezTo>
                  <a:cubicBezTo>
                    <a:pt x="273" y="938"/>
                    <a:pt x="272" y="937"/>
                    <a:pt x="272" y="952"/>
                  </a:cubicBezTo>
                  <a:cubicBezTo>
                    <a:pt x="271" y="967"/>
                    <a:pt x="270" y="973"/>
                    <a:pt x="276" y="983"/>
                  </a:cubicBezTo>
                  <a:cubicBezTo>
                    <a:pt x="282" y="994"/>
                    <a:pt x="282" y="997"/>
                    <a:pt x="279" y="1011"/>
                  </a:cubicBezTo>
                  <a:cubicBezTo>
                    <a:pt x="277" y="1026"/>
                    <a:pt x="274" y="1031"/>
                    <a:pt x="267" y="1036"/>
                  </a:cubicBezTo>
                  <a:cubicBezTo>
                    <a:pt x="260" y="1041"/>
                    <a:pt x="260" y="1050"/>
                    <a:pt x="261" y="1068"/>
                  </a:cubicBezTo>
                  <a:cubicBezTo>
                    <a:pt x="262" y="1087"/>
                    <a:pt x="261" y="1101"/>
                    <a:pt x="253" y="1110"/>
                  </a:cubicBezTo>
                  <a:cubicBezTo>
                    <a:pt x="246" y="1118"/>
                    <a:pt x="251" y="1118"/>
                    <a:pt x="244" y="1138"/>
                  </a:cubicBezTo>
                  <a:cubicBezTo>
                    <a:pt x="238" y="1157"/>
                    <a:pt x="235" y="1163"/>
                    <a:pt x="232" y="1179"/>
                  </a:cubicBezTo>
                  <a:cubicBezTo>
                    <a:pt x="229" y="1195"/>
                    <a:pt x="221" y="1187"/>
                    <a:pt x="216" y="1209"/>
                  </a:cubicBezTo>
                  <a:cubicBezTo>
                    <a:pt x="211" y="1232"/>
                    <a:pt x="202" y="1232"/>
                    <a:pt x="198" y="1251"/>
                  </a:cubicBezTo>
                  <a:cubicBezTo>
                    <a:pt x="195" y="1270"/>
                    <a:pt x="193" y="1289"/>
                    <a:pt x="182" y="1303"/>
                  </a:cubicBezTo>
                  <a:cubicBezTo>
                    <a:pt x="170" y="1316"/>
                    <a:pt x="171" y="1328"/>
                    <a:pt x="171" y="1335"/>
                  </a:cubicBezTo>
                  <a:cubicBezTo>
                    <a:pt x="171" y="1341"/>
                    <a:pt x="163" y="1349"/>
                    <a:pt x="157" y="1349"/>
                  </a:cubicBezTo>
                  <a:cubicBezTo>
                    <a:pt x="150" y="1348"/>
                    <a:pt x="136" y="1349"/>
                    <a:pt x="135" y="1360"/>
                  </a:cubicBezTo>
                  <a:cubicBezTo>
                    <a:pt x="134" y="1371"/>
                    <a:pt x="142" y="1402"/>
                    <a:pt x="149" y="1412"/>
                  </a:cubicBezTo>
                  <a:cubicBezTo>
                    <a:pt x="157" y="1423"/>
                    <a:pt x="157" y="1422"/>
                    <a:pt x="157" y="1439"/>
                  </a:cubicBezTo>
                  <a:cubicBezTo>
                    <a:pt x="156" y="1456"/>
                    <a:pt x="157" y="1478"/>
                    <a:pt x="161" y="1490"/>
                  </a:cubicBezTo>
                  <a:cubicBezTo>
                    <a:pt x="164" y="1502"/>
                    <a:pt x="162" y="1527"/>
                    <a:pt x="155" y="1534"/>
                  </a:cubicBezTo>
                  <a:cubicBezTo>
                    <a:pt x="147" y="1540"/>
                    <a:pt x="134" y="1553"/>
                    <a:pt x="134" y="1566"/>
                  </a:cubicBezTo>
                  <a:cubicBezTo>
                    <a:pt x="134" y="1579"/>
                    <a:pt x="135" y="1599"/>
                    <a:pt x="127" y="1610"/>
                  </a:cubicBezTo>
                  <a:cubicBezTo>
                    <a:pt x="120" y="1620"/>
                    <a:pt x="114" y="1634"/>
                    <a:pt x="120" y="1645"/>
                  </a:cubicBezTo>
                  <a:cubicBezTo>
                    <a:pt x="125" y="1656"/>
                    <a:pt x="128" y="1663"/>
                    <a:pt x="133" y="1673"/>
                  </a:cubicBezTo>
                  <a:cubicBezTo>
                    <a:pt x="139" y="1683"/>
                    <a:pt x="152" y="1697"/>
                    <a:pt x="137" y="1698"/>
                  </a:cubicBezTo>
                  <a:cubicBezTo>
                    <a:pt x="122" y="1698"/>
                    <a:pt x="110" y="1691"/>
                    <a:pt x="109" y="1706"/>
                  </a:cubicBezTo>
                  <a:cubicBezTo>
                    <a:pt x="108" y="1722"/>
                    <a:pt x="122" y="1728"/>
                    <a:pt x="112" y="1734"/>
                  </a:cubicBezTo>
                  <a:cubicBezTo>
                    <a:pt x="102" y="1739"/>
                    <a:pt x="100" y="1748"/>
                    <a:pt x="103" y="1757"/>
                  </a:cubicBezTo>
                  <a:cubicBezTo>
                    <a:pt x="106" y="1766"/>
                    <a:pt x="106" y="1777"/>
                    <a:pt x="103" y="1784"/>
                  </a:cubicBezTo>
                  <a:cubicBezTo>
                    <a:pt x="99" y="1792"/>
                    <a:pt x="93" y="1804"/>
                    <a:pt x="103" y="1812"/>
                  </a:cubicBezTo>
                  <a:cubicBezTo>
                    <a:pt x="112" y="1820"/>
                    <a:pt x="138" y="1825"/>
                    <a:pt x="138" y="1816"/>
                  </a:cubicBezTo>
                  <a:cubicBezTo>
                    <a:pt x="139" y="1807"/>
                    <a:pt x="141" y="1798"/>
                    <a:pt x="147" y="1794"/>
                  </a:cubicBezTo>
                  <a:cubicBezTo>
                    <a:pt x="154" y="1791"/>
                    <a:pt x="159" y="1782"/>
                    <a:pt x="152" y="1775"/>
                  </a:cubicBezTo>
                  <a:cubicBezTo>
                    <a:pt x="145" y="1768"/>
                    <a:pt x="132" y="1762"/>
                    <a:pt x="138" y="1756"/>
                  </a:cubicBezTo>
                  <a:cubicBezTo>
                    <a:pt x="144" y="1749"/>
                    <a:pt x="153" y="1747"/>
                    <a:pt x="151" y="1736"/>
                  </a:cubicBezTo>
                  <a:cubicBezTo>
                    <a:pt x="149" y="1726"/>
                    <a:pt x="161" y="1729"/>
                    <a:pt x="160" y="1719"/>
                  </a:cubicBezTo>
                  <a:cubicBezTo>
                    <a:pt x="158" y="1709"/>
                    <a:pt x="148" y="1706"/>
                    <a:pt x="162" y="1700"/>
                  </a:cubicBezTo>
                  <a:cubicBezTo>
                    <a:pt x="176" y="1694"/>
                    <a:pt x="178" y="1686"/>
                    <a:pt x="179" y="1679"/>
                  </a:cubicBezTo>
                  <a:cubicBezTo>
                    <a:pt x="181" y="1673"/>
                    <a:pt x="192" y="1679"/>
                    <a:pt x="197" y="1679"/>
                  </a:cubicBezTo>
                  <a:cubicBezTo>
                    <a:pt x="203" y="1679"/>
                    <a:pt x="208" y="1687"/>
                    <a:pt x="204" y="1692"/>
                  </a:cubicBezTo>
                  <a:cubicBezTo>
                    <a:pt x="200" y="1697"/>
                    <a:pt x="191" y="1704"/>
                    <a:pt x="199" y="1710"/>
                  </a:cubicBezTo>
                  <a:cubicBezTo>
                    <a:pt x="207" y="1717"/>
                    <a:pt x="225" y="1722"/>
                    <a:pt x="210" y="1727"/>
                  </a:cubicBezTo>
                  <a:cubicBezTo>
                    <a:pt x="195" y="1732"/>
                    <a:pt x="189" y="1725"/>
                    <a:pt x="193" y="1744"/>
                  </a:cubicBezTo>
                  <a:cubicBezTo>
                    <a:pt x="197" y="1764"/>
                    <a:pt x="201" y="1774"/>
                    <a:pt x="191" y="1788"/>
                  </a:cubicBezTo>
                  <a:cubicBezTo>
                    <a:pt x="181" y="1803"/>
                    <a:pt x="168" y="1820"/>
                    <a:pt x="174" y="1827"/>
                  </a:cubicBezTo>
                  <a:cubicBezTo>
                    <a:pt x="180" y="1834"/>
                    <a:pt x="185" y="1844"/>
                    <a:pt x="179" y="1855"/>
                  </a:cubicBezTo>
                  <a:cubicBezTo>
                    <a:pt x="174" y="1867"/>
                    <a:pt x="162" y="1886"/>
                    <a:pt x="177" y="1888"/>
                  </a:cubicBezTo>
                  <a:cubicBezTo>
                    <a:pt x="192" y="1890"/>
                    <a:pt x="181" y="1901"/>
                    <a:pt x="173" y="1903"/>
                  </a:cubicBezTo>
                  <a:cubicBezTo>
                    <a:pt x="165" y="1905"/>
                    <a:pt x="161" y="1912"/>
                    <a:pt x="163" y="1925"/>
                  </a:cubicBezTo>
                  <a:cubicBezTo>
                    <a:pt x="166" y="1937"/>
                    <a:pt x="165" y="1951"/>
                    <a:pt x="165" y="1959"/>
                  </a:cubicBezTo>
                  <a:cubicBezTo>
                    <a:pt x="165" y="1968"/>
                    <a:pt x="171" y="1978"/>
                    <a:pt x="158" y="1982"/>
                  </a:cubicBezTo>
                  <a:cubicBezTo>
                    <a:pt x="145" y="1986"/>
                    <a:pt x="138" y="1983"/>
                    <a:pt x="141" y="1993"/>
                  </a:cubicBezTo>
                  <a:cubicBezTo>
                    <a:pt x="145" y="2004"/>
                    <a:pt x="155" y="2002"/>
                    <a:pt x="149" y="2016"/>
                  </a:cubicBezTo>
                  <a:cubicBezTo>
                    <a:pt x="142" y="2029"/>
                    <a:pt x="141" y="2047"/>
                    <a:pt x="136" y="2038"/>
                  </a:cubicBezTo>
                  <a:cubicBezTo>
                    <a:pt x="132" y="2029"/>
                    <a:pt x="129" y="2018"/>
                    <a:pt x="124" y="2016"/>
                  </a:cubicBezTo>
                  <a:cubicBezTo>
                    <a:pt x="118" y="2015"/>
                    <a:pt x="104" y="2018"/>
                    <a:pt x="104" y="2004"/>
                  </a:cubicBezTo>
                  <a:cubicBezTo>
                    <a:pt x="104" y="1990"/>
                    <a:pt x="105" y="1984"/>
                    <a:pt x="96" y="1980"/>
                  </a:cubicBezTo>
                  <a:cubicBezTo>
                    <a:pt x="87" y="1977"/>
                    <a:pt x="91" y="1970"/>
                    <a:pt x="84" y="1988"/>
                  </a:cubicBezTo>
                  <a:cubicBezTo>
                    <a:pt x="77" y="2006"/>
                    <a:pt x="76" y="2011"/>
                    <a:pt x="64" y="2014"/>
                  </a:cubicBezTo>
                  <a:cubicBezTo>
                    <a:pt x="53" y="2018"/>
                    <a:pt x="43" y="2025"/>
                    <a:pt x="51" y="2030"/>
                  </a:cubicBezTo>
                  <a:cubicBezTo>
                    <a:pt x="59" y="2035"/>
                    <a:pt x="57" y="2040"/>
                    <a:pt x="45" y="2044"/>
                  </a:cubicBezTo>
                  <a:cubicBezTo>
                    <a:pt x="33" y="2048"/>
                    <a:pt x="31" y="2053"/>
                    <a:pt x="23" y="2063"/>
                  </a:cubicBezTo>
                  <a:cubicBezTo>
                    <a:pt x="14" y="2072"/>
                    <a:pt x="0" y="2080"/>
                    <a:pt x="10" y="2091"/>
                  </a:cubicBezTo>
                  <a:cubicBezTo>
                    <a:pt x="19" y="2101"/>
                    <a:pt x="28" y="2103"/>
                    <a:pt x="30" y="2091"/>
                  </a:cubicBezTo>
                  <a:cubicBezTo>
                    <a:pt x="32" y="2079"/>
                    <a:pt x="45" y="2079"/>
                    <a:pt x="53" y="2087"/>
                  </a:cubicBezTo>
                  <a:cubicBezTo>
                    <a:pt x="60" y="2095"/>
                    <a:pt x="62" y="2099"/>
                    <a:pt x="74" y="2095"/>
                  </a:cubicBezTo>
                  <a:cubicBezTo>
                    <a:pt x="86" y="2092"/>
                    <a:pt x="98" y="2085"/>
                    <a:pt x="101" y="2092"/>
                  </a:cubicBezTo>
                  <a:cubicBezTo>
                    <a:pt x="104" y="2099"/>
                    <a:pt x="107" y="2117"/>
                    <a:pt x="97" y="2122"/>
                  </a:cubicBezTo>
                  <a:cubicBezTo>
                    <a:pt x="88" y="2128"/>
                    <a:pt x="90" y="2145"/>
                    <a:pt x="86" y="2152"/>
                  </a:cubicBezTo>
                  <a:cubicBezTo>
                    <a:pt x="83" y="2160"/>
                    <a:pt x="87" y="2169"/>
                    <a:pt x="98" y="2171"/>
                  </a:cubicBezTo>
                  <a:cubicBezTo>
                    <a:pt x="110" y="2173"/>
                    <a:pt x="121" y="2177"/>
                    <a:pt x="127" y="2170"/>
                  </a:cubicBezTo>
                  <a:cubicBezTo>
                    <a:pt x="134" y="2163"/>
                    <a:pt x="147" y="2167"/>
                    <a:pt x="149" y="2174"/>
                  </a:cubicBezTo>
                  <a:cubicBezTo>
                    <a:pt x="151" y="2182"/>
                    <a:pt x="163" y="2198"/>
                    <a:pt x="152" y="2199"/>
                  </a:cubicBezTo>
                  <a:cubicBezTo>
                    <a:pt x="141" y="2200"/>
                    <a:pt x="124" y="2193"/>
                    <a:pt x="120" y="2188"/>
                  </a:cubicBezTo>
                  <a:cubicBezTo>
                    <a:pt x="117" y="2183"/>
                    <a:pt x="105" y="2177"/>
                    <a:pt x="97" y="2183"/>
                  </a:cubicBezTo>
                  <a:cubicBezTo>
                    <a:pt x="88" y="2189"/>
                    <a:pt x="81" y="2188"/>
                    <a:pt x="85" y="2198"/>
                  </a:cubicBezTo>
                  <a:cubicBezTo>
                    <a:pt x="90" y="2207"/>
                    <a:pt x="102" y="2211"/>
                    <a:pt x="106" y="2214"/>
                  </a:cubicBezTo>
                  <a:cubicBezTo>
                    <a:pt x="110" y="2217"/>
                    <a:pt x="118" y="2222"/>
                    <a:pt x="104" y="2228"/>
                  </a:cubicBezTo>
                  <a:cubicBezTo>
                    <a:pt x="90" y="2233"/>
                    <a:pt x="71" y="2230"/>
                    <a:pt x="71" y="2221"/>
                  </a:cubicBezTo>
                  <a:cubicBezTo>
                    <a:pt x="71" y="2213"/>
                    <a:pt x="65" y="2215"/>
                    <a:pt x="65" y="2204"/>
                  </a:cubicBezTo>
                  <a:cubicBezTo>
                    <a:pt x="65" y="2193"/>
                    <a:pt x="82" y="2181"/>
                    <a:pt x="67" y="2184"/>
                  </a:cubicBezTo>
                  <a:cubicBezTo>
                    <a:pt x="52" y="2186"/>
                    <a:pt x="50" y="2198"/>
                    <a:pt x="42" y="2190"/>
                  </a:cubicBezTo>
                  <a:cubicBezTo>
                    <a:pt x="35" y="2183"/>
                    <a:pt x="26" y="2187"/>
                    <a:pt x="23" y="2197"/>
                  </a:cubicBezTo>
                  <a:cubicBezTo>
                    <a:pt x="20" y="2206"/>
                    <a:pt x="12" y="2228"/>
                    <a:pt x="17" y="2237"/>
                  </a:cubicBezTo>
                  <a:cubicBezTo>
                    <a:pt x="21" y="2247"/>
                    <a:pt x="28" y="2245"/>
                    <a:pt x="36" y="2238"/>
                  </a:cubicBezTo>
                  <a:cubicBezTo>
                    <a:pt x="43" y="2232"/>
                    <a:pt x="54" y="2226"/>
                    <a:pt x="54" y="2237"/>
                  </a:cubicBezTo>
                  <a:cubicBezTo>
                    <a:pt x="54" y="2249"/>
                    <a:pt x="61" y="2254"/>
                    <a:pt x="45" y="2261"/>
                  </a:cubicBezTo>
                  <a:cubicBezTo>
                    <a:pt x="28" y="2269"/>
                    <a:pt x="21" y="2278"/>
                    <a:pt x="23" y="2286"/>
                  </a:cubicBezTo>
                  <a:cubicBezTo>
                    <a:pt x="25" y="2293"/>
                    <a:pt x="40" y="2317"/>
                    <a:pt x="50" y="2303"/>
                  </a:cubicBezTo>
                  <a:cubicBezTo>
                    <a:pt x="60" y="2289"/>
                    <a:pt x="52" y="2264"/>
                    <a:pt x="65" y="2279"/>
                  </a:cubicBezTo>
                  <a:cubicBezTo>
                    <a:pt x="78" y="2294"/>
                    <a:pt x="70" y="2302"/>
                    <a:pt x="65" y="2309"/>
                  </a:cubicBezTo>
                  <a:cubicBezTo>
                    <a:pt x="60" y="2317"/>
                    <a:pt x="68" y="2327"/>
                    <a:pt x="46" y="2326"/>
                  </a:cubicBezTo>
                  <a:cubicBezTo>
                    <a:pt x="23" y="2324"/>
                    <a:pt x="11" y="2329"/>
                    <a:pt x="29" y="2335"/>
                  </a:cubicBezTo>
                  <a:cubicBezTo>
                    <a:pt x="48" y="2342"/>
                    <a:pt x="61" y="2348"/>
                    <a:pt x="64" y="2342"/>
                  </a:cubicBezTo>
                  <a:cubicBezTo>
                    <a:pt x="67" y="2335"/>
                    <a:pt x="85" y="2355"/>
                    <a:pt x="86" y="2338"/>
                  </a:cubicBezTo>
                  <a:cubicBezTo>
                    <a:pt x="88" y="2322"/>
                    <a:pt x="89" y="2308"/>
                    <a:pt x="103" y="2307"/>
                  </a:cubicBezTo>
                  <a:cubicBezTo>
                    <a:pt x="117" y="2306"/>
                    <a:pt x="111" y="2316"/>
                    <a:pt x="110" y="2328"/>
                  </a:cubicBezTo>
                  <a:cubicBezTo>
                    <a:pt x="109" y="2340"/>
                    <a:pt x="120" y="2346"/>
                    <a:pt x="106" y="2350"/>
                  </a:cubicBezTo>
                  <a:cubicBezTo>
                    <a:pt x="92" y="2355"/>
                    <a:pt x="74" y="2362"/>
                    <a:pt x="88" y="2372"/>
                  </a:cubicBezTo>
                  <a:cubicBezTo>
                    <a:pt x="102" y="2381"/>
                    <a:pt x="118" y="2388"/>
                    <a:pt x="103" y="2391"/>
                  </a:cubicBezTo>
                  <a:cubicBezTo>
                    <a:pt x="88" y="2394"/>
                    <a:pt x="77" y="2400"/>
                    <a:pt x="80" y="2405"/>
                  </a:cubicBezTo>
                  <a:cubicBezTo>
                    <a:pt x="83" y="2410"/>
                    <a:pt x="66" y="2412"/>
                    <a:pt x="66" y="2420"/>
                  </a:cubicBezTo>
                  <a:cubicBezTo>
                    <a:pt x="66" y="2429"/>
                    <a:pt x="75" y="2450"/>
                    <a:pt x="82" y="2444"/>
                  </a:cubicBezTo>
                  <a:cubicBezTo>
                    <a:pt x="90" y="2437"/>
                    <a:pt x="100" y="2429"/>
                    <a:pt x="109" y="2438"/>
                  </a:cubicBezTo>
                  <a:cubicBezTo>
                    <a:pt x="118" y="2448"/>
                    <a:pt x="106" y="2470"/>
                    <a:pt x="117" y="2464"/>
                  </a:cubicBezTo>
                  <a:cubicBezTo>
                    <a:pt x="127" y="2459"/>
                    <a:pt x="141" y="2456"/>
                    <a:pt x="142" y="2465"/>
                  </a:cubicBezTo>
                  <a:cubicBezTo>
                    <a:pt x="143" y="2475"/>
                    <a:pt x="132" y="2473"/>
                    <a:pt x="131" y="2479"/>
                  </a:cubicBezTo>
                  <a:cubicBezTo>
                    <a:pt x="131" y="2484"/>
                    <a:pt x="118" y="2487"/>
                    <a:pt x="110" y="2492"/>
                  </a:cubicBezTo>
                  <a:cubicBezTo>
                    <a:pt x="102" y="2498"/>
                    <a:pt x="84" y="2501"/>
                    <a:pt x="96" y="2508"/>
                  </a:cubicBezTo>
                  <a:cubicBezTo>
                    <a:pt x="108" y="2516"/>
                    <a:pt x="120" y="2524"/>
                    <a:pt x="120" y="2517"/>
                  </a:cubicBezTo>
                  <a:cubicBezTo>
                    <a:pt x="120" y="2510"/>
                    <a:pt x="119" y="2501"/>
                    <a:pt x="128" y="2501"/>
                  </a:cubicBezTo>
                  <a:cubicBezTo>
                    <a:pt x="138" y="2501"/>
                    <a:pt x="147" y="2494"/>
                    <a:pt x="147" y="2505"/>
                  </a:cubicBezTo>
                  <a:cubicBezTo>
                    <a:pt x="147" y="2515"/>
                    <a:pt x="150" y="2521"/>
                    <a:pt x="159" y="2520"/>
                  </a:cubicBezTo>
                  <a:cubicBezTo>
                    <a:pt x="168" y="2518"/>
                    <a:pt x="177" y="2523"/>
                    <a:pt x="178" y="2512"/>
                  </a:cubicBezTo>
                  <a:cubicBezTo>
                    <a:pt x="179" y="2501"/>
                    <a:pt x="183" y="2498"/>
                    <a:pt x="192" y="2499"/>
                  </a:cubicBezTo>
                  <a:cubicBezTo>
                    <a:pt x="201" y="2501"/>
                    <a:pt x="206" y="2501"/>
                    <a:pt x="206" y="2509"/>
                  </a:cubicBezTo>
                  <a:cubicBezTo>
                    <a:pt x="206" y="2517"/>
                    <a:pt x="201" y="2521"/>
                    <a:pt x="195" y="2523"/>
                  </a:cubicBezTo>
                  <a:cubicBezTo>
                    <a:pt x="188" y="2525"/>
                    <a:pt x="194" y="2534"/>
                    <a:pt x="186" y="2536"/>
                  </a:cubicBezTo>
                  <a:cubicBezTo>
                    <a:pt x="179" y="2538"/>
                    <a:pt x="178" y="2532"/>
                    <a:pt x="167" y="2532"/>
                  </a:cubicBezTo>
                  <a:cubicBezTo>
                    <a:pt x="156" y="2532"/>
                    <a:pt x="150" y="2532"/>
                    <a:pt x="146" y="2541"/>
                  </a:cubicBezTo>
                  <a:cubicBezTo>
                    <a:pt x="141" y="2549"/>
                    <a:pt x="129" y="2559"/>
                    <a:pt x="140" y="2564"/>
                  </a:cubicBezTo>
                  <a:cubicBezTo>
                    <a:pt x="150" y="2568"/>
                    <a:pt x="146" y="2578"/>
                    <a:pt x="158" y="2577"/>
                  </a:cubicBezTo>
                  <a:cubicBezTo>
                    <a:pt x="171" y="2576"/>
                    <a:pt x="166" y="2571"/>
                    <a:pt x="169" y="2580"/>
                  </a:cubicBezTo>
                  <a:cubicBezTo>
                    <a:pt x="171" y="2589"/>
                    <a:pt x="152" y="2596"/>
                    <a:pt x="160" y="2602"/>
                  </a:cubicBezTo>
                  <a:cubicBezTo>
                    <a:pt x="168" y="2609"/>
                    <a:pt x="175" y="2615"/>
                    <a:pt x="183" y="2613"/>
                  </a:cubicBezTo>
                  <a:cubicBezTo>
                    <a:pt x="190" y="2611"/>
                    <a:pt x="193" y="2609"/>
                    <a:pt x="194" y="2616"/>
                  </a:cubicBezTo>
                  <a:cubicBezTo>
                    <a:pt x="195" y="2624"/>
                    <a:pt x="190" y="2631"/>
                    <a:pt x="199" y="2636"/>
                  </a:cubicBezTo>
                  <a:cubicBezTo>
                    <a:pt x="209" y="2640"/>
                    <a:pt x="214" y="2645"/>
                    <a:pt x="219" y="2639"/>
                  </a:cubicBezTo>
                  <a:cubicBezTo>
                    <a:pt x="223" y="2634"/>
                    <a:pt x="230" y="2630"/>
                    <a:pt x="238" y="2625"/>
                  </a:cubicBezTo>
                  <a:cubicBezTo>
                    <a:pt x="245" y="2620"/>
                    <a:pt x="255" y="2608"/>
                    <a:pt x="269" y="2601"/>
                  </a:cubicBezTo>
                  <a:cubicBezTo>
                    <a:pt x="283" y="2593"/>
                    <a:pt x="290" y="2589"/>
                    <a:pt x="279" y="2586"/>
                  </a:cubicBezTo>
                  <a:cubicBezTo>
                    <a:pt x="268" y="2583"/>
                    <a:pt x="254" y="2573"/>
                    <a:pt x="245" y="2580"/>
                  </a:cubicBezTo>
                  <a:cubicBezTo>
                    <a:pt x="236" y="2586"/>
                    <a:pt x="218" y="2594"/>
                    <a:pt x="210" y="2591"/>
                  </a:cubicBezTo>
                  <a:cubicBezTo>
                    <a:pt x="203" y="2587"/>
                    <a:pt x="186" y="2571"/>
                    <a:pt x="209" y="2570"/>
                  </a:cubicBezTo>
                  <a:cubicBezTo>
                    <a:pt x="232" y="2568"/>
                    <a:pt x="238" y="2567"/>
                    <a:pt x="244" y="2566"/>
                  </a:cubicBezTo>
                  <a:cubicBezTo>
                    <a:pt x="250" y="2565"/>
                    <a:pt x="267" y="2565"/>
                    <a:pt x="275" y="2571"/>
                  </a:cubicBezTo>
                  <a:cubicBezTo>
                    <a:pt x="284" y="2578"/>
                    <a:pt x="294" y="2582"/>
                    <a:pt x="295" y="2594"/>
                  </a:cubicBezTo>
                  <a:cubicBezTo>
                    <a:pt x="296" y="2605"/>
                    <a:pt x="302" y="2612"/>
                    <a:pt x="284" y="2616"/>
                  </a:cubicBezTo>
                  <a:cubicBezTo>
                    <a:pt x="265" y="2621"/>
                    <a:pt x="258" y="2627"/>
                    <a:pt x="251" y="2629"/>
                  </a:cubicBezTo>
                  <a:cubicBezTo>
                    <a:pt x="244" y="2632"/>
                    <a:pt x="239" y="2646"/>
                    <a:pt x="233" y="2651"/>
                  </a:cubicBezTo>
                  <a:cubicBezTo>
                    <a:pt x="228" y="2657"/>
                    <a:pt x="221" y="2661"/>
                    <a:pt x="207" y="2657"/>
                  </a:cubicBezTo>
                  <a:cubicBezTo>
                    <a:pt x="193" y="2652"/>
                    <a:pt x="172" y="2646"/>
                    <a:pt x="165" y="2646"/>
                  </a:cubicBezTo>
                  <a:cubicBezTo>
                    <a:pt x="159" y="2646"/>
                    <a:pt x="148" y="2649"/>
                    <a:pt x="148" y="2657"/>
                  </a:cubicBezTo>
                  <a:cubicBezTo>
                    <a:pt x="148" y="2666"/>
                    <a:pt x="147" y="2670"/>
                    <a:pt x="156" y="2675"/>
                  </a:cubicBezTo>
                  <a:cubicBezTo>
                    <a:pt x="165" y="2681"/>
                    <a:pt x="176" y="2685"/>
                    <a:pt x="169" y="2692"/>
                  </a:cubicBezTo>
                  <a:cubicBezTo>
                    <a:pt x="162" y="2699"/>
                    <a:pt x="170" y="2701"/>
                    <a:pt x="182" y="2702"/>
                  </a:cubicBezTo>
                  <a:cubicBezTo>
                    <a:pt x="194" y="2702"/>
                    <a:pt x="211" y="2704"/>
                    <a:pt x="214" y="2696"/>
                  </a:cubicBezTo>
                  <a:cubicBezTo>
                    <a:pt x="217" y="2689"/>
                    <a:pt x="238" y="2694"/>
                    <a:pt x="234" y="2683"/>
                  </a:cubicBezTo>
                  <a:cubicBezTo>
                    <a:pt x="231" y="2672"/>
                    <a:pt x="238" y="2670"/>
                    <a:pt x="248" y="2670"/>
                  </a:cubicBezTo>
                  <a:cubicBezTo>
                    <a:pt x="258" y="2670"/>
                    <a:pt x="265" y="2672"/>
                    <a:pt x="276" y="2675"/>
                  </a:cubicBezTo>
                  <a:cubicBezTo>
                    <a:pt x="287" y="2679"/>
                    <a:pt x="310" y="2686"/>
                    <a:pt x="311" y="2671"/>
                  </a:cubicBezTo>
                  <a:cubicBezTo>
                    <a:pt x="313" y="2655"/>
                    <a:pt x="316" y="2627"/>
                    <a:pt x="320" y="2622"/>
                  </a:cubicBezTo>
                  <a:cubicBezTo>
                    <a:pt x="325" y="2616"/>
                    <a:pt x="329" y="2607"/>
                    <a:pt x="330" y="2597"/>
                  </a:cubicBezTo>
                  <a:cubicBezTo>
                    <a:pt x="332" y="2587"/>
                    <a:pt x="335" y="2580"/>
                    <a:pt x="342" y="2580"/>
                  </a:cubicBezTo>
                  <a:cubicBezTo>
                    <a:pt x="349" y="2580"/>
                    <a:pt x="358" y="2588"/>
                    <a:pt x="362" y="2581"/>
                  </a:cubicBezTo>
                  <a:cubicBezTo>
                    <a:pt x="365" y="2574"/>
                    <a:pt x="375" y="2567"/>
                    <a:pt x="385" y="2567"/>
                  </a:cubicBezTo>
                  <a:cubicBezTo>
                    <a:pt x="394" y="2566"/>
                    <a:pt x="412" y="2565"/>
                    <a:pt x="415" y="2557"/>
                  </a:cubicBezTo>
                  <a:cubicBezTo>
                    <a:pt x="419" y="2549"/>
                    <a:pt x="427" y="2536"/>
                    <a:pt x="439" y="2546"/>
                  </a:cubicBezTo>
                  <a:cubicBezTo>
                    <a:pt x="450" y="2556"/>
                    <a:pt x="466" y="2561"/>
                    <a:pt x="475" y="2561"/>
                  </a:cubicBezTo>
                  <a:cubicBezTo>
                    <a:pt x="477" y="2561"/>
                    <a:pt x="478" y="2561"/>
                    <a:pt x="479" y="2560"/>
                  </a:cubicBezTo>
                  <a:cubicBezTo>
                    <a:pt x="476" y="2557"/>
                    <a:pt x="471" y="2552"/>
                    <a:pt x="465" y="2548"/>
                  </a:cubicBezTo>
                  <a:cubicBezTo>
                    <a:pt x="455" y="2541"/>
                    <a:pt x="446" y="2541"/>
                    <a:pt x="436" y="2535"/>
                  </a:cubicBezTo>
                  <a:cubicBezTo>
                    <a:pt x="426" y="2530"/>
                    <a:pt x="408" y="2537"/>
                    <a:pt x="400" y="2531"/>
                  </a:cubicBezTo>
                  <a:cubicBezTo>
                    <a:pt x="392" y="2526"/>
                    <a:pt x="366" y="2527"/>
                    <a:pt x="342" y="2527"/>
                  </a:cubicBezTo>
                  <a:cubicBezTo>
                    <a:pt x="318" y="2527"/>
                    <a:pt x="288" y="2527"/>
                    <a:pt x="278" y="2527"/>
                  </a:cubicBezTo>
                  <a:cubicBezTo>
                    <a:pt x="268" y="2527"/>
                    <a:pt x="253" y="2527"/>
                    <a:pt x="250" y="2515"/>
                  </a:cubicBezTo>
                  <a:cubicBezTo>
                    <a:pt x="247" y="2504"/>
                    <a:pt x="235" y="2503"/>
                    <a:pt x="225" y="2495"/>
                  </a:cubicBezTo>
                  <a:cubicBezTo>
                    <a:pt x="216" y="2486"/>
                    <a:pt x="225" y="2469"/>
                    <a:pt x="225" y="2458"/>
                  </a:cubicBezTo>
                  <a:cubicBezTo>
                    <a:pt x="225" y="2447"/>
                    <a:pt x="225" y="2443"/>
                    <a:pt x="233" y="2435"/>
                  </a:cubicBezTo>
                  <a:cubicBezTo>
                    <a:pt x="240" y="2427"/>
                    <a:pt x="227" y="2422"/>
                    <a:pt x="227" y="2418"/>
                  </a:cubicBezTo>
                  <a:cubicBezTo>
                    <a:pt x="227" y="2414"/>
                    <a:pt x="221" y="2411"/>
                    <a:pt x="209" y="2409"/>
                  </a:cubicBezTo>
                  <a:cubicBezTo>
                    <a:pt x="197" y="2406"/>
                    <a:pt x="195" y="2409"/>
                    <a:pt x="191" y="2415"/>
                  </a:cubicBezTo>
                  <a:cubicBezTo>
                    <a:pt x="187" y="2420"/>
                    <a:pt x="181" y="2418"/>
                    <a:pt x="173" y="2415"/>
                  </a:cubicBezTo>
                  <a:cubicBezTo>
                    <a:pt x="166" y="2411"/>
                    <a:pt x="162" y="2400"/>
                    <a:pt x="164" y="2388"/>
                  </a:cubicBezTo>
                  <a:cubicBezTo>
                    <a:pt x="166" y="2376"/>
                    <a:pt x="155" y="2376"/>
                    <a:pt x="151" y="2369"/>
                  </a:cubicBezTo>
                  <a:cubicBezTo>
                    <a:pt x="146" y="2363"/>
                    <a:pt x="147" y="2315"/>
                    <a:pt x="150" y="2304"/>
                  </a:cubicBezTo>
                  <a:cubicBezTo>
                    <a:pt x="153" y="2293"/>
                    <a:pt x="169" y="2297"/>
                    <a:pt x="175" y="2289"/>
                  </a:cubicBezTo>
                  <a:cubicBezTo>
                    <a:pt x="182" y="2281"/>
                    <a:pt x="186" y="2278"/>
                    <a:pt x="197" y="2269"/>
                  </a:cubicBezTo>
                  <a:cubicBezTo>
                    <a:pt x="209" y="2261"/>
                    <a:pt x="209" y="2250"/>
                    <a:pt x="208" y="2239"/>
                  </a:cubicBezTo>
                  <a:cubicBezTo>
                    <a:pt x="207" y="2227"/>
                    <a:pt x="222" y="2229"/>
                    <a:pt x="226" y="2219"/>
                  </a:cubicBezTo>
                  <a:cubicBezTo>
                    <a:pt x="230" y="2210"/>
                    <a:pt x="226" y="2204"/>
                    <a:pt x="222" y="2194"/>
                  </a:cubicBezTo>
                  <a:cubicBezTo>
                    <a:pt x="218" y="2184"/>
                    <a:pt x="213" y="2189"/>
                    <a:pt x="214" y="2177"/>
                  </a:cubicBezTo>
                  <a:cubicBezTo>
                    <a:pt x="215" y="2166"/>
                    <a:pt x="223" y="2163"/>
                    <a:pt x="225" y="2153"/>
                  </a:cubicBezTo>
                  <a:cubicBezTo>
                    <a:pt x="226" y="2142"/>
                    <a:pt x="231" y="2144"/>
                    <a:pt x="245" y="2137"/>
                  </a:cubicBezTo>
                  <a:cubicBezTo>
                    <a:pt x="258" y="2131"/>
                    <a:pt x="249" y="2116"/>
                    <a:pt x="249" y="2100"/>
                  </a:cubicBezTo>
                  <a:cubicBezTo>
                    <a:pt x="249" y="2084"/>
                    <a:pt x="263" y="2092"/>
                    <a:pt x="264" y="2080"/>
                  </a:cubicBezTo>
                  <a:cubicBezTo>
                    <a:pt x="265" y="2068"/>
                    <a:pt x="274" y="2063"/>
                    <a:pt x="259" y="2054"/>
                  </a:cubicBezTo>
                  <a:cubicBezTo>
                    <a:pt x="243" y="2045"/>
                    <a:pt x="254" y="2038"/>
                    <a:pt x="265" y="2031"/>
                  </a:cubicBezTo>
                  <a:cubicBezTo>
                    <a:pt x="277" y="2025"/>
                    <a:pt x="259" y="2015"/>
                    <a:pt x="259" y="2005"/>
                  </a:cubicBezTo>
                  <a:cubicBezTo>
                    <a:pt x="260" y="1996"/>
                    <a:pt x="271" y="1993"/>
                    <a:pt x="285" y="1983"/>
                  </a:cubicBezTo>
                  <a:cubicBezTo>
                    <a:pt x="299" y="1973"/>
                    <a:pt x="281" y="1969"/>
                    <a:pt x="276" y="1959"/>
                  </a:cubicBezTo>
                  <a:cubicBezTo>
                    <a:pt x="271" y="1948"/>
                    <a:pt x="261" y="1947"/>
                    <a:pt x="251" y="1945"/>
                  </a:cubicBezTo>
                  <a:cubicBezTo>
                    <a:pt x="242" y="1943"/>
                    <a:pt x="243" y="1937"/>
                    <a:pt x="243" y="1931"/>
                  </a:cubicBezTo>
                  <a:cubicBezTo>
                    <a:pt x="243" y="1925"/>
                    <a:pt x="262" y="1935"/>
                    <a:pt x="273" y="1935"/>
                  </a:cubicBezTo>
                  <a:cubicBezTo>
                    <a:pt x="285" y="1935"/>
                    <a:pt x="298" y="1927"/>
                    <a:pt x="299" y="1915"/>
                  </a:cubicBezTo>
                  <a:cubicBezTo>
                    <a:pt x="299" y="1904"/>
                    <a:pt x="279" y="1906"/>
                    <a:pt x="266" y="1905"/>
                  </a:cubicBezTo>
                  <a:cubicBezTo>
                    <a:pt x="253" y="1903"/>
                    <a:pt x="254" y="1889"/>
                    <a:pt x="261" y="1878"/>
                  </a:cubicBezTo>
                  <a:cubicBezTo>
                    <a:pt x="269" y="1867"/>
                    <a:pt x="257" y="1860"/>
                    <a:pt x="259" y="1849"/>
                  </a:cubicBezTo>
                  <a:cubicBezTo>
                    <a:pt x="262" y="1837"/>
                    <a:pt x="249" y="1832"/>
                    <a:pt x="252" y="1821"/>
                  </a:cubicBezTo>
                  <a:cubicBezTo>
                    <a:pt x="255" y="1811"/>
                    <a:pt x="253" y="1805"/>
                    <a:pt x="243" y="1801"/>
                  </a:cubicBezTo>
                  <a:cubicBezTo>
                    <a:pt x="234" y="1796"/>
                    <a:pt x="238" y="1750"/>
                    <a:pt x="238" y="1744"/>
                  </a:cubicBezTo>
                  <a:cubicBezTo>
                    <a:pt x="238" y="1738"/>
                    <a:pt x="249" y="1734"/>
                    <a:pt x="257" y="1730"/>
                  </a:cubicBezTo>
                  <a:cubicBezTo>
                    <a:pt x="265" y="1726"/>
                    <a:pt x="259" y="1723"/>
                    <a:pt x="259" y="1716"/>
                  </a:cubicBezTo>
                  <a:cubicBezTo>
                    <a:pt x="259" y="1709"/>
                    <a:pt x="257" y="1708"/>
                    <a:pt x="253" y="1702"/>
                  </a:cubicBezTo>
                  <a:cubicBezTo>
                    <a:pt x="249" y="1696"/>
                    <a:pt x="251" y="1671"/>
                    <a:pt x="251" y="1658"/>
                  </a:cubicBezTo>
                  <a:cubicBezTo>
                    <a:pt x="252" y="1645"/>
                    <a:pt x="251" y="1635"/>
                    <a:pt x="251" y="1630"/>
                  </a:cubicBezTo>
                  <a:cubicBezTo>
                    <a:pt x="251" y="1625"/>
                    <a:pt x="251" y="1612"/>
                    <a:pt x="257" y="1603"/>
                  </a:cubicBezTo>
                  <a:cubicBezTo>
                    <a:pt x="263" y="1595"/>
                    <a:pt x="263" y="1570"/>
                    <a:pt x="263" y="1559"/>
                  </a:cubicBezTo>
                  <a:cubicBezTo>
                    <a:pt x="263" y="1547"/>
                    <a:pt x="261" y="1539"/>
                    <a:pt x="271" y="1535"/>
                  </a:cubicBezTo>
                  <a:cubicBezTo>
                    <a:pt x="280" y="1530"/>
                    <a:pt x="283" y="1521"/>
                    <a:pt x="279" y="1509"/>
                  </a:cubicBezTo>
                  <a:cubicBezTo>
                    <a:pt x="275" y="1498"/>
                    <a:pt x="280" y="1483"/>
                    <a:pt x="290" y="1475"/>
                  </a:cubicBezTo>
                  <a:cubicBezTo>
                    <a:pt x="300" y="1468"/>
                    <a:pt x="305" y="1475"/>
                    <a:pt x="314" y="1463"/>
                  </a:cubicBezTo>
                  <a:cubicBezTo>
                    <a:pt x="323" y="1452"/>
                    <a:pt x="305" y="1439"/>
                    <a:pt x="307" y="1435"/>
                  </a:cubicBezTo>
                  <a:cubicBezTo>
                    <a:pt x="308" y="1430"/>
                    <a:pt x="309" y="1421"/>
                    <a:pt x="301" y="1408"/>
                  </a:cubicBezTo>
                  <a:cubicBezTo>
                    <a:pt x="292" y="1395"/>
                    <a:pt x="301" y="1354"/>
                    <a:pt x="298" y="1347"/>
                  </a:cubicBezTo>
                  <a:cubicBezTo>
                    <a:pt x="295" y="1339"/>
                    <a:pt x="297" y="1333"/>
                    <a:pt x="298" y="1325"/>
                  </a:cubicBezTo>
                  <a:cubicBezTo>
                    <a:pt x="299" y="1318"/>
                    <a:pt x="303" y="1305"/>
                    <a:pt x="315" y="1301"/>
                  </a:cubicBezTo>
                  <a:cubicBezTo>
                    <a:pt x="327" y="1297"/>
                    <a:pt x="328" y="1287"/>
                    <a:pt x="336" y="1283"/>
                  </a:cubicBezTo>
                  <a:cubicBezTo>
                    <a:pt x="344" y="1278"/>
                    <a:pt x="348" y="1269"/>
                    <a:pt x="348" y="1261"/>
                  </a:cubicBezTo>
                  <a:cubicBezTo>
                    <a:pt x="348" y="1253"/>
                    <a:pt x="349" y="1241"/>
                    <a:pt x="342" y="1239"/>
                  </a:cubicBezTo>
                  <a:cubicBezTo>
                    <a:pt x="335" y="1236"/>
                    <a:pt x="338" y="1223"/>
                    <a:pt x="338" y="1213"/>
                  </a:cubicBezTo>
                  <a:cubicBezTo>
                    <a:pt x="338" y="1203"/>
                    <a:pt x="346" y="1194"/>
                    <a:pt x="349" y="1185"/>
                  </a:cubicBezTo>
                  <a:cubicBezTo>
                    <a:pt x="353" y="1177"/>
                    <a:pt x="358" y="1163"/>
                    <a:pt x="364" y="1152"/>
                  </a:cubicBezTo>
                  <a:cubicBezTo>
                    <a:pt x="370" y="1141"/>
                    <a:pt x="375" y="1138"/>
                    <a:pt x="379" y="1123"/>
                  </a:cubicBezTo>
                  <a:cubicBezTo>
                    <a:pt x="383" y="1109"/>
                    <a:pt x="377" y="1105"/>
                    <a:pt x="383" y="1091"/>
                  </a:cubicBezTo>
                  <a:cubicBezTo>
                    <a:pt x="389" y="1078"/>
                    <a:pt x="381" y="1081"/>
                    <a:pt x="369" y="1075"/>
                  </a:cubicBezTo>
                  <a:cubicBezTo>
                    <a:pt x="358" y="1070"/>
                    <a:pt x="359" y="1060"/>
                    <a:pt x="365" y="1051"/>
                  </a:cubicBezTo>
                  <a:cubicBezTo>
                    <a:pt x="370" y="1043"/>
                    <a:pt x="370" y="1040"/>
                    <a:pt x="361" y="1033"/>
                  </a:cubicBezTo>
                  <a:cubicBezTo>
                    <a:pt x="351" y="1025"/>
                    <a:pt x="353" y="1013"/>
                    <a:pt x="352" y="1006"/>
                  </a:cubicBezTo>
                  <a:cubicBezTo>
                    <a:pt x="351" y="999"/>
                    <a:pt x="347" y="990"/>
                    <a:pt x="347" y="983"/>
                  </a:cubicBezTo>
                  <a:cubicBezTo>
                    <a:pt x="346" y="975"/>
                    <a:pt x="343" y="980"/>
                    <a:pt x="335" y="967"/>
                  </a:cubicBezTo>
                  <a:cubicBezTo>
                    <a:pt x="327" y="953"/>
                    <a:pt x="331" y="949"/>
                    <a:pt x="332" y="940"/>
                  </a:cubicBezTo>
                  <a:cubicBezTo>
                    <a:pt x="333" y="931"/>
                    <a:pt x="340" y="921"/>
                    <a:pt x="346" y="915"/>
                  </a:cubicBezTo>
                  <a:cubicBezTo>
                    <a:pt x="352" y="909"/>
                    <a:pt x="351" y="899"/>
                    <a:pt x="354" y="885"/>
                  </a:cubicBezTo>
                  <a:cubicBezTo>
                    <a:pt x="357" y="871"/>
                    <a:pt x="362" y="871"/>
                    <a:pt x="371" y="868"/>
                  </a:cubicBezTo>
                  <a:cubicBezTo>
                    <a:pt x="381" y="865"/>
                    <a:pt x="381" y="851"/>
                    <a:pt x="377" y="847"/>
                  </a:cubicBezTo>
                  <a:cubicBezTo>
                    <a:pt x="374" y="842"/>
                    <a:pt x="373" y="835"/>
                    <a:pt x="377" y="823"/>
                  </a:cubicBezTo>
                  <a:cubicBezTo>
                    <a:pt x="380" y="811"/>
                    <a:pt x="370" y="811"/>
                    <a:pt x="368" y="799"/>
                  </a:cubicBezTo>
                  <a:cubicBezTo>
                    <a:pt x="366" y="788"/>
                    <a:pt x="372" y="783"/>
                    <a:pt x="382" y="774"/>
                  </a:cubicBezTo>
                  <a:cubicBezTo>
                    <a:pt x="392" y="765"/>
                    <a:pt x="389" y="754"/>
                    <a:pt x="388" y="741"/>
                  </a:cubicBezTo>
                  <a:cubicBezTo>
                    <a:pt x="387" y="729"/>
                    <a:pt x="395" y="722"/>
                    <a:pt x="404" y="715"/>
                  </a:cubicBezTo>
                  <a:cubicBezTo>
                    <a:pt x="413" y="709"/>
                    <a:pt x="419" y="701"/>
                    <a:pt x="427" y="690"/>
                  </a:cubicBezTo>
                  <a:cubicBezTo>
                    <a:pt x="434" y="679"/>
                    <a:pt x="435" y="670"/>
                    <a:pt x="436" y="661"/>
                  </a:cubicBezTo>
                  <a:cubicBezTo>
                    <a:pt x="437" y="653"/>
                    <a:pt x="447" y="642"/>
                    <a:pt x="457" y="643"/>
                  </a:cubicBezTo>
                  <a:cubicBezTo>
                    <a:pt x="466" y="643"/>
                    <a:pt x="471" y="639"/>
                    <a:pt x="477" y="631"/>
                  </a:cubicBezTo>
                  <a:cubicBezTo>
                    <a:pt x="482" y="622"/>
                    <a:pt x="475" y="615"/>
                    <a:pt x="469" y="611"/>
                  </a:cubicBezTo>
                  <a:cubicBezTo>
                    <a:pt x="462" y="606"/>
                    <a:pt x="458" y="603"/>
                    <a:pt x="458" y="591"/>
                  </a:cubicBezTo>
                  <a:cubicBezTo>
                    <a:pt x="458" y="579"/>
                    <a:pt x="470" y="576"/>
                    <a:pt x="470" y="571"/>
                  </a:cubicBezTo>
                  <a:cubicBezTo>
                    <a:pt x="470" y="565"/>
                    <a:pt x="467" y="555"/>
                    <a:pt x="462" y="546"/>
                  </a:cubicBezTo>
                  <a:cubicBezTo>
                    <a:pt x="457" y="537"/>
                    <a:pt x="457" y="523"/>
                    <a:pt x="463" y="517"/>
                  </a:cubicBezTo>
                  <a:cubicBezTo>
                    <a:pt x="469" y="511"/>
                    <a:pt x="473" y="503"/>
                    <a:pt x="463" y="492"/>
                  </a:cubicBezTo>
                  <a:cubicBezTo>
                    <a:pt x="454" y="481"/>
                    <a:pt x="462" y="475"/>
                    <a:pt x="465" y="471"/>
                  </a:cubicBezTo>
                  <a:cubicBezTo>
                    <a:pt x="467" y="467"/>
                    <a:pt x="482" y="461"/>
                    <a:pt x="491" y="453"/>
                  </a:cubicBezTo>
                  <a:cubicBezTo>
                    <a:pt x="501" y="444"/>
                    <a:pt x="519" y="437"/>
                    <a:pt x="531" y="433"/>
                  </a:cubicBezTo>
                  <a:cubicBezTo>
                    <a:pt x="542" y="430"/>
                    <a:pt x="544" y="423"/>
                    <a:pt x="544" y="415"/>
                  </a:cubicBezTo>
                  <a:cubicBezTo>
                    <a:pt x="544" y="407"/>
                    <a:pt x="545" y="400"/>
                    <a:pt x="549" y="394"/>
                  </a:cubicBezTo>
                  <a:cubicBezTo>
                    <a:pt x="553" y="388"/>
                    <a:pt x="552" y="381"/>
                    <a:pt x="554" y="362"/>
                  </a:cubicBezTo>
                  <a:cubicBezTo>
                    <a:pt x="556" y="343"/>
                    <a:pt x="531" y="359"/>
                    <a:pt x="515" y="35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547" name="Freeform 25759"/>
            <p:cNvSpPr>
              <a:spLocks/>
            </p:cNvSpPr>
            <p:nvPr/>
          </p:nvSpPr>
          <p:spPr bwMode="auto">
            <a:xfrm>
              <a:off x="2426878" y="4652061"/>
              <a:ext cx="7103" cy="7892"/>
            </a:xfrm>
            <a:custGeom>
              <a:avLst/>
              <a:gdLst>
                <a:gd name="T0" fmla="*/ 8 w 19"/>
                <a:gd name="T1" fmla="*/ 4 h 21"/>
                <a:gd name="T2" fmla="*/ 0 w 19"/>
                <a:gd name="T3" fmla="*/ 13 h 21"/>
                <a:gd name="T4" fmla="*/ 8 w 19"/>
                <a:gd name="T5" fmla="*/ 19 h 21"/>
                <a:gd name="T6" fmla="*/ 8 w 19"/>
                <a:gd name="T7" fmla="*/ 4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" h="21">
                  <a:moveTo>
                    <a:pt x="8" y="4"/>
                  </a:moveTo>
                  <a:cubicBezTo>
                    <a:pt x="8" y="4"/>
                    <a:pt x="0" y="7"/>
                    <a:pt x="0" y="13"/>
                  </a:cubicBezTo>
                  <a:cubicBezTo>
                    <a:pt x="0" y="19"/>
                    <a:pt x="4" y="21"/>
                    <a:pt x="8" y="19"/>
                  </a:cubicBezTo>
                  <a:cubicBezTo>
                    <a:pt x="13" y="18"/>
                    <a:pt x="19" y="0"/>
                    <a:pt x="8" y="4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548" name="Freeform 25760"/>
            <p:cNvSpPr>
              <a:spLocks/>
            </p:cNvSpPr>
            <p:nvPr/>
          </p:nvSpPr>
          <p:spPr bwMode="auto">
            <a:xfrm>
              <a:off x="1699421" y="4484283"/>
              <a:ext cx="10417" cy="10733"/>
            </a:xfrm>
            <a:custGeom>
              <a:avLst/>
              <a:gdLst>
                <a:gd name="T0" fmla="*/ 16 w 28"/>
                <a:gd name="T1" fmla="*/ 4 h 29"/>
                <a:gd name="T2" fmla="*/ 5 w 28"/>
                <a:gd name="T3" fmla="*/ 22 h 29"/>
                <a:gd name="T4" fmla="*/ 16 w 28"/>
                <a:gd name="T5" fmla="*/ 18 h 29"/>
                <a:gd name="T6" fmla="*/ 16 w 28"/>
                <a:gd name="T7" fmla="*/ 4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" h="29">
                  <a:moveTo>
                    <a:pt x="16" y="4"/>
                  </a:moveTo>
                  <a:cubicBezTo>
                    <a:pt x="16" y="4"/>
                    <a:pt x="0" y="16"/>
                    <a:pt x="5" y="22"/>
                  </a:cubicBezTo>
                  <a:cubicBezTo>
                    <a:pt x="11" y="29"/>
                    <a:pt x="9" y="25"/>
                    <a:pt x="16" y="18"/>
                  </a:cubicBezTo>
                  <a:cubicBezTo>
                    <a:pt x="23" y="12"/>
                    <a:pt x="28" y="0"/>
                    <a:pt x="16" y="4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549" name="Freeform 25761"/>
            <p:cNvSpPr>
              <a:spLocks/>
            </p:cNvSpPr>
            <p:nvPr/>
          </p:nvSpPr>
          <p:spPr bwMode="auto">
            <a:xfrm>
              <a:off x="2674520" y="3531755"/>
              <a:ext cx="7418" cy="6787"/>
            </a:xfrm>
            <a:custGeom>
              <a:avLst/>
              <a:gdLst>
                <a:gd name="T0" fmla="*/ 5 w 20"/>
                <a:gd name="T1" fmla="*/ 4 h 18"/>
                <a:gd name="T2" fmla="*/ 3 w 20"/>
                <a:gd name="T3" fmla="*/ 11 h 18"/>
                <a:gd name="T4" fmla="*/ 13 w 20"/>
                <a:gd name="T5" fmla="*/ 18 h 18"/>
                <a:gd name="T6" fmla="*/ 17 w 20"/>
                <a:gd name="T7" fmla="*/ 12 h 18"/>
                <a:gd name="T8" fmla="*/ 5 w 20"/>
                <a:gd name="T9" fmla="*/ 4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18">
                  <a:moveTo>
                    <a:pt x="5" y="4"/>
                  </a:moveTo>
                  <a:cubicBezTo>
                    <a:pt x="5" y="4"/>
                    <a:pt x="0" y="9"/>
                    <a:pt x="3" y="11"/>
                  </a:cubicBezTo>
                  <a:cubicBezTo>
                    <a:pt x="7" y="13"/>
                    <a:pt x="9" y="18"/>
                    <a:pt x="13" y="18"/>
                  </a:cubicBezTo>
                  <a:cubicBezTo>
                    <a:pt x="16" y="18"/>
                    <a:pt x="20" y="17"/>
                    <a:pt x="17" y="12"/>
                  </a:cubicBezTo>
                  <a:cubicBezTo>
                    <a:pt x="15" y="8"/>
                    <a:pt x="7" y="0"/>
                    <a:pt x="5" y="4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550" name="Freeform 25762"/>
            <p:cNvSpPr>
              <a:spLocks/>
            </p:cNvSpPr>
            <p:nvPr/>
          </p:nvSpPr>
          <p:spPr bwMode="auto">
            <a:xfrm>
              <a:off x="2772219" y="3552589"/>
              <a:ext cx="14521" cy="13101"/>
            </a:xfrm>
            <a:custGeom>
              <a:avLst/>
              <a:gdLst>
                <a:gd name="T0" fmla="*/ 25 w 39"/>
                <a:gd name="T1" fmla="*/ 13 h 35"/>
                <a:gd name="T2" fmla="*/ 15 w 39"/>
                <a:gd name="T3" fmla="*/ 20 h 35"/>
                <a:gd name="T4" fmla="*/ 1 w 39"/>
                <a:gd name="T5" fmla="*/ 28 h 35"/>
                <a:gd name="T6" fmla="*/ 15 w 39"/>
                <a:gd name="T7" fmla="*/ 35 h 35"/>
                <a:gd name="T8" fmla="*/ 36 w 39"/>
                <a:gd name="T9" fmla="*/ 24 h 35"/>
                <a:gd name="T10" fmla="*/ 25 w 39"/>
                <a:gd name="T11" fmla="*/ 13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9" h="35">
                  <a:moveTo>
                    <a:pt x="25" y="13"/>
                  </a:moveTo>
                  <a:cubicBezTo>
                    <a:pt x="25" y="13"/>
                    <a:pt x="25" y="20"/>
                    <a:pt x="15" y="20"/>
                  </a:cubicBezTo>
                  <a:cubicBezTo>
                    <a:pt x="5" y="20"/>
                    <a:pt x="0" y="25"/>
                    <a:pt x="1" y="28"/>
                  </a:cubicBezTo>
                  <a:cubicBezTo>
                    <a:pt x="1" y="32"/>
                    <a:pt x="9" y="35"/>
                    <a:pt x="15" y="35"/>
                  </a:cubicBezTo>
                  <a:cubicBezTo>
                    <a:pt x="22" y="35"/>
                    <a:pt x="33" y="31"/>
                    <a:pt x="36" y="24"/>
                  </a:cubicBezTo>
                  <a:cubicBezTo>
                    <a:pt x="39" y="17"/>
                    <a:pt x="27" y="0"/>
                    <a:pt x="25" y="13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551" name="Freeform 25763"/>
            <p:cNvSpPr>
              <a:spLocks/>
            </p:cNvSpPr>
            <p:nvPr/>
          </p:nvSpPr>
          <p:spPr bwMode="auto">
            <a:xfrm>
              <a:off x="2652423" y="3528441"/>
              <a:ext cx="16099" cy="10417"/>
            </a:xfrm>
            <a:custGeom>
              <a:avLst/>
              <a:gdLst>
                <a:gd name="T0" fmla="*/ 25 w 43"/>
                <a:gd name="T1" fmla="*/ 6 h 28"/>
                <a:gd name="T2" fmla="*/ 11 w 43"/>
                <a:gd name="T3" fmla="*/ 2 h 28"/>
                <a:gd name="T4" fmla="*/ 7 w 43"/>
                <a:gd name="T5" fmla="*/ 11 h 28"/>
                <a:gd name="T6" fmla="*/ 21 w 43"/>
                <a:gd name="T7" fmla="*/ 22 h 28"/>
                <a:gd name="T8" fmla="*/ 40 w 43"/>
                <a:gd name="T9" fmla="*/ 25 h 28"/>
                <a:gd name="T10" fmla="*/ 33 w 43"/>
                <a:gd name="T11" fmla="*/ 13 h 28"/>
                <a:gd name="T12" fmla="*/ 25 w 43"/>
                <a:gd name="T13" fmla="*/ 6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" h="28">
                  <a:moveTo>
                    <a:pt x="25" y="6"/>
                  </a:moveTo>
                  <a:cubicBezTo>
                    <a:pt x="25" y="6"/>
                    <a:pt x="13" y="4"/>
                    <a:pt x="11" y="2"/>
                  </a:cubicBezTo>
                  <a:cubicBezTo>
                    <a:pt x="8" y="0"/>
                    <a:pt x="0" y="6"/>
                    <a:pt x="7" y="11"/>
                  </a:cubicBezTo>
                  <a:cubicBezTo>
                    <a:pt x="15" y="16"/>
                    <a:pt x="19" y="20"/>
                    <a:pt x="21" y="22"/>
                  </a:cubicBezTo>
                  <a:cubicBezTo>
                    <a:pt x="23" y="24"/>
                    <a:pt x="37" y="28"/>
                    <a:pt x="40" y="25"/>
                  </a:cubicBezTo>
                  <a:cubicBezTo>
                    <a:pt x="43" y="21"/>
                    <a:pt x="38" y="14"/>
                    <a:pt x="33" y="13"/>
                  </a:cubicBezTo>
                  <a:cubicBezTo>
                    <a:pt x="28" y="11"/>
                    <a:pt x="32" y="8"/>
                    <a:pt x="25" y="6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552" name="Freeform 25764"/>
            <p:cNvSpPr>
              <a:spLocks/>
            </p:cNvSpPr>
            <p:nvPr/>
          </p:nvSpPr>
          <p:spPr bwMode="auto">
            <a:xfrm>
              <a:off x="2555828" y="3534438"/>
              <a:ext cx="323402" cy="276209"/>
            </a:xfrm>
            <a:custGeom>
              <a:avLst/>
              <a:gdLst>
                <a:gd name="T0" fmla="*/ 774 w 867"/>
                <a:gd name="T1" fmla="*/ 415 h 741"/>
                <a:gd name="T2" fmla="*/ 781 w 867"/>
                <a:gd name="T3" fmla="*/ 363 h 741"/>
                <a:gd name="T4" fmla="*/ 819 w 867"/>
                <a:gd name="T5" fmla="*/ 346 h 741"/>
                <a:gd name="T6" fmla="*/ 812 w 867"/>
                <a:gd name="T7" fmla="*/ 310 h 741"/>
                <a:gd name="T8" fmla="*/ 853 w 867"/>
                <a:gd name="T9" fmla="*/ 269 h 741"/>
                <a:gd name="T10" fmla="*/ 855 w 867"/>
                <a:gd name="T11" fmla="*/ 231 h 741"/>
                <a:gd name="T12" fmla="*/ 799 w 867"/>
                <a:gd name="T13" fmla="*/ 231 h 741"/>
                <a:gd name="T14" fmla="*/ 781 w 867"/>
                <a:gd name="T15" fmla="*/ 218 h 741"/>
                <a:gd name="T16" fmla="*/ 802 w 867"/>
                <a:gd name="T17" fmla="*/ 175 h 741"/>
                <a:gd name="T18" fmla="*/ 738 w 867"/>
                <a:gd name="T19" fmla="*/ 148 h 741"/>
                <a:gd name="T20" fmla="*/ 692 w 867"/>
                <a:gd name="T21" fmla="*/ 127 h 741"/>
                <a:gd name="T22" fmla="*/ 693 w 867"/>
                <a:gd name="T23" fmla="*/ 103 h 741"/>
                <a:gd name="T24" fmla="*/ 677 w 867"/>
                <a:gd name="T25" fmla="*/ 89 h 741"/>
                <a:gd name="T26" fmla="*/ 579 w 867"/>
                <a:gd name="T27" fmla="*/ 109 h 741"/>
                <a:gd name="T28" fmla="*/ 465 w 867"/>
                <a:gd name="T29" fmla="*/ 105 h 741"/>
                <a:gd name="T30" fmla="*/ 368 w 867"/>
                <a:gd name="T31" fmla="*/ 107 h 741"/>
                <a:gd name="T32" fmla="*/ 276 w 867"/>
                <a:gd name="T33" fmla="*/ 44 h 741"/>
                <a:gd name="T34" fmla="*/ 213 w 867"/>
                <a:gd name="T35" fmla="*/ 0 h 741"/>
                <a:gd name="T36" fmla="*/ 194 w 867"/>
                <a:gd name="T37" fmla="*/ 54 h 741"/>
                <a:gd name="T38" fmla="*/ 126 w 867"/>
                <a:gd name="T39" fmla="*/ 112 h 741"/>
                <a:gd name="T40" fmla="*/ 136 w 867"/>
                <a:gd name="T41" fmla="*/ 195 h 741"/>
                <a:gd name="T42" fmla="*/ 88 w 867"/>
                <a:gd name="T43" fmla="*/ 158 h 741"/>
                <a:gd name="T44" fmla="*/ 111 w 867"/>
                <a:gd name="T45" fmla="*/ 73 h 741"/>
                <a:gd name="T46" fmla="*/ 128 w 867"/>
                <a:gd name="T47" fmla="*/ 23 h 741"/>
                <a:gd name="T48" fmla="*/ 90 w 867"/>
                <a:gd name="T49" fmla="*/ 37 h 741"/>
                <a:gd name="T50" fmla="*/ 36 w 867"/>
                <a:gd name="T51" fmla="*/ 103 h 741"/>
                <a:gd name="T52" fmla="*/ 24 w 867"/>
                <a:gd name="T53" fmla="*/ 160 h 741"/>
                <a:gd name="T54" fmla="*/ 16 w 867"/>
                <a:gd name="T55" fmla="*/ 195 h 741"/>
                <a:gd name="T56" fmla="*/ 41 w 867"/>
                <a:gd name="T57" fmla="*/ 216 h 741"/>
                <a:gd name="T58" fmla="*/ 68 w 867"/>
                <a:gd name="T59" fmla="*/ 259 h 741"/>
                <a:gd name="T60" fmla="*/ 68 w 867"/>
                <a:gd name="T61" fmla="*/ 312 h 741"/>
                <a:gd name="T62" fmla="*/ 114 w 867"/>
                <a:gd name="T63" fmla="*/ 338 h 741"/>
                <a:gd name="T64" fmla="*/ 180 w 867"/>
                <a:gd name="T65" fmla="*/ 331 h 741"/>
                <a:gd name="T66" fmla="*/ 224 w 867"/>
                <a:gd name="T67" fmla="*/ 354 h 741"/>
                <a:gd name="T68" fmla="*/ 270 w 867"/>
                <a:gd name="T69" fmla="*/ 392 h 741"/>
                <a:gd name="T70" fmla="*/ 342 w 867"/>
                <a:gd name="T71" fmla="*/ 384 h 741"/>
                <a:gd name="T72" fmla="*/ 380 w 867"/>
                <a:gd name="T73" fmla="*/ 392 h 741"/>
                <a:gd name="T74" fmla="*/ 364 w 867"/>
                <a:gd name="T75" fmla="*/ 436 h 741"/>
                <a:gd name="T76" fmla="*/ 354 w 867"/>
                <a:gd name="T77" fmla="*/ 484 h 741"/>
                <a:gd name="T78" fmla="*/ 375 w 867"/>
                <a:gd name="T79" fmla="*/ 548 h 741"/>
                <a:gd name="T80" fmla="*/ 368 w 867"/>
                <a:gd name="T81" fmla="*/ 605 h 741"/>
                <a:gd name="T82" fmla="*/ 388 w 867"/>
                <a:gd name="T83" fmla="*/ 651 h 741"/>
                <a:gd name="T84" fmla="*/ 409 w 867"/>
                <a:gd name="T85" fmla="*/ 710 h 741"/>
                <a:gd name="T86" fmla="*/ 452 w 867"/>
                <a:gd name="T87" fmla="*/ 736 h 741"/>
                <a:gd name="T88" fmla="*/ 495 w 867"/>
                <a:gd name="T89" fmla="*/ 722 h 741"/>
                <a:gd name="T90" fmla="*/ 534 w 867"/>
                <a:gd name="T91" fmla="*/ 713 h 741"/>
                <a:gd name="T92" fmla="*/ 589 w 867"/>
                <a:gd name="T93" fmla="*/ 686 h 741"/>
                <a:gd name="T94" fmla="*/ 634 w 867"/>
                <a:gd name="T95" fmla="*/ 646 h 741"/>
                <a:gd name="T96" fmla="*/ 600 w 867"/>
                <a:gd name="T97" fmla="*/ 618 h 741"/>
                <a:gd name="T98" fmla="*/ 581 w 867"/>
                <a:gd name="T99" fmla="*/ 554 h 741"/>
                <a:gd name="T100" fmla="*/ 572 w 867"/>
                <a:gd name="T101" fmla="*/ 517 h 741"/>
                <a:gd name="T102" fmla="*/ 624 w 867"/>
                <a:gd name="T103" fmla="*/ 534 h 741"/>
                <a:gd name="T104" fmla="*/ 664 w 867"/>
                <a:gd name="T105" fmla="*/ 553 h 741"/>
                <a:gd name="T106" fmla="*/ 692 w 867"/>
                <a:gd name="T107" fmla="*/ 525 h 741"/>
                <a:gd name="T108" fmla="*/ 746 w 867"/>
                <a:gd name="T109" fmla="*/ 509 h 741"/>
                <a:gd name="T110" fmla="*/ 795 w 867"/>
                <a:gd name="T111" fmla="*/ 489 h 741"/>
                <a:gd name="T112" fmla="*/ 813 w 867"/>
                <a:gd name="T113" fmla="*/ 459 h 7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867" h="741">
                  <a:moveTo>
                    <a:pt x="799" y="438"/>
                  </a:moveTo>
                  <a:cubicBezTo>
                    <a:pt x="795" y="428"/>
                    <a:pt x="788" y="430"/>
                    <a:pt x="774" y="415"/>
                  </a:cubicBezTo>
                  <a:cubicBezTo>
                    <a:pt x="760" y="400"/>
                    <a:pt x="771" y="395"/>
                    <a:pt x="779" y="385"/>
                  </a:cubicBezTo>
                  <a:cubicBezTo>
                    <a:pt x="787" y="375"/>
                    <a:pt x="781" y="370"/>
                    <a:pt x="781" y="363"/>
                  </a:cubicBezTo>
                  <a:cubicBezTo>
                    <a:pt x="781" y="356"/>
                    <a:pt x="789" y="355"/>
                    <a:pt x="801" y="353"/>
                  </a:cubicBezTo>
                  <a:cubicBezTo>
                    <a:pt x="813" y="351"/>
                    <a:pt x="806" y="345"/>
                    <a:pt x="819" y="346"/>
                  </a:cubicBezTo>
                  <a:cubicBezTo>
                    <a:pt x="832" y="347"/>
                    <a:pt x="829" y="341"/>
                    <a:pt x="832" y="331"/>
                  </a:cubicBezTo>
                  <a:cubicBezTo>
                    <a:pt x="835" y="321"/>
                    <a:pt x="825" y="320"/>
                    <a:pt x="812" y="310"/>
                  </a:cubicBezTo>
                  <a:cubicBezTo>
                    <a:pt x="799" y="300"/>
                    <a:pt x="822" y="289"/>
                    <a:pt x="829" y="283"/>
                  </a:cubicBezTo>
                  <a:cubicBezTo>
                    <a:pt x="836" y="277"/>
                    <a:pt x="839" y="272"/>
                    <a:pt x="853" y="269"/>
                  </a:cubicBezTo>
                  <a:cubicBezTo>
                    <a:pt x="867" y="266"/>
                    <a:pt x="858" y="257"/>
                    <a:pt x="857" y="250"/>
                  </a:cubicBezTo>
                  <a:cubicBezTo>
                    <a:pt x="857" y="247"/>
                    <a:pt x="856" y="238"/>
                    <a:pt x="855" y="231"/>
                  </a:cubicBezTo>
                  <a:cubicBezTo>
                    <a:pt x="854" y="231"/>
                    <a:pt x="853" y="231"/>
                    <a:pt x="852" y="231"/>
                  </a:cubicBezTo>
                  <a:cubicBezTo>
                    <a:pt x="832" y="228"/>
                    <a:pt x="814" y="221"/>
                    <a:pt x="799" y="231"/>
                  </a:cubicBezTo>
                  <a:cubicBezTo>
                    <a:pt x="785" y="241"/>
                    <a:pt x="776" y="248"/>
                    <a:pt x="768" y="238"/>
                  </a:cubicBezTo>
                  <a:cubicBezTo>
                    <a:pt x="759" y="228"/>
                    <a:pt x="781" y="229"/>
                    <a:pt x="781" y="218"/>
                  </a:cubicBezTo>
                  <a:cubicBezTo>
                    <a:pt x="781" y="206"/>
                    <a:pt x="791" y="208"/>
                    <a:pt x="792" y="196"/>
                  </a:cubicBezTo>
                  <a:cubicBezTo>
                    <a:pt x="794" y="185"/>
                    <a:pt x="808" y="186"/>
                    <a:pt x="802" y="175"/>
                  </a:cubicBezTo>
                  <a:cubicBezTo>
                    <a:pt x="796" y="163"/>
                    <a:pt x="785" y="158"/>
                    <a:pt x="774" y="158"/>
                  </a:cubicBezTo>
                  <a:cubicBezTo>
                    <a:pt x="762" y="158"/>
                    <a:pt x="761" y="153"/>
                    <a:pt x="738" y="148"/>
                  </a:cubicBezTo>
                  <a:cubicBezTo>
                    <a:pt x="715" y="142"/>
                    <a:pt x="702" y="159"/>
                    <a:pt x="698" y="146"/>
                  </a:cubicBezTo>
                  <a:cubicBezTo>
                    <a:pt x="693" y="133"/>
                    <a:pt x="702" y="130"/>
                    <a:pt x="692" y="127"/>
                  </a:cubicBezTo>
                  <a:cubicBezTo>
                    <a:pt x="682" y="125"/>
                    <a:pt x="670" y="129"/>
                    <a:pt x="672" y="115"/>
                  </a:cubicBezTo>
                  <a:cubicBezTo>
                    <a:pt x="673" y="100"/>
                    <a:pt x="676" y="103"/>
                    <a:pt x="693" y="103"/>
                  </a:cubicBezTo>
                  <a:cubicBezTo>
                    <a:pt x="710" y="103"/>
                    <a:pt x="723" y="99"/>
                    <a:pt x="723" y="90"/>
                  </a:cubicBezTo>
                  <a:cubicBezTo>
                    <a:pt x="723" y="82"/>
                    <a:pt x="702" y="86"/>
                    <a:pt x="677" y="89"/>
                  </a:cubicBezTo>
                  <a:cubicBezTo>
                    <a:pt x="653" y="92"/>
                    <a:pt x="645" y="96"/>
                    <a:pt x="627" y="96"/>
                  </a:cubicBezTo>
                  <a:cubicBezTo>
                    <a:pt x="610" y="96"/>
                    <a:pt x="593" y="93"/>
                    <a:pt x="579" y="109"/>
                  </a:cubicBezTo>
                  <a:cubicBezTo>
                    <a:pt x="564" y="125"/>
                    <a:pt x="527" y="133"/>
                    <a:pt x="505" y="126"/>
                  </a:cubicBezTo>
                  <a:cubicBezTo>
                    <a:pt x="484" y="119"/>
                    <a:pt x="477" y="117"/>
                    <a:pt x="465" y="105"/>
                  </a:cubicBezTo>
                  <a:cubicBezTo>
                    <a:pt x="454" y="92"/>
                    <a:pt x="422" y="93"/>
                    <a:pt x="408" y="94"/>
                  </a:cubicBezTo>
                  <a:cubicBezTo>
                    <a:pt x="394" y="96"/>
                    <a:pt x="401" y="115"/>
                    <a:pt x="368" y="107"/>
                  </a:cubicBezTo>
                  <a:cubicBezTo>
                    <a:pt x="335" y="100"/>
                    <a:pt x="342" y="105"/>
                    <a:pt x="326" y="80"/>
                  </a:cubicBezTo>
                  <a:cubicBezTo>
                    <a:pt x="311" y="56"/>
                    <a:pt x="301" y="47"/>
                    <a:pt x="276" y="44"/>
                  </a:cubicBezTo>
                  <a:cubicBezTo>
                    <a:pt x="252" y="41"/>
                    <a:pt x="237" y="50"/>
                    <a:pt x="232" y="29"/>
                  </a:cubicBezTo>
                  <a:cubicBezTo>
                    <a:pt x="226" y="7"/>
                    <a:pt x="223" y="0"/>
                    <a:pt x="213" y="0"/>
                  </a:cubicBezTo>
                  <a:cubicBezTo>
                    <a:pt x="203" y="0"/>
                    <a:pt x="194" y="10"/>
                    <a:pt x="200" y="21"/>
                  </a:cubicBezTo>
                  <a:cubicBezTo>
                    <a:pt x="206" y="33"/>
                    <a:pt x="219" y="53"/>
                    <a:pt x="194" y="54"/>
                  </a:cubicBezTo>
                  <a:cubicBezTo>
                    <a:pt x="170" y="56"/>
                    <a:pt x="146" y="72"/>
                    <a:pt x="139" y="74"/>
                  </a:cubicBezTo>
                  <a:cubicBezTo>
                    <a:pt x="131" y="77"/>
                    <a:pt x="118" y="99"/>
                    <a:pt x="126" y="112"/>
                  </a:cubicBezTo>
                  <a:cubicBezTo>
                    <a:pt x="133" y="125"/>
                    <a:pt x="153" y="143"/>
                    <a:pt x="153" y="160"/>
                  </a:cubicBezTo>
                  <a:cubicBezTo>
                    <a:pt x="153" y="178"/>
                    <a:pt x="150" y="192"/>
                    <a:pt x="136" y="195"/>
                  </a:cubicBezTo>
                  <a:cubicBezTo>
                    <a:pt x="121" y="198"/>
                    <a:pt x="111" y="196"/>
                    <a:pt x="108" y="188"/>
                  </a:cubicBezTo>
                  <a:cubicBezTo>
                    <a:pt x="106" y="179"/>
                    <a:pt x="88" y="178"/>
                    <a:pt x="88" y="158"/>
                  </a:cubicBezTo>
                  <a:cubicBezTo>
                    <a:pt x="88" y="137"/>
                    <a:pt x="110" y="129"/>
                    <a:pt x="110" y="112"/>
                  </a:cubicBezTo>
                  <a:cubicBezTo>
                    <a:pt x="110" y="94"/>
                    <a:pt x="123" y="89"/>
                    <a:pt x="111" y="73"/>
                  </a:cubicBezTo>
                  <a:cubicBezTo>
                    <a:pt x="100" y="57"/>
                    <a:pt x="90" y="36"/>
                    <a:pt x="111" y="29"/>
                  </a:cubicBezTo>
                  <a:cubicBezTo>
                    <a:pt x="118" y="26"/>
                    <a:pt x="123" y="25"/>
                    <a:pt x="128" y="23"/>
                  </a:cubicBezTo>
                  <a:cubicBezTo>
                    <a:pt x="123" y="22"/>
                    <a:pt x="115" y="21"/>
                    <a:pt x="110" y="22"/>
                  </a:cubicBezTo>
                  <a:cubicBezTo>
                    <a:pt x="100" y="24"/>
                    <a:pt x="94" y="29"/>
                    <a:pt x="90" y="37"/>
                  </a:cubicBezTo>
                  <a:cubicBezTo>
                    <a:pt x="86" y="45"/>
                    <a:pt x="70" y="64"/>
                    <a:pt x="63" y="71"/>
                  </a:cubicBezTo>
                  <a:cubicBezTo>
                    <a:pt x="55" y="79"/>
                    <a:pt x="38" y="95"/>
                    <a:pt x="36" y="103"/>
                  </a:cubicBezTo>
                  <a:cubicBezTo>
                    <a:pt x="33" y="111"/>
                    <a:pt x="29" y="112"/>
                    <a:pt x="29" y="125"/>
                  </a:cubicBezTo>
                  <a:cubicBezTo>
                    <a:pt x="29" y="138"/>
                    <a:pt x="33" y="148"/>
                    <a:pt x="24" y="160"/>
                  </a:cubicBezTo>
                  <a:cubicBezTo>
                    <a:pt x="14" y="171"/>
                    <a:pt x="9" y="179"/>
                    <a:pt x="4" y="188"/>
                  </a:cubicBezTo>
                  <a:cubicBezTo>
                    <a:pt x="0" y="196"/>
                    <a:pt x="6" y="195"/>
                    <a:pt x="16" y="195"/>
                  </a:cubicBezTo>
                  <a:cubicBezTo>
                    <a:pt x="25" y="195"/>
                    <a:pt x="48" y="190"/>
                    <a:pt x="49" y="198"/>
                  </a:cubicBezTo>
                  <a:cubicBezTo>
                    <a:pt x="50" y="207"/>
                    <a:pt x="40" y="207"/>
                    <a:pt x="41" y="216"/>
                  </a:cubicBezTo>
                  <a:cubicBezTo>
                    <a:pt x="42" y="224"/>
                    <a:pt x="44" y="228"/>
                    <a:pt x="52" y="232"/>
                  </a:cubicBezTo>
                  <a:cubicBezTo>
                    <a:pt x="60" y="237"/>
                    <a:pt x="70" y="248"/>
                    <a:pt x="68" y="259"/>
                  </a:cubicBezTo>
                  <a:cubicBezTo>
                    <a:pt x="65" y="270"/>
                    <a:pt x="58" y="267"/>
                    <a:pt x="58" y="282"/>
                  </a:cubicBezTo>
                  <a:cubicBezTo>
                    <a:pt x="59" y="298"/>
                    <a:pt x="58" y="306"/>
                    <a:pt x="68" y="312"/>
                  </a:cubicBezTo>
                  <a:cubicBezTo>
                    <a:pt x="79" y="318"/>
                    <a:pt x="84" y="328"/>
                    <a:pt x="87" y="333"/>
                  </a:cubicBezTo>
                  <a:cubicBezTo>
                    <a:pt x="90" y="338"/>
                    <a:pt x="98" y="338"/>
                    <a:pt x="114" y="338"/>
                  </a:cubicBezTo>
                  <a:cubicBezTo>
                    <a:pt x="129" y="338"/>
                    <a:pt x="153" y="344"/>
                    <a:pt x="156" y="337"/>
                  </a:cubicBezTo>
                  <a:cubicBezTo>
                    <a:pt x="160" y="330"/>
                    <a:pt x="172" y="324"/>
                    <a:pt x="180" y="331"/>
                  </a:cubicBezTo>
                  <a:cubicBezTo>
                    <a:pt x="189" y="338"/>
                    <a:pt x="190" y="338"/>
                    <a:pt x="200" y="339"/>
                  </a:cubicBezTo>
                  <a:cubicBezTo>
                    <a:pt x="209" y="340"/>
                    <a:pt x="216" y="340"/>
                    <a:pt x="224" y="354"/>
                  </a:cubicBezTo>
                  <a:cubicBezTo>
                    <a:pt x="233" y="367"/>
                    <a:pt x="246" y="384"/>
                    <a:pt x="254" y="390"/>
                  </a:cubicBezTo>
                  <a:cubicBezTo>
                    <a:pt x="261" y="397"/>
                    <a:pt x="267" y="398"/>
                    <a:pt x="270" y="392"/>
                  </a:cubicBezTo>
                  <a:cubicBezTo>
                    <a:pt x="274" y="386"/>
                    <a:pt x="286" y="385"/>
                    <a:pt x="294" y="389"/>
                  </a:cubicBezTo>
                  <a:cubicBezTo>
                    <a:pt x="303" y="393"/>
                    <a:pt x="334" y="390"/>
                    <a:pt x="342" y="384"/>
                  </a:cubicBezTo>
                  <a:cubicBezTo>
                    <a:pt x="350" y="378"/>
                    <a:pt x="352" y="378"/>
                    <a:pt x="362" y="378"/>
                  </a:cubicBezTo>
                  <a:cubicBezTo>
                    <a:pt x="371" y="379"/>
                    <a:pt x="380" y="384"/>
                    <a:pt x="380" y="392"/>
                  </a:cubicBezTo>
                  <a:cubicBezTo>
                    <a:pt x="380" y="400"/>
                    <a:pt x="374" y="407"/>
                    <a:pt x="372" y="414"/>
                  </a:cubicBezTo>
                  <a:cubicBezTo>
                    <a:pt x="370" y="420"/>
                    <a:pt x="374" y="431"/>
                    <a:pt x="364" y="436"/>
                  </a:cubicBezTo>
                  <a:cubicBezTo>
                    <a:pt x="354" y="442"/>
                    <a:pt x="354" y="444"/>
                    <a:pt x="356" y="456"/>
                  </a:cubicBezTo>
                  <a:cubicBezTo>
                    <a:pt x="358" y="467"/>
                    <a:pt x="355" y="473"/>
                    <a:pt x="354" y="484"/>
                  </a:cubicBezTo>
                  <a:cubicBezTo>
                    <a:pt x="354" y="496"/>
                    <a:pt x="351" y="514"/>
                    <a:pt x="362" y="526"/>
                  </a:cubicBezTo>
                  <a:cubicBezTo>
                    <a:pt x="372" y="537"/>
                    <a:pt x="364" y="544"/>
                    <a:pt x="375" y="548"/>
                  </a:cubicBezTo>
                  <a:cubicBezTo>
                    <a:pt x="386" y="552"/>
                    <a:pt x="397" y="560"/>
                    <a:pt x="384" y="573"/>
                  </a:cubicBezTo>
                  <a:cubicBezTo>
                    <a:pt x="370" y="586"/>
                    <a:pt x="351" y="595"/>
                    <a:pt x="368" y="605"/>
                  </a:cubicBezTo>
                  <a:cubicBezTo>
                    <a:pt x="384" y="615"/>
                    <a:pt x="388" y="614"/>
                    <a:pt x="391" y="630"/>
                  </a:cubicBezTo>
                  <a:cubicBezTo>
                    <a:pt x="393" y="642"/>
                    <a:pt x="395" y="647"/>
                    <a:pt x="388" y="651"/>
                  </a:cubicBezTo>
                  <a:cubicBezTo>
                    <a:pt x="395" y="655"/>
                    <a:pt x="402" y="660"/>
                    <a:pt x="403" y="665"/>
                  </a:cubicBezTo>
                  <a:cubicBezTo>
                    <a:pt x="405" y="675"/>
                    <a:pt x="397" y="708"/>
                    <a:pt x="409" y="710"/>
                  </a:cubicBezTo>
                  <a:cubicBezTo>
                    <a:pt x="421" y="712"/>
                    <a:pt x="427" y="714"/>
                    <a:pt x="434" y="723"/>
                  </a:cubicBezTo>
                  <a:cubicBezTo>
                    <a:pt x="441" y="732"/>
                    <a:pt x="438" y="734"/>
                    <a:pt x="452" y="736"/>
                  </a:cubicBezTo>
                  <a:cubicBezTo>
                    <a:pt x="466" y="738"/>
                    <a:pt x="477" y="741"/>
                    <a:pt x="480" y="732"/>
                  </a:cubicBezTo>
                  <a:cubicBezTo>
                    <a:pt x="483" y="723"/>
                    <a:pt x="486" y="716"/>
                    <a:pt x="495" y="722"/>
                  </a:cubicBezTo>
                  <a:cubicBezTo>
                    <a:pt x="504" y="728"/>
                    <a:pt x="504" y="736"/>
                    <a:pt x="515" y="731"/>
                  </a:cubicBezTo>
                  <a:cubicBezTo>
                    <a:pt x="526" y="726"/>
                    <a:pt x="520" y="714"/>
                    <a:pt x="534" y="713"/>
                  </a:cubicBezTo>
                  <a:cubicBezTo>
                    <a:pt x="548" y="712"/>
                    <a:pt x="543" y="699"/>
                    <a:pt x="559" y="699"/>
                  </a:cubicBezTo>
                  <a:cubicBezTo>
                    <a:pt x="575" y="699"/>
                    <a:pt x="587" y="701"/>
                    <a:pt x="589" y="686"/>
                  </a:cubicBezTo>
                  <a:cubicBezTo>
                    <a:pt x="591" y="671"/>
                    <a:pt x="591" y="664"/>
                    <a:pt x="606" y="659"/>
                  </a:cubicBezTo>
                  <a:cubicBezTo>
                    <a:pt x="621" y="654"/>
                    <a:pt x="632" y="655"/>
                    <a:pt x="634" y="646"/>
                  </a:cubicBezTo>
                  <a:cubicBezTo>
                    <a:pt x="636" y="637"/>
                    <a:pt x="642" y="631"/>
                    <a:pt x="624" y="629"/>
                  </a:cubicBezTo>
                  <a:cubicBezTo>
                    <a:pt x="606" y="627"/>
                    <a:pt x="600" y="630"/>
                    <a:pt x="600" y="618"/>
                  </a:cubicBezTo>
                  <a:cubicBezTo>
                    <a:pt x="600" y="606"/>
                    <a:pt x="593" y="599"/>
                    <a:pt x="587" y="596"/>
                  </a:cubicBezTo>
                  <a:cubicBezTo>
                    <a:pt x="581" y="593"/>
                    <a:pt x="593" y="567"/>
                    <a:pt x="581" y="554"/>
                  </a:cubicBezTo>
                  <a:cubicBezTo>
                    <a:pt x="569" y="541"/>
                    <a:pt x="558" y="535"/>
                    <a:pt x="558" y="526"/>
                  </a:cubicBezTo>
                  <a:cubicBezTo>
                    <a:pt x="558" y="517"/>
                    <a:pt x="558" y="515"/>
                    <a:pt x="572" y="517"/>
                  </a:cubicBezTo>
                  <a:cubicBezTo>
                    <a:pt x="586" y="519"/>
                    <a:pt x="600" y="516"/>
                    <a:pt x="603" y="526"/>
                  </a:cubicBezTo>
                  <a:cubicBezTo>
                    <a:pt x="606" y="536"/>
                    <a:pt x="612" y="529"/>
                    <a:pt x="624" y="534"/>
                  </a:cubicBezTo>
                  <a:cubicBezTo>
                    <a:pt x="636" y="539"/>
                    <a:pt x="646" y="529"/>
                    <a:pt x="652" y="538"/>
                  </a:cubicBezTo>
                  <a:cubicBezTo>
                    <a:pt x="658" y="547"/>
                    <a:pt x="657" y="552"/>
                    <a:pt x="664" y="553"/>
                  </a:cubicBezTo>
                  <a:cubicBezTo>
                    <a:pt x="671" y="554"/>
                    <a:pt x="682" y="560"/>
                    <a:pt x="681" y="547"/>
                  </a:cubicBezTo>
                  <a:cubicBezTo>
                    <a:pt x="680" y="534"/>
                    <a:pt x="683" y="525"/>
                    <a:pt x="692" y="525"/>
                  </a:cubicBezTo>
                  <a:cubicBezTo>
                    <a:pt x="701" y="525"/>
                    <a:pt x="697" y="518"/>
                    <a:pt x="713" y="519"/>
                  </a:cubicBezTo>
                  <a:cubicBezTo>
                    <a:pt x="729" y="520"/>
                    <a:pt x="730" y="509"/>
                    <a:pt x="746" y="509"/>
                  </a:cubicBezTo>
                  <a:cubicBezTo>
                    <a:pt x="762" y="509"/>
                    <a:pt x="762" y="506"/>
                    <a:pt x="775" y="500"/>
                  </a:cubicBezTo>
                  <a:cubicBezTo>
                    <a:pt x="788" y="494"/>
                    <a:pt x="791" y="499"/>
                    <a:pt x="795" y="489"/>
                  </a:cubicBezTo>
                  <a:cubicBezTo>
                    <a:pt x="799" y="479"/>
                    <a:pt x="811" y="482"/>
                    <a:pt x="813" y="470"/>
                  </a:cubicBezTo>
                  <a:cubicBezTo>
                    <a:pt x="814" y="466"/>
                    <a:pt x="813" y="462"/>
                    <a:pt x="813" y="459"/>
                  </a:cubicBezTo>
                  <a:cubicBezTo>
                    <a:pt x="804" y="455"/>
                    <a:pt x="802" y="447"/>
                    <a:pt x="799" y="438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553" name="Freeform 25765"/>
            <p:cNvSpPr>
              <a:spLocks/>
            </p:cNvSpPr>
            <p:nvPr/>
          </p:nvSpPr>
          <p:spPr bwMode="auto">
            <a:xfrm>
              <a:off x="2839298" y="3620458"/>
              <a:ext cx="121848" cy="180878"/>
            </a:xfrm>
            <a:custGeom>
              <a:avLst/>
              <a:gdLst>
                <a:gd name="T0" fmla="*/ 296 w 327"/>
                <a:gd name="T1" fmla="*/ 406 h 485"/>
                <a:gd name="T2" fmla="*/ 282 w 327"/>
                <a:gd name="T3" fmla="*/ 383 h 485"/>
                <a:gd name="T4" fmla="*/ 272 w 327"/>
                <a:gd name="T5" fmla="*/ 353 h 485"/>
                <a:gd name="T6" fmla="*/ 255 w 327"/>
                <a:gd name="T7" fmla="*/ 322 h 485"/>
                <a:gd name="T8" fmla="*/ 230 w 327"/>
                <a:gd name="T9" fmla="*/ 302 h 485"/>
                <a:gd name="T10" fmla="*/ 230 w 327"/>
                <a:gd name="T11" fmla="*/ 248 h 485"/>
                <a:gd name="T12" fmla="*/ 268 w 327"/>
                <a:gd name="T13" fmla="*/ 232 h 485"/>
                <a:gd name="T14" fmla="*/ 272 w 327"/>
                <a:gd name="T15" fmla="*/ 200 h 485"/>
                <a:gd name="T16" fmla="*/ 284 w 327"/>
                <a:gd name="T17" fmla="*/ 176 h 485"/>
                <a:gd name="T18" fmla="*/ 288 w 327"/>
                <a:gd name="T19" fmla="*/ 164 h 485"/>
                <a:gd name="T20" fmla="*/ 241 w 327"/>
                <a:gd name="T21" fmla="*/ 132 h 485"/>
                <a:gd name="T22" fmla="*/ 208 w 327"/>
                <a:gd name="T23" fmla="*/ 106 h 485"/>
                <a:gd name="T24" fmla="*/ 196 w 327"/>
                <a:gd name="T25" fmla="*/ 73 h 485"/>
                <a:gd name="T26" fmla="*/ 138 w 327"/>
                <a:gd name="T27" fmla="*/ 24 h 485"/>
                <a:gd name="T28" fmla="*/ 95 w 327"/>
                <a:gd name="T29" fmla="*/ 0 h 485"/>
                <a:gd name="T30" fmla="*/ 97 w 327"/>
                <a:gd name="T31" fmla="*/ 19 h 485"/>
                <a:gd name="T32" fmla="*/ 93 w 327"/>
                <a:gd name="T33" fmla="*/ 38 h 485"/>
                <a:gd name="T34" fmla="*/ 69 w 327"/>
                <a:gd name="T35" fmla="*/ 52 h 485"/>
                <a:gd name="T36" fmla="*/ 52 w 327"/>
                <a:gd name="T37" fmla="*/ 79 h 485"/>
                <a:gd name="T38" fmla="*/ 72 w 327"/>
                <a:gd name="T39" fmla="*/ 100 h 485"/>
                <a:gd name="T40" fmla="*/ 59 w 327"/>
                <a:gd name="T41" fmla="*/ 115 h 485"/>
                <a:gd name="T42" fmla="*/ 41 w 327"/>
                <a:gd name="T43" fmla="*/ 122 h 485"/>
                <a:gd name="T44" fmla="*/ 21 w 327"/>
                <a:gd name="T45" fmla="*/ 132 h 485"/>
                <a:gd name="T46" fmla="*/ 19 w 327"/>
                <a:gd name="T47" fmla="*/ 154 h 485"/>
                <a:gd name="T48" fmla="*/ 14 w 327"/>
                <a:gd name="T49" fmla="*/ 184 h 485"/>
                <a:gd name="T50" fmla="*/ 39 w 327"/>
                <a:gd name="T51" fmla="*/ 207 h 485"/>
                <a:gd name="T52" fmla="*/ 53 w 327"/>
                <a:gd name="T53" fmla="*/ 228 h 485"/>
                <a:gd name="T54" fmla="*/ 71 w 327"/>
                <a:gd name="T55" fmla="*/ 219 h 485"/>
                <a:gd name="T56" fmla="*/ 95 w 327"/>
                <a:gd name="T57" fmla="*/ 243 h 485"/>
                <a:gd name="T58" fmla="*/ 94 w 327"/>
                <a:gd name="T59" fmla="*/ 267 h 485"/>
                <a:gd name="T60" fmla="*/ 111 w 327"/>
                <a:gd name="T61" fmla="*/ 283 h 485"/>
                <a:gd name="T62" fmla="*/ 120 w 327"/>
                <a:gd name="T63" fmla="*/ 309 h 485"/>
                <a:gd name="T64" fmla="*/ 106 w 327"/>
                <a:gd name="T65" fmla="*/ 332 h 485"/>
                <a:gd name="T66" fmla="*/ 100 w 327"/>
                <a:gd name="T67" fmla="*/ 360 h 485"/>
                <a:gd name="T68" fmla="*/ 99 w 327"/>
                <a:gd name="T69" fmla="*/ 395 h 485"/>
                <a:gd name="T70" fmla="*/ 107 w 327"/>
                <a:gd name="T71" fmla="*/ 417 h 485"/>
                <a:gd name="T72" fmla="*/ 127 w 327"/>
                <a:gd name="T73" fmla="*/ 446 h 485"/>
                <a:gd name="T74" fmla="*/ 157 w 327"/>
                <a:gd name="T75" fmla="*/ 474 h 485"/>
                <a:gd name="T76" fmla="*/ 186 w 327"/>
                <a:gd name="T77" fmla="*/ 471 h 485"/>
                <a:gd name="T78" fmla="*/ 209 w 327"/>
                <a:gd name="T79" fmla="*/ 453 h 485"/>
                <a:gd name="T80" fmla="*/ 229 w 327"/>
                <a:gd name="T81" fmla="*/ 449 h 485"/>
                <a:gd name="T82" fmla="*/ 261 w 327"/>
                <a:gd name="T83" fmla="*/ 434 h 485"/>
                <a:gd name="T84" fmla="*/ 292 w 327"/>
                <a:gd name="T85" fmla="*/ 431 h 485"/>
                <a:gd name="T86" fmla="*/ 327 w 327"/>
                <a:gd name="T87" fmla="*/ 433 h 485"/>
                <a:gd name="T88" fmla="*/ 319 w 327"/>
                <a:gd name="T89" fmla="*/ 420 h 485"/>
                <a:gd name="T90" fmla="*/ 296 w 327"/>
                <a:gd name="T91" fmla="*/ 406 h 4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7" h="485">
                  <a:moveTo>
                    <a:pt x="296" y="406"/>
                  </a:moveTo>
                  <a:cubicBezTo>
                    <a:pt x="293" y="394"/>
                    <a:pt x="289" y="392"/>
                    <a:pt x="282" y="383"/>
                  </a:cubicBezTo>
                  <a:cubicBezTo>
                    <a:pt x="275" y="374"/>
                    <a:pt x="272" y="368"/>
                    <a:pt x="272" y="353"/>
                  </a:cubicBezTo>
                  <a:cubicBezTo>
                    <a:pt x="272" y="338"/>
                    <a:pt x="260" y="334"/>
                    <a:pt x="255" y="322"/>
                  </a:cubicBezTo>
                  <a:cubicBezTo>
                    <a:pt x="250" y="310"/>
                    <a:pt x="236" y="308"/>
                    <a:pt x="230" y="302"/>
                  </a:cubicBezTo>
                  <a:cubicBezTo>
                    <a:pt x="224" y="296"/>
                    <a:pt x="223" y="262"/>
                    <a:pt x="230" y="248"/>
                  </a:cubicBezTo>
                  <a:cubicBezTo>
                    <a:pt x="237" y="234"/>
                    <a:pt x="253" y="234"/>
                    <a:pt x="268" y="232"/>
                  </a:cubicBezTo>
                  <a:cubicBezTo>
                    <a:pt x="283" y="230"/>
                    <a:pt x="272" y="208"/>
                    <a:pt x="272" y="200"/>
                  </a:cubicBezTo>
                  <a:cubicBezTo>
                    <a:pt x="272" y="192"/>
                    <a:pt x="274" y="186"/>
                    <a:pt x="284" y="176"/>
                  </a:cubicBezTo>
                  <a:cubicBezTo>
                    <a:pt x="287" y="173"/>
                    <a:pt x="288" y="169"/>
                    <a:pt x="288" y="164"/>
                  </a:cubicBezTo>
                  <a:cubicBezTo>
                    <a:pt x="262" y="156"/>
                    <a:pt x="250" y="142"/>
                    <a:pt x="241" y="132"/>
                  </a:cubicBezTo>
                  <a:cubicBezTo>
                    <a:pt x="231" y="119"/>
                    <a:pt x="220" y="106"/>
                    <a:pt x="208" y="106"/>
                  </a:cubicBezTo>
                  <a:cubicBezTo>
                    <a:pt x="197" y="106"/>
                    <a:pt x="196" y="89"/>
                    <a:pt x="196" y="73"/>
                  </a:cubicBezTo>
                  <a:cubicBezTo>
                    <a:pt x="196" y="57"/>
                    <a:pt x="158" y="37"/>
                    <a:pt x="138" y="24"/>
                  </a:cubicBezTo>
                  <a:cubicBezTo>
                    <a:pt x="119" y="12"/>
                    <a:pt x="113" y="3"/>
                    <a:pt x="95" y="0"/>
                  </a:cubicBezTo>
                  <a:cubicBezTo>
                    <a:pt x="96" y="7"/>
                    <a:pt x="97" y="16"/>
                    <a:pt x="97" y="19"/>
                  </a:cubicBezTo>
                  <a:cubicBezTo>
                    <a:pt x="98" y="26"/>
                    <a:pt x="107" y="35"/>
                    <a:pt x="93" y="38"/>
                  </a:cubicBezTo>
                  <a:cubicBezTo>
                    <a:pt x="79" y="41"/>
                    <a:pt x="76" y="46"/>
                    <a:pt x="69" y="52"/>
                  </a:cubicBezTo>
                  <a:cubicBezTo>
                    <a:pt x="62" y="58"/>
                    <a:pt x="39" y="69"/>
                    <a:pt x="52" y="79"/>
                  </a:cubicBezTo>
                  <a:cubicBezTo>
                    <a:pt x="65" y="89"/>
                    <a:pt x="75" y="90"/>
                    <a:pt x="72" y="100"/>
                  </a:cubicBezTo>
                  <a:cubicBezTo>
                    <a:pt x="69" y="110"/>
                    <a:pt x="72" y="116"/>
                    <a:pt x="59" y="115"/>
                  </a:cubicBezTo>
                  <a:cubicBezTo>
                    <a:pt x="46" y="114"/>
                    <a:pt x="53" y="120"/>
                    <a:pt x="41" y="122"/>
                  </a:cubicBezTo>
                  <a:cubicBezTo>
                    <a:pt x="29" y="124"/>
                    <a:pt x="21" y="125"/>
                    <a:pt x="21" y="132"/>
                  </a:cubicBezTo>
                  <a:cubicBezTo>
                    <a:pt x="21" y="139"/>
                    <a:pt x="27" y="144"/>
                    <a:pt x="19" y="154"/>
                  </a:cubicBezTo>
                  <a:cubicBezTo>
                    <a:pt x="11" y="164"/>
                    <a:pt x="0" y="169"/>
                    <a:pt x="14" y="184"/>
                  </a:cubicBezTo>
                  <a:cubicBezTo>
                    <a:pt x="28" y="199"/>
                    <a:pt x="35" y="197"/>
                    <a:pt x="39" y="207"/>
                  </a:cubicBezTo>
                  <a:cubicBezTo>
                    <a:pt x="42" y="216"/>
                    <a:pt x="44" y="224"/>
                    <a:pt x="53" y="228"/>
                  </a:cubicBezTo>
                  <a:cubicBezTo>
                    <a:pt x="54" y="222"/>
                    <a:pt x="56" y="218"/>
                    <a:pt x="71" y="219"/>
                  </a:cubicBezTo>
                  <a:cubicBezTo>
                    <a:pt x="94" y="220"/>
                    <a:pt x="97" y="229"/>
                    <a:pt x="95" y="243"/>
                  </a:cubicBezTo>
                  <a:cubicBezTo>
                    <a:pt x="93" y="257"/>
                    <a:pt x="78" y="263"/>
                    <a:pt x="94" y="267"/>
                  </a:cubicBezTo>
                  <a:cubicBezTo>
                    <a:pt x="110" y="271"/>
                    <a:pt x="110" y="276"/>
                    <a:pt x="111" y="283"/>
                  </a:cubicBezTo>
                  <a:cubicBezTo>
                    <a:pt x="112" y="290"/>
                    <a:pt x="133" y="301"/>
                    <a:pt x="120" y="309"/>
                  </a:cubicBezTo>
                  <a:cubicBezTo>
                    <a:pt x="107" y="317"/>
                    <a:pt x="102" y="321"/>
                    <a:pt x="106" y="332"/>
                  </a:cubicBezTo>
                  <a:cubicBezTo>
                    <a:pt x="110" y="343"/>
                    <a:pt x="104" y="353"/>
                    <a:pt x="100" y="360"/>
                  </a:cubicBezTo>
                  <a:cubicBezTo>
                    <a:pt x="96" y="367"/>
                    <a:pt x="97" y="386"/>
                    <a:pt x="99" y="395"/>
                  </a:cubicBezTo>
                  <a:cubicBezTo>
                    <a:pt x="101" y="404"/>
                    <a:pt x="106" y="406"/>
                    <a:pt x="107" y="417"/>
                  </a:cubicBezTo>
                  <a:cubicBezTo>
                    <a:pt x="108" y="428"/>
                    <a:pt x="116" y="435"/>
                    <a:pt x="127" y="446"/>
                  </a:cubicBezTo>
                  <a:cubicBezTo>
                    <a:pt x="138" y="457"/>
                    <a:pt x="153" y="471"/>
                    <a:pt x="157" y="474"/>
                  </a:cubicBezTo>
                  <a:cubicBezTo>
                    <a:pt x="161" y="477"/>
                    <a:pt x="178" y="485"/>
                    <a:pt x="186" y="471"/>
                  </a:cubicBezTo>
                  <a:cubicBezTo>
                    <a:pt x="194" y="457"/>
                    <a:pt x="206" y="447"/>
                    <a:pt x="209" y="453"/>
                  </a:cubicBezTo>
                  <a:cubicBezTo>
                    <a:pt x="212" y="459"/>
                    <a:pt x="222" y="458"/>
                    <a:pt x="229" y="449"/>
                  </a:cubicBezTo>
                  <a:cubicBezTo>
                    <a:pt x="236" y="440"/>
                    <a:pt x="247" y="436"/>
                    <a:pt x="261" y="434"/>
                  </a:cubicBezTo>
                  <a:cubicBezTo>
                    <a:pt x="275" y="432"/>
                    <a:pt x="281" y="431"/>
                    <a:pt x="292" y="431"/>
                  </a:cubicBezTo>
                  <a:cubicBezTo>
                    <a:pt x="298" y="431"/>
                    <a:pt x="314" y="433"/>
                    <a:pt x="327" y="433"/>
                  </a:cubicBezTo>
                  <a:cubicBezTo>
                    <a:pt x="325" y="429"/>
                    <a:pt x="323" y="424"/>
                    <a:pt x="319" y="420"/>
                  </a:cubicBezTo>
                  <a:cubicBezTo>
                    <a:pt x="312" y="414"/>
                    <a:pt x="299" y="418"/>
                    <a:pt x="296" y="406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554" name="Freeform 25766"/>
            <p:cNvSpPr>
              <a:spLocks/>
            </p:cNvSpPr>
            <p:nvPr/>
          </p:nvSpPr>
          <p:spPr bwMode="auto">
            <a:xfrm>
              <a:off x="3002972" y="3686590"/>
              <a:ext cx="73077" cy="89807"/>
            </a:xfrm>
            <a:custGeom>
              <a:avLst/>
              <a:gdLst>
                <a:gd name="T0" fmla="*/ 182 w 196"/>
                <a:gd name="T1" fmla="*/ 86 h 241"/>
                <a:gd name="T2" fmla="*/ 131 w 196"/>
                <a:gd name="T3" fmla="*/ 42 h 241"/>
                <a:gd name="T4" fmla="*/ 89 w 196"/>
                <a:gd name="T5" fmla="*/ 19 h 241"/>
                <a:gd name="T6" fmla="*/ 40 w 196"/>
                <a:gd name="T7" fmla="*/ 0 h 241"/>
                <a:gd name="T8" fmla="*/ 35 w 196"/>
                <a:gd name="T9" fmla="*/ 30 h 241"/>
                <a:gd name="T10" fmla="*/ 7 w 196"/>
                <a:gd name="T11" fmla="*/ 58 h 241"/>
                <a:gd name="T12" fmla="*/ 6 w 196"/>
                <a:gd name="T13" fmla="*/ 89 h 241"/>
                <a:gd name="T14" fmla="*/ 18 w 196"/>
                <a:gd name="T15" fmla="*/ 117 h 241"/>
                <a:gd name="T16" fmla="*/ 25 w 196"/>
                <a:gd name="T17" fmla="*/ 164 h 241"/>
                <a:gd name="T18" fmla="*/ 26 w 196"/>
                <a:gd name="T19" fmla="*/ 201 h 241"/>
                <a:gd name="T20" fmla="*/ 11 w 196"/>
                <a:gd name="T21" fmla="*/ 229 h 241"/>
                <a:gd name="T22" fmla="*/ 9 w 196"/>
                <a:gd name="T23" fmla="*/ 238 h 241"/>
                <a:gd name="T24" fmla="*/ 22 w 196"/>
                <a:gd name="T25" fmla="*/ 239 h 241"/>
                <a:gd name="T26" fmla="*/ 68 w 196"/>
                <a:gd name="T27" fmla="*/ 228 h 241"/>
                <a:gd name="T28" fmla="*/ 135 w 196"/>
                <a:gd name="T29" fmla="*/ 198 h 241"/>
                <a:gd name="T30" fmla="*/ 172 w 196"/>
                <a:gd name="T31" fmla="*/ 133 h 241"/>
                <a:gd name="T32" fmla="*/ 196 w 196"/>
                <a:gd name="T33" fmla="*/ 90 h 241"/>
                <a:gd name="T34" fmla="*/ 182 w 196"/>
                <a:gd name="T35" fmla="*/ 86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6" h="241">
                  <a:moveTo>
                    <a:pt x="182" y="86"/>
                  </a:moveTo>
                  <a:cubicBezTo>
                    <a:pt x="145" y="78"/>
                    <a:pt x="152" y="53"/>
                    <a:pt x="131" y="42"/>
                  </a:cubicBezTo>
                  <a:cubicBezTo>
                    <a:pt x="109" y="30"/>
                    <a:pt x="108" y="19"/>
                    <a:pt x="89" y="19"/>
                  </a:cubicBezTo>
                  <a:cubicBezTo>
                    <a:pt x="77" y="19"/>
                    <a:pt x="57" y="8"/>
                    <a:pt x="40" y="0"/>
                  </a:cubicBezTo>
                  <a:cubicBezTo>
                    <a:pt x="40" y="11"/>
                    <a:pt x="40" y="25"/>
                    <a:pt x="35" y="30"/>
                  </a:cubicBezTo>
                  <a:cubicBezTo>
                    <a:pt x="26" y="39"/>
                    <a:pt x="7" y="46"/>
                    <a:pt x="7" y="58"/>
                  </a:cubicBezTo>
                  <a:cubicBezTo>
                    <a:pt x="7" y="70"/>
                    <a:pt x="0" y="81"/>
                    <a:pt x="6" y="89"/>
                  </a:cubicBezTo>
                  <a:cubicBezTo>
                    <a:pt x="12" y="97"/>
                    <a:pt x="14" y="103"/>
                    <a:pt x="18" y="117"/>
                  </a:cubicBezTo>
                  <a:cubicBezTo>
                    <a:pt x="22" y="131"/>
                    <a:pt x="25" y="150"/>
                    <a:pt x="25" y="164"/>
                  </a:cubicBezTo>
                  <a:cubicBezTo>
                    <a:pt x="25" y="178"/>
                    <a:pt x="37" y="192"/>
                    <a:pt x="26" y="201"/>
                  </a:cubicBezTo>
                  <a:cubicBezTo>
                    <a:pt x="15" y="210"/>
                    <a:pt x="13" y="220"/>
                    <a:pt x="11" y="229"/>
                  </a:cubicBezTo>
                  <a:cubicBezTo>
                    <a:pt x="10" y="232"/>
                    <a:pt x="9" y="235"/>
                    <a:pt x="9" y="238"/>
                  </a:cubicBezTo>
                  <a:cubicBezTo>
                    <a:pt x="12" y="239"/>
                    <a:pt x="17" y="239"/>
                    <a:pt x="22" y="239"/>
                  </a:cubicBezTo>
                  <a:cubicBezTo>
                    <a:pt x="47" y="237"/>
                    <a:pt x="53" y="227"/>
                    <a:pt x="68" y="228"/>
                  </a:cubicBezTo>
                  <a:cubicBezTo>
                    <a:pt x="83" y="229"/>
                    <a:pt x="121" y="241"/>
                    <a:pt x="135" y="198"/>
                  </a:cubicBezTo>
                  <a:cubicBezTo>
                    <a:pt x="149" y="155"/>
                    <a:pt x="159" y="148"/>
                    <a:pt x="172" y="133"/>
                  </a:cubicBezTo>
                  <a:cubicBezTo>
                    <a:pt x="182" y="121"/>
                    <a:pt x="185" y="103"/>
                    <a:pt x="196" y="90"/>
                  </a:cubicBezTo>
                  <a:cubicBezTo>
                    <a:pt x="192" y="89"/>
                    <a:pt x="188" y="88"/>
                    <a:pt x="182" y="86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555" name="Freeform 25767"/>
            <p:cNvSpPr>
              <a:spLocks/>
            </p:cNvSpPr>
            <p:nvPr/>
          </p:nvSpPr>
          <p:spPr bwMode="auto">
            <a:xfrm>
              <a:off x="2922476" y="3680908"/>
              <a:ext cx="95332" cy="101487"/>
            </a:xfrm>
            <a:custGeom>
              <a:avLst/>
              <a:gdLst>
                <a:gd name="T0" fmla="*/ 242 w 256"/>
                <a:gd name="T1" fmla="*/ 216 h 272"/>
                <a:gd name="T2" fmla="*/ 241 w 256"/>
                <a:gd name="T3" fmla="*/ 179 h 272"/>
                <a:gd name="T4" fmla="*/ 234 w 256"/>
                <a:gd name="T5" fmla="*/ 132 h 272"/>
                <a:gd name="T6" fmla="*/ 222 w 256"/>
                <a:gd name="T7" fmla="*/ 104 h 272"/>
                <a:gd name="T8" fmla="*/ 223 w 256"/>
                <a:gd name="T9" fmla="*/ 73 h 272"/>
                <a:gd name="T10" fmla="*/ 251 w 256"/>
                <a:gd name="T11" fmla="*/ 45 h 272"/>
                <a:gd name="T12" fmla="*/ 256 w 256"/>
                <a:gd name="T13" fmla="*/ 15 h 272"/>
                <a:gd name="T14" fmla="*/ 231 w 256"/>
                <a:gd name="T15" fmla="*/ 7 h 272"/>
                <a:gd name="T16" fmla="*/ 188 w 256"/>
                <a:gd name="T17" fmla="*/ 5 h 272"/>
                <a:gd name="T18" fmla="*/ 162 w 256"/>
                <a:gd name="T19" fmla="*/ 7 h 272"/>
                <a:gd name="T20" fmla="*/ 127 w 256"/>
                <a:gd name="T21" fmla="*/ 13 h 272"/>
                <a:gd name="T22" fmla="*/ 84 w 256"/>
                <a:gd name="T23" fmla="*/ 7 h 272"/>
                <a:gd name="T24" fmla="*/ 65 w 256"/>
                <a:gd name="T25" fmla="*/ 2 h 272"/>
                <a:gd name="T26" fmla="*/ 61 w 256"/>
                <a:gd name="T27" fmla="*/ 14 h 272"/>
                <a:gd name="T28" fmla="*/ 49 w 256"/>
                <a:gd name="T29" fmla="*/ 38 h 272"/>
                <a:gd name="T30" fmla="*/ 45 w 256"/>
                <a:gd name="T31" fmla="*/ 70 h 272"/>
                <a:gd name="T32" fmla="*/ 7 w 256"/>
                <a:gd name="T33" fmla="*/ 86 h 272"/>
                <a:gd name="T34" fmla="*/ 7 w 256"/>
                <a:gd name="T35" fmla="*/ 140 h 272"/>
                <a:gd name="T36" fmla="*/ 32 w 256"/>
                <a:gd name="T37" fmla="*/ 160 h 272"/>
                <a:gd name="T38" fmla="*/ 49 w 256"/>
                <a:gd name="T39" fmla="*/ 191 h 272"/>
                <a:gd name="T40" fmla="*/ 59 w 256"/>
                <a:gd name="T41" fmla="*/ 221 h 272"/>
                <a:gd name="T42" fmla="*/ 73 w 256"/>
                <a:gd name="T43" fmla="*/ 244 h 272"/>
                <a:gd name="T44" fmla="*/ 96 w 256"/>
                <a:gd name="T45" fmla="*/ 258 h 272"/>
                <a:gd name="T46" fmla="*/ 104 w 256"/>
                <a:gd name="T47" fmla="*/ 271 h 272"/>
                <a:gd name="T48" fmla="*/ 125 w 256"/>
                <a:gd name="T49" fmla="*/ 264 h 272"/>
                <a:gd name="T50" fmla="*/ 140 w 256"/>
                <a:gd name="T51" fmla="*/ 233 h 272"/>
                <a:gd name="T52" fmla="*/ 170 w 256"/>
                <a:gd name="T53" fmla="*/ 230 h 272"/>
                <a:gd name="T54" fmla="*/ 201 w 256"/>
                <a:gd name="T55" fmla="*/ 229 h 272"/>
                <a:gd name="T56" fmla="*/ 225 w 256"/>
                <a:gd name="T57" fmla="*/ 253 h 272"/>
                <a:gd name="T58" fmla="*/ 227 w 256"/>
                <a:gd name="T59" fmla="*/ 244 h 272"/>
                <a:gd name="T60" fmla="*/ 242 w 256"/>
                <a:gd name="T61" fmla="*/ 216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56" h="272">
                  <a:moveTo>
                    <a:pt x="242" y="216"/>
                  </a:moveTo>
                  <a:cubicBezTo>
                    <a:pt x="253" y="207"/>
                    <a:pt x="241" y="193"/>
                    <a:pt x="241" y="179"/>
                  </a:cubicBezTo>
                  <a:cubicBezTo>
                    <a:pt x="241" y="165"/>
                    <a:pt x="238" y="146"/>
                    <a:pt x="234" y="132"/>
                  </a:cubicBezTo>
                  <a:cubicBezTo>
                    <a:pt x="230" y="118"/>
                    <a:pt x="228" y="112"/>
                    <a:pt x="222" y="104"/>
                  </a:cubicBezTo>
                  <a:cubicBezTo>
                    <a:pt x="216" y="96"/>
                    <a:pt x="223" y="85"/>
                    <a:pt x="223" y="73"/>
                  </a:cubicBezTo>
                  <a:cubicBezTo>
                    <a:pt x="223" y="61"/>
                    <a:pt x="242" y="54"/>
                    <a:pt x="251" y="45"/>
                  </a:cubicBezTo>
                  <a:cubicBezTo>
                    <a:pt x="256" y="40"/>
                    <a:pt x="256" y="26"/>
                    <a:pt x="256" y="15"/>
                  </a:cubicBezTo>
                  <a:cubicBezTo>
                    <a:pt x="247" y="11"/>
                    <a:pt x="238" y="8"/>
                    <a:pt x="231" y="7"/>
                  </a:cubicBezTo>
                  <a:cubicBezTo>
                    <a:pt x="209" y="4"/>
                    <a:pt x="196" y="0"/>
                    <a:pt x="188" y="5"/>
                  </a:cubicBezTo>
                  <a:cubicBezTo>
                    <a:pt x="179" y="11"/>
                    <a:pt x="179" y="11"/>
                    <a:pt x="162" y="7"/>
                  </a:cubicBezTo>
                  <a:cubicBezTo>
                    <a:pt x="145" y="2"/>
                    <a:pt x="135" y="8"/>
                    <a:pt x="127" y="13"/>
                  </a:cubicBezTo>
                  <a:cubicBezTo>
                    <a:pt x="120" y="17"/>
                    <a:pt x="123" y="13"/>
                    <a:pt x="84" y="7"/>
                  </a:cubicBezTo>
                  <a:cubicBezTo>
                    <a:pt x="77" y="6"/>
                    <a:pt x="71" y="4"/>
                    <a:pt x="65" y="2"/>
                  </a:cubicBezTo>
                  <a:cubicBezTo>
                    <a:pt x="65" y="7"/>
                    <a:pt x="64" y="11"/>
                    <a:pt x="61" y="14"/>
                  </a:cubicBezTo>
                  <a:cubicBezTo>
                    <a:pt x="51" y="24"/>
                    <a:pt x="49" y="30"/>
                    <a:pt x="49" y="38"/>
                  </a:cubicBezTo>
                  <a:cubicBezTo>
                    <a:pt x="49" y="46"/>
                    <a:pt x="60" y="68"/>
                    <a:pt x="45" y="70"/>
                  </a:cubicBezTo>
                  <a:cubicBezTo>
                    <a:pt x="30" y="72"/>
                    <a:pt x="14" y="72"/>
                    <a:pt x="7" y="86"/>
                  </a:cubicBezTo>
                  <a:cubicBezTo>
                    <a:pt x="0" y="100"/>
                    <a:pt x="1" y="134"/>
                    <a:pt x="7" y="140"/>
                  </a:cubicBezTo>
                  <a:cubicBezTo>
                    <a:pt x="13" y="146"/>
                    <a:pt x="27" y="148"/>
                    <a:pt x="32" y="160"/>
                  </a:cubicBezTo>
                  <a:cubicBezTo>
                    <a:pt x="37" y="172"/>
                    <a:pt x="49" y="176"/>
                    <a:pt x="49" y="191"/>
                  </a:cubicBezTo>
                  <a:cubicBezTo>
                    <a:pt x="49" y="206"/>
                    <a:pt x="52" y="212"/>
                    <a:pt x="59" y="221"/>
                  </a:cubicBezTo>
                  <a:cubicBezTo>
                    <a:pt x="66" y="230"/>
                    <a:pt x="70" y="232"/>
                    <a:pt x="73" y="244"/>
                  </a:cubicBezTo>
                  <a:cubicBezTo>
                    <a:pt x="76" y="256"/>
                    <a:pt x="89" y="252"/>
                    <a:pt x="96" y="258"/>
                  </a:cubicBezTo>
                  <a:cubicBezTo>
                    <a:pt x="100" y="262"/>
                    <a:pt x="102" y="267"/>
                    <a:pt x="104" y="271"/>
                  </a:cubicBezTo>
                  <a:cubicBezTo>
                    <a:pt x="115" y="272"/>
                    <a:pt x="125" y="270"/>
                    <a:pt x="125" y="264"/>
                  </a:cubicBezTo>
                  <a:cubicBezTo>
                    <a:pt x="125" y="251"/>
                    <a:pt x="125" y="233"/>
                    <a:pt x="140" y="233"/>
                  </a:cubicBezTo>
                  <a:cubicBezTo>
                    <a:pt x="155" y="233"/>
                    <a:pt x="165" y="235"/>
                    <a:pt x="170" y="230"/>
                  </a:cubicBezTo>
                  <a:cubicBezTo>
                    <a:pt x="175" y="225"/>
                    <a:pt x="197" y="220"/>
                    <a:pt x="201" y="229"/>
                  </a:cubicBezTo>
                  <a:cubicBezTo>
                    <a:pt x="204" y="236"/>
                    <a:pt x="210" y="249"/>
                    <a:pt x="225" y="253"/>
                  </a:cubicBezTo>
                  <a:cubicBezTo>
                    <a:pt x="225" y="250"/>
                    <a:pt x="226" y="247"/>
                    <a:pt x="227" y="244"/>
                  </a:cubicBezTo>
                  <a:cubicBezTo>
                    <a:pt x="229" y="235"/>
                    <a:pt x="231" y="225"/>
                    <a:pt x="242" y="216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556" name="Freeform 25768"/>
            <p:cNvSpPr>
              <a:spLocks/>
            </p:cNvSpPr>
            <p:nvPr/>
          </p:nvSpPr>
          <p:spPr bwMode="auto">
            <a:xfrm>
              <a:off x="2813887" y="4290305"/>
              <a:ext cx="201080" cy="209288"/>
            </a:xfrm>
            <a:custGeom>
              <a:avLst/>
              <a:gdLst>
                <a:gd name="T0" fmla="*/ 537 w 539"/>
                <a:gd name="T1" fmla="*/ 333 h 561"/>
                <a:gd name="T2" fmla="*/ 519 w 539"/>
                <a:gd name="T3" fmla="*/ 307 h 561"/>
                <a:gd name="T4" fmla="*/ 498 w 539"/>
                <a:gd name="T5" fmla="*/ 316 h 561"/>
                <a:gd name="T6" fmla="*/ 463 w 539"/>
                <a:gd name="T7" fmla="*/ 317 h 561"/>
                <a:gd name="T8" fmla="*/ 445 w 539"/>
                <a:gd name="T9" fmla="*/ 264 h 561"/>
                <a:gd name="T10" fmla="*/ 430 w 539"/>
                <a:gd name="T11" fmla="*/ 217 h 561"/>
                <a:gd name="T12" fmla="*/ 406 w 539"/>
                <a:gd name="T13" fmla="*/ 196 h 561"/>
                <a:gd name="T14" fmla="*/ 385 w 539"/>
                <a:gd name="T15" fmla="*/ 202 h 561"/>
                <a:gd name="T16" fmla="*/ 350 w 539"/>
                <a:gd name="T17" fmla="*/ 206 h 561"/>
                <a:gd name="T18" fmla="*/ 314 w 539"/>
                <a:gd name="T19" fmla="*/ 197 h 561"/>
                <a:gd name="T20" fmla="*/ 299 w 539"/>
                <a:gd name="T21" fmla="*/ 177 h 561"/>
                <a:gd name="T22" fmla="*/ 300 w 539"/>
                <a:gd name="T23" fmla="*/ 140 h 561"/>
                <a:gd name="T24" fmla="*/ 303 w 539"/>
                <a:gd name="T25" fmla="*/ 105 h 561"/>
                <a:gd name="T26" fmla="*/ 290 w 539"/>
                <a:gd name="T27" fmla="*/ 77 h 561"/>
                <a:gd name="T28" fmla="*/ 296 w 539"/>
                <a:gd name="T29" fmla="*/ 55 h 561"/>
                <a:gd name="T30" fmla="*/ 299 w 539"/>
                <a:gd name="T31" fmla="*/ 45 h 561"/>
                <a:gd name="T32" fmla="*/ 276 w 539"/>
                <a:gd name="T33" fmla="*/ 36 h 561"/>
                <a:gd name="T34" fmla="*/ 238 w 539"/>
                <a:gd name="T35" fmla="*/ 9 h 561"/>
                <a:gd name="T36" fmla="*/ 176 w 539"/>
                <a:gd name="T37" fmla="*/ 2 h 561"/>
                <a:gd name="T38" fmla="*/ 141 w 539"/>
                <a:gd name="T39" fmla="*/ 11 h 561"/>
                <a:gd name="T40" fmla="*/ 92 w 539"/>
                <a:gd name="T41" fmla="*/ 20 h 561"/>
                <a:gd name="T42" fmla="*/ 61 w 539"/>
                <a:gd name="T43" fmla="*/ 31 h 561"/>
                <a:gd name="T44" fmla="*/ 34 w 539"/>
                <a:gd name="T45" fmla="*/ 75 h 561"/>
                <a:gd name="T46" fmla="*/ 23 w 539"/>
                <a:gd name="T47" fmla="*/ 127 h 561"/>
                <a:gd name="T48" fmla="*/ 17 w 539"/>
                <a:gd name="T49" fmla="*/ 153 h 561"/>
                <a:gd name="T50" fmla="*/ 5 w 539"/>
                <a:gd name="T51" fmla="*/ 175 h 561"/>
                <a:gd name="T52" fmla="*/ 0 w 539"/>
                <a:gd name="T53" fmla="*/ 193 h 561"/>
                <a:gd name="T54" fmla="*/ 18 w 539"/>
                <a:gd name="T55" fmla="*/ 218 h 561"/>
                <a:gd name="T56" fmla="*/ 44 w 539"/>
                <a:gd name="T57" fmla="*/ 252 h 561"/>
                <a:gd name="T58" fmla="*/ 75 w 539"/>
                <a:gd name="T59" fmla="*/ 279 h 561"/>
                <a:gd name="T60" fmla="*/ 104 w 539"/>
                <a:gd name="T61" fmla="*/ 305 h 561"/>
                <a:gd name="T62" fmla="*/ 159 w 539"/>
                <a:gd name="T63" fmla="*/ 321 h 561"/>
                <a:gd name="T64" fmla="*/ 235 w 539"/>
                <a:gd name="T65" fmla="*/ 371 h 561"/>
                <a:gd name="T66" fmla="*/ 306 w 539"/>
                <a:gd name="T67" fmla="*/ 400 h 561"/>
                <a:gd name="T68" fmla="*/ 315 w 539"/>
                <a:gd name="T69" fmla="*/ 432 h 561"/>
                <a:gd name="T70" fmla="*/ 300 w 539"/>
                <a:gd name="T71" fmla="*/ 454 h 561"/>
                <a:gd name="T72" fmla="*/ 286 w 539"/>
                <a:gd name="T73" fmla="*/ 480 h 561"/>
                <a:gd name="T74" fmla="*/ 264 w 539"/>
                <a:gd name="T75" fmla="*/ 527 h 561"/>
                <a:gd name="T76" fmla="*/ 284 w 539"/>
                <a:gd name="T77" fmla="*/ 547 h 561"/>
                <a:gd name="T78" fmla="*/ 328 w 539"/>
                <a:gd name="T79" fmla="*/ 554 h 561"/>
                <a:gd name="T80" fmla="*/ 374 w 539"/>
                <a:gd name="T81" fmla="*/ 559 h 561"/>
                <a:gd name="T82" fmla="*/ 405 w 539"/>
                <a:gd name="T83" fmla="*/ 550 h 561"/>
                <a:gd name="T84" fmla="*/ 433 w 539"/>
                <a:gd name="T85" fmla="*/ 551 h 561"/>
                <a:gd name="T86" fmla="*/ 451 w 539"/>
                <a:gd name="T87" fmla="*/ 534 h 561"/>
                <a:gd name="T88" fmla="*/ 496 w 539"/>
                <a:gd name="T89" fmla="*/ 504 h 561"/>
                <a:gd name="T90" fmla="*/ 511 w 539"/>
                <a:gd name="T91" fmla="*/ 446 h 561"/>
                <a:gd name="T92" fmla="*/ 513 w 539"/>
                <a:gd name="T93" fmla="*/ 410 h 561"/>
                <a:gd name="T94" fmla="*/ 529 w 539"/>
                <a:gd name="T95" fmla="*/ 368 h 561"/>
                <a:gd name="T96" fmla="*/ 537 w 539"/>
                <a:gd name="T97" fmla="*/ 333 h 5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39" h="561">
                  <a:moveTo>
                    <a:pt x="537" y="333"/>
                  </a:moveTo>
                  <a:cubicBezTo>
                    <a:pt x="537" y="318"/>
                    <a:pt x="529" y="313"/>
                    <a:pt x="519" y="307"/>
                  </a:cubicBezTo>
                  <a:cubicBezTo>
                    <a:pt x="509" y="301"/>
                    <a:pt x="504" y="306"/>
                    <a:pt x="498" y="316"/>
                  </a:cubicBezTo>
                  <a:cubicBezTo>
                    <a:pt x="492" y="326"/>
                    <a:pt x="478" y="320"/>
                    <a:pt x="463" y="317"/>
                  </a:cubicBezTo>
                  <a:cubicBezTo>
                    <a:pt x="448" y="314"/>
                    <a:pt x="449" y="281"/>
                    <a:pt x="445" y="264"/>
                  </a:cubicBezTo>
                  <a:cubicBezTo>
                    <a:pt x="441" y="247"/>
                    <a:pt x="431" y="233"/>
                    <a:pt x="430" y="217"/>
                  </a:cubicBezTo>
                  <a:cubicBezTo>
                    <a:pt x="429" y="201"/>
                    <a:pt x="418" y="207"/>
                    <a:pt x="406" y="196"/>
                  </a:cubicBezTo>
                  <a:cubicBezTo>
                    <a:pt x="394" y="185"/>
                    <a:pt x="388" y="195"/>
                    <a:pt x="385" y="202"/>
                  </a:cubicBezTo>
                  <a:cubicBezTo>
                    <a:pt x="382" y="209"/>
                    <a:pt x="361" y="210"/>
                    <a:pt x="350" y="206"/>
                  </a:cubicBezTo>
                  <a:cubicBezTo>
                    <a:pt x="339" y="202"/>
                    <a:pt x="333" y="199"/>
                    <a:pt x="314" y="197"/>
                  </a:cubicBezTo>
                  <a:cubicBezTo>
                    <a:pt x="295" y="195"/>
                    <a:pt x="302" y="186"/>
                    <a:pt x="299" y="177"/>
                  </a:cubicBezTo>
                  <a:cubicBezTo>
                    <a:pt x="296" y="168"/>
                    <a:pt x="296" y="150"/>
                    <a:pt x="300" y="140"/>
                  </a:cubicBezTo>
                  <a:cubicBezTo>
                    <a:pt x="304" y="130"/>
                    <a:pt x="301" y="120"/>
                    <a:pt x="303" y="105"/>
                  </a:cubicBezTo>
                  <a:cubicBezTo>
                    <a:pt x="305" y="90"/>
                    <a:pt x="300" y="87"/>
                    <a:pt x="290" y="77"/>
                  </a:cubicBezTo>
                  <a:cubicBezTo>
                    <a:pt x="279" y="67"/>
                    <a:pt x="289" y="65"/>
                    <a:pt x="296" y="55"/>
                  </a:cubicBezTo>
                  <a:cubicBezTo>
                    <a:pt x="299" y="50"/>
                    <a:pt x="300" y="48"/>
                    <a:pt x="299" y="45"/>
                  </a:cubicBezTo>
                  <a:cubicBezTo>
                    <a:pt x="291" y="45"/>
                    <a:pt x="283" y="45"/>
                    <a:pt x="276" y="36"/>
                  </a:cubicBezTo>
                  <a:cubicBezTo>
                    <a:pt x="266" y="24"/>
                    <a:pt x="245" y="17"/>
                    <a:pt x="238" y="9"/>
                  </a:cubicBezTo>
                  <a:cubicBezTo>
                    <a:pt x="230" y="2"/>
                    <a:pt x="197" y="4"/>
                    <a:pt x="176" y="2"/>
                  </a:cubicBezTo>
                  <a:cubicBezTo>
                    <a:pt x="156" y="0"/>
                    <a:pt x="149" y="5"/>
                    <a:pt x="141" y="11"/>
                  </a:cubicBezTo>
                  <a:cubicBezTo>
                    <a:pt x="133" y="17"/>
                    <a:pt x="110" y="19"/>
                    <a:pt x="92" y="20"/>
                  </a:cubicBezTo>
                  <a:cubicBezTo>
                    <a:pt x="74" y="21"/>
                    <a:pt x="76" y="25"/>
                    <a:pt x="61" y="31"/>
                  </a:cubicBezTo>
                  <a:cubicBezTo>
                    <a:pt x="46" y="38"/>
                    <a:pt x="47" y="65"/>
                    <a:pt x="34" y="75"/>
                  </a:cubicBezTo>
                  <a:cubicBezTo>
                    <a:pt x="22" y="86"/>
                    <a:pt x="24" y="110"/>
                    <a:pt x="23" y="127"/>
                  </a:cubicBezTo>
                  <a:cubicBezTo>
                    <a:pt x="22" y="145"/>
                    <a:pt x="22" y="147"/>
                    <a:pt x="17" y="153"/>
                  </a:cubicBezTo>
                  <a:cubicBezTo>
                    <a:pt x="12" y="159"/>
                    <a:pt x="7" y="165"/>
                    <a:pt x="5" y="175"/>
                  </a:cubicBezTo>
                  <a:cubicBezTo>
                    <a:pt x="4" y="180"/>
                    <a:pt x="2" y="187"/>
                    <a:pt x="0" y="193"/>
                  </a:cubicBezTo>
                  <a:cubicBezTo>
                    <a:pt x="8" y="200"/>
                    <a:pt x="11" y="211"/>
                    <a:pt x="18" y="218"/>
                  </a:cubicBezTo>
                  <a:cubicBezTo>
                    <a:pt x="29" y="228"/>
                    <a:pt x="34" y="237"/>
                    <a:pt x="44" y="252"/>
                  </a:cubicBezTo>
                  <a:cubicBezTo>
                    <a:pt x="54" y="267"/>
                    <a:pt x="62" y="274"/>
                    <a:pt x="75" y="279"/>
                  </a:cubicBezTo>
                  <a:cubicBezTo>
                    <a:pt x="88" y="284"/>
                    <a:pt x="97" y="291"/>
                    <a:pt x="104" y="305"/>
                  </a:cubicBezTo>
                  <a:cubicBezTo>
                    <a:pt x="111" y="319"/>
                    <a:pt x="135" y="322"/>
                    <a:pt x="159" y="321"/>
                  </a:cubicBezTo>
                  <a:cubicBezTo>
                    <a:pt x="183" y="320"/>
                    <a:pt x="214" y="357"/>
                    <a:pt x="235" y="371"/>
                  </a:cubicBezTo>
                  <a:cubicBezTo>
                    <a:pt x="256" y="385"/>
                    <a:pt x="291" y="386"/>
                    <a:pt x="306" y="400"/>
                  </a:cubicBezTo>
                  <a:cubicBezTo>
                    <a:pt x="321" y="414"/>
                    <a:pt x="320" y="418"/>
                    <a:pt x="315" y="432"/>
                  </a:cubicBezTo>
                  <a:cubicBezTo>
                    <a:pt x="310" y="446"/>
                    <a:pt x="311" y="446"/>
                    <a:pt x="300" y="454"/>
                  </a:cubicBezTo>
                  <a:cubicBezTo>
                    <a:pt x="289" y="462"/>
                    <a:pt x="287" y="458"/>
                    <a:pt x="286" y="480"/>
                  </a:cubicBezTo>
                  <a:cubicBezTo>
                    <a:pt x="285" y="502"/>
                    <a:pt x="286" y="507"/>
                    <a:pt x="264" y="527"/>
                  </a:cubicBezTo>
                  <a:cubicBezTo>
                    <a:pt x="242" y="547"/>
                    <a:pt x="261" y="547"/>
                    <a:pt x="284" y="547"/>
                  </a:cubicBezTo>
                  <a:cubicBezTo>
                    <a:pt x="307" y="547"/>
                    <a:pt x="314" y="550"/>
                    <a:pt x="328" y="554"/>
                  </a:cubicBezTo>
                  <a:cubicBezTo>
                    <a:pt x="342" y="558"/>
                    <a:pt x="356" y="557"/>
                    <a:pt x="374" y="559"/>
                  </a:cubicBezTo>
                  <a:cubicBezTo>
                    <a:pt x="392" y="561"/>
                    <a:pt x="394" y="560"/>
                    <a:pt x="405" y="550"/>
                  </a:cubicBezTo>
                  <a:cubicBezTo>
                    <a:pt x="416" y="540"/>
                    <a:pt x="425" y="548"/>
                    <a:pt x="433" y="551"/>
                  </a:cubicBezTo>
                  <a:cubicBezTo>
                    <a:pt x="441" y="554"/>
                    <a:pt x="450" y="549"/>
                    <a:pt x="451" y="534"/>
                  </a:cubicBezTo>
                  <a:cubicBezTo>
                    <a:pt x="452" y="519"/>
                    <a:pt x="475" y="519"/>
                    <a:pt x="496" y="504"/>
                  </a:cubicBezTo>
                  <a:cubicBezTo>
                    <a:pt x="517" y="489"/>
                    <a:pt x="511" y="463"/>
                    <a:pt x="511" y="446"/>
                  </a:cubicBezTo>
                  <a:cubicBezTo>
                    <a:pt x="511" y="429"/>
                    <a:pt x="512" y="422"/>
                    <a:pt x="513" y="410"/>
                  </a:cubicBezTo>
                  <a:cubicBezTo>
                    <a:pt x="514" y="398"/>
                    <a:pt x="519" y="387"/>
                    <a:pt x="529" y="368"/>
                  </a:cubicBezTo>
                  <a:cubicBezTo>
                    <a:pt x="539" y="349"/>
                    <a:pt x="537" y="348"/>
                    <a:pt x="537" y="333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557" name="Freeform 25769"/>
            <p:cNvSpPr>
              <a:spLocks/>
            </p:cNvSpPr>
            <p:nvPr/>
          </p:nvSpPr>
          <p:spPr bwMode="auto">
            <a:xfrm>
              <a:off x="2647687" y="4056869"/>
              <a:ext cx="288205" cy="333346"/>
            </a:xfrm>
            <a:custGeom>
              <a:avLst/>
              <a:gdLst>
                <a:gd name="T0" fmla="*/ 469 w 773"/>
                <a:gd name="T1" fmla="*/ 753 h 894"/>
                <a:gd name="T2" fmla="*/ 507 w 773"/>
                <a:gd name="T3" fmla="*/ 657 h 894"/>
                <a:gd name="T4" fmla="*/ 587 w 773"/>
                <a:gd name="T5" fmla="*/ 637 h 894"/>
                <a:gd name="T6" fmla="*/ 684 w 773"/>
                <a:gd name="T7" fmla="*/ 635 h 894"/>
                <a:gd name="T8" fmla="*/ 745 w 773"/>
                <a:gd name="T9" fmla="*/ 671 h 894"/>
                <a:gd name="T10" fmla="*/ 748 w 773"/>
                <a:gd name="T11" fmla="*/ 632 h 894"/>
                <a:gd name="T12" fmla="*/ 759 w 773"/>
                <a:gd name="T13" fmla="*/ 582 h 894"/>
                <a:gd name="T14" fmla="*/ 761 w 773"/>
                <a:gd name="T15" fmla="*/ 540 h 894"/>
                <a:gd name="T16" fmla="*/ 735 w 773"/>
                <a:gd name="T17" fmla="*/ 505 h 894"/>
                <a:gd name="T18" fmla="*/ 710 w 773"/>
                <a:gd name="T19" fmla="*/ 474 h 894"/>
                <a:gd name="T20" fmla="*/ 715 w 773"/>
                <a:gd name="T21" fmla="*/ 432 h 894"/>
                <a:gd name="T22" fmla="*/ 599 w 773"/>
                <a:gd name="T23" fmla="*/ 383 h 894"/>
                <a:gd name="T24" fmla="*/ 590 w 773"/>
                <a:gd name="T25" fmla="*/ 348 h 894"/>
                <a:gd name="T26" fmla="*/ 588 w 773"/>
                <a:gd name="T27" fmla="*/ 309 h 894"/>
                <a:gd name="T28" fmla="*/ 571 w 773"/>
                <a:gd name="T29" fmla="*/ 260 h 894"/>
                <a:gd name="T30" fmla="*/ 489 w 773"/>
                <a:gd name="T31" fmla="*/ 242 h 894"/>
                <a:gd name="T32" fmla="*/ 426 w 773"/>
                <a:gd name="T33" fmla="*/ 207 h 894"/>
                <a:gd name="T34" fmla="*/ 351 w 773"/>
                <a:gd name="T35" fmla="*/ 186 h 894"/>
                <a:gd name="T36" fmla="*/ 307 w 773"/>
                <a:gd name="T37" fmla="*/ 158 h 894"/>
                <a:gd name="T38" fmla="*/ 273 w 773"/>
                <a:gd name="T39" fmla="*/ 113 h 894"/>
                <a:gd name="T40" fmla="*/ 265 w 773"/>
                <a:gd name="T41" fmla="*/ 65 h 894"/>
                <a:gd name="T42" fmla="*/ 274 w 773"/>
                <a:gd name="T43" fmla="*/ 34 h 894"/>
                <a:gd name="T44" fmla="*/ 259 w 773"/>
                <a:gd name="T45" fmla="*/ 5 h 894"/>
                <a:gd name="T46" fmla="*/ 205 w 773"/>
                <a:gd name="T47" fmla="*/ 16 h 894"/>
                <a:gd name="T48" fmla="*/ 156 w 773"/>
                <a:gd name="T49" fmla="*/ 43 h 894"/>
                <a:gd name="T50" fmla="*/ 103 w 773"/>
                <a:gd name="T51" fmla="*/ 69 h 894"/>
                <a:gd name="T52" fmla="*/ 56 w 773"/>
                <a:gd name="T53" fmla="*/ 92 h 894"/>
                <a:gd name="T54" fmla="*/ 7 w 773"/>
                <a:gd name="T55" fmla="*/ 86 h 894"/>
                <a:gd name="T56" fmla="*/ 30 w 773"/>
                <a:gd name="T57" fmla="*/ 131 h 894"/>
                <a:gd name="T58" fmla="*/ 58 w 773"/>
                <a:gd name="T59" fmla="*/ 191 h 894"/>
                <a:gd name="T60" fmla="*/ 38 w 773"/>
                <a:gd name="T61" fmla="*/ 247 h 894"/>
                <a:gd name="T62" fmla="*/ 46 w 773"/>
                <a:gd name="T63" fmla="*/ 301 h 894"/>
                <a:gd name="T64" fmla="*/ 16 w 773"/>
                <a:gd name="T65" fmla="*/ 350 h 894"/>
                <a:gd name="T66" fmla="*/ 17 w 773"/>
                <a:gd name="T67" fmla="*/ 407 h 894"/>
                <a:gd name="T68" fmla="*/ 30 w 773"/>
                <a:gd name="T69" fmla="*/ 466 h 894"/>
                <a:gd name="T70" fmla="*/ 10 w 773"/>
                <a:gd name="T71" fmla="*/ 522 h 894"/>
                <a:gd name="T72" fmla="*/ 38 w 773"/>
                <a:gd name="T73" fmla="*/ 578 h 894"/>
                <a:gd name="T74" fmla="*/ 72 w 773"/>
                <a:gd name="T75" fmla="*/ 643 h 894"/>
                <a:gd name="T76" fmla="*/ 62 w 773"/>
                <a:gd name="T77" fmla="*/ 687 h 894"/>
                <a:gd name="T78" fmla="*/ 77 w 773"/>
                <a:gd name="T79" fmla="*/ 749 h 894"/>
                <a:gd name="T80" fmla="*/ 110 w 773"/>
                <a:gd name="T81" fmla="*/ 831 h 894"/>
                <a:gd name="T82" fmla="*/ 158 w 773"/>
                <a:gd name="T83" fmla="*/ 869 h 894"/>
                <a:gd name="T84" fmla="*/ 210 w 773"/>
                <a:gd name="T85" fmla="*/ 808 h 894"/>
                <a:gd name="T86" fmla="*/ 291 w 773"/>
                <a:gd name="T87" fmla="*/ 817 h 894"/>
                <a:gd name="T88" fmla="*/ 337 w 773"/>
                <a:gd name="T89" fmla="*/ 871 h 894"/>
                <a:gd name="T90" fmla="*/ 369 w 773"/>
                <a:gd name="T91" fmla="*/ 814 h 894"/>
                <a:gd name="T92" fmla="*/ 446 w 773"/>
                <a:gd name="T93" fmla="*/ 819 h 894"/>
                <a:gd name="T94" fmla="*/ 463 w 773"/>
                <a:gd name="T95" fmla="*/ 779 h 8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773" h="894">
                  <a:moveTo>
                    <a:pt x="463" y="779"/>
                  </a:moveTo>
                  <a:cubicBezTo>
                    <a:pt x="468" y="773"/>
                    <a:pt x="468" y="771"/>
                    <a:pt x="469" y="753"/>
                  </a:cubicBezTo>
                  <a:cubicBezTo>
                    <a:pt x="470" y="736"/>
                    <a:pt x="468" y="712"/>
                    <a:pt x="480" y="701"/>
                  </a:cubicBezTo>
                  <a:cubicBezTo>
                    <a:pt x="493" y="691"/>
                    <a:pt x="492" y="664"/>
                    <a:pt x="507" y="657"/>
                  </a:cubicBezTo>
                  <a:cubicBezTo>
                    <a:pt x="522" y="651"/>
                    <a:pt x="520" y="647"/>
                    <a:pt x="538" y="646"/>
                  </a:cubicBezTo>
                  <a:cubicBezTo>
                    <a:pt x="556" y="645"/>
                    <a:pt x="579" y="643"/>
                    <a:pt x="587" y="637"/>
                  </a:cubicBezTo>
                  <a:cubicBezTo>
                    <a:pt x="595" y="631"/>
                    <a:pt x="602" y="626"/>
                    <a:pt x="622" y="628"/>
                  </a:cubicBezTo>
                  <a:cubicBezTo>
                    <a:pt x="643" y="630"/>
                    <a:pt x="676" y="628"/>
                    <a:pt x="684" y="635"/>
                  </a:cubicBezTo>
                  <a:cubicBezTo>
                    <a:pt x="691" y="643"/>
                    <a:pt x="712" y="650"/>
                    <a:pt x="722" y="662"/>
                  </a:cubicBezTo>
                  <a:cubicBezTo>
                    <a:pt x="729" y="671"/>
                    <a:pt x="737" y="671"/>
                    <a:pt x="745" y="671"/>
                  </a:cubicBezTo>
                  <a:cubicBezTo>
                    <a:pt x="744" y="668"/>
                    <a:pt x="741" y="665"/>
                    <a:pt x="740" y="660"/>
                  </a:cubicBezTo>
                  <a:cubicBezTo>
                    <a:pt x="737" y="652"/>
                    <a:pt x="741" y="640"/>
                    <a:pt x="748" y="632"/>
                  </a:cubicBezTo>
                  <a:cubicBezTo>
                    <a:pt x="755" y="624"/>
                    <a:pt x="756" y="621"/>
                    <a:pt x="756" y="613"/>
                  </a:cubicBezTo>
                  <a:cubicBezTo>
                    <a:pt x="755" y="606"/>
                    <a:pt x="759" y="592"/>
                    <a:pt x="759" y="582"/>
                  </a:cubicBezTo>
                  <a:cubicBezTo>
                    <a:pt x="759" y="572"/>
                    <a:pt x="770" y="569"/>
                    <a:pt x="771" y="561"/>
                  </a:cubicBezTo>
                  <a:cubicBezTo>
                    <a:pt x="773" y="552"/>
                    <a:pt x="767" y="544"/>
                    <a:pt x="761" y="540"/>
                  </a:cubicBezTo>
                  <a:cubicBezTo>
                    <a:pt x="756" y="536"/>
                    <a:pt x="758" y="533"/>
                    <a:pt x="758" y="523"/>
                  </a:cubicBezTo>
                  <a:cubicBezTo>
                    <a:pt x="758" y="512"/>
                    <a:pt x="744" y="508"/>
                    <a:pt x="735" y="505"/>
                  </a:cubicBezTo>
                  <a:cubicBezTo>
                    <a:pt x="726" y="502"/>
                    <a:pt x="719" y="500"/>
                    <a:pt x="717" y="496"/>
                  </a:cubicBezTo>
                  <a:cubicBezTo>
                    <a:pt x="716" y="492"/>
                    <a:pt x="710" y="481"/>
                    <a:pt x="710" y="474"/>
                  </a:cubicBezTo>
                  <a:cubicBezTo>
                    <a:pt x="709" y="467"/>
                    <a:pt x="708" y="461"/>
                    <a:pt x="714" y="455"/>
                  </a:cubicBezTo>
                  <a:cubicBezTo>
                    <a:pt x="720" y="449"/>
                    <a:pt x="715" y="432"/>
                    <a:pt x="715" y="432"/>
                  </a:cubicBezTo>
                  <a:cubicBezTo>
                    <a:pt x="598" y="433"/>
                    <a:pt x="598" y="433"/>
                    <a:pt x="598" y="433"/>
                  </a:cubicBezTo>
                  <a:cubicBezTo>
                    <a:pt x="598" y="433"/>
                    <a:pt x="599" y="399"/>
                    <a:pt x="599" y="383"/>
                  </a:cubicBezTo>
                  <a:cubicBezTo>
                    <a:pt x="602" y="370"/>
                    <a:pt x="592" y="373"/>
                    <a:pt x="585" y="365"/>
                  </a:cubicBezTo>
                  <a:cubicBezTo>
                    <a:pt x="578" y="357"/>
                    <a:pt x="582" y="353"/>
                    <a:pt x="590" y="348"/>
                  </a:cubicBezTo>
                  <a:cubicBezTo>
                    <a:pt x="599" y="343"/>
                    <a:pt x="596" y="334"/>
                    <a:pt x="592" y="327"/>
                  </a:cubicBezTo>
                  <a:cubicBezTo>
                    <a:pt x="588" y="320"/>
                    <a:pt x="595" y="317"/>
                    <a:pt x="588" y="309"/>
                  </a:cubicBezTo>
                  <a:cubicBezTo>
                    <a:pt x="581" y="302"/>
                    <a:pt x="585" y="297"/>
                    <a:pt x="586" y="287"/>
                  </a:cubicBezTo>
                  <a:cubicBezTo>
                    <a:pt x="587" y="276"/>
                    <a:pt x="579" y="269"/>
                    <a:pt x="571" y="260"/>
                  </a:cubicBezTo>
                  <a:cubicBezTo>
                    <a:pt x="563" y="252"/>
                    <a:pt x="545" y="255"/>
                    <a:pt x="530" y="255"/>
                  </a:cubicBezTo>
                  <a:cubicBezTo>
                    <a:pt x="514" y="255"/>
                    <a:pt x="494" y="253"/>
                    <a:pt x="489" y="242"/>
                  </a:cubicBezTo>
                  <a:cubicBezTo>
                    <a:pt x="485" y="232"/>
                    <a:pt x="462" y="224"/>
                    <a:pt x="450" y="223"/>
                  </a:cubicBezTo>
                  <a:cubicBezTo>
                    <a:pt x="438" y="222"/>
                    <a:pt x="432" y="218"/>
                    <a:pt x="426" y="207"/>
                  </a:cubicBezTo>
                  <a:cubicBezTo>
                    <a:pt x="420" y="195"/>
                    <a:pt x="403" y="200"/>
                    <a:pt x="394" y="191"/>
                  </a:cubicBezTo>
                  <a:cubicBezTo>
                    <a:pt x="386" y="181"/>
                    <a:pt x="364" y="187"/>
                    <a:pt x="351" y="186"/>
                  </a:cubicBezTo>
                  <a:cubicBezTo>
                    <a:pt x="338" y="185"/>
                    <a:pt x="329" y="184"/>
                    <a:pt x="326" y="176"/>
                  </a:cubicBezTo>
                  <a:cubicBezTo>
                    <a:pt x="323" y="169"/>
                    <a:pt x="315" y="163"/>
                    <a:pt x="307" y="158"/>
                  </a:cubicBezTo>
                  <a:cubicBezTo>
                    <a:pt x="298" y="154"/>
                    <a:pt x="291" y="144"/>
                    <a:pt x="288" y="135"/>
                  </a:cubicBezTo>
                  <a:cubicBezTo>
                    <a:pt x="284" y="126"/>
                    <a:pt x="279" y="121"/>
                    <a:pt x="273" y="113"/>
                  </a:cubicBezTo>
                  <a:cubicBezTo>
                    <a:pt x="266" y="106"/>
                    <a:pt x="269" y="97"/>
                    <a:pt x="270" y="88"/>
                  </a:cubicBezTo>
                  <a:cubicBezTo>
                    <a:pt x="271" y="79"/>
                    <a:pt x="269" y="74"/>
                    <a:pt x="265" y="65"/>
                  </a:cubicBezTo>
                  <a:cubicBezTo>
                    <a:pt x="261" y="56"/>
                    <a:pt x="267" y="56"/>
                    <a:pt x="267" y="51"/>
                  </a:cubicBezTo>
                  <a:cubicBezTo>
                    <a:pt x="266" y="46"/>
                    <a:pt x="268" y="40"/>
                    <a:pt x="274" y="34"/>
                  </a:cubicBezTo>
                  <a:cubicBezTo>
                    <a:pt x="280" y="28"/>
                    <a:pt x="276" y="19"/>
                    <a:pt x="273" y="11"/>
                  </a:cubicBezTo>
                  <a:cubicBezTo>
                    <a:pt x="271" y="4"/>
                    <a:pt x="264" y="0"/>
                    <a:pt x="259" y="5"/>
                  </a:cubicBezTo>
                  <a:cubicBezTo>
                    <a:pt x="255" y="10"/>
                    <a:pt x="239" y="9"/>
                    <a:pt x="231" y="9"/>
                  </a:cubicBezTo>
                  <a:cubicBezTo>
                    <a:pt x="222" y="9"/>
                    <a:pt x="210" y="10"/>
                    <a:pt x="205" y="16"/>
                  </a:cubicBezTo>
                  <a:cubicBezTo>
                    <a:pt x="200" y="22"/>
                    <a:pt x="182" y="22"/>
                    <a:pt x="177" y="29"/>
                  </a:cubicBezTo>
                  <a:cubicBezTo>
                    <a:pt x="173" y="35"/>
                    <a:pt x="167" y="40"/>
                    <a:pt x="156" y="43"/>
                  </a:cubicBezTo>
                  <a:cubicBezTo>
                    <a:pt x="144" y="45"/>
                    <a:pt x="136" y="50"/>
                    <a:pt x="131" y="59"/>
                  </a:cubicBezTo>
                  <a:cubicBezTo>
                    <a:pt x="125" y="68"/>
                    <a:pt x="113" y="66"/>
                    <a:pt x="103" y="69"/>
                  </a:cubicBezTo>
                  <a:cubicBezTo>
                    <a:pt x="92" y="72"/>
                    <a:pt x="83" y="80"/>
                    <a:pt x="80" y="90"/>
                  </a:cubicBezTo>
                  <a:cubicBezTo>
                    <a:pt x="77" y="100"/>
                    <a:pt x="60" y="98"/>
                    <a:pt x="56" y="92"/>
                  </a:cubicBezTo>
                  <a:cubicBezTo>
                    <a:pt x="52" y="85"/>
                    <a:pt x="57" y="92"/>
                    <a:pt x="30" y="87"/>
                  </a:cubicBezTo>
                  <a:cubicBezTo>
                    <a:pt x="19" y="85"/>
                    <a:pt x="12" y="85"/>
                    <a:pt x="7" y="86"/>
                  </a:cubicBezTo>
                  <a:cubicBezTo>
                    <a:pt x="11" y="88"/>
                    <a:pt x="13" y="92"/>
                    <a:pt x="14" y="101"/>
                  </a:cubicBezTo>
                  <a:cubicBezTo>
                    <a:pt x="17" y="122"/>
                    <a:pt x="22" y="122"/>
                    <a:pt x="30" y="131"/>
                  </a:cubicBezTo>
                  <a:cubicBezTo>
                    <a:pt x="39" y="141"/>
                    <a:pt x="40" y="147"/>
                    <a:pt x="46" y="155"/>
                  </a:cubicBezTo>
                  <a:cubicBezTo>
                    <a:pt x="52" y="162"/>
                    <a:pt x="68" y="177"/>
                    <a:pt x="58" y="191"/>
                  </a:cubicBezTo>
                  <a:cubicBezTo>
                    <a:pt x="48" y="205"/>
                    <a:pt x="44" y="204"/>
                    <a:pt x="44" y="219"/>
                  </a:cubicBezTo>
                  <a:cubicBezTo>
                    <a:pt x="43" y="233"/>
                    <a:pt x="42" y="241"/>
                    <a:pt x="38" y="247"/>
                  </a:cubicBezTo>
                  <a:cubicBezTo>
                    <a:pt x="33" y="254"/>
                    <a:pt x="35" y="272"/>
                    <a:pt x="40" y="279"/>
                  </a:cubicBezTo>
                  <a:cubicBezTo>
                    <a:pt x="46" y="285"/>
                    <a:pt x="53" y="289"/>
                    <a:pt x="46" y="301"/>
                  </a:cubicBezTo>
                  <a:cubicBezTo>
                    <a:pt x="38" y="313"/>
                    <a:pt x="30" y="318"/>
                    <a:pt x="23" y="327"/>
                  </a:cubicBezTo>
                  <a:cubicBezTo>
                    <a:pt x="16" y="337"/>
                    <a:pt x="9" y="345"/>
                    <a:pt x="16" y="350"/>
                  </a:cubicBezTo>
                  <a:cubicBezTo>
                    <a:pt x="24" y="355"/>
                    <a:pt x="27" y="368"/>
                    <a:pt x="20" y="377"/>
                  </a:cubicBezTo>
                  <a:cubicBezTo>
                    <a:pt x="12" y="385"/>
                    <a:pt x="12" y="398"/>
                    <a:pt x="17" y="407"/>
                  </a:cubicBezTo>
                  <a:cubicBezTo>
                    <a:pt x="22" y="417"/>
                    <a:pt x="23" y="423"/>
                    <a:pt x="33" y="430"/>
                  </a:cubicBezTo>
                  <a:cubicBezTo>
                    <a:pt x="43" y="437"/>
                    <a:pt x="41" y="459"/>
                    <a:pt x="30" y="466"/>
                  </a:cubicBezTo>
                  <a:cubicBezTo>
                    <a:pt x="20" y="473"/>
                    <a:pt x="0" y="490"/>
                    <a:pt x="2" y="498"/>
                  </a:cubicBezTo>
                  <a:cubicBezTo>
                    <a:pt x="4" y="506"/>
                    <a:pt x="0" y="516"/>
                    <a:pt x="10" y="522"/>
                  </a:cubicBezTo>
                  <a:cubicBezTo>
                    <a:pt x="19" y="528"/>
                    <a:pt x="20" y="546"/>
                    <a:pt x="28" y="549"/>
                  </a:cubicBezTo>
                  <a:cubicBezTo>
                    <a:pt x="37" y="551"/>
                    <a:pt x="40" y="564"/>
                    <a:pt x="38" y="578"/>
                  </a:cubicBezTo>
                  <a:cubicBezTo>
                    <a:pt x="36" y="592"/>
                    <a:pt x="39" y="611"/>
                    <a:pt x="52" y="619"/>
                  </a:cubicBezTo>
                  <a:cubicBezTo>
                    <a:pt x="66" y="627"/>
                    <a:pt x="75" y="632"/>
                    <a:pt x="72" y="643"/>
                  </a:cubicBezTo>
                  <a:cubicBezTo>
                    <a:pt x="68" y="653"/>
                    <a:pt x="60" y="660"/>
                    <a:pt x="65" y="667"/>
                  </a:cubicBezTo>
                  <a:cubicBezTo>
                    <a:pt x="70" y="675"/>
                    <a:pt x="67" y="683"/>
                    <a:pt x="62" y="687"/>
                  </a:cubicBezTo>
                  <a:cubicBezTo>
                    <a:pt x="56" y="690"/>
                    <a:pt x="53" y="702"/>
                    <a:pt x="61" y="712"/>
                  </a:cubicBezTo>
                  <a:cubicBezTo>
                    <a:pt x="69" y="722"/>
                    <a:pt x="67" y="744"/>
                    <a:pt x="77" y="749"/>
                  </a:cubicBezTo>
                  <a:cubicBezTo>
                    <a:pt x="87" y="755"/>
                    <a:pt x="90" y="767"/>
                    <a:pt x="93" y="783"/>
                  </a:cubicBezTo>
                  <a:cubicBezTo>
                    <a:pt x="96" y="799"/>
                    <a:pt x="106" y="811"/>
                    <a:pt x="110" y="831"/>
                  </a:cubicBezTo>
                  <a:cubicBezTo>
                    <a:pt x="114" y="852"/>
                    <a:pt x="108" y="868"/>
                    <a:pt x="124" y="871"/>
                  </a:cubicBezTo>
                  <a:cubicBezTo>
                    <a:pt x="135" y="874"/>
                    <a:pt x="150" y="867"/>
                    <a:pt x="158" y="869"/>
                  </a:cubicBezTo>
                  <a:cubicBezTo>
                    <a:pt x="164" y="858"/>
                    <a:pt x="167" y="856"/>
                    <a:pt x="175" y="844"/>
                  </a:cubicBezTo>
                  <a:cubicBezTo>
                    <a:pt x="185" y="829"/>
                    <a:pt x="199" y="829"/>
                    <a:pt x="210" y="808"/>
                  </a:cubicBezTo>
                  <a:cubicBezTo>
                    <a:pt x="221" y="787"/>
                    <a:pt x="229" y="804"/>
                    <a:pt x="242" y="812"/>
                  </a:cubicBezTo>
                  <a:cubicBezTo>
                    <a:pt x="255" y="820"/>
                    <a:pt x="275" y="819"/>
                    <a:pt x="291" y="817"/>
                  </a:cubicBezTo>
                  <a:cubicBezTo>
                    <a:pt x="307" y="815"/>
                    <a:pt x="316" y="822"/>
                    <a:pt x="320" y="829"/>
                  </a:cubicBezTo>
                  <a:cubicBezTo>
                    <a:pt x="324" y="836"/>
                    <a:pt x="333" y="848"/>
                    <a:pt x="337" y="871"/>
                  </a:cubicBezTo>
                  <a:cubicBezTo>
                    <a:pt x="341" y="894"/>
                    <a:pt x="349" y="856"/>
                    <a:pt x="349" y="847"/>
                  </a:cubicBezTo>
                  <a:cubicBezTo>
                    <a:pt x="349" y="838"/>
                    <a:pt x="360" y="821"/>
                    <a:pt x="369" y="814"/>
                  </a:cubicBezTo>
                  <a:cubicBezTo>
                    <a:pt x="378" y="807"/>
                    <a:pt x="407" y="810"/>
                    <a:pt x="430" y="812"/>
                  </a:cubicBezTo>
                  <a:cubicBezTo>
                    <a:pt x="438" y="813"/>
                    <a:pt x="443" y="815"/>
                    <a:pt x="446" y="819"/>
                  </a:cubicBezTo>
                  <a:cubicBezTo>
                    <a:pt x="448" y="813"/>
                    <a:pt x="450" y="806"/>
                    <a:pt x="451" y="801"/>
                  </a:cubicBezTo>
                  <a:cubicBezTo>
                    <a:pt x="453" y="791"/>
                    <a:pt x="458" y="785"/>
                    <a:pt x="463" y="77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558" name="Freeform 25770"/>
            <p:cNvSpPr>
              <a:spLocks/>
            </p:cNvSpPr>
            <p:nvPr/>
          </p:nvSpPr>
          <p:spPr bwMode="auto">
            <a:xfrm>
              <a:off x="2674046" y="5208425"/>
              <a:ext cx="88387" cy="85072"/>
            </a:xfrm>
            <a:custGeom>
              <a:avLst/>
              <a:gdLst>
                <a:gd name="T0" fmla="*/ 224 w 237"/>
                <a:gd name="T1" fmla="*/ 175 h 228"/>
                <a:gd name="T2" fmla="*/ 174 w 237"/>
                <a:gd name="T3" fmla="*/ 171 h 228"/>
                <a:gd name="T4" fmla="*/ 121 w 237"/>
                <a:gd name="T5" fmla="*/ 143 h 228"/>
                <a:gd name="T6" fmla="*/ 38 w 237"/>
                <a:gd name="T7" fmla="*/ 75 h 228"/>
                <a:gd name="T8" fmla="*/ 20 w 237"/>
                <a:gd name="T9" fmla="*/ 57 h 228"/>
                <a:gd name="T10" fmla="*/ 14 w 237"/>
                <a:gd name="T11" fmla="*/ 39 h 228"/>
                <a:gd name="T12" fmla="*/ 9 w 237"/>
                <a:gd name="T13" fmla="*/ 8 h 228"/>
                <a:gd name="T14" fmla="*/ 0 w 237"/>
                <a:gd name="T15" fmla="*/ 0 h 228"/>
                <a:gd name="T16" fmla="*/ 0 w 237"/>
                <a:gd name="T17" fmla="*/ 189 h 228"/>
                <a:gd name="T18" fmla="*/ 24 w 237"/>
                <a:gd name="T19" fmla="*/ 197 h 228"/>
                <a:gd name="T20" fmla="*/ 51 w 237"/>
                <a:gd name="T21" fmla="*/ 200 h 228"/>
                <a:gd name="T22" fmla="*/ 83 w 237"/>
                <a:gd name="T23" fmla="*/ 201 h 228"/>
                <a:gd name="T24" fmla="*/ 109 w 237"/>
                <a:gd name="T25" fmla="*/ 201 h 228"/>
                <a:gd name="T26" fmla="*/ 137 w 237"/>
                <a:gd name="T27" fmla="*/ 219 h 228"/>
                <a:gd name="T28" fmla="*/ 145 w 237"/>
                <a:gd name="T29" fmla="*/ 228 h 228"/>
                <a:gd name="T30" fmla="*/ 146 w 237"/>
                <a:gd name="T31" fmla="*/ 224 h 228"/>
                <a:gd name="T32" fmla="*/ 159 w 237"/>
                <a:gd name="T33" fmla="*/ 206 h 228"/>
                <a:gd name="T34" fmla="*/ 217 w 237"/>
                <a:gd name="T35" fmla="*/ 199 h 228"/>
                <a:gd name="T36" fmla="*/ 224 w 237"/>
                <a:gd name="T37" fmla="*/ 175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37" h="228">
                  <a:moveTo>
                    <a:pt x="224" y="175"/>
                  </a:moveTo>
                  <a:cubicBezTo>
                    <a:pt x="211" y="170"/>
                    <a:pt x="192" y="170"/>
                    <a:pt x="174" y="171"/>
                  </a:cubicBezTo>
                  <a:cubicBezTo>
                    <a:pt x="156" y="172"/>
                    <a:pt x="146" y="159"/>
                    <a:pt x="121" y="143"/>
                  </a:cubicBezTo>
                  <a:cubicBezTo>
                    <a:pt x="96" y="127"/>
                    <a:pt x="46" y="87"/>
                    <a:pt x="38" y="75"/>
                  </a:cubicBezTo>
                  <a:cubicBezTo>
                    <a:pt x="31" y="63"/>
                    <a:pt x="30" y="57"/>
                    <a:pt x="20" y="57"/>
                  </a:cubicBezTo>
                  <a:cubicBezTo>
                    <a:pt x="10" y="57"/>
                    <a:pt x="3" y="39"/>
                    <a:pt x="14" y="39"/>
                  </a:cubicBezTo>
                  <a:cubicBezTo>
                    <a:pt x="24" y="39"/>
                    <a:pt x="19" y="13"/>
                    <a:pt x="9" y="8"/>
                  </a:cubicBezTo>
                  <a:cubicBezTo>
                    <a:pt x="4" y="6"/>
                    <a:pt x="2" y="2"/>
                    <a:pt x="0" y="0"/>
                  </a:cubicBezTo>
                  <a:cubicBezTo>
                    <a:pt x="0" y="189"/>
                    <a:pt x="0" y="189"/>
                    <a:pt x="0" y="189"/>
                  </a:cubicBezTo>
                  <a:cubicBezTo>
                    <a:pt x="0" y="189"/>
                    <a:pt x="15" y="203"/>
                    <a:pt x="24" y="197"/>
                  </a:cubicBezTo>
                  <a:cubicBezTo>
                    <a:pt x="33" y="192"/>
                    <a:pt x="42" y="196"/>
                    <a:pt x="51" y="200"/>
                  </a:cubicBezTo>
                  <a:cubicBezTo>
                    <a:pt x="61" y="204"/>
                    <a:pt x="77" y="206"/>
                    <a:pt x="83" y="201"/>
                  </a:cubicBezTo>
                  <a:cubicBezTo>
                    <a:pt x="89" y="195"/>
                    <a:pt x="100" y="190"/>
                    <a:pt x="109" y="201"/>
                  </a:cubicBezTo>
                  <a:cubicBezTo>
                    <a:pt x="119" y="213"/>
                    <a:pt x="133" y="216"/>
                    <a:pt x="137" y="219"/>
                  </a:cubicBezTo>
                  <a:cubicBezTo>
                    <a:pt x="140" y="221"/>
                    <a:pt x="143" y="224"/>
                    <a:pt x="145" y="228"/>
                  </a:cubicBezTo>
                  <a:cubicBezTo>
                    <a:pt x="146" y="227"/>
                    <a:pt x="146" y="226"/>
                    <a:pt x="146" y="224"/>
                  </a:cubicBezTo>
                  <a:cubicBezTo>
                    <a:pt x="146" y="214"/>
                    <a:pt x="142" y="206"/>
                    <a:pt x="159" y="206"/>
                  </a:cubicBezTo>
                  <a:cubicBezTo>
                    <a:pt x="176" y="206"/>
                    <a:pt x="215" y="208"/>
                    <a:pt x="217" y="199"/>
                  </a:cubicBezTo>
                  <a:cubicBezTo>
                    <a:pt x="219" y="189"/>
                    <a:pt x="237" y="180"/>
                    <a:pt x="224" y="17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559" name="Freeform 25771"/>
            <p:cNvSpPr>
              <a:spLocks/>
            </p:cNvSpPr>
            <p:nvPr/>
          </p:nvSpPr>
          <p:spPr bwMode="auto">
            <a:xfrm>
              <a:off x="2556302" y="4350440"/>
              <a:ext cx="474291" cy="853566"/>
            </a:xfrm>
            <a:custGeom>
              <a:avLst/>
              <a:gdLst>
                <a:gd name="T0" fmla="*/ 974 w 1272"/>
                <a:gd name="T1" fmla="*/ 731 h 2289"/>
                <a:gd name="T2" fmla="*/ 1019 w 1272"/>
                <a:gd name="T3" fmla="*/ 580 h 2289"/>
                <a:gd name="T4" fmla="*/ 1133 w 1272"/>
                <a:gd name="T5" fmla="*/ 449 h 2289"/>
                <a:gd name="T6" fmla="*/ 1264 w 1272"/>
                <a:gd name="T7" fmla="*/ 319 h 2289"/>
                <a:gd name="T8" fmla="*/ 1203 w 1272"/>
                <a:gd name="T9" fmla="*/ 262 h 2289"/>
                <a:gd name="T10" fmla="*/ 1124 w 1272"/>
                <a:gd name="T11" fmla="*/ 390 h 2289"/>
                <a:gd name="T12" fmla="*/ 975 w 1272"/>
                <a:gd name="T13" fmla="*/ 386 h 2289"/>
                <a:gd name="T14" fmla="*/ 1006 w 1272"/>
                <a:gd name="T15" fmla="*/ 271 h 2289"/>
                <a:gd name="T16" fmla="*/ 795 w 1272"/>
                <a:gd name="T17" fmla="*/ 144 h 2289"/>
                <a:gd name="T18" fmla="*/ 675 w 1272"/>
                <a:gd name="T19" fmla="*/ 25 h 2289"/>
                <a:gd name="T20" fmla="*/ 565 w 1272"/>
                <a:gd name="T21" fmla="*/ 42 h 2289"/>
                <a:gd name="T22" fmla="*/ 420 w 1272"/>
                <a:gd name="T23" fmla="*/ 57 h 2289"/>
                <a:gd name="T24" fmla="*/ 398 w 1272"/>
                <a:gd name="T25" fmla="*/ 144 h 2289"/>
                <a:gd name="T26" fmla="*/ 317 w 1272"/>
                <a:gd name="T27" fmla="*/ 221 h 2289"/>
                <a:gd name="T28" fmla="*/ 312 w 1272"/>
                <a:gd name="T29" fmla="*/ 320 h 2289"/>
                <a:gd name="T30" fmla="*/ 290 w 1272"/>
                <a:gd name="T31" fmla="*/ 390 h 2289"/>
                <a:gd name="T32" fmla="*/ 236 w 1272"/>
                <a:gd name="T33" fmla="*/ 503 h 2289"/>
                <a:gd name="T34" fmla="*/ 225 w 1272"/>
                <a:gd name="T35" fmla="*/ 597 h 2289"/>
                <a:gd name="T36" fmla="*/ 189 w 1272"/>
                <a:gd name="T37" fmla="*/ 696 h 2289"/>
                <a:gd name="T38" fmla="*/ 219 w 1272"/>
                <a:gd name="T39" fmla="*/ 780 h 2289"/>
                <a:gd name="T40" fmla="*/ 218 w 1272"/>
                <a:gd name="T41" fmla="*/ 881 h 2289"/>
                <a:gd name="T42" fmla="*/ 202 w 1272"/>
                <a:gd name="T43" fmla="*/ 990 h 2289"/>
                <a:gd name="T44" fmla="*/ 152 w 1272"/>
                <a:gd name="T45" fmla="*/ 1076 h 2289"/>
                <a:gd name="T46" fmla="*/ 144 w 1272"/>
                <a:gd name="T47" fmla="*/ 1204 h 2289"/>
                <a:gd name="T48" fmla="*/ 111 w 1272"/>
                <a:gd name="T49" fmla="*/ 1332 h 2289"/>
                <a:gd name="T50" fmla="*/ 113 w 1272"/>
                <a:gd name="T51" fmla="*/ 1445 h 2289"/>
                <a:gd name="T52" fmla="*/ 106 w 1272"/>
                <a:gd name="T53" fmla="*/ 1550 h 2289"/>
                <a:gd name="T54" fmla="*/ 153 w 1272"/>
                <a:gd name="T55" fmla="*/ 1644 h 2289"/>
                <a:gd name="T56" fmla="*/ 130 w 1272"/>
                <a:gd name="T57" fmla="*/ 1688 h 2289"/>
                <a:gd name="T58" fmla="*/ 113 w 1272"/>
                <a:gd name="T59" fmla="*/ 1783 h 2289"/>
                <a:gd name="T60" fmla="*/ 79 w 1272"/>
                <a:gd name="T61" fmla="*/ 1882 h 2289"/>
                <a:gd name="T62" fmla="*/ 62 w 1272"/>
                <a:gd name="T63" fmla="*/ 1968 h 2289"/>
                <a:gd name="T64" fmla="*/ 5 w 1272"/>
                <a:gd name="T65" fmla="*/ 2098 h 2289"/>
                <a:gd name="T66" fmla="*/ 63 w 1272"/>
                <a:gd name="T67" fmla="*/ 2138 h 2289"/>
                <a:gd name="T68" fmla="*/ 79 w 1272"/>
                <a:gd name="T69" fmla="*/ 2224 h 2289"/>
                <a:gd name="T70" fmla="*/ 254 w 1272"/>
                <a:gd name="T71" fmla="*/ 2260 h 2289"/>
                <a:gd name="T72" fmla="*/ 328 w 1272"/>
                <a:gd name="T73" fmla="*/ 2260 h 2289"/>
                <a:gd name="T74" fmla="*/ 376 w 1272"/>
                <a:gd name="T75" fmla="*/ 2072 h 2289"/>
                <a:gd name="T76" fmla="*/ 492 w 1272"/>
                <a:gd name="T77" fmla="*/ 1897 h 2289"/>
                <a:gd name="T78" fmla="*/ 408 w 1272"/>
                <a:gd name="T79" fmla="*/ 1804 h 2289"/>
                <a:gd name="T80" fmla="*/ 480 w 1272"/>
                <a:gd name="T81" fmla="*/ 1671 h 2289"/>
                <a:gd name="T82" fmla="*/ 535 w 1272"/>
                <a:gd name="T83" fmla="*/ 1561 h 2289"/>
                <a:gd name="T84" fmla="*/ 555 w 1272"/>
                <a:gd name="T85" fmla="*/ 1495 h 2289"/>
                <a:gd name="T86" fmla="*/ 637 w 1272"/>
                <a:gd name="T87" fmla="*/ 1493 h 2289"/>
                <a:gd name="T88" fmla="*/ 588 w 1272"/>
                <a:gd name="T89" fmla="*/ 1470 h 2289"/>
                <a:gd name="T90" fmla="*/ 540 w 1272"/>
                <a:gd name="T91" fmla="*/ 1378 h 2289"/>
                <a:gd name="T92" fmla="*/ 614 w 1272"/>
                <a:gd name="T93" fmla="*/ 1374 h 2289"/>
                <a:gd name="T94" fmla="*/ 709 w 1272"/>
                <a:gd name="T95" fmla="*/ 1311 h 2289"/>
                <a:gd name="T96" fmla="*/ 718 w 1272"/>
                <a:gd name="T97" fmla="*/ 1219 h 2289"/>
                <a:gd name="T98" fmla="*/ 794 w 1272"/>
                <a:gd name="T99" fmla="*/ 1218 h 2289"/>
                <a:gd name="T100" fmla="*/ 1065 w 1272"/>
                <a:gd name="T101" fmla="*/ 1077 h 2289"/>
                <a:gd name="T102" fmla="*/ 1035 w 1272"/>
                <a:gd name="T103" fmla="*/ 931 h 2289"/>
                <a:gd name="T104" fmla="*/ 1001 w 1272"/>
                <a:gd name="T105" fmla="*/ 884 h 2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272" h="2289">
                  <a:moveTo>
                    <a:pt x="979" y="840"/>
                  </a:moveTo>
                  <a:cubicBezTo>
                    <a:pt x="971" y="831"/>
                    <a:pt x="974" y="819"/>
                    <a:pt x="973" y="807"/>
                  </a:cubicBezTo>
                  <a:cubicBezTo>
                    <a:pt x="972" y="795"/>
                    <a:pt x="971" y="786"/>
                    <a:pt x="979" y="774"/>
                  </a:cubicBezTo>
                  <a:cubicBezTo>
                    <a:pt x="987" y="762"/>
                    <a:pt x="978" y="749"/>
                    <a:pt x="974" y="731"/>
                  </a:cubicBezTo>
                  <a:cubicBezTo>
                    <a:pt x="970" y="713"/>
                    <a:pt x="975" y="706"/>
                    <a:pt x="984" y="696"/>
                  </a:cubicBezTo>
                  <a:cubicBezTo>
                    <a:pt x="993" y="686"/>
                    <a:pt x="986" y="662"/>
                    <a:pt x="995" y="648"/>
                  </a:cubicBezTo>
                  <a:cubicBezTo>
                    <a:pt x="1004" y="634"/>
                    <a:pt x="996" y="627"/>
                    <a:pt x="994" y="614"/>
                  </a:cubicBezTo>
                  <a:cubicBezTo>
                    <a:pt x="992" y="601"/>
                    <a:pt x="1005" y="588"/>
                    <a:pt x="1019" y="580"/>
                  </a:cubicBezTo>
                  <a:cubicBezTo>
                    <a:pt x="1033" y="572"/>
                    <a:pt x="1029" y="560"/>
                    <a:pt x="1045" y="553"/>
                  </a:cubicBezTo>
                  <a:cubicBezTo>
                    <a:pt x="1061" y="546"/>
                    <a:pt x="1060" y="536"/>
                    <a:pt x="1071" y="519"/>
                  </a:cubicBezTo>
                  <a:cubicBezTo>
                    <a:pt x="1082" y="502"/>
                    <a:pt x="1094" y="501"/>
                    <a:pt x="1104" y="486"/>
                  </a:cubicBezTo>
                  <a:cubicBezTo>
                    <a:pt x="1114" y="471"/>
                    <a:pt x="1120" y="468"/>
                    <a:pt x="1133" y="449"/>
                  </a:cubicBezTo>
                  <a:cubicBezTo>
                    <a:pt x="1146" y="430"/>
                    <a:pt x="1158" y="429"/>
                    <a:pt x="1172" y="418"/>
                  </a:cubicBezTo>
                  <a:cubicBezTo>
                    <a:pt x="1186" y="407"/>
                    <a:pt x="1198" y="391"/>
                    <a:pt x="1235" y="383"/>
                  </a:cubicBezTo>
                  <a:cubicBezTo>
                    <a:pt x="1272" y="375"/>
                    <a:pt x="1257" y="360"/>
                    <a:pt x="1256" y="346"/>
                  </a:cubicBezTo>
                  <a:cubicBezTo>
                    <a:pt x="1255" y="332"/>
                    <a:pt x="1257" y="327"/>
                    <a:pt x="1264" y="319"/>
                  </a:cubicBezTo>
                  <a:cubicBezTo>
                    <a:pt x="1271" y="311"/>
                    <a:pt x="1266" y="303"/>
                    <a:pt x="1262" y="298"/>
                  </a:cubicBezTo>
                  <a:cubicBezTo>
                    <a:pt x="1258" y="293"/>
                    <a:pt x="1254" y="284"/>
                    <a:pt x="1254" y="275"/>
                  </a:cubicBezTo>
                  <a:cubicBezTo>
                    <a:pt x="1254" y="266"/>
                    <a:pt x="1243" y="263"/>
                    <a:pt x="1227" y="263"/>
                  </a:cubicBezTo>
                  <a:cubicBezTo>
                    <a:pt x="1219" y="263"/>
                    <a:pt x="1210" y="262"/>
                    <a:pt x="1203" y="262"/>
                  </a:cubicBezTo>
                  <a:cubicBezTo>
                    <a:pt x="1202" y="268"/>
                    <a:pt x="1202" y="275"/>
                    <a:pt x="1202" y="285"/>
                  </a:cubicBezTo>
                  <a:cubicBezTo>
                    <a:pt x="1202" y="302"/>
                    <a:pt x="1208" y="328"/>
                    <a:pt x="1187" y="343"/>
                  </a:cubicBezTo>
                  <a:cubicBezTo>
                    <a:pt x="1166" y="358"/>
                    <a:pt x="1143" y="358"/>
                    <a:pt x="1142" y="373"/>
                  </a:cubicBezTo>
                  <a:cubicBezTo>
                    <a:pt x="1141" y="388"/>
                    <a:pt x="1132" y="393"/>
                    <a:pt x="1124" y="390"/>
                  </a:cubicBezTo>
                  <a:cubicBezTo>
                    <a:pt x="1116" y="387"/>
                    <a:pt x="1107" y="379"/>
                    <a:pt x="1096" y="389"/>
                  </a:cubicBezTo>
                  <a:cubicBezTo>
                    <a:pt x="1085" y="399"/>
                    <a:pt x="1083" y="400"/>
                    <a:pt x="1065" y="398"/>
                  </a:cubicBezTo>
                  <a:cubicBezTo>
                    <a:pt x="1047" y="396"/>
                    <a:pt x="1033" y="397"/>
                    <a:pt x="1019" y="393"/>
                  </a:cubicBezTo>
                  <a:cubicBezTo>
                    <a:pt x="1005" y="389"/>
                    <a:pt x="998" y="386"/>
                    <a:pt x="975" y="386"/>
                  </a:cubicBezTo>
                  <a:cubicBezTo>
                    <a:pt x="952" y="386"/>
                    <a:pt x="933" y="386"/>
                    <a:pt x="955" y="366"/>
                  </a:cubicBezTo>
                  <a:cubicBezTo>
                    <a:pt x="977" y="346"/>
                    <a:pt x="976" y="341"/>
                    <a:pt x="977" y="319"/>
                  </a:cubicBezTo>
                  <a:cubicBezTo>
                    <a:pt x="978" y="297"/>
                    <a:pt x="980" y="301"/>
                    <a:pt x="991" y="293"/>
                  </a:cubicBezTo>
                  <a:cubicBezTo>
                    <a:pt x="1002" y="285"/>
                    <a:pt x="1001" y="285"/>
                    <a:pt x="1006" y="271"/>
                  </a:cubicBezTo>
                  <a:cubicBezTo>
                    <a:pt x="1011" y="257"/>
                    <a:pt x="1012" y="253"/>
                    <a:pt x="997" y="239"/>
                  </a:cubicBezTo>
                  <a:cubicBezTo>
                    <a:pt x="982" y="225"/>
                    <a:pt x="947" y="224"/>
                    <a:pt x="926" y="210"/>
                  </a:cubicBezTo>
                  <a:cubicBezTo>
                    <a:pt x="905" y="196"/>
                    <a:pt x="874" y="159"/>
                    <a:pt x="850" y="160"/>
                  </a:cubicBezTo>
                  <a:cubicBezTo>
                    <a:pt x="826" y="161"/>
                    <a:pt x="802" y="158"/>
                    <a:pt x="795" y="144"/>
                  </a:cubicBezTo>
                  <a:cubicBezTo>
                    <a:pt x="788" y="130"/>
                    <a:pt x="779" y="123"/>
                    <a:pt x="766" y="118"/>
                  </a:cubicBezTo>
                  <a:cubicBezTo>
                    <a:pt x="753" y="113"/>
                    <a:pt x="745" y="106"/>
                    <a:pt x="735" y="91"/>
                  </a:cubicBezTo>
                  <a:cubicBezTo>
                    <a:pt x="725" y="76"/>
                    <a:pt x="720" y="67"/>
                    <a:pt x="709" y="57"/>
                  </a:cubicBezTo>
                  <a:cubicBezTo>
                    <a:pt x="698" y="47"/>
                    <a:pt x="698" y="27"/>
                    <a:pt x="675" y="25"/>
                  </a:cubicBezTo>
                  <a:cubicBezTo>
                    <a:pt x="652" y="23"/>
                    <a:pt x="623" y="20"/>
                    <a:pt x="614" y="27"/>
                  </a:cubicBezTo>
                  <a:cubicBezTo>
                    <a:pt x="605" y="34"/>
                    <a:pt x="594" y="51"/>
                    <a:pt x="594" y="60"/>
                  </a:cubicBezTo>
                  <a:cubicBezTo>
                    <a:pt x="594" y="69"/>
                    <a:pt x="586" y="107"/>
                    <a:pt x="582" y="84"/>
                  </a:cubicBezTo>
                  <a:cubicBezTo>
                    <a:pt x="578" y="61"/>
                    <a:pt x="569" y="49"/>
                    <a:pt x="565" y="42"/>
                  </a:cubicBezTo>
                  <a:cubicBezTo>
                    <a:pt x="561" y="35"/>
                    <a:pt x="552" y="28"/>
                    <a:pt x="536" y="30"/>
                  </a:cubicBezTo>
                  <a:cubicBezTo>
                    <a:pt x="520" y="32"/>
                    <a:pt x="500" y="33"/>
                    <a:pt x="487" y="25"/>
                  </a:cubicBezTo>
                  <a:cubicBezTo>
                    <a:pt x="474" y="17"/>
                    <a:pt x="466" y="0"/>
                    <a:pt x="455" y="21"/>
                  </a:cubicBezTo>
                  <a:cubicBezTo>
                    <a:pt x="444" y="42"/>
                    <a:pt x="430" y="42"/>
                    <a:pt x="420" y="57"/>
                  </a:cubicBezTo>
                  <a:cubicBezTo>
                    <a:pt x="412" y="69"/>
                    <a:pt x="409" y="71"/>
                    <a:pt x="403" y="82"/>
                  </a:cubicBezTo>
                  <a:cubicBezTo>
                    <a:pt x="407" y="83"/>
                    <a:pt x="409" y="85"/>
                    <a:pt x="408" y="91"/>
                  </a:cubicBezTo>
                  <a:cubicBezTo>
                    <a:pt x="406" y="110"/>
                    <a:pt x="407" y="117"/>
                    <a:pt x="403" y="123"/>
                  </a:cubicBezTo>
                  <a:cubicBezTo>
                    <a:pt x="399" y="129"/>
                    <a:pt x="398" y="136"/>
                    <a:pt x="398" y="144"/>
                  </a:cubicBezTo>
                  <a:cubicBezTo>
                    <a:pt x="398" y="152"/>
                    <a:pt x="396" y="159"/>
                    <a:pt x="385" y="162"/>
                  </a:cubicBezTo>
                  <a:cubicBezTo>
                    <a:pt x="373" y="166"/>
                    <a:pt x="355" y="173"/>
                    <a:pt x="345" y="182"/>
                  </a:cubicBezTo>
                  <a:cubicBezTo>
                    <a:pt x="336" y="190"/>
                    <a:pt x="321" y="196"/>
                    <a:pt x="319" y="200"/>
                  </a:cubicBezTo>
                  <a:cubicBezTo>
                    <a:pt x="316" y="204"/>
                    <a:pt x="308" y="210"/>
                    <a:pt x="317" y="221"/>
                  </a:cubicBezTo>
                  <a:cubicBezTo>
                    <a:pt x="327" y="232"/>
                    <a:pt x="323" y="240"/>
                    <a:pt x="317" y="246"/>
                  </a:cubicBezTo>
                  <a:cubicBezTo>
                    <a:pt x="311" y="252"/>
                    <a:pt x="311" y="266"/>
                    <a:pt x="316" y="275"/>
                  </a:cubicBezTo>
                  <a:cubicBezTo>
                    <a:pt x="321" y="284"/>
                    <a:pt x="324" y="294"/>
                    <a:pt x="324" y="300"/>
                  </a:cubicBezTo>
                  <a:cubicBezTo>
                    <a:pt x="324" y="305"/>
                    <a:pt x="312" y="308"/>
                    <a:pt x="312" y="320"/>
                  </a:cubicBezTo>
                  <a:cubicBezTo>
                    <a:pt x="312" y="332"/>
                    <a:pt x="316" y="335"/>
                    <a:pt x="323" y="340"/>
                  </a:cubicBezTo>
                  <a:cubicBezTo>
                    <a:pt x="329" y="344"/>
                    <a:pt x="336" y="351"/>
                    <a:pt x="331" y="360"/>
                  </a:cubicBezTo>
                  <a:cubicBezTo>
                    <a:pt x="325" y="368"/>
                    <a:pt x="320" y="372"/>
                    <a:pt x="311" y="372"/>
                  </a:cubicBezTo>
                  <a:cubicBezTo>
                    <a:pt x="301" y="371"/>
                    <a:pt x="291" y="382"/>
                    <a:pt x="290" y="390"/>
                  </a:cubicBezTo>
                  <a:cubicBezTo>
                    <a:pt x="289" y="399"/>
                    <a:pt x="288" y="408"/>
                    <a:pt x="281" y="419"/>
                  </a:cubicBezTo>
                  <a:cubicBezTo>
                    <a:pt x="273" y="430"/>
                    <a:pt x="267" y="438"/>
                    <a:pt x="258" y="444"/>
                  </a:cubicBezTo>
                  <a:cubicBezTo>
                    <a:pt x="249" y="451"/>
                    <a:pt x="241" y="458"/>
                    <a:pt x="242" y="470"/>
                  </a:cubicBezTo>
                  <a:cubicBezTo>
                    <a:pt x="243" y="483"/>
                    <a:pt x="246" y="494"/>
                    <a:pt x="236" y="503"/>
                  </a:cubicBezTo>
                  <a:cubicBezTo>
                    <a:pt x="226" y="512"/>
                    <a:pt x="220" y="517"/>
                    <a:pt x="222" y="528"/>
                  </a:cubicBezTo>
                  <a:cubicBezTo>
                    <a:pt x="224" y="540"/>
                    <a:pt x="234" y="540"/>
                    <a:pt x="231" y="552"/>
                  </a:cubicBezTo>
                  <a:cubicBezTo>
                    <a:pt x="227" y="564"/>
                    <a:pt x="228" y="571"/>
                    <a:pt x="231" y="576"/>
                  </a:cubicBezTo>
                  <a:cubicBezTo>
                    <a:pt x="235" y="580"/>
                    <a:pt x="235" y="594"/>
                    <a:pt x="225" y="597"/>
                  </a:cubicBezTo>
                  <a:cubicBezTo>
                    <a:pt x="216" y="600"/>
                    <a:pt x="211" y="600"/>
                    <a:pt x="208" y="614"/>
                  </a:cubicBezTo>
                  <a:cubicBezTo>
                    <a:pt x="205" y="628"/>
                    <a:pt x="206" y="638"/>
                    <a:pt x="200" y="644"/>
                  </a:cubicBezTo>
                  <a:cubicBezTo>
                    <a:pt x="194" y="650"/>
                    <a:pt x="187" y="660"/>
                    <a:pt x="186" y="669"/>
                  </a:cubicBezTo>
                  <a:cubicBezTo>
                    <a:pt x="185" y="678"/>
                    <a:pt x="181" y="682"/>
                    <a:pt x="189" y="696"/>
                  </a:cubicBezTo>
                  <a:cubicBezTo>
                    <a:pt x="197" y="709"/>
                    <a:pt x="200" y="704"/>
                    <a:pt x="201" y="712"/>
                  </a:cubicBezTo>
                  <a:cubicBezTo>
                    <a:pt x="201" y="719"/>
                    <a:pt x="205" y="728"/>
                    <a:pt x="206" y="735"/>
                  </a:cubicBezTo>
                  <a:cubicBezTo>
                    <a:pt x="207" y="742"/>
                    <a:pt x="205" y="754"/>
                    <a:pt x="215" y="762"/>
                  </a:cubicBezTo>
                  <a:cubicBezTo>
                    <a:pt x="224" y="769"/>
                    <a:pt x="224" y="772"/>
                    <a:pt x="219" y="780"/>
                  </a:cubicBezTo>
                  <a:cubicBezTo>
                    <a:pt x="213" y="789"/>
                    <a:pt x="212" y="799"/>
                    <a:pt x="223" y="804"/>
                  </a:cubicBezTo>
                  <a:cubicBezTo>
                    <a:pt x="235" y="810"/>
                    <a:pt x="243" y="807"/>
                    <a:pt x="237" y="820"/>
                  </a:cubicBezTo>
                  <a:cubicBezTo>
                    <a:pt x="231" y="834"/>
                    <a:pt x="237" y="838"/>
                    <a:pt x="233" y="852"/>
                  </a:cubicBezTo>
                  <a:cubicBezTo>
                    <a:pt x="229" y="867"/>
                    <a:pt x="224" y="870"/>
                    <a:pt x="218" y="881"/>
                  </a:cubicBezTo>
                  <a:cubicBezTo>
                    <a:pt x="212" y="892"/>
                    <a:pt x="207" y="906"/>
                    <a:pt x="203" y="914"/>
                  </a:cubicBezTo>
                  <a:cubicBezTo>
                    <a:pt x="200" y="923"/>
                    <a:pt x="192" y="932"/>
                    <a:pt x="192" y="942"/>
                  </a:cubicBezTo>
                  <a:cubicBezTo>
                    <a:pt x="192" y="952"/>
                    <a:pt x="189" y="965"/>
                    <a:pt x="196" y="968"/>
                  </a:cubicBezTo>
                  <a:cubicBezTo>
                    <a:pt x="203" y="970"/>
                    <a:pt x="202" y="982"/>
                    <a:pt x="202" y="990"/>
                  </a:cubicBezTo>
                  <a:cubicBezTo>
                    <a:pt x="202" y="998"/>
                    <a:pt x="198" y="1007"/>
                    <a:pt x="190" y="1012"/>
                  </a:cubicBezTo>
                  <a:cubicBezTo>
                    <a:pt x="182" y="1016"/>
                    <a:pt x="181" y="1026"/>
                    <a:pt x="169" y="1030"/>
                  </a:cubicBezTo>
                  <a:cubicBezTo>
                    <a:pt x="157" y="1034"/>
                    <a:pt x="153" y="1047"/>
                    <a:pt x="152" y="1054"/>
                  </a:cubicBezTo>
                  <a:cubicBezTo>
                    <a:pt x="151" y="1062"/>
                    <a:pt x="149" y="1068"/>
                    <a:pt x="152" y="1076"/>
                  </a:cubicBezTo>
                  <a:cubicBezTo>
                    <a:pt x="155" y="1083"/>
                    <a:pt x="146" y="1124"/>
                    <a:pt x="155" y="1137"/>
                  </a:cubicBezTo>
                  <a:cubicBezTo>
                    <a:pt x="163" y="1150"/>
                    <a:pt x="162" y="1159"/>
                    <a:pt x="161" y="1164"/>
                  </a:cubicBezTo>
                  <a:cubicBezTo>
                    <a:pt x="159" y="1168"/>
                    <a:pt x="177" y="1181"/>
                    <a:pt x="168" y="1192"/>
                  </a:cubicBezTo>
                  <a:cubicBezTo>
                    <a:pt x="159" y="1204"/>
                    <a:pt x="154" y="1197"/>
                    <a:pt x="144" y="1204"/>
                  </a:cubicBezTo>
                  <a:cubicBezTo>
                    <a:pt x="134" y="1212"/>
                    <a:pt x="129" y="1227"/>
                    <a:pt x="133" y="1238"/>
                  </a:cubicBezTo>
                  <a:cubicBezTo>
                    <a:pt x="137" y="1250"/>
                    <a:pt x="134" y="1259"/>
                    <a:pt x="125" y="1264"/>
                  </a:cubicBezTo>
                  <a:cubicBezTo>
                    <a:pt x="115" y="1268"/>
                    <a:pt x="117" y="1276"/>
                    <a:pt x="117" y="1288"/>
                  </a:cubicBezTo>
                  <a:cubicBezTo>
                    <a:pt x="117" y="1299"/>
                    <a:pt x="117" y="1324"/>
                    <a:pt x="111" y="1332"/>
                  </a:cubicBezTo>
                  <a:cubicBezTo>
                    <a:pt x="105" y="1341"/>
                    <a:pt x="105" y="1354"/>
                    <a:pt x="105" y="1359"/>
                  </a:cubicBezTo>
                  <a:cubicBezTo>
                    <a:pt x="105" y="1364"/>
                    <a:pt x="106" y="1374"/>
                    <a:pt x="105" y="1387"/>
                  </a:cubicBezTo>
                  <a:cubicBezTo>
                    <a:pt x="105" y="1400"/>
                    <a:pt x="103" y="1425"/>
                    <a:pt x="107" y="1431"/>
                  </a:cubicBezTo>
                  <a:cubicBezTo>
                    <a:pt x="111" y="1437"/>
                    <a:pt x="113" y="1438"/>
                    <a:pt x="113" y="1445"/>
                  </a:cubicBezTo>
                  <a:cubicBezTo>
                    <a:pt x="113" y="1452"/>
                    <a:pt x="119" y="1455"/>
                    <a:pt x="111" y="1459"/>
                  </a:cubicBezTo>
                  <a:cubicBezTo>
                    <a:pt x="103" y="1463"/>
                    <a:pt x="92" y="1467"/>
                    <a:pt x="92" y="1473"/>
                  </a:cubicBezTo>
                  <a:cubicBezTo>
                    <a:pt x="92" y="1479"/>
                    <a:pt x="88" y="1525"/>
                    <a:pt x="97" y="1530"/>
                  </a:cubicBezTo>
                  <a:cubicBezTo>
                    <a:pt x="107" y="1534"/>
                    <a:pt x="109" y="1540"/>
                    <a:pt x="106" y="1550"/>
                  </a:cubicBezTo>
                  <a:cubicBezTo>
                    <a:pt x="103" y="1561"/>
                    <a:pt x="116" y="1566"/>
                    <a:pt x="113" y="1578"/>
                  </a:cubicBezTo>
                  <a:cubicBezTo>
                    <a:pt x="111" y="1589"/>
                    <a:pt x="123" y="1596"/>
                    <a:pt x="115" y="1607"/>
                  </a:cubicBezTo>
                  <a:cubicBezTo>
                    <a:pt x="108" y="1618"/>
                    <a:pt x="107" y="1632"/>
                    <a:pt x="120" y="1634"/>
                  </a:cubicBezTo>
                  <a:cubicBezTo>
                    <a:pt x="133" y="1635"/>
                    <a:pt x="153" y="1633"/>
                    <a:pt x="153" y="1644"/>
                  </a:cubicBezTo>
                  <a:cubicBezTo>
                    <a:pt x="152" y="1656"/>
                    <a:pt x="139" y="1664"/>
                    <a:pt x="127" y="1664"/>
                  </a:cubicBezTo>
                  <a:cubicBezTo>
                    <a:pt x="116" y="1664"/>
                    <a:pt x="97" y="1654"/>
                    <a:pt x="97" y="1660"/>
                  </a:cubicBezTo>
                  <a:cubicBezTo>
                    <a:pt x="97" y="1666"/>
                    <a:pt x="96" y="1672"/>
                    <a:pt x="105" y="1674"/>
                  </a:cubicBezTo>
                  <a:cubicBezTo>
                    <a:pt x="115" y="1676"/>
                    <a:pt x="125" y="1677"/>
                    <a:pt x="130" y="1688"/>
                  </a:cubicBezTo>
                  <a:cubicBezTo>
                    <a:pt x="135" y="1698"/>
                    <a:pt x="153" y="1702"/>
                    <a:pt x="139" y="1712"/>
                  </a:cubicBezTo>
                  <a:cubicBezTo>
                    <a:pt x="125" y="1722"/>
                    <a:pt x="114" y="1725"/>
                    <a:pt x="113" y="1734"/>
                  </a:cubicBezTo>
                  <a:cubicBezTo>
                    <a:pt x="113" y="1744"/>
                    <a:pt x="131" y="1754"/>
                    <a:pt x="119" y="1760"/>
                  </a:cubicBezTo>
                  <a:cubicBezTo>
                    <a:pt x="108" y="1767"/>
                    <a:pt x="97" y="1774"/>
                    <a:pt x="113" y="1783"/>
                  </a:cubicBezTo>
                  <a:cubicBezTo>
                    <a:pt x="128" y="1792"/>
                    <a:pt x="119" y="1797"/>
                    <a:pt x="118" y="1809"/>
                  </a:cubicBezTo>
                  <a:cubicBezTo>
                    <a:pt x="117" y="1821"/>
                    <a:pt x="103" y="1813"/>
                    <a:pt x="103" y="1829"/>
                  </a:cubicBezTo>
                  <a:cubicBezTo>
                    <a:pt x="103" y="1845"/>
                    <a:pt x="112" y="1860"/>
                    <a:pt x="99" y="1866"/>
                  </a:cubicBezTo>
                  <a:cubicBezTo>
                    <a:pt x="85" y="1873"/>
                    <a:pt x="80" y="1871"/>
                    <a:pt x="79" y="1882"/>
                  </a:cubicBezTo>
                  <a:cubicBezTo>
                    <a:pt x="77" y="1892"/>
                    <a:pt x="69" y="1895"/>
                    <a:pt x="68" y="1906"/>
                  </a:cubicBezTo>
                  <a:cubicBezTo>
                    <a:pt x="67" y="1918"/>
                    <a:pt x="72" y="1913"/>
                    <a:pt x="76" y="1923"/>
                  </a:cubicBezTo>
                  <a:cubicBezTo>
                    <a:pt x="80" y="1933"/>
                    <a:pt x="84" y="1939"/>
                    <a:pt x="80" y="1948"/>
                  </a:cubicBezTo>
                  <a:cubicBezTo>
                    <a:pt x="76" y="1958"/>
                    <a:pt x="61" y="1956"/>
                    <a:pt x="62" y="1968"/>
                  </a:cubicBezTo>
                  <a:cubicBezTo>
                    <a:pt x="63" y="1979"/>
                    <a:pt x="63" y="1990"/>
                    <a:pt x="51" y="1998"/>
                  </a:cubicBezTo>
                  <a:cubicBezTo>
                    <a:pt x="40" y="2007"/>
                    <a:pt x="36" y="2010"/>
                    <a:pt x="29" y="2018"/>
                  </a:cubicBezTo>
                  <a:cubicBezTo>
                    <a:pt x="23" y="2026"/>
                    <a:pt x="7" y="2022"/>
                    <a:pt x="4" y="2033"/>
                  </a:cubicBezTo>
                  <a:cubicBezTo>
                    <a:pt x="1" y="2044"/>
                    <a:pt x="0" y="2092"/>
                    <a:pt x="5" y="2098"/>
                  </a:cubicBezTo>
                  <a:cubicBezTo>
                    <a:pt x="9" y="2105"/>
                    <a:pt x="20" y="2105"/>
                    <a:pt x="18" y="2117"/>
                  </a:cubicBezTo>
                  <a:cubicBezTo>
                    <a:pt x="16" y="2129"/>
                    <a:pt x="20" y="2140"/>
                    <a:pt x="27" y="2144"/>
                  </a:cubicBezTo>
                  <a:cubicBezTo>
                    <a:pt x="35" y="2147"/>
                    <a:pt x="41" y="2149"/>
                    <a:pt x="45" y="2144"/>
                  </a:cubicBezTo>
                  <a:cubicBezTo>
                    <a:pt x="49" y="2138"/>
                    <a:pt x="51" y="2135"/>
                    <a:pt x="63" y="2138"/>
                  </a:cubicBezTo>
                  <a:cubicBezTo>
                    <a:pt x="75" y="2140"/>
                    <a:pt x="81" y="2143"/>
                    <a:pt x="81" y="2147"/>
                  </a:cubicBezTo>
                  <a:cubicBezTo>
                    <a:pt x="81" y="2151"/>
                    <a:pt x="94" y="2156"/>
                    <a:pt x="87" y="2164"/>
                  </a:cubicBezTo>
                  <a:cubicBezTo>
                    <a:pt x="79" y="2172"/>
                    <a:pt x="79" y="2176"/>
                    <a:pt x="79" y="2187"/>
                  </a:cubicBezTo>
                  <a:cubicBezTo>
                    <a:pt x="79" y="2198"/>
                    <a:pt x="70" y="2215"/>
                    <a:pt x="79" y="2224"/>
                  </a:cubicBezTo>
                  <a:cubicBezTo>
                    <a:pt x="89" y="2232"/>
                    <a:pt x="101" y="2233"/>
                    <a:pt x="104" y="2244"/>
                  </a:cubicBezTo>
                  <a:cubicBezTo>
                    <a:pt x="107" y="2256"/>
                    <a:pt x="122" y="2256"/>
                    <a:pt x="132" y="2256"/>
                  </a:cubicBezTo>
                  <a:cubicBezTo>
                    <a:pt x="142" y="2256"/>
                    <a:pt x="172" y="2256"/>
                    <a:pt x="196" y="2256"/>
                  </a:cubicBezTo>
                  <a:cubicBezTo>
                    <a:pt x="220" y="2256"/>
                    <a:pt x="246" y="2255"/>
                    <a:pt x="254" y="2260"/>
                  </a:cubicBezTo>
                  <a:cubicBezTo>
                    <a:pt x="262" y="2266"/>
                    <a:pt x="280" y="2259"/>
                    <a:pt x="290" y="2264"/>
                  </a:cubicBezTo>
                  <a:cubicBezTo>
                    <a:pt x="300" y="2270"/>
                    <a:pt x="309" y="2270"/>
                    <a:pt x="319" y="2277"/>
                  </a:cubicBezTo>
                  <a:cubicBezTo>
                    <a:pt x="325" y="2281"/>
                    <a:pt x="330" y="2286"/>
                    <a:pt x="333" y="2289"/>
                  </a:cubicBezTo>
                  <a:cubicBezTo>
                    <a:pt x="338" y="2284"/>
                    <a:pt x="337" y="2270"/>
                    <a:pt x="328" y="2260"/>
                  </a:cubicBezTo>
                  <a:cubicBezTo>
                    <a:pt x="317" y="2248"/>
                    <a:pt x="289" y="2194"/>
                    <a:pt x="288" y="2179"/>
                  </a:cubicBezTo>
                  <a:cubicBezTo>
                    <a:pt x="287" y="2164"/>
                    <a:pt x="284" y="2132"/>
                    <a:pt x="296" y="2122"/>
                  </a:cubicBezTo>
                  <a:cubicBezTo>
                    <a:pt x="308" y="2112"/>
                    <a:pt x="319" y="2107"/>
                    <a:pt x="327" y="2099"/>
                  </a:cubicBezTo>
                  <a:cubicBezTo>
                    <a:pt x="336" y="2092"/>
                    <a:pt x="374" y="2103"/>
                    <a:pt x="376" y="2072"/>
                  </a:cubicBezTo>
                  <a:cubicBezTo>
                    <a:pt x="378" y="2041"/>
                    <a:pt x="386" y="1996"/>
                    <a:pt x="404" y="1986"/>
                  </a:cubicBezTo>
                  <a:cubicBezTo>
                    <a:pt x="422" y="1977"/>
                    <a:pt x="441" y="1956"/>
                    <a:pt x="460" y="1944"/>
                  </a:cubicBezTo>
                  <a:cubicBezTo>
                    <a:pt x="478" y="1933"/>
                    <a:pt x="499" y="1922"/>
                    <a:pt x="498" y="1913"/>
                  </a:cubicBezTo>
                  <a:cubicBezTo>
                    <a:pt x="497" y="1905"/>
                    <a:pt x="488" y="1910"/>
                    <a:pt x="492" y="1897"/>
                  </a:cubicBezTo>
                  <a:cubicBezTo>
                    <a:pt x="497" y="1884"/>
                    <a:pt x="503" y="1881"/>
                    <a:pt x="501" y="1867"/>
                  </a:cubicBezTo>
                  <a:cubicBezTo>
                    <a:pt x="498" y="1854"/>
                    <a:pt x="505" y="1843"/>
                    <a:pt x="485" y="1842"/>
                  </a:cubicBezTo>
                  <a:cubicBezTo>
                    <a:pt x="465" y="1841"/>
                    <a:pt x="442" y="1843"/>
                    <a:pt x="432" y="1830"/>
                  </a:cubicBezTo>
                  <a:cubicBezTo>
                    <a:pt x="421" y="1816"/>
                    <a:pt x="420" y="1810"/>
                    <a:pt x="408" y="1804"/>
                  </a:cubicBezTo>
                  <a:cubicBezTo>
                    <a:pt x="395" y="1797"/>
                    <a:pt x="388" y="1797"/>
                    <a:pt x="386" y="1778"/>
                  </a:cubicBezTo>
                  <a:cubicBezTo>
                    <a:pt x="384" y="1760"/>
                    <a:pt x="388" y="1741"/>
                    <a:pt x="399" y="1732"/>
                  </a:cubicBezTo>
                  <a:cubicBezTo>
                    <a:pt x="410" y="1723"/>
                    <a:pt x="419" y="1697"/>
                    <a:pt x="439" y="1691"/>
                  </a:cubicBezTo>
                  <a:cubicBezTo>
                    <a:pt x="458" y="1685"/>
                    <a:pt x="466" y="1669"/>
                    <a:pt x="480" y="1671"/>
                  </a:cubicBezTo>
                  <a:cubicBezTo>
                    <a:pt x="493" y="1673"/>
                    <a:pt x="508" y="1680"/>
                    <a:pt x="509" y="1665"/>
                  </a:cubicBezTo>
                  <a:cubicBezTo>
                    <a:pt x="510" y="1650"/>
                    <a:pt x="510" y="1643"/>
                    <a:pt x="520" y="1636"/>
                  </a:cubicBezTo>
                  <a:cubicBezTo>
                    <a:pt x="530" y="1630"/>
                    <a:pt x="534" y="1619"/>
                    <a:pt x="534" y="1604"/>
                  </a:cubicBezTo>
                  <a:cubicBezTo>
                    <a:pt x="534" y="1588"/>
                    <a:pt x="517" y="1571"/>
                    <a:pt x="535" y="1561"/>
                  </a:cubicBezTo>
                  <a:cubicBezTo>
                    <a:pt x="553" y="1551"/>
                    <a:pt x="542" y="1535"/>
                    <a:pt x="556" y="1532"/>
                  </a:cubicBezTo>
                  <a:cubicBezTo>
                    <a:pt x="569" y="1529"/>
                    <a:pt x="584" y="1532"/>
                    <a:pt x="585" y="1523"/>
                  </a:cubicBezTo>
                  <a:cubicBezTo>
                    <a:pt x="586" y="1515"/>
                    <a:pt x="583" y="1515"/>
                    <a:pt x="574" y="1510"/>
                  </a:cubicBezTo>
                  <a:cubicBezTo>
                    <a:pt x="564" y="1505"/>
                    <a:pt x="554" y="1501"/>
                    <a:pt x="555" y="1495"/>
                  </a:cubicBezTo>
                  <a:cubicBezTo>
                    <a:pt x="557" y="1489"/>
                    <a:pt x="564" y="1492"/>
                    <a:pt x="567" y="1484"/>
                  </a:cubicBezTo>
                  <a:cubicBezTo>
                    <a:pt x="570" y="1477"/>
                    <a:pt x="587" y="1483"/>
                    <a:pt x="590" y="1489"/>
                  </a:cubicBezTo>
                  <a:cubicBezTo>
                    <a:pt x="593" y="1495"/>
                    <a:pt x="594" y="1508"/>
                    <a:pt x="612" y="1507"/>
                  </a:cubicBezTo>
                  <a:cubicBezTo>
                    <a:pt x="630" y="1505"/>
                    <a:pt x="637" y="1506"/>
                    <a:pt x="637" y="1493"/>
                  </a:cubicBezTo>
                  <a:cubicBezTo>
                    <a:pt x="638" y="1481"/>
                    <a:pt x="638" y="1472"/>
                    <a:pt x="635" y="1464"/>
                  </a:cubicBezTo>
                  <a:cubicBezTo>
                    <a:pt x="632" y="1457"/>
                    <a:pt x="633" y="1449"/>
                    <a:pt x="620" y="1448"/>
                  </a:cubicBezTo>
                  <a:cubicBezTo>
                    <a:pt x="607" y="1448"/>
                    <a:pt x="601" y="1454"/>
                    <a:pt x="601" y="1461"/>
                  </a:cubicBezTo>
                  <a:cubicBezTo>
                    <a:pt x="601" y="1469"/>
                    <a:pt x="597" y="1479"/>
                    <a:pt x="588" y="1470"/>
                  </a:cubicBezTo>
                  <a:cubicBezTo>
                    <a:pt x="578" y="1460"/>
                    <a:pt x="580" y="1455"/>
                    <a:pt x="571" y="1455"/>
                  </a:cubicBezTo>
                  <a:cubicBezTo>
                    <a:pt x="562" y="1455"/>
                    <a:pt x="545" y="1453"/>
                    <a:pt x="544" y="1438"/>
                  </a:cubicBezTo>
                  <a:cubicBezTo>
                    <a:pt x="543" y="1424"/>
                    <a:pt x="556" y="1409"/>
                    <a:pt x="551" y="1402"/>
                  </a:cubicBezTo>
                  <a:cubicBezTo>
                    <a:pt x="545" y="1395"/>
                    <a:pt x="539" y="1394"/>
                    <a:pt x="540" y="1378"/>
                  </a:cubicBezTo>
                  <a:cubicBezTo>
                    <a:pt x="541" y="1362"/>
                    <a:pt x="537" y="1354"/>
                    <a:pt x="548" y="1352"/>
                  </a:cubicBezTo>
                  <a:cubicBezTo>
                    <a:pt x="560" y="1350"/>
                    <a:pt x="575" y="1350"/>
                    <a:pt x="581" y="1357"/>
                  </a:cubicBezTo>
                  <a:cubicBezTo>
                    <a:pt x="586" y="1364"/>
                    <a:pt x="588" y="1363"/>
                    <a:pt x="596" y="1365"/>
                  </a:cubicBezTo>
                  <a:cubicBezTo>
                    <a:pt x="604" y="1367"/>
                    <a:pt x="611" y="1369"/>
                    <a:pt x="614" y="1374"/>
                  </a:cubicBezTo>
                  <a:cubicBezTo>
                    <a:pt x="617" y="1378"/>
                    <a:pt x="628" y="1378"/>
                    <a:pt x="642" y="1380"/>
                  </a:cubicBezTo>
                  <a:cubicBezTo>
                    <a:pt x="656" y="1382"/>
                    <a:pt x="662" y="1373"/>
                    <a:pt x="675" y="1373"/>
                  </a:cubicBezTo>
                  <a:cubicBezTo>
                    <a:pt x="687" y="1373"/>
                    <a:pt x="727" y="1356"/>
                    <a:pt x="725" y="1341"/>
                  </a:cubicBezTo>
                  <a:cubicBezTo>
                    <a:pt x="723" y="1325"/>
                    <a:pt x="709" y="1320"/>
                    <a:pt x="709" y="1311"/>
                  </a:cubicBezTo>
                  <a:cubicBezTo>
                    <a:pt x="709" y="1301"/>
                    <a:pt x="717" y="1293"/>
                    <a:pt x="723" y="1286"/>
                  </a:cubicBezTo>
                  <a:cubicBezTo>
                    <a:pt x="730" y="1278"/>
                    <a:pt x="732" y="1262"/>
                    <a:pt x="733" y="1255"/>
                  </a:cubicBezTo>
                  <a:cubicBezTo>
                    <a:pt x="733" y="1248"/>
                    <a:pt x="742" y="1245"/>
                    <a:pt x="730" y="1238"/>
                  </a:cubicBezTo>
                  <a:cubicBezTo>
                    <a:pt x="717" y="1231"/>
                    <a:pt x="714" y="1230"/>
                    <a:pt x="718" y="1219"/>
                  </a:cubicBezTo>
                  <a:cubicBezTo>
                    <a:pt x="722" y="1209"/>
                    <a:pt x="733" y="1198"/>
                    <a:pt x="734" y="1212"/>
                  </a:cubicBezTo>
                  <a:cubicBezTo>
                    <a:pt x="736" y="1225"/>
                    <a:pt x="745" y="1227"/>
                    <a:pt x="746" y="1219"/>
                  </a:cubicBezTo>
                  <a:cubicBezTo>
                    <a:pt x="746" y="1212"/>
                    <a:pt x="755" y="1210"/>
                    <a:pt x="761" y="1215"/>
                  </a:cubicBezTo>
                  <a:cubicBezTo>
                    <a:pt x="766" y="1221"/>
                    <a:pt x="782" y="1221"/>
                    <a:pt x="794" y="1218"/>
                  </a:cubicBezTo>
                  <a:cubicBezTo>
                    <a:pt x="806" y="1215"/>
                    <a:pt x="823" y="1205"/>
                    <a:pt x="856" y="1205"/>
                  </a:cubicBezTo>
                  <a:cubicBezTo>
                    <a:pt x="889" y="1205"/>
                    <a:pt x="904" y="1190"/>
                    <a:pt x="927" y="1187"/>
                  </a:cubicBezTo>
                  <a:cubicBezTo>
                    <a:pt x="950" y="1185"/>
                    <a:pt x="1018" y="1156"/>
                    <a:pt x="1025" y="1131"/>
                  </a:cubicBezTo>
                  <a:cubicBezTo>
                    <a:pt x="1032" y="1107"/>
                    <a:pt x="1053" y="1097"/>
                    <a:pt x="1065" y="1077"/>
                  </a:cubicBezTo>
                  <a:cubicBezTo>
                    <a:pt x="1076" y="1057"/>
                    <a:pt x="1084" y="1041"/>
                    <a:pt x="1078" y="1027"/>
                  </a:cubicBezTo>
                  <a:cubicBezTo>
                    <a:pt x="1072" y="1013"/>
                    <a:pt x="1045" y="1020"/>
                    <a:pt x="1039" y="997"/>
                  </a:cubicBezTo>
                  <a:cubicBezTo>
                    <a:pt x="1033" y="974"/>
                    <a:pt x="1029" y="982"/>
                    <a:pt x="1041" y="968"/>
                  </a:cubicBezTo>
                  <a:cubicBezTo>
                    <a:pt x="1052" y="954"/>
                    <a:pt x="1048" y="941"/>
                    <a:pt x="1035" y="931"/>
                  </a:cubicBezTo>
                  <a:cubicBezTo>
                    <a:pt x="1022" y="921"/>
                    <a:pt x="1008" y="904"/>
                    <a:pt x="992" y="902"/>
                  </a:cubicBezTo>
                  <a:cubicBezTo>
                    <a:pt x="976" y="901"/>
                    <a:pt x="960" y="906"/>
                    <a:pt x="963" y="892"/>
                  </a:cubicBezTo>
                  <a:cubicBezTo>
                    <a:pt x="966" y="878"/>
                    <a:pt x="976" y="876"/>
                    <a:pt x="993" y="882"/>
                  </a:cubicBezTo>
                  <a:cubicBezTo>
                    <a:pt x="996" y="883"/>
                    <a:pt x="999" y="884"/>
                    <a:pt x="1001" y="884"/>
                  </a:cubicBezTo>
                  <a:cubicBezTo>
                    <a:pt x="1000" y="865"/>
                    <a:pt x="987" y="848"/>
                    <a:pt x="979" y="84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560" name="Freeform 25772"/>
            <p:cNvSpPr>
              <a:spLocks/>
            </p:cNvSpPr>
            <p:nvPr/>
          </p:nvSpPr>
          <p:spPr bwMode="auto">
            <a:xfrm>
              <a:off x="2917900" y="4563673"/>
              <a:ext cx="116324" cy="129423"/>
            </a:xfrm>
            <a:custGeom>
              <a:avLst/>
              <a:gdLst>
                <a:gd name="T0" fmla="*/ 297 w 312"/>
                <a:gd name="T1" fmla="*/ 203 h 347"/>
                <a:gd name="T2" fmla="*/ 290 w 312"/>
                <a:gd name="T3" fmla="*/ 149 h 347"/>
                <a:gd name="T4" fmla="*/ 260 w 312"/>
                <a:gd name="T5" fmla="*/ 131 h 347"/>
                <a:gd name="T6" fmla="*/ 239 w 312"/>
                <a:gd name="T7" fmla="*/ 108 h 347"/>
                <a:gd name="T8" fmla="*/ 209 w 312"/>
                <a:gd name="T9" fmla="*/ 91 h 347"/>
                <a:gd name="T10" fmla="*/ 176 w 312"/>
                <a:gd name="T11" fmla="*/ 67 h 347"/>
                <a:gd name="T12" fmla="*/ 158 w 312"/>
                <a:gd name="T13" fmla="*/ 71 h 347"/>
                <a:gd name="T14" fmla="*/ 138 w 312"/>
                <a:gd name="T15" fmla="*/ 46 h 347"/>
                <a:gd name="T16" fmla="*/ 117 w 312"/>
                <a:gd name="T17" fmla="*/ 24 h 347"/>
                <a:gd name="T18" fmla="*/ 92 w 312"/>
                <a:gd name="T19" fmla="*/ 6 h 347"/>
                <a:gd name="T20" fmla="*/ 65 w 312"/>
                <a:gd name="T21" fmla="*/ 15 h 347"/>
                <a:gd name="T22" fmla="*/ 40 w 312"/>
                <a:gd name="T23" fmla="*/ 14 h 347"/>
                <a:gd name="T24" fmla="*/ 24 w 312"/>
                <a:gd name="T25" fmla="*/ 42 h 347"/>
                <a:gd name="T26" fmla="*/ 25 w 312"/>
                <a:gd name="T27" fmla="*/ 76 h 347"/>
                <a:gd name="T28" fmla="*/ 14 w 312"/>
                <a:gd name="T29" fmla="*/ 124 h 347"/>
                <a:gd name="T30" fmla="*/ 4 w 312"/>
                <a:gd name="T31" fmla="*/ 159 h 347"/>
                <a:gd name="T32" fmla="*/ 9 w 312"/>
                <a:gd name="T33" fmla="*/ 202 h 347"/>
                <a:gd name="T34" fmla="*/ 3 w 312"/>
                <a:gd name="T35" fmla="*/ 235 h 347"/>
                <a:gd name="T36" fmla="*/ 9 w 312"/>
                <a:gd name="T37" fmla="*/ 268 h 347"/>
                <a:gd name="T38" fmla="*/ 31 w 312"/>
                <a:gd name="T39" fmla="*/ 312 h 347"/>
                <a:gd name="T40" fmla="*/ 65 w 312"/>
                <a:gd name="T41" fmla="*/ 316 h 347"/>
                <a:gd name="T42" fmla="*/ 96 w 312"/>
                <a:gd name="T43" fmla="*/ 324 h 347"/>
                <a:gd name="T44" fmla="*/ 142 w 312"/>
                <a:gd name="T45" fmla="*/ 337 h 347"/>
                <a:gd name="T46" fmla="*/ 187 w 312"/>
                <a:gd name="T47" fmla="*/ 337 h 347"/>
                <a:gd name="T48" fmla="*/ 238 w 312"/>
                <a:gd name="T49" fmla="*/ 334 h 347"/>
                <a:gd name="T50" fmla="*/ 310 w 312"/>
                <a:gd name="T51" fmla="*/ 273 h 347"/>
                <a:gd name="T52" fmla="*/ 312 w 312"/>
                <a:gd name="T53" fmla="*/ 270 h 347"/>
                <a:gd name="T54" fmla="*/ 301 w 312"/>
                <a:gd name="T55" fmla="*/ 240 h 347"/>
                <a:gd name="T56" fmla="*/ 297 w 312"/>
                <a:gd name="T57" fmla="*/ 203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12" h="347">
                  <a:moveTo>
                    <a:pt x="297" y="203"/>
                  </a:moveTo>
                  <a:cubicBezTo>
                    <a:pt x="295" y="188"/>
                    <a:pt x="295" y="164"/>
                    <a:pt x="290" y="149"/>
                  </a:cubicBezTo>
                  <a:cubicBezTo>
                    <a:pt x="285" y="134"/>
                    <a:pt x="272" y="136"/>
                    <a:pt x="260" y="131"/>
                  </a:cubicBezTo>
                  <a:cubicBezTo>
                    <a:pt x="248" y="126"/>
                    <a:pt x="245" y="122"/>
                    <a:pt x="239" y="108"/>
                  </a:cubicBezTo>
                  <a:cubicBezTo>
                    <a:pt x="233" y="94"/>
                    <a:pt x="228" y="92"/>
                    <a:pt x="209" y="91"/>
                  </a:cubicBezTo>
                  <a:cubicBezTo>
                    <a:pt x="190" y="90"/>
                    <a:pt x="185" y="82"/>
                    <a:pt x="176" y="67"/>
                  </a:cubicBezTo>
                  <a:cubicBezTo>
                    <a:pt x="167" y="52"/>
                    <a:pt x="168" y="60"/>
                    <a:pt x="158" y="71"/>
                  </a:cubicBezTo>
                  <a:cubicBezTo>
                    <a:pt x="148" y="82"/>
                    <a:pt x="141" y="63"/>
                    <a:pt x="138" y="46"/>
                  </a:cubicBezTo>
                  <a:cubicBezTo>
                    <a:pt x="135" y="29"/>
                    <a:pt x="120" y="36"/>
                    <a:pt x="117" y="24"/>
                  </a:cubicBezTo>
                  <a:cubicBezTo>
                    <a:pt x="114" y="12"/>
                    <a:pt x="109" y="12"/>
                    <a:pt x="92" y="6"/>
                  </a:cubicBezTo>
                  <a:cubicBezTo>
                    <a:pt x="75" y="0"/>
                    <a:pt x="86" y="6"/>
                    <a:pt x="65" y="15"/>
                  </a:cubicBezTo>
                  <a:cubicBezTo>
                    <a:pt x="54" y="20"/>
                    <a:pt x="46" y="17"/>
                    <a:pt x="40" y="14"/>
                  </a:cubicBezTo>
                  <a:cubicBezTo>
                    <a:pt x="30" y="22"/>
                    <a:pt x="22" y="32"/>
                    <a:pt x="24" y="42"/>
                  </a:cubicBezTo>
                  <a:cubicBezTo>
                    <a:pt x="26" y="55"/>
                    <a:pt x="34" y="62"/>
                    <a:pt x="25" y="76"/>
                  </a:cubicBezTo>
                  <a:cubicBezTo>
                    <a:pt x="16" y="90"/>
                    <a:pt x="23" y="114"/>
                    <a:pt x="14" y="124"/>
                  </a:cubicBezTo>
                  <a:cubicBezTo>
                    <a:pt x="5" y="134"/>
                    <a:pt x="0" y="141"/>
                    <a:pt x="4" y="159"/>
                  </a:cubicBezTo>
                  <a:cubicBezTo>
                    <a:pt x="8" y="177"/>
                    <a:pt x="17" y="190"/>
                    <a:pt x="9" y="202"/>
                  </a:cubicBezTo>
                  <a:cubicBezTo>
                    <a:pt x="1" y="214"/>
                    <a:pt x="2" y="223"/>
                    <a:pt x="3" y="235"/>
                  </a:cubicBezTo>
                  <a:cubicBezTo>
                    <a:pt x="4" y="247"/>
                    <a:pt x="1" y="259"/>
                    <a:pt x="9" y="268"/>
                  </a:cubicBezTo>
                  <a:cubicBezTo>
                    <a:pt x="17" y="276"/>
                    <a:pt x="30" y="293"/>
                    <a:pt x="31" y="312"/>
                  </a:cubicBezTo>
                  <a:cubicBezTo>
                    <a:pt x="44" y="316"/>
                    <a:pt x="53" y="316"/>
                    <a:pt x="65" y="316"/>
                  </a:cubicBezTo>
                  <a:cubicBezTo>
                    <a:pt x="79" y="316"/>
                    <a:pt x="83" y="317"/>
                    <a:pt x="96" y="324"/>
                  </a:cubicBezTo>
                  <a:cubicBezTo>
                    <a:pt x="109" y="332"/>
                    <a:pt x="119" y="336"/>
                    <a:pt x="142" y="337"/>
                  </a:cubicBezTo>
                  <a:cubicBezTo>
                    <a:pt x="165" y="339"/>
                    <a:pt x="168" y="334"/>
                    <a:pt x="187" y="337"/>
                  </a:cubicBezTo>
                  <a:cubicBezTo>
                    <a:pt x="205" y="340"/>
                    <a:pt x="212" y="347"/>
                    <a:pt x="238" y="334"/>
                  </a:cubicBezTo>
                  <a:cubicBezTo>
                    <a:pt x="264" y="322"/>
                    <a:pt x="288" y="294"/>
                    <a:pt x="310" y="273"/>
                  </a:cubicBezTo>
                  <a:cubicBezTo>
                    <a:pt x="311" y="272"/>
                    <a:pt x="312" y="271"/>
                    <a:pt x="312" y="270"/>
                  </a:cubicBezTo>
                  <a:cubicBezTo>
                    <a:pt x="308" y="261"/>
                    <a:pt x="305" y="251"/>
                    <a:pt x="301" y="240"/>
                  </a:cubicBezTo>
                  <a:cubicBezTo>
                    <a:pt x="296" y="226"/>
                    <a:pt x="299" y="218"/>
                    <a:pt x="297" y="203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561" name="Freeform 25773"/>
            <p:cNvSpPr>
              <a:spLocks/>
            </p:cNvSpPr>
            <p:nvPr/>
          </p:nvSpPr>
          <p:spPr bwMode="auto">
            <a:xfrm>
              <a:off x="2539414" y="3701900"/>
              <a:ext cx="927117" cy="962472"/>
            </a:xfrm>
            <a:custGeom>
              <a:avLst/>
              <a:gdLst>
                <a:gd name="T0" fmla="*/ 2106 w 2486"/>
                <a:gd name="T1" fmla="*/ 507 h 2581"/>
                <a:gd name="T2" fmla="*/ 1898 w 2486"/>
                <a:gd name="T3" fmla="*/ 508 h 2581"/>
                <a:gd name="T4" fmla="*/ 1749 w 2486"/>
                <a:gd name="T5" fmla="*/ 387 h 2581"/>
                <a:gd name="T6" fmla="*/ 1632 w 2486"/>
                <a:gd name="T7" fmla="*/ 376 h 2581"/>
                <a:gd name="T8" fmla="*/ 1517 w 2486"/>
                <a:gd name="T9" fmla="*/ 318 h 2581"/>
                <a:gd name="T10" fmla="*/ 1518 w 2486"/>
                <a:gd name="T11" fmla="*/ 292 h 2581"/>
                <a:gd name="T12" fmla="*/ 1439 w 2486"/>
                <a:gd name="T13" fmla="*/ 49 h 2581"/>
                <a:gd name="T14" fmla="*/ 1228 w 2486"/>
                <a:gd name="T15" fmla="*/ 173 h 2581"/>
                <a:gd name="T16" fmla="*/ 1065 w 2486"/>
                <a:gd name="T17" fmla="*/ 216 h 2581"/>
                <a:gd name="T18" fmla="*/ 931 w 2486"/>
                <a:gd name="T19" fmla="*/ 228 h 2581"/>
                <a:gd name="T20" fmla="*/ 924 w 2486"/>
                <a:gd name="T21" fmla="*/ 91 h 2581"/>
                <a:gd name="T22" fmla="*/ 857 w 2486"/>
                <a:gd name="T23" fmla="*/ 21 h 2581"/>
                <a:gd name="T24" fmla="*/ 736 w 2486"/>
                <a:gd name="T25" fmla="*/ 76 h 2581"/>
                <a:gd name="T26" fmla="*/ 647 w 2486"/>
                <a:gd name="T27" fmla="*/ 77 h 2581"/>
                <a:gd name="T28" fmla="*/ 644 w 2486"/>
                <a:gd name="T29" fmla="*/ 169 h 2581"/>
                <a:gd name="T30" fmla="*/ 603 w 2486"/>
                <a:gd name="T31" fmla="*/ 250 h 2581"/>
                <a:gd name="T32" fmla="*/ 496 w 2486"/>
                <a:gd name="T33" fmla="*/ 287 h 2581"/>
                <a:gd name="T34" fmla="*/ 423 w 2486"/>
                <a:gd name="T35" fmla="*/ 205 h 2581"/>
                <a:gd name="T36" fmla="*/ 270 w 2486"/>
                <a:gd name="T37" fmla="*/ 234 h 2581"/>
                <a:gd name="T38" fmla="*/ 264 w 2486"/>
                <a:gd name="T39" fmla="*/ 351 h 2581"/>
                <a:gd name="T40" fmla="*/ 288 w 2486"/>
                <a:gd name="T41" fmla="*/ 492 h 2581"/>
                <a:gd name="T42" fmla="*/ 210 w 2486"/>
                <a:gd name="T43" fmla="*/ 606 h 2581"/>
                <a:gd name="T44" fmla="*/ 69 w 2486"/>
                <a:gd name="T45" fmla="*/ 709 h 2581"/>
                <a:gd name="T46" fmla="*/ 24 w 2486"/>
                <a:gd name="T47" fmla="*/ 806 h 2581"/>
                <a:gd name="T48" fmla="*/ 73 w 2486"/>
                <a:gd name="T49" fmla="*/ 917 h 2581"/>
                <a:gd name="T50" fmla="*/ 206 w 2486"/>
                <a:gd name="T51" fmla="*/ 958 h 2581"/>
                <a:gd name="T52" fmla="*/ 257 w 2486"/>
                <a:gd name="T53" fmla="*/ 1041 h 2581"/>
                <a:gd name="T54" fmla="*/ 370 w 2486"/>
                <a:gd name="T55" fmla="*/ 1042 h 2581"/>
                <a:gd name="T56" fmla="*/ 495 w 2486"/>
                <a:gd name="T57" fmla="*/ 968 h 2581"/>
                <a:gd name="T58" fmla="*/ 557 w 2486"/>
                <a:gd name="T59" fmla="*/ 1003 h 2581"/>
                <a:gd name="T60" fmla="*/ 597 w 2486"/>
                <a:gd name="T61" fmla="*/ 1110 h 2581"/>
                <a:gd name="T62" fmla="*/ 740 w 2486"/>
                <a:gd name="T63" fmla="*/ 1175 h 2581"/>
                <a:gd name="T64" fmla="*/ 878 w 2486"/>
                <a:gd name="T65" fmla="*/ 1261 h 2581"/>
                <a:gd name="T66" fmla="*/ 888 w 2486"/>
                <a:gd name="T67" fmla="*/ 1385 h 2581"/>
                <a:gd name="T68" fmla="*/ 1025 w 2486"/>
                <a:gd name="T69" fmla="*/ 1457 h 2581"/>
                <a:gd name="T70" fmla="*/ 1046 w 2486"/>
                <a:gd name="T71" fmla="*/ 1565 h 2581"/>
                <a:gd name="T72" fmla="*/ 1039 w 2486"/>
                <a:gd name="T73" fmla="*/ 1683 h 2581"/>
                <a:gd name="T74" fmla="*/ 1121 w 2486"/>
                <a:gd name="T75" fmla="*/ 1780 h 2581"/>
                <a:gd name="T76" fmla="*/ 1234 w 2486"/>
                <a:gd name="T77" fmla="*/ 1894 h 2581"/>
                <a:gd name="T78" fmla="*/ 1248 w 2486"/>
                <a:gd name="T79" fmla="*/ 2001 h 2581"/>
                <a:gd name="T80" fmla="*/ 1301 w 2486"/>
                <a:gd name="T81" fmla="*/ 2085 h 2581"/>
                <a:gd name="T82" fmla="*/ 1116 w 2486"/>
                <a:gd name="T83" fmla="*/ 2258 h 2581"/>
                <a:gd name="T84" fmla="*/ 1107 w 2486"/>
                <a:gd name="T85" fmla="*/ 2317 h 2581"/>
                <a:gd name="T86" fmla="*/ 1224 w 2486"/>
                <a:gd name="T87" fmla="*/ 2402 h 2581"/>
                <a:gd name="T88" fmla="*/ 1316 w 2486"/>
                <a:gd name="T89" fmla="*/ 2551 h 2581"/>
                <a:gd name="T90" fmla="*/ 1461 w 2486"/>
                <a:gd name="T91" fmla="*/ 2362 h 2581"/>
                <a:gd name="T92" fmla="*/ 1411 w 2486"/>
                <a:gd name="T93" fmla="*/ 2445 h 2581"/>
                <a:gd name="T94" fmla="*/ 1633 w 2486"/>
                <a:gd name="T95" fmla="*/ 2171 h 2581"/>
                <a:gd name="T96" fmla="*/ 1655 w 2486"/>
                <a:gd name="T97" fmla="*/ 1983 h 2581"/>
                <a:gd name="T98" fmla="*/ 1834 w 2486"/>
                <a:gd name="T99" fmla="*/ 1887 h 2581"/>
                <a:gd name="T100" fmla="*/ 2037 w 2486"/>
                <a:gd name="T101" fmla="*/ 1811 h 2581"/>
                <a:gd name="T102" fmla="*/ 2155 w 2486"/>
                <a:gd name="T103" fmla="*/ 1559 h 2581"/>
                <a:gd name="T104" fmla="*/ 2204 w 2486"/>
                <a:gd name="T105" fmla="*/ 1234 h 2581"/>
                <a:gd name="T106" fmla="*/ 2307 w 2486"/>
                <a:gd name="T107" fmla="*/ 1054 h 25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486" h="2581">
                  <a:moveTo>
                    <a:pt x="2466" y="778"/>
                  </a:moveTo>
                  <a:cubicBezTo>
                    <a:pt x="2446" y="741"/>
                    <a:pt x="2443" y="706"/>
                    <a:pt x="2439" y="690"/>
                  </a:cubicBezTo>
                  <a:cubicBezTo>
                    <a:pt x="2434" y="675"/>
                    <a:pt x="2416" y="650"/>
                    <a:pt x="2396" y="653"/>
                  </a:cubicBezTo>
                  <a:cubicBezTo>
                    <a:pt x="2376" y="656"/>
                    <a:pt x="2338" y="670"/>
                    <a:pt x="2284" y="620"/>
                  </a:cubicBezTo>
                  <a:cubicBezTo>
                    <a:pt x="2229" y="570"/>
                    <a:pt x="2139" y="508"/>
                    <a:pt x="2106" y="507"/>
                  </a:cubicBezTo>
                  <a:cubicBezTo>
                    <a:pt x="2073" y="505"/>
                    <a:pt x="2052" y="530"/>
                    <a:pt x="2040" y="517"/>
                  </a:cubicBezTo>
                  <a:cubicBezTo>
                    <a:pt x="2029" y="504"/>
                    <a:pt x="2026" y="508"/>
                    <a:pt x="2014" y="504"/>
                  </a:cubicBezTo>
                  <a:cubicBezTo>
                    <a:pt x="2003" y="500"/>
                    <a:pt x="1960" y="480"/>
                    <a:pt x="1948" y="483"/>
                  </a:cubicBezTo>
                  <a:cubicBezTo>
                    <a:pt x="1937" y="485"/>
                    <a:pt x="1914" y="488"/>
                    <a:pt x="1908" y="490"/>
                  </a:cubicBezTo>
                  <a:cubicBezTo>
                    <a:pt x="1903" y="491"/>
                    <a:pt x="1901" y="497"/>
                    <a:pt x="1898" y="508"/>
                  </a:cubicBezTo>
                  <a:cubicBezTo>
                    <a:pt x="1895" y="520"/>
                    <a:pt x="1877" y="518"/>
                    <a:pt x="1878" y="503"/>
                  </a:cubicBezTo>
                  <a:cubicBezTo>
                    <a:pt x="1880" y="487"/>
                    <a:pt x="1911" y="484"/>
                    <a:pt x="1893" y="462"/>
                  </a:cubicBezTo>
                  <a:cubicBezTo>
                    <a:pt x="1874" y="441"/>
                    <a:pt x="1877" y="425"/>
                    <a:pt x="1854" y="425"/>
                  </a:cubicBezTo>
                  <a:cubicBezTo>
                    <a:pt x="1831" y="425"/>
                    <a:pt x="1807" y="405"/>
                    <a:pt x="1788" y="405"/>
                  </a:cubicBezTo>
                  <a:cubicBezTo>
                    <a:pt x="1769" y="405"/>
                    <a:pt x="1768" y="385"/>
                    <a:pt x="1749" y="387"/>
                  </a:cubicBezTo>
                  <a:cubicBezTo>
                    <a:pt x="1731" y="388"/>
                    <a:pt x="1682" y="372"/>
                    <a:pt x="1672" y="374"/>
                  </a:cubicBezTo>
                  <a:cubicBezTo>
                    <a:pt x="1662" y="375"/>
                    <a:pt x="1647" y="392"/>
                    <a:pt x="1640" y="411"/>
                  </a:cubicBezTo>
                  <a:cubicBezTo>
                    <a:pt x="1633" y="430"/>
                    <a:pt x="1602" y="445"/>
                    <a:pt x="1592" y="457"/>
                  </a:cubicBezTo>
                  <a:cubicBezTo>
                    <a:pt x="1581" y="468"/>
                    <a:pt x="1571" y="435"/>
                    <a:pt x="1587" y="427"/>
                  </a:cubicBezTo>
                  <a:cubicBezTo>
                    <a:pt x="1603" y="418"/>
                    <a:pt x="1624" y="392"/>
                    <a:pt x="1632" y="376"/>
                  </a:cubicBezTo>
                  <a:cubicBezTo>
                    <a:pt x="1639" y="361"/>
                    <a:pt x="1637" y="344"/>
                    <a:pt x="1617" y="342"/>
                  </a:cubicBezTo>
                  <a:cubicBezTo>
                    <a:pt x="1597" y="341"/>
                    <a:pt x="1580" y="341"/>
                    <a:pt x="1577" y="349"/>
                  </a:cubicBezTo>
                  <a:cubicBezTo>
                    <a:pt x="1574" y="358"/>
                    <a:pt x="1560" y="338"/>
                    <a:pt x="1559" y="331"/>
                  </a:cubicBezTo>
                  <a:cubicBezTo>
                    <a:pt x="1557" y="323"/>
                    <a:pt x="1551" y="312"/>
                    <a:pt x="1540" y="308"/>
                  </a:cubicBezTo>
                  <a:cubicBezTo>
                    <a:pt x="1528" y="303"/>
                    <a:pt x="1520" y="301"/>
                    <a:pt x="1517" y="318"/>
                  </a:cubicBezTo>
                  <a:cubicBezTo>
                    <a:pt x="1514" y="335"/>
                    <a:pt x="1493" y="335"/>
                    <a:pt x="1493" y="352"/>
                  </a:cubicBezTo>
                  <a:cubicBezTo>
                    <a:pt x="1493" y="369"/>
                    <a:pt x="1494" y="394"/>
                    <a:pt x="1481" y="394"/>
                  </a:cubicBezTo>
                  <a:cubicBezTo>
                    <a:pt x="1468" y="394"/>
                    <a:pt x="1474" y="378"/>
                    <a:pt x="1463" y="374"/>
                  </a:cubicBezTo>
                  <a:cubicBezTo>
                    <a:pt x="1451" y="369"/>
                    <a:pt x="1442" y="344"/>
                    <a:pt x="1465" y="333"/>
                  </a:cubicBezTo>
                  <a:cubicBezTo>
                    <a:pt x="1488" y="323"/>
                    <a:pt x="1506" y="319"/>
                    <a:pt x="1518" y="292"/>
                  </a:cubicBezTo>
                  <a:cubicBezTo>
                    <a:pt x="1531" y="265"/>
                    <a:pt x="1536" y="256"/>
                    <a:pt x="1541" y="242"/>
                  </a:cubicBezTo>
                  <a:cubicBezTo>
                    <a:pt x="1547" y="227"/>
                    <a:pt x="1538" y="213"/>
                    <a:pt x="1524" y="209"/>
                  </a:cubicBezTo>
                  <a:cubicBezTo>
                    <a:pt x="1510" y="204"/>
                    <a:pt x="1490" y="210"/>
                    <a:pt x="1484" y="173"/>
                  </a:cubicBezTo>
                  <a:cubicBezTo>
                    <a:pt x="1478" y="136"/>
                    <a:pt x="1463" y="94"/>
                    <a:pt x="1460" y="80"/>
                  </a:cubicBezTo>
                  <a:cubicBezTo>
                    <a:pt x="1457" y="68"/>
                    <a:pt x="1461" y="57"/>
                    <a:pt x="1439" y="49"/>
                  </a:cubicBezTo>
                  <a:cubicBezTo>
                    <a:pt x="1428" y="62"/>
                    <a:pt x="1425" y="80"/>
                    <a:pt x="1415" y="92"/>
                  </a:cubicBezTo>
                  <a:cubicBezTo>
                    <a:pt x="1402" y="107"/>
                    <a:pt x="1392" y="114"/>
                    <a:pt x="1378" y="157"/>
                  </a:cubicBezTo>
                  <a:cubicBezTo>
                    <a:pt x="1364" y="200"/>
                    <a:pt x="1326" y="188"/>
                    <a:pt x="1311" y="187"/>
                  </a:cubicBezTo>
                  <a:cubicBezTo>
                    <a:pt x="1296" y="186"/>
                    <a:pt x="1290" y="196"/>
                    <a:pt x="1265" y="198"/>
                  </a:cubicBezTo>
                  <a:cubicBezTo>
                    <a:pt x="1240" y="200"/>
                    <a:pt x="1232" y="182"/>
                    <a:pt x="1228" y="173"/>
                  </a:cubicBezTo>
                  <a:cubicBezTo>
                    <a:pt x="1224" y="164"/>
                    <a:pt x="1202" y="169"/>
                    <a:pt x="1197" y="174"/>
                  </a:cubicBezTo>
                  <a:cubicBezTo>
                    <a:pt x="1192" y="179"/>
                    <a:pt x="1182" y="177"/>
                    <a:pt x="1167" y="177"/>
                  </a:cubicBezTo>
                  <a:cubicBezTo>
                    <a:pt x="1152" y="177"/>
                    <a:pt x="1152" y="195"/>
                    <a:pt x="1152" y="208"/>
                  </a:cubicBezTo>
                  <a:cubicBezTo>
                    <a:pt x="1152" y="221"/>
                    <a:pt x="1107" y="213"/>
                    <a:pt x="1096" y="213"/>
                  </a:cubicBezTo>
                  <a:cubicBezTo>
                    <a:pt x="1085" y="213"/>
                    <a:pt x="1079" y="214"/>
                    <a:pt x="1065" y="216"/>
                  </a:cubicBezTo>
                  <a:cubicBezTo>
                    <a:pt x="1051" y="218"/>
                    <a:pt x="1040" y="222"/>
                    <a:pt x="1033" y="231"/>
                  </a:cubicBezTo>
                  <a:cubicBezTo>
                    <a:pt x="1026" y="240"/>
                    <a:pt x="1016" y="241"/>
                    <a:pt x="1013" y="235"/>
                  </a:cubicBezTo>
                  <a:cubicBezTo>
                    <a:pt x="1010" y="229"/>
                    <a:pt x="998" y="239"/>
                    <a:pt x="990" y="253"/>
                  </a:cubicBezTo>
                  <a:cubicBezTo>
                    <a:pt x="982" y="267"/>
                    <a:pt x="965" y="259"/>
                    <a:pt x="961" y="256"/>
                  </a:cubicBezTo>
                  <a:cubicBezTo>
                    <a:pt x="957" y="253"/>
                    <a:pt x="942" y="239"/>
                    <a:pt x="931" y="228"/>
                  </a:cubicBezTo>
                  <a:cubicBezTo>
                    <a:pt x="920" y="217"/>
                    <a:pt x="912" y="210"/>
                    <a:pt x="911" y="199"/>
                  </a:cubicBezTo>
                  <a:cubicBezTo>
                    <a:pt x="910" y="188"/>
                    <a:pt x="905" y="186"/>
                    <a:pt x="903" y="177"/>
                  </a:cubicBezTo>
                  <a:cubicBezTo>
                    <a:pt x="901" y="168"/>
                    <a:pt x="900" y="149"/>
                    <a:pt x="904" y="142"/>
                  </a:cubicBezTo>
                  <a:cubicBezTo>
                    <a:pt x="908" y="135"/>
                    <a:pt x="914" y="125"/>
                    <a:pt x="910" y="114"/>
                  </a:cubicBezTo>
                  <a:cubicBezTo>
                    <a:pt x="906" y="103"/>
                    <a:pt x="911" y="99"/>
                    <a:pt x="924" y="91"/>
                  </a:cubicBezTo>
                  <a:cubicBezTo>
                    <a:pt x="937" y="83"/>
                    <a:pt x="916" y="72"/>
                    <a:pt x="915" y="65"/>
                  </a:cubicBezTo>
                  <a:cubicBezTo>
                    <a:pt x="914" y="58"/>
                    <a:pt x="914" y="53"/>
                    <a:pt x="898" y="49"/>
                  </a:cubicBezTo>
                  <a:cubicBezTo>
                    <a:pt x="882" y="45"/>
                    <a:pt x="897" y="39"/>
                    <a:pt x="899" y="25"/>
                  </a:cubicBezTo>
                  <a:cubicBezTo>
                    <a:pt x="901" y="11"/>
                    <a:pt x="898" y="2"/>
                    <a:pt x="875" y="1"/>
                  </a:cubicBezTo>
                  <a:cubicBezTo>
                    <a:pt x="852" y="0"/>
                    <a:pt x="859" y="9"/>
                    <a:pt x="857" y="21"/>
                  </a:cubicBezTo>
                  <a:cubicBezTo>
                    <a:pt x="855" y="33"/>
                    <a:pt x="843" y="30"/>
                    <a:pt x="839" y="40"/>
                  </a:cubicBezTo>
                  <a:cubicBezTo>
                    <a:pt x="835" y="50"/>
                    <a:pt x="832" y="45"/>
                    <a:pt x="819" y="51"/>
                  </a:cubicBezTo>
                  <a:cubicBezTo>
                    <a:pt x="806" y="57"/>
                    <a:pt x="806" y="60"/>
                    <a:pt x="790" y="60"/>
                  </a:cubicBezTo>
                  <a:cubicBezTo>
                    <a:pt x="774" y="60"/>
                    <a:pt x="773" y="71"/>
                    <a:pt x="757" y="70"/>
                  </a:cubicBezTo>
                  <a:cubicBezTo>
                    <a:pt x="741" y="69"/>
                    <a:pt x="745" y="76"/>
                    <a:pt x="736" y="76"/>
                  </a:cubicBezTo>
                  <a:cubicBezTo>
                    <a:pt x="727" y="76"/>
                    <a:pt x="724" y="85"/>
                    <a:pt x="725" y="98"/>
                  </a:cubicBezTo>
                  <a:cubicBezTo>
                    <a:pt x="726" y="111"/>
                    <a:pt x="715" y="105"/>
                    <a:pt x="708" y="104"/>
                  </a:cubicBezTo>
                  <a:cubicBezTo>
                    <a:pt x="701" y="103"/>
                    <a:pt x="702" y="98"/>
                    <a:pt x="696" y="89"/>
                  </a:cubicBezTo>
                  <a:cubicBezTo>
                    <a:pt x="690" y="80"/>
                    <a:pt x="680" y="90"/>
                    <a:pt x="668" y="85"/>
                  </a:cubicBezTo>
                  <a:cubicBezTo>
                    <a:pt x="656" y="80"/>
                    <a:pt x="650" y="87"/>
                    <a:pt x="647" y="77"/>
                  </a:cubicBezTo>
                  <a:cubicBezTo>
                    <a:pt x="644" y="67"/>
                    <a:pt x="630" y="70"/>
                    <a:pt x="616" y="68"/>
                  </a:cubicBezTo>
                  <a:cubicBezTo>
                    <a:pt x="602" y="66"/>
                    <a:pt x="602" y="68"/>
                    <a:pt x="602" y="77"/>
                  </a:cubicBezTo>
                  <a:cubicBezTo>
                    <a:pt x="602" y="86"/>
                    <a:pt x="613" y="92"/>
                    <a:pt x="625" y="105"/>
                  </a:cubicBezTo>
                  <a:cubicBezTo>
                    <a:pt x="637" y="118"/>
                    <a:pt x="625" y="144"/>
                    <a:pt x="631" y="147"/>
                  </a:cubicBezTo>
                  <a:cubicBezTo>
                    <a:pt x="637" y="150"/>
                    <a:pt x="644" y="157"/>
                    <a:pt x="644" y="169"/>
                  </a:cubicBezTo>
                  <a:cubicBezTo>
                    <a:pt x="644" y="181"/>
                    <a:pt x="650" y="178"/>
                    <a:pt x="668" y="180"/>
                  </a:cubicBezTo>
                  <a:cubicBezTo>
                    <a:pt x="686" y="182"/>
                    <a:pt x="680" y="188"/>
                    <a:pt x="678" y="197"/>
                  </a:cubicBezTo>
                  <a:cubicBezTo>
                    <a:pt x="676" y="206"/>
                    <a:pt x="665" y="205"/>
                    <a:pt x="650" y="210"/>
                  </a:cubicBezTo>
                  <a:cubicBezTo>
                    <a:pt x="635" y="215"/>
                    <a:pt x="635" y="222"/>
                    <a:pt x="633" y="237"/>
                  </a:cubicBezTo>
                  <a:cubicBezTo>
                    <a:pt x="631" y="252"/>
                    <a:pt x="619" y="250"/>
                    <a:pt x="603" y="250"/>
                  </a:cubicBezTo>
                  <a:cubicBezTo>
                    <a:pt x="587" y="250"/>
                    <a:pt x="592" y="263"/>
                    <a:pt x="578" y="264"/>
                  </a:cubicBezTo>
                  <a:cubicBezTo>
                    <a:pt x="564" y="265"/>
                    <a:pt x="570" y="277"/>
                    <a:pt x="559" y="282"/>
                  </a:cubicBezTo>
                  <a:cubicBezTo>
                    <a:pt x="548" y="287"/>
                    <a:pt x="548" y="279"/>
                    <a:pt x="539" y="273"/>
                  </a:cubicBezTo>
                  <a:cubicBezTo>
                    <a:pt x="530" y="267"/>
                    <a:pt x="527" y="274"/>
                    <a:pt x="524" y="283"/>
                  </a:cubicBezTo>
                  <a:cubicBezTo>
                    <a:pt x="521" y="292"/>
                    <a:pt x="510" y="289"/>
                    <a:pt x="496" y="287"/>
                  </a:cubicBezTo>
                  <a:cubicBezTo>
                    <a:pt x="482" y="285"/>
                    <a:pt x="485" y="283"/>
                    <a:pt x="478" y="274"/>
                  </a:cubicBezTo>
                  <a:cubicBezTo>
                    <a:pt x="471" y="265"/>
                    <a:pt x="465" y="263"/>
                    <a:pt x="453" y="261"/>
                  </a:cubicBezTo>
                  <a:cubicBezTo>
                    <a:pt x="441" y="259"/>
                    <a:pt x="449" y="226"/>
                    <a:pt x="447" y="216"/>
                  </a:cubicBezTo>
                  <a:cubicBezTo>
                    <a:pt x="446" y="211"/>
                    <a:pt x="439" y="206"/>
                    <a:pt x="432" y="202"/>
                  </a:cubicBezTo>
                  <a:cubicBezTo>
                    <a:pt x="430" y="203"/>
                    <a:pt x="427" y="204"/>
                    <a:pt x="423" y="205"/>
                  </a:cubicBezTo>
                  <a:cubicBezTo>
                    <a:pt x="406" y="208"/>
                    <a:pt x="404" y="210"/>
                    <a:pt x="402" y="217"/>
                  </a:cubicBezTo>
                  <a:cubicBezTo>
                    <a:pt x="400" y="223"/>
                    <a:pt x="387" y="225"/>
                    <a:pt x="382" y="217"/>
                  </a:cubicBezTo>
                  <a:cubicBezTo>
                    <a:pt x="378" y="210"/>
                    <a:pt x="366" y="207"/>
                    <a:pt x="366" y="216"/>
                  </a:cubicBezTo>
                  <a:cubicBezTo>
                    <a:pt x="366" y="225"/>
                    <a:pt x="364" y="225"/>
                    <a:pt x="340" y="225"/>
                  </a:cubicBezTo>
                  <a:cubicBezTo>
                    <a:pt x="316" y="224"/>
                    <a:pt x="267" y="213"/>
                    <a:pt x="270" y="234"/>
                  </a:cubicBezTo>
                  <a:cubicBezTo>
                    <a:pt x="274" y="255"/>
                    <a:pt x="267" y="267"/>
                    <a:pt x="280" y="269"/>
                  </a:cubicBezTo>
                  <a:cubicBezTo>
                    <a:pt x="292" y="271"/>
                    <a:pt x="316" y="268"/>
                    <a:pt x="314" y="279"/>
                  </a:cubicBezTo>
                  <a:cubicBezTo>
                    <a:pt x="313" y="289"/>
                    <a:pt x="323" y="295"/>
                    <a:pt x="309" y="295"/>
                  </a:cubicBezTo>
                  <a:cubicBezTo>
                    <a:pt x="295" y="296"/>
                    <a:pt x="263" y="291"/>
                    <a:pt x="261" y="305"/>
                  </a:cubicBezTo>
                  <a:cubicBezTo>
                    <a:pt x="259" y="319"/>
                    <a:pt x="256" y="345"/>
                    <a:pt x="264" y="351"/>
                  </a:cubicBezTo>
                  <a:cubicBezTo>
                    <a:pt x="272" y="358"/>
                    <a:pt x="290" y="373"/>
                    <a:pt x="294" y="384"/>
                  </a:cubicBezTo>
                  <a:cubicBezTo>
                    <a:pt x="298" y="395"/>
                    <a:pt x="300" y="397"/>
                    <a:pt x="300" y="408"/>
                  </a:cubicBezTo>
                  <a:cubicBezTo>
                    <a:pt x="301" y="419"/>
                    <a:pt x="301" y="423"/>
                    <a:pt x="296" y="433"/>
                  </a:cubicBezTo>
                  <a:cubicBezTo>
                    <a:pt x="292" y="442"/>
                    <a:pt x="290" y="453"/>
                    <a:pt x="290" y="463"/>
                  </a:cubicBezTo>
                  <a:cubicBezTo>
                    <a:pt x="290" y="473"/>
                    <a:pt x="288" y="485"/>
                    <a:pt x="288" y="492"/>
                  </a:cubicBezTo>
                  <a:cubicBezTo>
                    <a:pt x="288" y="499"/>
                    <a:pt x="278" y="529"/>
                    <a:pt x="278" y="544"/>
                  </a:cubicBezTo>
                  <a:cubicBezTo>
                    <a:pt x="278" y="559"/>
                    <a:pt x="271" y="572"/>
                    <a:pt x="271" y="584"/>
                  </a:cubicBezTo>
                  <a:cubicBezTo>
                    <a:pt x="271" y="596"/>
                    <a:pt x="272" y="611"/>
                    <a:pt x="262" y="611"/>
                  </a:cubicBezTo>
                  <a:cubicBezTo>
                    <a:pt x="251" y="612"/>
                    <a:pt x="240" y="607"/>
                    <a:pt x="232" y="604"/>
                  </a:cubicBezTo>
                  <a:cubicBezTo>
                    <a:pt x="224" y="601"/>
                    <a:pt x="218" y="599"/>
                    <a:pt x="210" y="606"/>
                  </a:cubicBezTo>
                  <a:cubicBezTo>
                    <a:pt x="201" y="613"/>
                    <a:pt x="192" y="620"/>
                    <a:pt x="176" y="621"/>
                  </a:cubicBezTo>
                  <a:cubicBezTo>
                    <a:pt x="159" y="621"/>
                    <a:pt x="144" y="617"/>
                    <a:pt x="131" y="631"/>
                  </a:cubicBezTo>
                  <a:cubicBezTo>
                    <a:pt x="118" y="645"/>
                    <a:pt x="100" y="655"/>
                    <a:pt x="91" y="659"/>
                  </a:cubicBezTo>
                  <a:cubicBezTo>
                    <a:pt x="82" y="663"/>
                    <a:pt x="74" y="669"/>
                    <a:pt x="76" y="676"/>
                  </a:cubicBezTo>
                  <a:cubicBezTo>
                    <a:pt x="79" y="683"/>
                    <a:pt x="76" y="701"/>
                    <a:pt x="69" y="709"/>
                  </a:cubicBezTo>
                  <a:cubicBezTo>
                    <a:pt x="62" y="717"/>
                    <a:pt x="54" y="723"/>
                    <a:pt x="60" y="731"/>
                  </a:cubicBezTo>
                  <a:cubicBezTo>
                    <a:pt x="66" y="740"/>
                    <a:pt x="70" y="749"/>
                    <a:pt x="61" y="753"/>
                  </a:cubicBezTo>
                  <a:cubicBezTo>
                    <a:pt x="52" y="757"/>
                    <a:pt x="45" y="755"/>
                    <a:pt x="38" y="763"/>
                  </a:cubicBezTo>
                  <a:cubicBezTo>
                    <a:pt x="32" y="771"/>
                    <a:pt x="20" y="779"/>
                    <a:pt x="22" y="787"/>
                  </a:cubicBezTo>
                  <a:cubicBezTo>
                    <a:pt x="25" y="795"/>
                    <a:pt x="33" y="801"/>
                    <a:pt x="24" y="806"/>
                  </a:cubicBezTo>
                  <a:cubicBezTo>
                    <a:pt x="14" y="811"/>
                    <a:pt x="0" y="817"/>
                    <a:pt x="12" y="827"/>
                  </a:cubicBezTo>
                  <a:cubicBezTo>
                    <a:pt x="23" y="836"/>
                    <a:pt x="20" y="836"/>
                    <a:pt x="27" y="845"/>
                  </a:cubicBezTo>
                  <a:cubicBezTo>
                    <a:pt x="34" y="855"/>
                    <a:pt x="40" y="871"/>
                    <a:pt x="48" y="880"/>
                  </a:cubicBezTo>
                  <a:cubicBezTo>
                    <a:pt x="57" y="889"/>
                    <a:pt x="57" y="897"/>
                    <a:pt x="64" y="902"/>
                  </a:cubicBezTo>
                  <a:cubicBezTo>
                    <a:pt x="70" y="907"/>
                    <a:pt x="75" y="908"/>
                    <a:pt x="73" y="917"/>
                  </a:cubicBezTo>
                  <a:cubicBezTo>
                    <a:pt x="71" y="927"/>
                    <a:pt x="74" y="935"/>
                    <a:pt x="86" y="936"/>
                  </a:cubicBezTo>
                  <a:cubicBezTo>
                    <a:pt x="98" y="937"/>
                    <a:pt x="118" y="939"/>
                    <a:pt x="121" y="951"/>
                  </a:cubicBezTo>
                  <a:cubicBezTo>
                    <a:pt x="124" y="962"/>
                    <a:pt x="120" y="978"/>
                    <a:pt x="134" y="978"/>
                  </a:cubicBezTo>
                  <a:cubicBezTo>
                    <a:pt x="147" y="978"/>
                    <a:pt x="159" y="983"/>
                    <a:pt x="176" y="975"/>
                  </a:cubicBezTo>
                  <a:cubicBezTo>
                    <a:pt x="194" y="967"/>
                    <a:pt x="200" y="967"/>
                    <a:pt x="206" y="958"/>
                  </a:cubicBezTo>
                  <a:cubicBezTo>
                    <a:pt x="212" y="949"/>
                    <a:pt x="234" y="930"/>
                    <a:pt x="235" y="940"/>
                  </a:cubicBezTo>
                  <a:cubicBezTo>
                    <a:pt x="236" y="950"/>
                    <a:pt x="226" y="957"/>
                    <a:pt x="227" y="967"/>
                  </a:cubicBezTo>
                  <a:cubicBezTo>
                    <a:pt x="228" y="976"/>
                    <a:pt x="222" y="997"/>
                    <a:pt x="222" y="1010"/>
                  </a:cubicBezTo>
                  <a:cubicBezTo>
                    <a:pt x="222" y="1023"/>
                    <a:pt x="225" y="1034"/>
                    <a:pt x="233" y="1039"/>
                  </a:cubicBezTo>
                  <a:cubicBezTo>
                    <a:pt x="241" y="1043"/>
                    <a:pt x="252" y="1050"/>
                    <a:pt x="257" y="1041"/>
                  </a:cubicBezTo>
                  <a:cubicBezTo>
                    <a:pt x="262" y="1033"/>
                    <a:pt x="274" y="1034"/>
                    <a:pt x="282" y="1035"/>
                  </a:cubicBezTo>
                  <a:cubicBezTo>
                    <a:pt x="286" y="1036"/>
                    <a:pt x="292" y="1035"/>
                    <a:pt x="297" y="1038"/>
                  </a:cubicBezTo>
                  <a:cubicBezTo>
                    <a:pt x="302" y="1037"/>
                    <a:pt x="309" y="1037"/>
                    <a:pt x="320" y="1039"/>
                  </a:cubicBezTo>
                  <a:cubicBezTo>
                    <a:pt x="347" y="1044"/>
                    <a:pt x="342" y="1037"/>
                    <a:pt x="346" y="1044"/>
                  </a:cubicBezTo>
                  <a:cubicBezTo>
                    <a:pt x="350" y="1050"/>
                    <a:pt x="367" y="1052"/>
                    <a:pt x="370" y="1042"/>
                  </a:cubicBezTo>
                  <a:cubicBezTo>
                    <a:pt x="373" y="1032"/>
                    <a:pt x="382" y="1024"/>
                    <a:pt x="393" y="1021"/>
                  </a:cubicBezTo>
                  <a:cubicBezTo>
                    <a:pt x="403" y="1018"/>
                    <a:pt x="415" y="1020"/>
                    <a:pt x="421" y="1011"/>
                  </a:cubicBezTo>
                  <a:cubicBezTo>
                    <a:pt x="426" y="1002"/>
                    <a:pt x="434" y="997"/>
                    <a:pt x="446" y="995"/>
                  </a:cubicBezTo>
                  <a:cubicBezTo>
                    <a:pt x="457" y="992"/>
                    <a:pt x="463" y="987"/>
                    <a:pt x="467" y="981"/>
                  </a:cubicBezTo>
                  <a:cubicBezTo>
                    <a:pt x="472" y="974"/>
                    <a:pt x="490" y="974"/>
                    <a:pt x="495" y="968"/>
                  </a:cubicBezTo>
                  <a:cubicBezTo>
                    <a:pt x="500" y="962"/>
                    <a:pt x="512" y="961"/>
                    <a:pt x="521" y="961"/>
                  </a:cubicBezTo>
                  <a:cubicBezTo>
                    <a:pt x="529" y="961"/>
                    <a:pt x="545" y="962"/>
                    <a:pt x="549" y="957"/>
                  </a:cubicBezTo>
                  <a:cubicBezTo>
                    <a:pt x="554" y="952"/>
                    <a:pt x="561" y="956"/>
                    <a:pt x="563" y="963"/>
                  </a:cubicBezTo>
                  <a:cubicBezTo>
                    <a:pt x="566" y="971"/>
                    <a:pt x="570" y="980"/>
                    <a:pt x="564" y="986"/>
                  </a:cubicBezTo>
                  <a:cubicBezTo>
                    <a:pt x="558" y="992"/>
                    <a:pt x="556" y="998"/>
                    <a:pt x="557" y="1003"/>
                  </a:cubicBezTo>
                  <a:cubicBezTo>
                    <a:pt x="557" y="1008"/>
                    <a:pt x="551" y="1008"/>
                    <a:pt x="555" y="1017"/>
                  </a:cubicBezTo>
                  <a:cubicBezTo>
                    <a:pt x="559" y="1026"/>
                    <a:pt x="561" y="1031"/>
                    <a:pt x="560" y="1040"/>
                  </a:cubicBezTo>
                  <a:cubicBezTo>
                    <a:pt x="559" y="1049"/>
                    <a:pt x="556" y="1058"/>
                    <a:pt x="563" y="1065"/>
                  </a:cubicBezTo>
                  <a:cubicBezTo>
                    <a:pt x="569" y="1073"/>
                    <a:pt x="574" y="1078"/>
                    <a:pt x="578" y="1087"/>
                  </a:cubicBezTo>
                  <a:cubicBezTo>
                    <a:pt x="581" y="1096"/>
                    <a:pt x="588" y="1106"/>
                    <a:pt x="597" y="1110"/>
                  </a:cubicBezTo>
                  <a:cubicBezTo>
                    <a:pt x="605" y="1115"/>
                    <a:pt x="613" y="1121"/>
                    <a:pt x="616" y="1128"/>
                  </a:cubicBezTo>
                  <a:cubicBezTo>
                    <a:pt x="619" y="1136"/>
                    <a:pt x="628" y="1137"/>
                    <a:pt x="641" y="1138"/>
                  </a:cubicBezTo>
                  <a:cubicBezTo>
                    <a:pt x="654" y="1139"/>
                    <a:pt x="676" y="1133"/>
                    <a:pt x="684" y="1143"/>
                  </a:cubicBezTo>
                  <a:cubicBezTo>
                    <a:pt x="693" y="1152"/>
                    <a:pt x="710" y="1147"/>
                    <a:pt x="716" y="1159"/>
                  </a:cubicBezTo>
                  <a:cubicBezTo>
                    <a:pt x="722" y="1170"/>
                    <a:pt x="728" y="1174"/>
                    <a:pt x="740" y="1175"/>
                  </a:cubicBezTo>
                  <a:cubicBezTo>
                    <a:pt x="752" y="1176"/>
                    <a:pt x="775" y="1184"/>
                    <a:pt x="779" y="1194"/>
                  </a:cubicBezTo>
                  <a:cubicBezTo>
                    <a:pt x="784" y="1205"/>
                    <a:pt x="804" y="1207"/>
                    <a:pt x="820" y="1207"/>
                  </a:cubicBezTo>
                  <a:cubicBezTo>
                    <a:pt x="835" y="1207"/>
                    <a:pt x="853" y="1204"/>
                    <a:pt x="861" y="1212"/>
                  </a:cubicBezTo>
                  <a:cubicBezTo>
                    <a:pt x="869" y="1221"/>
                    <a:pt x="877" y="1228"/>
                    <a:pt x="876" y="1239"/>
                  </a:cubicBezTo>
                  <a:cubicBezTo>
                    <a:pt x="875" y="1249"/>
                    <a:pt x="871" y="1254"/>
                    <a:pt x="878" y="1261"/>
                  </a:cubicBezTo>
                  <a:cubicBezTo>
                    <a:pt x="885" y="1269"/>
                    <a:pt x="878" y="1272"/>
                    <a:pt x="882" y="1279"/>
                  </a:cubicBezTo>
                  <a:cubicBezTo>
                    <a:pt x="886" y="1286"/>
                    <a:pt x="889" y="1295"/>
                    <a:pt x="880" y="1300"/>
                  </a:cubicBezTo>
                  <a:cubicBezTo>
                    <a:pt x="872" y="1305"/>
                    <a:pt x="868" y="1309"/>
                    <a:pt x="875" y="1317"/>
                  </a:cubicBezTo>
                  <a:cubicBezTo>
                    <a:pt x="882" y="1325"/>
                    <a:pt x="892" y="1322"/>
                    <a:pt x="889" y="1335"/>
                  </a:cubicBezTo>
                  <a:cubicBezTo>
                    <a:pt x="889" y="1351"/>
                    <a:pt x="888" y="1385"/>
                    <a:pt x="888" y="1385"/>
                  </a:cubicBezTo>
                  <a:cubicBezTo>
                    <a:pt x="1005" y="1384"/>
                    <a:pt x="1005" y="1384"/>
                    <a:pt x="1005" y="1384"/>
                  </a:cubicBezTo>
                  <a:cubicBezTo>
                    <a:pt x="1005" y="1384"/>
                    <a:pt x="1010" y="1401"/>
                    <a:pt x="1004" y="1407"/>
                  </a:cubicBezTo>
                  <a:cubicBezTo>
                    <a:pt x="998" y="1413"/>
                    <a:pt x="999" y="1419"/>
                    <a:pt x="1000" y="1426"/>
                  </a:cubicBezTo>
                  <a:cubicBezTo>
                    <a:pt x="1000" y="1433"/>
                    <a:pt x="1006" y="1444"/>
                    <a:pt x="1007" y="1448"/>
                  </a:cubicBezTo>
                  <a:cubicBezTo>
                    <a:pt x="1009" y="1452"/>
                    <a:pt x="1016" y="1454"/>
                    <a:pt x="1025" y="1457"/>
                  </a:cubicBezTo>
                  <a:cubicBezTo>
                    <a:pt x="1034" y="1460"/>
                    <a:pt x="1048" y="1464"/>
                    <a:pt x="1048" y="1475"/>
                  </a:cubicBezTo>
                  <a:cubicBezTo>
                    <a:pt x="1048" y="1485"/>
                    <a:pt x="1046" y="1488"/>
                    <a:pt x="1051" y="1492"/>
                  </a:cubicBezTo>
                  <a:cubicBezTo>
                    <a:pt x="1057" y="1496"/>
                    <a:pt x="1063" y="1504"/>
                    <a:pt x="1061" y="1513"/>
                  </a:cubicBezTo>
                  <a:cubicBezTo>
                    <a:pt x="1060" y="1521"/>
                    <a:pt x="1049" y="1524"/>
                    <a:pt x="1049" y="1534"/>
                  </a:cubicBezTo>
                  <a:cubicBezTo>
                    <a:pt x="1049" y="1544"/>
                    <a:pt x="1045" y="1558"/>
                    <a:pt x="1046" y="1565"/>
                  </a:cubicBezTo>
                  <a:cubicBezTo>
                    <a:pt x="1046" y="1573"/>
                    <a:pt x="1045" y="1576"/>
                    <a:pt x="1038" y="1584"/>
                  </a:cubicBezTo>
                  <a:cubicBezTo>
                    <a:pt x="1031" y="1592"/>
                    <a:pt x="1027" y="1604"/>
                    <a:pt x="1030" y="1612"/>
                  </a:cubicBezTo>
                  <a:cubicBezTo>
                    <a:pt x="1032" y="1621"/>
                    <a:pt x="1040" y="1622"/>
                    <a:pt x="1032" y="1633"/>
                  </a:cubicBezTo>
                  <a:cubicBezTo>
                    <a:pt x="1025" y="1643"/>
                    <a:pt x="1015" y="1645"/>
                    <a:pt x="1026" y="1655"/>
                  </a:cubicBezTo>
                  <a:cubicBezTo>
                    <a:pt x="1036" y="1665"/>
                    <a:pt x="1041" y="1668"/>
                    <a:pt x="1039" y="1683"/>
                  </a:cubicBezTo>
                  <a:cubicBezTo>
                    <a:pt x="1037" y="1698"/>
                    <a:pt x="1040" y="1708"/>
                    <a:pt x="1036" y="1718"/>
                  </a:cubicBezTo>
                  <a:cubicBezTo>
                    <a:pt x="1032" y="1728"/>
                    <a:pt x="1032" y="1746"/>
                    <a:pt x="1035" y="1755"/>
                  </a:cubicBezTo>
                  <a:cubicBezTo>
                    <a:pt x="1038" y="1764"/>
                    <a:pt x="1031" y="1773"/>
                    <a:pt x="1050" y="1775"/>
                  </a:cubicBezTo>
                  <a:cubicBezTo>
                    <a:pt x="1069" y="1777"/>
                    <a:pt x="1075" y="1780"/>
                    <a:pt x="1086" y="1784"/>
                  </a:cubicBezTo>
                  <a:cubicBezTo>
                    <a:pt x="1097" y="1788"/>
                    <a:pt x="1118" y="1787"/>
                    <a:pt x="1121" y="1780"/>
                  </a:cubicBezTo>
                  <a:cubicBezTo>
                    <a:pt x="1124" y="1773"/>
                    <a:pt x="1130" y="1763"/>
                    <a:pt x="1142" y="1774"/>
                  </a:cubicBezTo>
                  <a:cubicBezTo>
                    <a:pt x="1154" y="1785"/>
                    <a:pt x="1165" y="1779"/>
                    <a:pt x="1166" y="1795"/>
                  </a:cubicBezTo>
                  <a:cubicBezTo>
                    <a:pt x="1167" y="1811"/>
                    <a:pt x="1177" y="1825"/>
                    <a:pt x="1181" y="1842"/>
                  </a:cubicBezTo>
                  <a:cubicBezTo>
                    <a:pt x="1185" y="1859"/>
                    <a:pt x="1184" y="1892"/>
                    <a:pt x="1199" y="1895"/>
                  </a:cubicBezTo>
                  <a:cubicBezTo>
                    <a:pt x="1214" y="1898"/>
                    <a:pt x="1228" y="1904"/>
                    <a:pt x="1234" y="1894"/>
                  </a:cubicBezTo>
                  <a:cubicBezTo>
                    <a:pt x="1240" y="1884"/>
                    <a:pt x="1245" y="1879"/>
                    <a:pt x="1255" y="1885"/>
                  </a:cubicBezTo>
                  <a:cubicBezTo>
                    <a:pt x="1265" y="1891"/>
                    <a:pt x="1273" y="1896"/>
                    <a:pt x="1273" y="1911"/>
                  </a:cubicBezTo>
                  <a:cubicBezTo>
                    <a:pt x="1273" y="1926"/>
                    <a:pt x="1275" y="1927"/>
                    <a:pt x="1265" y="1946"/>
                  </a:cubicBezTo>
                  <a:cubicBezTo>
                    <a:pt x="1255" y="1965"/>
                    <a:pt x="1250" y="1976"/>
                    <a:pt x="1249" y="1988"/>
                  </a:cubicBezTo>
                  <a:cubicBezTo>
                    <a:pt x="1249" y="1993"/>
                    <a:pt x="1248" y="1997"/>
                    <a:pt x="1248" y="2001"/>
                  </a:cubicBezTo>
                  <a:cubicBezTo>
                    <a:pt x="1255" y="2001"/>
                    <a:pt x="1264" y="2002"/>
                    <a:pt x="1272" y="2002"/>
                  </a:cubicBezTo>
                  <a:cubicBezTo>
                    <a:pt x="1288" y="2002"/>
                    <a:pt x="1299" y="2005"/>
                    <a:pt x="1299" y="2014"/>
                  </a:cubicBezTo>
                  <a:cubicBezTo>
                    <a:pt x="1299" y="2023"/>
                    <a:pt x="1303" y="2032"/>
                    <a:pt x="1307" y="2037"/>
                  </a:cubicBezTo>
                  <a:cubicBezTo>
                    <a:pt x="1311" y="2042"/>
                    <a:pt x="1316" y="2050"/>
                    <a:pt x="1309" y="2058"/>
                  </a:cubicBezTo>
                  <a:cubicBezTo>
                    <a:pt x="1302" y="2066"/>
                    <a:pt x="1300" y="2071"/>
                    <a:pt x="1301" y="2085"/>
                  </a:cubicBezTo>
                  <a:cubicBezTo>
                    <a:pt x="1302" y="2099"/>
                    <a:pt x="1317" y="2114"/>
                    <a:pt x="1280" y="2122"/>
                  </a:cubicBezTo>
                  <a:cubicBezTo>
                    <a:pt x="1243" y="2130"/>
                    <a:pt x="1231" y="2146"/>
                    <a:pt x="1217" y="2157"/>
                  </a:cubicBezTo>
                  <a:cubicBezTo>
                    <a:pt x="1203" y="2168"/>
                    <a:pt x="1191" y="2169"/>
                    <a:pt x="1178" y="2188"/>
                  </a:cubicBezTo>
                  <a:cubicBezTo>
                    <a:pt x="1165" y="2207"/>
                    <a:pt x="1159" y="2210"/>
                    <a:pt x="1149" y="2225"/>
                  </a:cubicBezTo>
                  <a:cubicBezTo>
                    <a:pt x="1139" y="2240"/>
                    <a:pt x="1127" y="2241"/>
                    <a:pt x="1116" y="2258"/>
                  </a:cubicBezTo>
                  <a:cubicBezTo>
                    <a:pt x="1105" y="2275"/>
                    <a:pt x="1106" y="2285"/>
                    <a:pt x="1090" y="2292"/>
                  </a:cubicBezTo>
                  <a:cubicBezTo>
                    <a:pt x="1074" y="2299"/>
                    <a:pt x="1078" y="2311"/>
                    <a:pt x="1064" y="2319"/>
                  </a:cubicBezTo>
                  <a:cubicBezTo>
                    <a:pt x="1061" y="2321"/>
                    <a:pt x="1058" y="2323"/>
                    <a:pt x="1055" y="2325"/>
                  </a:cubicBezTo>
                  <a:cubicBezTo>
                    <a:pt x="1061" y="2328"/>
                    <a:pt x="1069" y="2331"/>
                    <a:pt x="1080" y="2326"/>
                  </a:cubicBezTo>
                  <a:cubicBezTo>
                    <a:pt x="1101" y="2317"/>
                    <a:pt x="1090" y="2311"/>
                    <a:pt x="1107" y="2317"/>
                  </a:cubicBezTo>
                  <a:cubicBezTo>
                    <a:pt x="1124" y="2323"/>
                    <a:pt x="1129" y="2323"/>
                    <a:pt x="1132" y="2335"/>
                  </a:cubicBezTo>
                  <a:cubicBezTo>
                    <a:pt x="1135" y="2347"/>
                    <a:pt x="1150" y="2340"/>
                    <a:pt x="1153" y="2357"/>
                  </a:cubicBezTo>
                  <a:cubicBezTo>
                    <a:pt x="1156" y="2374"/>
                    <a:pt x="1163" y="2393"/>
                    <a:pt x="1173" y="2382"/>
                  </a:cubicBezTo>
                  <a:cubicBezTo>
                    <a:pt x="1183" y="2371"/>
                    <a:pt x="1182" y="2363"/>
                    <a:pt x="1191" y="2378"/>
                  </a:cubicBezTo>
                  <a:cubicBezTo>
                    <a:pt x="1200" y="2393"/>
                    <a:pt x="1205" y="2401"/>
                    <a:pt x="1224" y="2402"/>
                  </a:cubicBezTo>
                  <a:cubicBezTo>
                    <a:pt x="1243" y="2403"/>
                    <a:pt x="1248" y="2405"/>
                    <a:pt x="1254" y="2419"/>
                  </a:cubicBezTo>
                  <a:cubicBezTo>
                    <a:pt x="1260" y="2433"/>
                    <a:pt x="1263" y="2437"/>
                    <a:pt x="1275" y="2442"/>
                  </a:cubicBezTo>
                  <a:cubicBezTo>
                    <a:pt x="1287" y="2447"/>
                    <a:pt x="1300" y="2445"/>
                    <a:pt x="1305" y="2460"/>
                  </a:cubicBezTo>
                  <a:cubicBezTo>
                    <a:pt x="1310" y="2475"/>
                    <a:pt x="1310" y="2499"/>
                    <a:pt x="1312" y="2514"/>
                  </a:cubicBezTo>
                  <a:cubicBezTo>
                    <a:pt x="1314" y="2529"/>
                    <a:pt x="1311" y="2537"/>
                    <a:pt x="1316" y="2551"/>
                  </a:cubicBezTo>
                  <a:cubicBezTo>
                    <a:pt x="1320" y="2562"/>
                    <a:pt x="1323" y="2572"/>
                    <a:pt x="1327" y="2581"/>
                  </a:cubicBezTo>
                  <a:cubicBezTo>
                    <a:pt x="1349" y="2561"/>
                    <a:pt x="1382" y="2538"/>
                    <a:pt x="1384" y="2512"/>
                  </a:cubicBezTo>
                  <a:cubicBezTo>
                    <a:pt x="1385" y="2485"/>
                    <a:pt x="1401" y="2476"/>
                    <a:pt x="1399" y="2456"/>
                  </a:cubicBezTo>
                  <a:cubicBezTo>
                    <a:pt x="1398" y="2436"/>
                    <a:pt x="1399" y="2422"/>
                    <a:pt x="1411" y="2409"/>
                  </a:cubicBezTo>
                  <a:cubicBezTo>
                    <a:pt x="1422" y="2396"/>
                    <a:pt x="1455" y="2386"/>
                    <a:pt x="1461" y="2362"/>
                  </a:cubicBezTo>
                  <a:cubicBezTo>
                    <a:pt x="1467" y="2337"/>
                    <a:pt x="1464" y="2334"/>
                    <a:pt x="1480" y="2332"/>
                  </a:cubicBezTo>
                  <a:cubicBezTo>
                    <a:pt x="1495" y="2329"/>
                    <a:pt x="1504" y="2329"/>
                    <a:pt x="1503" y="2342"/>
                  </a:cubicBezTo>
                  <a:cubicBezTo>
                    <a:pt x="1501" y="2354"/>
                    <a:pt x="1485" y="2363"/>
                    <a:pt x="1475" y="2376"/>
                  </a:cubicBezTo>
                  <a:cubicBezTo>
                    <a:pt x="1465" y="2389"/>
                    <a:pt x="1467" y="2400"/>
                    <a:pt x="1448" y="2410"/>
                  </a:cubicBezTo>
                  <a:cubicBezTo>
                    <a:pt x="1430" y="2420"/>
                    <a:pt x="1411" y="2438"/>
                    <a:pt x="1411" y="2445"/>
                  </a:cubicBezTo>
                  <a:cubicBezTo>
                    <a:pt x="1411" y="2452"/>
                    <a:pt x="1422" y="2442"/>
                    <a:pt x="1434" y="2436"/>
                  </a:cubicBezTo>
                  <a:cubicBezTo>
                    <a:pt x="1445" y="2430"/>
                    <a:pt x="1503" y="2386"/>
                    <a:pt x="1508" y="2370"/>
                  </a:cubicBezTo>
                  <a:cubicBezTo>
                    <a:pt x="1514" y="2354"/>
                    <a:pt x="1533" y="2327"/>
                    <a:pt x="1538" y="2301"/>
                  </a:cubicBezTo>
                  <a:cubicBezTo>
                    <a:pt x="1544" y="2276"/>
                    <a:pt x="1574" y="2250"/>
                    <a:pt x="1583" y="2236"/>
                  </a:cubicBezTo>
                  <a:cubicBezTo>
                    <a:pt x="1592" y="2221"/>
                    <a:pt x="1633" y="2197"/>
                    <a:pt x="1633" y="2171"/>
                  </a:cubicBezTo>
                  <a:cubicBezTo>
                    <a:pt x="1633" y="2145"/>
                    <a:pt x="1650" y="2142"/>
                    <a:pt x="1640" y="2124"/>
                  </a:cubicBezTo>
                  <a:cubicBezTo>
                    <a:pt x="1630" y="2105"/>
                    <a:pt x="1622" y="2099"/>
                    <a:pt x="1626" y="2071"/>
                  </a:cubicBezTo>
                  <a:cubicBezTo>
                    <a:pt x="1630" y="2042"/>
                    <a:pt x="1620" y="2042"/>
                    <a:pt x="1633" y="2026"/>
                  </a:cubicBezTo>
                  <a:cubicBezTo>
                    <a:pt x="1646" y="2010"/>
                    <a:pt x="1646" y="2015"/>
                    <a:pt x="1642" y="1998"/>
                  </a:cubicBezTo>
                  <a:cubicBezTo>
                    <a:pt x="1637" y="1980"/>
                    <a:pt x="1639" y="1982"/>
                    <a:pt x="1655" y="1983"/>
                  </a:cubicBezTo>
                  <a:cubicBezTo>
                    <a:pt x="1670" y="1985"/>
                    <a:pt x="1672" y="1976"/>
                    <a:pt x="1682" y="1953"/>
                  </a:cubicBezTo>
                  <a:cubicBezTo>
                    <a:pt x="1692" y="1930"/>
                    <a:pt x="1723" y="1935"/>
                    <a:pt x="1732" y="1920"/>
                  </a:cubicBezTo>
                  <a:cubicBezTo>
                    <a:pt x="1741" y="1906"/>
                    <a:pt x="1735" y="1912"/>
                    <a:pt x="1759" y="1903"/>
                  </a:cubicBezTo>
                  <a:cubicBezTo>
                    <a:pt x="1784" y="1894"/>
                    <a:pt x="1794" y="1892"/>
                    <a:pt x="1799" y="1883"/>
                  </a:cubicBezTo>
                  <a:cubicBezTo>
                    <a:pt x="1805" y="1874"/>
                    <a:pt x="1821" y="1886"/>
                    <a:pt x="1834" y="1887"/>
                  </a:cubicBezTo>
                  <a:cubicBezTo>
                    <a:pt x="1847" y="1889"/>
                    <a:pt x="1828" y="1864"/>
                    <a:pt x="1847" y="1859"/>
                  </a:cubicBezTo>
                  <a:cubicBezTo>
                    <a:pt x="1865" y="1853"/>
                    <a:pt x="1878" y="1853"/>
                    <a:pt x="1887" y="1841"/>
                  </a:cubicBezTo>
                  <a:cubicBezTo>
                    <a:pt x="1895" y="1830"/>
                    <a:pt x="1920" y="1811"/>
                    <a:pt x="1918" y="1823"/>
                  </a:cubicBezTo>
                  <a:cubicBezTo>
                    <a:pt x="1917" y="1834"/>
                    <a:pt x="1924" y="1833"/>
                    <a:pt x="1941" y="1830"/>
                  </a:cubicBezTo>
                  <a:cubicBezTo>
                    <a:pt x="1958" y="1827"/>
                    <a:pt x="2034" y="1840"/>
                    <a:pt x="2037" y="1811"/>
                  </a:cubicBezTo>
                  <a:cubicBezTo>
                    <a:pt x="2040" y="1783"/>
                    <a:pt x="2047" y="1777"/>
                    <a:pt x="2063" y="1761"/>
                  </a:cubicBezTo>
                  <a:cubicBezTo>
                    <a:pt x="2079" y="1745"/>
                    <a:pt x="2056" y="1717"/>
                    <a:pt x="2080" y="1698"/>
                  </a:cubicBezTo>
                  <a:cubicBezTo>
                    <a:pt x="2105" y="1679"/>
                    <a:pt x="2115" y="1661"/>
                    <a:pt x="2122" y="1641"/>
                  </a:cubicBezTo>
                  <a:cubicBezTo>
                    <a:pt x="2129" y="1621"/>
                    <a:pt x="2133" y="1608"/>
                    <a:pt x="2143" y="1601"/>
                  </a:cubicBezTo>
                  <a:cubicBezTo>
                    <a:pt x="2153" y="1593"/>
                    <a:pt x="2155" y="1592"/>
                    <a:pt x="2155" y="1559"/>
                  </a:cubicBezTo>
                  <a:cubicBezTo>
                    <a:pt x="2155" y="1526"/>
                    <a:pt x="2158" y="1500"/>
                    <a:pt x="2178" y="1487"/>
                  </a:cubicBezTo>
                  <a:cubicBezTo>
                    <a:pt x="2198" y="1474"/>
                    <a:pt x="2186" y="1429"/>
                    <a:pt x="2189" y="1407"/>
                  </a:cubicBezTo>
                  <a:cubicBezTo>
                    <a:pt x="2192" y="1386"/>
                    <a:pt x="2215" y="1377"/>
                    <a:pt x="2206" y="1345"/>
                  </a:cubicBezTo>
                  <a:cubicBezTo>
                    <a:pt x="2198" y="1314"/>
                    <a:pt x="2194" y="1295"/>
                    <a:pt x="2196" y="1275"/>
                  </a:cubicBezTo>
                  <a:cubicBezTo>
                    <a:pt x="2199" y="1255"/>
                    <a:pt x="2208" y="1249"/>
                    <a:pt x="2204" y="1234"/>
                  </a:cubicBezTo>
                  <a:cubicBezTo>
                    <a:pt x="2199" y="1218"/>
                    <a:pt x="2191" y="1212"/>
                    <a:pt x="2199" y="1199"/>
                  </a:cubicBezTo>
                  <a:cubicBezTo>
                    <a:pt x="2208" y="1186"/>
                    <a:pt x="2212" y="1161"/>
                    <a:pt x="2218" y="1161"/>
                  </a:cubicBezTo>
                  <a:cubicBezTo>
                    <a:pt x="2224" y="1161"/>
                    <a:pt x="2206" y="1143"/>
                    <a:pt x="2222" y="1148"/>
                  </a:cubicBezTo>
                  <a:cubicBezTo>
                    <a:pt x="2238" y="1152"/>
                    <a:pt x="2259" y="1153"/>
                    <a:pt x="2269" y="1128"/>
                  </a:cubicBezTo>
                  <a:cubicBezTo>
                    <a:pt x="2280" y="1102"/>
                    <a:pt x="2294" y="1063"/>
                    <a:pt x="2307" y="1054"/>
                  </a:cubicBezTo>
                  <a:cubicBezTo>
                    <a:pt x="2320" y="1046"/>
                    <a:pt x="2314" y="1021"/>
                    <a:pt x="2340" y="1017"/>
                  </a:cubicBezTo>
                  <a:cubicBezTo>
                    <a:pt x="2366" y="1013"/>
                    <a:pt x="2374" y="983"/>
                    <a:pt x="2400" y="957"/>
                  </a:cubicBezTo>
                  <a:cubicBezTo>
                    <a:pt x="2426" y="931"/>
                    <a:pt x="2453" y="891"/>
                    <a:pt x="2456" y="860"/>
                  </a:cubicBezTo>
                  <a:cubicBezTo>
                    <a:pt x="2459" y="828"/>
                    <a:pt x="2486" y="815"/>
                    <a:pt x="2466" y="778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562" name="Freeform 25774"/>
            <p:cNvSpPr>
              <a:spLocks/>
            </p:cNvSpPr>
            <p:nvPr/>
          </p:nvSpPr>
          <p:spPr bwMode="auto">
            <a:xfrm>
              <a:off x="2124468" y="3821222"/>
              <a:ext cx="20519" cy="32829"/>
            </a:xfrm>
            <a:custGeom>
              <a:avLst/>
              <a:gdLst>
                <a:gd name="T0" fmla="*/ 29 w 55"/>
                <a:gd name="T1" fmla="*/ 14 h 88"/>
                <a:gd name="T2" fmla="*/ 10 w 55"/>
                <a:gd name="T3" fmla="*/ 6 h 88"/>
                <a:gd name="T4" fmla="*/ 10 w 55"/>
                <a:gd name="T5" fmla="*/ 19 h 88"/>
                <a:gd name="T6" fmla="*/ 10 w 55"/>
                <a:gd name="T7" fmla="*/ 27 h 88"/>
                <a:gd name="T8" fmla="*/ 0 w 55"/>
                <a:gd name="T9" fmla="*/ 34 h 88"/>
                <a:gd name="T10" fmla="*/ 7 w 55"/>
                <a:gd name="T11" fmla="*/ 44 h 88"/>
                <a:gd name="T12" fmla="*/ 15 w 55"/>
                <a:gd name="T13" fmla="*/ 39 h 88"/>
                <a:gd name="T14" fmla="*/ 24 w 55"/>
                <a:gd name="T15" fmla="*/ 40 h 88"/>
                <a:gd name="T16" fmla="*/ 19 w 55"/>
                <a:gd name="T17" fmla="*/ 53 h 88"/>
                <a:gd name="T18" fmla="*/ 10 w 55"/>
                <a:gd name="T19" fmla="*/ 63 h 88"/>
                <a:gd name="T20" fmla="*/ 15 w 55"/>
                <a:gd name="T21" fmla="*/ 77 h 88"/>
                <a:gd name="T22" fmla="*/ 25 w 55"/>
                <a:gd name="T23" fmla="*/ 84 h 88"/>
                <a:gd name="T24" fmla="*/ 34 w 55"/>
                <a:gd name="T25" fmla="*/ 84 h 88"/>
                <a:gd name="T26" fmla="*/ 46 w 55"/>
                <a:gd name="T27" fmla="*/ 78 h 88"/>
                <a:gd name="T28" fmla="*/ 53 w 55"/>
                <a:gd name="T29" fmla="*/ 66 h 88"/>
                <a:gd name="T30" fmla="*/ 49 w 55"/>
                <a:gd name="T31" fmla="*/ 53 h 88"/>
                <a:gd name="T32" fmla="*/ 41 w 55"/>
                <a:gd name="T33" fmla="*/ 41 h 88"/>
                <a:gd name="T34" fmla="*/ 36 w 55"/>
                <a:gd name="T35" fmla="*/ 29 h 88"/>
                <a:gd name="T36" fmla="*/ 29 w 55"/>
                <a:gd name="T37" fmla="*/ 14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5" h="88">
                  <a:moveTo>
                    <a:pt x="29" y="14"/>
                  </a:moveTo>
                  <a:cubicBezTo>
                    <a:pt x="29" y="14"/>
                    <a:pt x="14" y="0"/>
                    <a:pt x="10" y="6"/>
                  </a:cubicBezTo>
                  <a:cubicBezTo>
                    <a:pt x="6" y="11"/>
                    <a:pt x="7" y="17"/>
                    <a:pt x="10" y="19"/>
                  </a:cubicBezTo>
                  <a:cubicBezTo>
                    <a:pt x="13" y="21"/>
                    <a:pt x="16" y="25"/>
                    <a:pt x="10" y="27"/>
                  </a:cubicBezTo>
                  <a:cubicBezTo>
                    <a:pt x="4" y="28"/>
                    <a:pt x="0" y="28"/>
                    <a:pt x="0" y="34"/>
                  </a:cubicBezTo>
                  <a:cubicBezTo>
                    <a:pt x="0" y="41"/>
                    <a:pt x="3" y="44"/>
                    <a:pt x="7" y="44"/>
                  </a:cubicBezTo>
                  <a:cubicBezTo>
                    <a:pt x="11" y="44"/>
                    <a:pt x="14" y="42"/>
                    <a:pt x="15" y="39"/>
                  </a:cubicBezTo>
                  <a:cubicBezTo>
                    <a:pt x="16" y="36"/>
                    <a:pt x="24" y="35"/>
                    <a:pt x="24" y="40"/>
                  </a:cubicBezTo>
                  <a:cubicBezTo>
                    <a:pt x="24" y="45"/>
                    <a:pt x="23" y="51"/>
                    <a:pt x="19" y="53"/>
                  </a:cubicBezTo>
                  <a:cubicBezTo>
                    <a:pt x="16" y="56"/>
                    <a:pt x="11" y="57"/>
                    <a:pt x="10" y="63"/>
                  </a:cubicBezTo>
                  <a:cubicBezTo>
                    <a:pt x="9" y="69"/>
                    <a:pt x="9" y="75"/>
                    <a:pt x="15" y="77"/>
                  </a:cubicBezTo>
                  <a:cubicBezTo>
                    <a:pt x="20" y="78"/>
                    <a:pt x="25" y="79"/>
                    <a:pt x="25" y="84"/>
                  </a:cubicBezTo>
                  <a:cubicBezTo>
                    <a:pt x="25" y="88"/>
                    <a:pt x="32" y="88"/>
                    <a:pt x="34" y="84"/>
                  </a:cubicBezTo>
                  <a:cubicBezTo>
                    <a:pt x="36" y="80"/>
                    <a:pt x="40" y="78"/>
                    <a:pt x="46" y="78"/>
                  </a:cubicBezTo>
                  <a:cubicBezTo>
                    <a:pt x="51" y="77"/>
                    <a:pt x="51" y="72"/>
                    <a:pt x="53" y="66"/>
                  </a:cubicBezTo>
                  <a:cubicBezTo>
                    <a:pt x="55" y="59"/>
                    <a:pt x="55" y="54"/>
                    <a:pt x="49" y="53"/>
                  </a:cubicBezTo>
                  <a:cubicBezTo>
                    <a:pt x="43" y="51"/>
                    <a:pt x="40" y="50"/>
                    <a:pt x="41" y="41"/>
                  </a:cubicBezTo>
                  <a:cubicBezTo>
                    <a:pt x="42" y="33"/>
                    <a:pt x="37" y="31"/>
                    <a:pt x="36" y="29"/>
                  </a:cubicBezTo>
                  <a:cubicBezTo>
                    <a:pt x="35" y="27"/>
                    <a:pt x="33" y="18"/>
                    <a:pt x="29" y="14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563" name="Freeform 25775"/>
            <p:cNvSpPr>
              <a:spLocks/>
            </p:cNvSpPr>
            <p:nvPr/>
          </p:nvSpPr>
          <p:spPr bwMode="auto">
            <a:xfrm>
              <a:off x="2148301" y="3830061"/>
              <a:ext cx="10102" cy="16888"/>
            </a:xfrm>
            <a:custGeom>
              <a:avLst/>
              <a:gdLst>
                <a:gd name="T0" fmla="*/ 15 w 27"/>
                <a:gd name="T1" fmla="*/ 16 h 45"/>
                <a:gd name="T2" fmla="*/ 9 w 27"/>
                <a:gd name="T3" fmla="*/ 27 h 45"/>
                <a:gd name="T4" fmla="*/ 4 w 27"/>
                <a:gd name="T5" fmla="*/ 35 h 45"/>
                <a:gd name="T6" fmla="*/ 17 w 27"/>
                <a:gd name="T7" fmla="*/ 44 h 45"/>
                <a:gd name="T8" fmla="*/ 27 w 27"/>
                <a:gd name="T9" fmla="*/ 36 h 45"/>
                <a:gd name="T10" fmla="*/ 15 w 27"/>
                <a:gd name="T11" fmla="*/ 16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7" h="45">
                  <a:moveTo>
                    <a:pt x="15" y="16"/>
                  </a:moveTo>
                  <a:cubicBezTo>
                    <a:pt x="15" y="16"/>
                    <a:pt x="13" y="25"/>
                    <a:pt x="9" y="27"/>
                  </a:cubicBezTo>
                  <a:cubicBezTo>
                    <a:pt x="4" y="29"/>
                    <a:pt x="0" y="32"/>
                    <a:pt x="4" y="35"/>
                  </a:cubicBezTo>
                  <a:cubicBezTo>
                    <a:pt x="8" y="38"/>
                    <a:pt x="11" y="45"/>
                    <a:pt x="17" y="44"/>
                  </a:cubicBezTo>
                  <a:cubicBezTo>
                    <a:pt x="23" y="43"/>
                    <a:pt x="26" y="42"/>
                    <a:pt x="27" y="36"/>
                  </a:cubicBezTo>
                  <a:cubicBezTo>
                    <a:pt x="27" y="30"/>
                    <a:pt x="18" y="0"/>
                    <a:pt x="15" y="16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564" name="Freeform 25776"/>
            <p:cNvSpPr>
              <a:spLocks/>
            </p:cNvSpPr>
            <p:nvPr/>
          </p:nvSpPr>
          <p:spPr bwMode="auto">
            <a:xfrm>
              <a:off x="2172134" y="3842057"/>
              <a:ext cx="7576" cy="7418"/>
            </a:xfrm>
            <a:custGeom>
              <a:avLst/>
              <a:gdLst>
                <a:gd name="T0" fmla="*/ 7 w 20"/>
                <a:gd name="T1" fmla="*/ 4 h 20"/>
                <a:gd name="T2" fmla="*/ 1 w 20"/>
                <a:gd name="T3" fmla="*/ 12 h 20"/>
                <a:gd name="T4" fmla="*/ 9 w 20"/>
                <a:gd name="T5" fmla="*/ 20 h 20"/>
                <a:gd name="T6" fmla="*/ 19 w 20"/>
                <a:gd name="T7" fmla="*/ 13 h 20"/>
                <a:gd name="T8" fmla="*/ 7 w 20"/>
                <a:gd name="T9" fmla="*/ 4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20">
                  <a:moveTo>
                    <a:pt x="7" y="4"/>
                  </a:moveTo>
                  <a:cubicBezTo>
                    <a:pt x="7" y="4"/>
                    <a:pt x="0" y="10"/>
                    <a:pt x="1" y="12"/>
                  </a:cubicBezTo>
                  <a:cubicBezTo>
                    <a:pt x="1" y="15"/>
                    <a:pt x="5" y="20"/>
                    <a:pt x="9" y="20"/>
                  </a:cubicBezTo>
                  <a:cubicBezTo>
                    <a:pt x="14" y="19"/>
                    <a:pt x="19" y="18"/>
                    <a:pt x="19" y="13"/>
                  </a:cubicBezTo>
                  <a:cubicBezTo>
                    <a:pt x="20" y="8"/>
                    <a:pt x="10" y="0"/>
                    <a:pt x="7" y="4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565" name="Freeform 25777"/>
            <p:cNvSpPr>
              <a:spLocks/>
            </p:cNvSpPr>
            <p:nvPr/>
          </p:nvSpPr>
          <p:spPr bwMode="auto">
            <a:xfrm>
              <a:off x="2144987" y="3824853"/>
              <a:ext cx="4104" cy="9786"/>
            </a:xfrm>
            <a:custGeom>
              <a:avLst/>
              <a:gdLst>
                <a:gd name="T0" fmla="*/ 4 w 11"/>
                <a:gd name="T1" fmla="*/ 7 h 26"/>
                <a:gd name="T2" fmla="*/ 6 w 11"/>
                <a:gd name="T3" fmla="*/ 26 h 26"/>
                <a:gd name="T4" fmla="*/ 11 w 11"/>
                <a:gd name="T5" fmla="*/ 19 h 26"/>
                <a:gd name="T6" fmla="*/ 4 w 11"/>
                <a:gd name="T7" fmla="*/ 7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" h="26">
                  <a:moveTo>
                    <a:pt x="4" y="7"/>
                  </a:moveTo>
                  <a:cubicBezTo>
                    <a:pt x="4" y="7"/>
                    <a:pt x="0" y="26"/>
                    <a:pt x="6" y="26"/>
                  </a:cubicBezTo>
                  <a:cubicBezTo>
                    <a:pt x="11" y="26"/>
                    <a:pt x="11" y="26"/>
                    <a:pt x="11" y="19"/>
                  </a:cubicBezTo>
                  <a:cubicBezTo>
                    <a:pt x="11" y="11"/>
                    <a:pt x="6" y="0"/>
                    <a:pt x="4" y="7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566" name="Freeform 25158"/>
            <p:cNvSpPr>
              <a:spLocks/>
            </p:cNvSpPr>
            <p:nvPr/>
          </p:nvSpPr>
          <p:spPr bwMode="auto">
            <a:xfrm>
              <a:off x="3705491" y="1947891"/>
              <a:ext cx="260268" cy="122637"/>
            </a:xfrm>
            <a:custGeom>
              <a:avLst/>
              <a:gdLst>
                <a:gd name="T0" fmla="*/ 36 w 698"/>
                <a:gd name="T1" fmla="*/ 66 h 329"/>
                <a:gd name="T2" fmla="*/ 18 w 698"/>
                <a:gd name="T3" fmla="*/ 94 h 329"/>
                <a:gd name="T4" fmla="*/ 13 w 698"/>
                <a:gd name="T5" fmla="*/ 115 h 329"/>
                <a:gd name="T6" fmla="*/ 57 w 698"/>
                <a:gd name="T7" fmla="*/ 120 h 329"/>
                <a:gd name="T8" fmla="*/ 94 w 698"/>
                <a:gd name="T9" fmla="*/ 102 h 329"/>
                <a:gd name="T10" fmla="*/ 139 w 698"/>
                <a:gd name="T11" fmla="*/ 109 h 329"/>
                <a:gd name="T12" fmla="*/ 135 w 698"/>
                <a:gd name="T13" fmla="*/ 123 h 329"/>
                <a:gd name="T14" fmla="*/ 151 w 698"/>
                <a:gd name="T15" fmla="*/ 152 h 329"/>
                <a:gd name="T16" fmla="*/ 66 w 698"/>
                <a:gd name="T17" fmla="*/ 157 h 329"/>
                <a:gd name="T18" fmla="*/ 32 w 698"/>
                <a:gd name="T19" fmla="*/ 173 h 329"/>
                <a:gd name="T20" fmla="*/ 63 w 698"/>
                <a:gd name="T21" fmla="*/ 185 h 329"/>
                <a:gd name="T22" fmla="*/ 112 w 698"/>
                <a:gd name="T23" fmla="*/ 185 h 329"/>
                <a:gd name="T24" fmla="*/ 149 w 698"/>
                <a:gd name="T25" fmla="*/ 217 h 329"/>
                <a:gd name="T26" fmla="*/ 157 w 698"/>
                <a:gd name="T27" fmla="*/ 246 h 329"/>
                <a:gd name="T28" fmla="*/ 109 w 698"/>
                <a:gd name="T29" fmla="*/ 260 h 329"/>
                <a:gd name="T30" fmla="*/ 145 w 698"/>
                <a:gd name="T31" fmla="*/ 277 h 329"/>
                <a:gd name="T32" fmla="*/ 215 w 698"/>
                <a:gd name="T33" fmla="*/ 276 h 329"/>
                <a:gd name="T34" fmla="*/ 263 w 698"/>
                <a:gd name="T35" fmla="*/ 303 h 329"/>
                <a:gd name="T36" fmla="*/ 315 w 698"/>
                <a:gd name="T37" fmla="*/ 317 h 329"/>
                <a:gd name="T38" fmla="*/ 366 w 698"/>
                <a:gd name="T39" fmla="*/ 324 h 329"/>
                <a:gd name="T40" fmla="*/ 417 w 698"/>
                <a:gd name="T41" fmla="*/ 302 h 329"/>
                <a:gd name="T42" fmla="*/ 468 w 698"/>
                <a:gd name="T43" fmla="*/ 283 h 329"/>
                <a:gd name="T44" fmla="*/ 539 w 698"/>
                <a:gd name="T45" fmla="*/ 254 h 329"/>
                <a:gd name="T46" fmla="*/ 588 w 698"/>
                <a:gd name="T47" fmla="*/ 232 h 329"/>
                <a:gd name="T48" fmla="*/ 651 w 698"/>
                <a:gd name="T49" fmla="*/ 193 h 329"/>
                <a:gd name="T50" fmla="*/ 688 w 698"/>
                <a:gd name="T51" fmla="*/ 165 h 329"/>
                <a:gd name="T52" fmla="*/ 688 w 698"/>
                <a:gd name="T53" fmla="*/ 123 h 329"/>
                <a:gd name="T54" fmla="*/ 626 w 698"/>
                <a:gd name="T55" fmla="*/ 82 h 329"/>
                <a:gd name="T56" fmla="*/ 602 w 698"/>
                <a:gd name="T57" fmla="*/ 41 h 329"/>
                <a:gd name="T58" fmla="*/ 599 w 698"/>
                <a:gd name="T59" fmla="*/ 17 h 329"/>
                <a:gd name="T60" fmla="*/ 546 w 698"/>
                <a:gd name="T61" fmla="*/ 6 h 329"/>
                <a:gd name="T62" fmla="*/ 500 w 698"/>
                <a:gd name="T63" fmla="*/ 13 h 329"/>
                <a:gd name="T64" fmla="*/ 496 w 698"/>
                <a:gd name="T65" fmla="*/ 44 h 329"/>
                <a:gd name="T66" fmla="*/ 449 w 698"/>
                <a:gd name="T67" fmla="*/ 43 h 329"/>
                <a:gd name="T68" fmla="*/ 417 w 698"/>
                <a:gd name="T69" fmla="*/ 38 h 329"/>
                <a:gd name="T70" fmla="*/ 395 w 698"/>
                <a:gd name="T71" fmla="*/ 56 h 329"/>
                <a:gd name="T72" fmla="*/ 391 w 698"/>
                <a:gd name="T73" fmla="*/ 71 h 329"/>
                <a:gd name="T74" fmla="*/ 339 w 698"/>
                <a:gd name="T75" fmla="*/ 37 h 329"/>
                <a:gd name="T76" fmla="*/ 323 w 698"/>
                <a:gd name="T77" fmla="*/ 65 h 329"/>
                <a:gd name="T78" fmla="*/ 291 w 698"/>
                <a:gd name="T79" fmla="*/ 54 h 329"/>
                <a:gd name="T80" fmla="*/ 250 w 698"/>
                <a:gd name="T81" fmla="*/ 51 h 329"/>
                <a:gd name="T82" fmla="*/ 271 w 698"/>
                <a:gd name="T83" fmla="*/ 83 h 329"/>
                <a:gd name="T84" fmla="*/ 235 w 698"/>
                <a:gd name="T85" fmla="*/ 90 h 329"/>
                <a:gd name="T86" fmla="*/ 205 w 698"/>
                <a:gd name="T87" fmla="*/ 117 h 329"/>
                <a:gd name="T88" fmla="*/ 187 w 698"/>
                <a:gd name="T89" fmla="*/ 84 h 329"/>
                <a:gd name="T90" fmla="*/ 185 w 698"/>
                <a:gd name="T91" fmla="*/ 47 h 329"/>
                <a:gd name="T92" fmla="*/ 135 w 698"/>
                <a:gd name="T93" fmla="*/ 11 h 329"/>
                <a:gd name="T94" fmla="*/ 87 w 698"/>
                <a:gd name="T95" fmla="*/ 19 h 329"/>
                <a:gd name="T96" fmla="*/ 109 w 698"/>
                <a:gd name="T97" fmla="*/ 39 h 329"/>
                <a:gd name="T98" fmla="*/ 99 w 698"/>
                <a:gd name="T99" fmla="*/ 51 h 329"/>
                <a:gd name="T100" fmla="*/ 53 w 698"/>
                <a:gd name="T101" fmla="*/ 46 h 3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98" h="329">
                  <a:moveTo>
                    <a:pt x="53" y="46"/>
                  </a:moveTo>
                  <a:cubicBezTo>
                    <a:pt x="53" y="46"/>
                    <a:pt x="46" y="64"/>
                    <a:pt x="36" y="66"/>
                  </a:cubicBezTo>
                  <a:cubicBezTo>
                    <a:pt x="26" y="67"/>
                    <a:pt x="13" y="78"/>
                    <a:pt x="21" y="82"/>
                  </a:cubicBezTo>
                  <a:cubicBezTo>
                    <a:pt x="30" y="86"/>
                    <a:pt x="28" y="94"/>
                    <a:pt x="18" y="94"/>
                  </a:cubicBezTo>
                  <a:cubicBezTo>
                    <a:pt x="9" y="94"/>
                    <a:pt x="0" y="89"/>
                    <a:pt x="0" y="98"/>
                  </a:cubicBezTo>
                  <a:cubicBezTo>
                    <a:pt x="0" y="107"/>
                    <a:pt x="0" y="115"/>
                    <a:pt x="13" y="115"/>
                  </a:cubicBezTo>
                  <a:cubicBezTo>
                    <a:pt x="27" y="115"/>
                    <a:pt x="29" y="111"/>
                    <a:pt x="36" y="118"/>
                  </a:cubicBezTo>
                  <a:cubicBezTo>
                    <a:pt x="43" y="125"/>
                    <a:pt x="54" y="127"/>
                    <a:pt x="57" y="120"/>
                  </a:cubicBezTo>
                  <a:cubicBezTo>
                    <a:pt x="60" y="114"/>
                    <a:pt x="69" y="109"/>
                    <a:pt x="76" y="109"/>
                  </a:cubicBezTo>
                  <a:cubicBezTo>
                    <a:pt x="82" y="109"/>
                    <a:pt x="83" y="102"/>
                    <a:pt x="94" y="102"/>
                  </a:cubicBezTo>
                  <a:cubicBezTo>
                    <a:pt x="106" y="102"/>
                    <a:pt x="119" y="88"/>
                    <a:pt x="126" y="96"/>
                  </a:cubicBezTo>
                  <a:cubicBezTo>
                    <a:pt x="132" y="105"/>
                    <a:pt x="131" y="108"/>
                    <a:pt x="139" y="109"/>
                  </a:cubicBezTo>
                  <a:cubicBezTo>
                    <a:pt x="146" y="109"/>
                    <a:pt x="152" y="111"/>
                    <a:pt x="152" y="118"/>
                  </a:cubicBezTo>
                  <a:cubicBezTo>
                    <a:pt x="151" y="125"/>
                    <a:pt x="137" y="116"/>
                    <a:pt x="135" y="123"/>
                  </a:cubicBezTo>
                  <a:cubicBezTo>
                    <a:pt x="134" y="130"/>
                    <a:pt x="126" y="139"/>
                    <a:pt x="137" y="142"/>
                  </a:cubicBezTo>
                  <a:cubicBezTo>
                    <a:pt x="149" y="144"/>
                    <a:pt x="158" y="146"/>
                    <a:pt x="151" y="152"/>
                  </a:cubicBezTo>
                  <a:cubicBezTo>
                    <a:pt x="144" y="159"/>
                    <a:pt x="133" y="159"/>
                    <a:pt x="112" y="157"/>
                  </a:cubicBezTo>
                  <a:cubicBezTo>
                    <a:pt x="91" y="155"/>
                    <a:pt x="69" y="151"/>
                    <a:pt x="66" y="157"/>
                  </a:cubicBezTo>
                  <a:cubicBezTo>
                    <a:pt x="63" y="164"/>
                    <a:pt x="53" y="165"/>
                    <a:pt x="44" y="165"/>
                  </a:cubicBezTo>
                  <a:cubicBezTo>
                    <a:pt x="35" y="165"/>
                    <a:pt x="41" y="172"/>
                    <a:pt x="32" y="173"/>
                  </a:cubicBezTo>
                  <a:cubicBezTo>
                    <a:pt x="23" y="175"/>
                    <a:pt x="27" y="182"/>
                    <a:pt x="35" y="185"/>
                  </a:cubicBezTo>
                  <a:cubicBezTo>
                    <a:pt x="44" y="187"/>
                    <a:pt x="60" y="192"/>
                    <a:pt x="63" y="185"/>
                  </a:cubicBezTo>
                  <a:cubicBezTo>
                    <a:pt x="67" y="179"/>
                    <a:pt x="79" y="175"/>
                    <a:pt x="90" y="180"/>
                  </a:cubicBezTo>
                  <a:cubicBezTo>
                    <a:pt x="101" y="185"/>
                    <a:pt x="99" y="185"/>
                    <a:pt x="112" y="185"/>
                  </a:cubicBezTo>
                  <a:cubicBezTo>
                    <a:pt x="125" y="185"/>
                    <a:pt x="135" y="190"/>
                    <a:pt x="135" y="199"/>
                  </a:cubicBezTo>
                  <a:cubicBezTo>
                    <a:pt x="135" y="208"/>
                    <a:pt x="144" y="218"/>
                    <a:pt x="149" y="217"/>
                  </a:cubicBezTo>
                  <a:cubicBezTo>
                    <a:pt x="154" y="216"/>
                    <a:pt x="163" y="219"/>
                    <a:pt x="166" y="230"/>
                  </a:cubicBezTo>
                  <a:cubicBezTo>
                    <a:pt x="169" y="241"/>
                    <a:pt x="167" y="244"/>
                    <a:pt x="157" y="246"/>
                  </a:cubicBezTo>
                  <a:cubicBezTo>
                    <a:pt x="147" y="248"/>
                    <a:pt x="155" y="257"/>
                    <a:pt x="139" y="256"/>
                  </a:cubicBezTo>
                  <a:cubicBezTo>
                    <a:pt x="124" y="254"/>
                    <a:pt x="109" y="251"/>
                    <a:pt x="109" y="260"/>
                  </a:cubicBezTo>
                  <a:cubicBezTo>
                    <a:pt x="109" y="269"/>
                    <a:pt x="111" y="284"/>
                    <a:pt x="121" y="280"/>
                  </a:cubicBezTo>
                  <a:cubicBezTo>
                    <a:pt x="131" y="276"/>
                    <a:pt x="138" y="276"/>
                    <a:pt x="145" y="277"/>
                  </a:cubicBezTo>
                  <a:cubicBezTo>
                    <a:pt x="152" y="279"/>
                    <a:pt x="168" y="281"/>
                    <a:pt x="180" y="278"/>
                  </a:cubicBezTo>
                  <a:cubicBezTo>
                    <a:pt x="191" y="274"/>
                    <a:pt x="207" y="267"/>
                    <a:pt x="215" y="276"/>
                  </a:cubicBezTo>
                  <a:cubicBezTo>
                    <a:pt x="223" y="286"/>
                    <a:pt x="233" y="287"/>
                    <a:pt x="242" y="289"/>
                  </a:cubicBezTo>
                  <a:cubicBezTo>
                    <a:pt x="251" y="291"/>
                    <a:pt x="258" y="297"/>
                    <a:pt x="263" y="303"/>
                  </a:cubicBezTo>
                  <a:cubicBezTo>
                    <a:pt x="268" y="309"/>
                    <a:pt x="273" y="310"/>
                    <a:pt x="286" y="310"/>
                  </a:cubicBezTo>
                  <a:cubicBezTo>
                    <a:pt x="298" y="310"/>
                    <a:pt x="302" y="314"/>
                    <a:pt x="315" y="317"/>
                  </a:cubicBezTo>
                  <a:cubicBezTo>
                    <a:pt x="328" y="320"/>
                    <a:pt x="333" y="313"/>
                    <a:pt x="336" y="321"/>
                  </a:cubicBezTo>
                  <a:cubicBezTo>
                    <a:pt x="340" y="329"/>
                    <a:pt x="359" y="326"/>
                    <a:pt x="366" y="324"/>
                  </a:cubicBezTo>
                  <a:cubicBezTo>
                    <a:pt x="372" y="322"/>
                    <a:pt x="374" y="315"/>
                    <a:pt x="384" y="313"/>
                  </a:cubicBezTo>
                  <a:cubicBezTo>
                    <a:pt x="395" y="311"/>
                    <a:pt x="411" y="311"/>
                    <a:pt x="417" y="302"/>
                  </a:cubicBezTo>
                  <a:cubicBezTo>
                    <a:pt x="422" y="294"/>
                    <a:pt x="432" y="293"/>
                    <a:pt x="445" y="291"/>
                  </a:cubicBezTo>
                  <a:cubicBezTo>
                    <a:pt x="458" y="290"/>
                    <a:pt x="447" y="286"/>
                    <a:pt x="468" y="283"/>
                  </a:cubicBezTo>
                  <a:cubicBezTo>
                    <a:pt x="488" y="280"/>
                    <a:pt x="496" y="285"/>
                    <a:pt x="503" y="275"/>
                  </a:cubicBezTo>
                  <a:cubicBezTo>
                    <a:pt x="511" y="265"/>
                    <a:pt x="525" y="257"/>
                    <a:pt x="539" y="254"/>
                  </a:cubicBezTo>
                  <a:cubicBezTo>
                    <a:pt x="552" y="251"/>
                    <a:pt x="565" y="248"/>
                    <a:pt x="568" y="238"/>
                  </a:cubicBezTo>
                  <a:cubicBezTo>
                    <a:pt x="571" y="229"/>
                    <a:pt x="579" y="230"/>
                    <a:pt x="588" y="232"/>
                  </a:cubicBezTo>
                  <a:cubicBezTo>
                    <a:pt x="597" y="234"/>
                    <a:pt x="627" y="230"/>
                    <a:pt x="629" y="218"/>
                  </a:cubicBezTo>
                  <a:cubicBezTo>
                    <a:pt x="630" y="205"/>
                    <a:pt x="641" y="193"/>
                    <a:pt x="651" y="193"/>
                  </a:cubicBezTo>
                  <a:cubicBezTo>
                    <a:pt x="661" y="192"/>
                    <a:pt x="676" y="190"/>
                    <a:pt x="676" y="180"/>
                  </a:cubicBezTo>
                  <a:cubicBezTo>
                    <a:pt x="676" y="171"/>
                    <a:pt x="682" y="169"/>
                    <a:pt x="688" y="165"/>
                  </a:cubicBezTo>
                  <a:cubicBezTo>
                    <a:pt x="695" y="160"/>
                    <a:pt x="698" y="155"/>
                    <a:pt x="698" y="149"/>
                  </a:cubicBezTo>
                  <a:cubicBezTo>
                    <a:pt x="698" y="142"/>
                    <a:pt x="688" y="137"/>
                    <a:pt x="688" y="123"/>
                  </a:cubicBezTo>
                  <a:cubicBezTo>
                    <a:pt x="688" y="109"/>
                    <a:pt x="673" y="97"/>
                    <a:pt x="663" y="94"/>
                  </a:cubicBezTo>
                  <a:cubicBezTo>
                    <a:pt x="652" y="91"/>
                    <a:pt x="638" y="80"/>
                    <a:pt x="626" y="82"/>
                  </a:cubicBezTo>
                  <a:cubicBezTo>
                    <a:pt x="614" y="84"/>
                    <a:pt x="632" y="70"/>
                    <a:pt x="623" y="57"/>
                  </a:cubicBezTo>
                  <a:cubicBezTo>
                    <a:pt x="614" y="44"/>
                    <a:pt x="599" y="53"/>
                    <a:pt x="602" y="41"/>
                  </a:cubicBezTo>
                  <a:cubicBezTo>
                    <a:pt x="604" y="29"/>
                    <a:pt x="622" y="28"/>
                    <a:pt x="619" y="20"/>
                  </a:cubicBezTo>
                  <a:cubicBezTo>
                    <a:pt x="615" y="12"/>
                    <a:pt x="612" y="9"/>
                    <a:pt x="599" y="17"/>
                  </a:cubicBezTo>
                  <a:cubicBezTo>
                    <a:pt x="587" y="25"/>
                    <a:pt x="583" y="38"/>
                    <a:pt x="569" y="32"/>
                  </a:cubicBezTo>
                  <a:cubicBezTo>
                    <a:pt x="554" y="26"/>
                    <a:pt x="556" y="13"/>
                    <a:pt x="546" y="6"/>
                  </a:cubicBezTo>
                  <a:cubicBezTo>
                    <a:pt x="537" y="0"/>
                    <a:pt x="530" y="3"/>
                    <a:pt x="516" y="2"/>
                  </a:cubicBezTo>
                  <a:cubicBezTo>
                    <a:pt x="501" y="0"/>
                    <a:pt x="494" y="8"/>
                    <a:pt x="500" y="13"/>
                  </a:cubicBezTo>
                  <a:cubicBezTo>
                    <a:pt x="506" y="18"/>
                    <a:pt x="514" y="24"/>
                    <a:pt x="510" y="31"/>
                  </a:cubicBezTo>
                  <a:cubicBezTo>
                    <a:pt x="506" y="37"/>
                    <a:pt x="513" y="51"/>
                    <a:pt x="496" y="44"/>
                  </a:cubicBezTo>
                  <a:cubicBezTo>
                    <a:pt x="479" y="38"/>
                    <a:pt x="490" y="28"/>
                    <a:pt x="476" y="29"/>
                  </a:cubicBezTo>
                  <a:cubicBezTo>
                    <a:pt x="463" y="31"/>
                    <a:pt x="453" y="35"/>
                    <a:pt x="449" y="43"/>
                  </a:cubicBezTo>
                  <a:cubicBezTo>
                    <a:pt x="445" y="51"/>
                    <a:pt x="449" y="66"/>
                    <a:pt x="437" y="60"/>
                  </a:cubicBezTo>
                  <a:cubicBezTo>
                    <a:pt x="425" y="53"/>
                    <a:pt x="427" y="43"/>
                    <a:pt x="417" y="38"/>
                  </a:cubicBezTo>
                  <a:cubicBezTo>
                    <a:pt x="407" y="32"/>
                    <a:pt x="400" y="32"/>
                    <a:pt x="391" y="33"/>
                  </a:cubicBezTo>
                  <a:cubicBezTo>
                    <a:pt x="382" y="33"/>
                    <a:pt x="384" y="47"/>
                    <a:pt x="395" y="56"/>
                  </a:cubicBezTo>
                  <a:cubicBezTo>
                    <a:pt x="405" y="64"/>
                    <a:pt x="412" y="71"/>
                    <a:pt x="408" y="79"/>
                  </a:cubicBezTo>
                  <a:cubicBezTo>
                    <a:pt x="404" y="88"/>
                    <a:pt x="400" y="81"/>
                    <a:pt x="391" y="71"/>
                  </a:cubicBezTo>
                  <a:cubicBezTo>
                    <a:pt x="382" y="61"/>
                    <a:pt x="378" y="41"/>
                    <a:pt x="366" y="38"/>
                  </a:cubicBezTo>
                  <a:cubicBezTo>
                    <a:pt x="354" y="35"/>
                    <a:pt x="344" y="32"/>
                    <a:pt x="339" y="37"/>
                  </a:cubicBezTo>
                  <a:cubicBezTo>
                    <a:pt x="334" y="42"/>
                    <a:pt x="319" y="50"/>
                    <a:pt x="316" y="53"/>
                  </a:cubicBezTo>
                  <a:cubicBezTo>
                    <a:pt x="314" y="57"/>
                    <a:pt x="323" y="55"/>
                    <a:pt x="323" y="65"/>
                  </a:cubicBezTo>
                  <a:cubicBezTo>
                    <a:pt x="323" y="75"/>
                    <a:pt x="312" y="81"/>
                    <a:pt x="305" y="76"/>
                  </a:cubicBezTo>
                  <a:cubicBezTo>
                    <a:pt x="298" y="71"/>
                    <a:pt x="298" y="64"/>
                    <a:pt x="291" y="54"/>
                  </a:cubicBezTo>
                  <a:cubicBezTo>
                    <a:pt x="283" y="44"/>
                    <a:pt x="285" y="40"/>
                    <a:pt x="274" y="40"/>
                  </a:cubicBezTo>
                  <a:cubicBezTo>
                    <a:pt x="263" y="40"/>
                    <a:pt x="255" y="43"/>
                    <a:pt x="250" y="51"/>
                  </a:cubicBezTo>
                  <a:cubicBezTo>
                    <a:pt x="246" y="58"/>
                    <a:pt x="251" y="62"/>
                    <a:pt x="259" y="66"/>
                  </a:cubicBezTo>
                  <a:cubicBezTo>
                    <a:pt x="267" y="69"/>
                    <a:pt x="271" y="76"/>
                    <a:pt x="271" y="83"/>
                  </a:cubicBezTo>
                  <a:cubicBezTo>
                    <a:pt x="271" y="89"/>
                    <a:pt x="265" y="97"/>
                    <a:pt x="255" y="97"/>
                  </a:cubicBezTo>
                  <a:cubicBezTo>
                    <a:pt x="246" y="97"/>
                    <a:pt x="244" y="85"/>
                    <a:pt x="235" y="90"/>
                  </a:cubicBezTo>
                  <a:cubicBezTo>
                    <a:pt x="227" y="95"/>
                    <a:pt x="223" y="99"/>
                    <a:pt x="220" y="108"/>
                  </a:cubicBezTo>
                  <a:cubicBezTo>
                    <a:pt x="217" y="117"/>
                    <a:pt x="215" y="126"/>
                    <a:pt x="205" y="117"/>
                  </a:cubicBezTo>
                  <a:cubicBezTo>
                    <a:pt x="194" y="107"/>
                    <a:pt x="190" y="95"/>
                    <a:pt x="185" y="94"/>
                  </a:cubicBezTo>
                  <a:cubicBezTo>
                    <a:pt x="180" y="94"/>
                    <a:pt x="174" y="88"/>
                    <a:pt x="187" y="84"/>
                  </a:cubicBezTo>
                  <a:cubicBezTo>
                    <a:pt x="199" y="79"/>
                    <a:pt x="205" y="79"/>
                    <a:pt x="200" y="69"/>
                  </a:cubicBezTo>
                  <a:cubicBezTo>
                    <a:pt x="196" y="59"/>
                    <a:pt x="202" y="52"/>
                    <a:pt x="185" y="47"/>
                  </a:cubicBezTo>
                  <a:cubicBezTo>
                    <a:pt x="169" y="42"/>
                    <a:pt x="169" y="24"/>
                    <a:pt x="156" y="23"/>
                  </a:cubicBezTo>
                  <a:cubicBezTo>
                    <a:pt x="143" y="21"/>
                    <a:pt x="145" y="19"/>
                    <a:pt x="135" y="11"/>
                  </a:cubicBezTo>
                  <a:cubicBezTo>
                    <a:pt x="125" y="3"/>
                    <a:pt x="116" y="4"/>
                    <a:pt x="107" y="5"/>
                  </a:cubicBezTo>
                  <a:cubicBezTo>
                    <a:pt x="98" y="5"/>
                    <a:pt x="73" y="15"/>
                    <a:pt x="87" y="19"/>
                  </a:cubicBezTo>
                  <a:cubicBezTo>
                    <a:pt x="101" y="23"/>
                    <a:pt x="115" y="20"/>
                    <a:pt x="115" y="27"/>
                  </a:cubicBezTo>
                  <a:cubicBezTo>
                    <a:pt x="115" y="34"/>
                    <a:pt x="101" y="34"/>
                    <a:pt x="109" y="39"/>
                  </a:cubicBezTo>
                  <a:cubicBezTo>
                    <a:pt x="116" y="44"/>
                    <a:pt x="131" y="52"/>
                    <a:pt x="122" y="57"/>
                  </a:cubicBezTo>
                  <a:cubicBezTo>
                    <a:pt x="114" y="62"/>
                    <a:pt x="108" y="63"/>
                    <a:pt x="99" y="51"/>
                  </a:cubicBezTo>
                  <a:cubicBezTo>
                    <a:pt x="91" y="38"/>
                    <a:pt x="89" y="34"/>
                    <a:pt x="79" y="32"/>
                  </a:cubicBezTo>
                  <a:cubicBezTo>
                    <a:pt x="69" y="30"/>
                    <a:pt x="58" y="24"/>
                    <a:pt x="53" y="46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567" name="Freeform 25238"/>
            <p:cNvSpPr>
              <a:spLocks/>
            </p:cNvSpPr>
            <p:nvPr/>
          </p:nvSpPr>
          <p:spPr bwMode="auto">
            <a:xfrm>
              <a:off x="3692864" y="1667736"/>
              <a:ext cx="79391" cy="45614"/>
            </a:xfrm>
            <a:custGeom>
              <a:avLst/>
              <a:gdLst>
                <a:gd name="T0" fmla="*/ 101 w 213"/>
                <a:gd name="T1" fmla="*/ 5 h 122"/>
                <a:gd name="T2" fmla="*/ 63 w 213"/>
                <a:gd name="T3" fmla="*/ 8 h 122"/>
                <a:gd name="T4" fmla="*/ 16 w 213"/>
                <a:gd name="T5" fmla="*/ 27 h 122"/>
                <a:gd name="T6" fmla="*/ 62 w 213"/>
                <a:gd name="T7" fmla="*/ 66 h 122"/>
                <a:gd name="T8" fmla="*/ 116 w 213"/>
                <a:gd name="T9" fmla="*/ 93 h 122"/>
                <a:gd name="T10" fmla="*/ 168 w 213"/>
                <a:gd name="T11" fmla="*/ 117 h 122"/>
                <a:gd name="T12" fmla="*/ 181 w 213"/>
                <a:gd name="T13" fmla="*/ 104 h 122"/>
                <a:gd name="T14" fmla="*/ 166 w 213"/>
                <a:gd name="T15" fmla="*/ 86 h 122"/>
                <a:gd name="T16" fmla="*/ 187 w 213"/>
                <a:gd name="T17" fmla="*/ 71 h 122"/>
                <a:gd name="T18" fmla="*/ 152 w 213"/>
                <a:gd name="T19" fmla="*/ 52 h 122"/>
                <a:gd name="T20" fmla="*/ 188 w 213"/>
                <a:gd name="T21" fmla="*/ 48 h 122"/>
                <a:gd name="T22" fmla="*/ 192 w 213"/>
                <a:gd name="T23" fmla="*/ 16 h 122"/>
                <a:gd name="T24" fmla="*/ 150 w 213"/>
                <a:gd name="T25" fmla="*/ 9 h 122"/>
                <a:gd name="T26" fmla="*/ 101 w 213"/>
                <a:gd name="T27" fmla="*/ 5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13" h="122">
                  <a:moveTo>
                    <a:pt x="101" y="5"/>
                  </a:moveTo>
                  <a:cubicBezTo>
                    <a:pt x="101" y="5"/>
                    <a:pt x="81" y="0"/>
                    <a:pt x="63" y="8"/>
                  </a:cubicBezTo>
                  <a:cubicBezTo>
                    <a:pt x="45" y="15"/>
                    <a:pt x="0" y="8"/>
                    <a:pt x="16" y="27"/>
                  </a:cubicBezTo>
                  <a:cubicBezTo>
                    <a:pt x="32" y="46"/>
                    <a:pt x="48" y="59"/>
                    <a:pt x="62" y="66"/>
                  </a:cubicBezTo>
                  <a:cubicBezTo>
                    <a:pt x="76" y="74"/>
                    <a:pt x="100" y="85"/>
                    <a:pt x="116" y="93"/>
                  </a:cubicBezTo>
                  <a:cubicBezTo>
                    <a:pt x="132" y="102"/>
                    <a:pt x="149" y="111"/>
                    <a:pt x="168" y="117"/>
                  </a:cubicBezTo>
                  <a:cubicBezTo>
                    <a:pt x="186" y="122"/>
                    <a:pt x="197" y="112"/>
                    <a:pt x="181" y="104"/>
                  </a:cubicBezTo>
                  <a:cubicBezTo>
                    <a:pt x="165" y="95"/>
                    <a:pt x="147" y="85"/>
                    <a:pt x="166" y="86"/>
                  </a:cubicBezTo>
                  <a:cubicBezTo>
                    <a:pt x="186" y="87"/>
                    <a:pt x="206" y="78"/>
                    <a:pt x="187" y="71"/>
                  </a:cubicBezTo>
                  <a:cubicBezTo>
                    <a:pt x="168" y="63"/>
                    <a:pt x="138" y="57"/>
                    <a:pt x="152" y="52"/>
                  </a:cubicBezTo>
                  <a:cubicBezTo>
                    <a:pt x="165" y="48"/>
                    <a:pt x="186" y="56"/>
                    <a:pt x="188" y="48"/>
                  </a:cubicBezTo>
                  <a:cubicBezTo>
                    <a:pt x="190" y="41"/>
                    <a:pt x="213" y="18"/>
                    <a:pt x="192" y="16"/>
                  </a:cubicBezTo>
                  <a:cubicBezTo>
                    <a:pt x="171" y="14"/>
                    <a:pt x="163" y="13"/>
                    <a:pt x="150" y="9"/>
                  </a:cubicBezTo>
                  <a:cubicBezTo>
                    <a:pt x="138" y="4"/>
                    <a:pt x="127" y="7"/>
                    <a:pt x="101" y="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568" name="Freeform 25239"/>
            <p:cNvSpPr>
              <a:spLocks/>
            </p:cNvSpPr>
            <p:nvPr/>
          </p:nvSpPr>
          <p:spPr bwMode="auto">
            <a:xfrm>
              <a:off x="3689866" y="1651795"/>
              <a:ext cx="39458" cy="13732"/>
            </a:xfrm>
            <a:custGeom>
              <a:avLst/>
              <a:gdLst>
                <a:gd name="T0" fmla="*/ 39 w 106"/>
                <a:gd name="T1" fmla="*/ 0 h 37"/>
                <a:gd name="T2" fmla="*/ 11 w 106"/>
                <a:gd name="T3" fmla="*/ 11 h 37"/>
                <a:gd name="T4" fmla="*/ 17 w 106"/>
                <a:gd name="T5" fmla="*/ 34 h 37"/>
                <a:gd name="T6" fmla="*/ 71 w 106"/>
                <a:gd name="T7" fmla="*/ 24 h 37"/>
                <a:gd name="T8" fmla="*/ 106 w 106"/>
                <a:gd name="T9" fmla="*/ 29 h 37"/>
                <a:gd name="T10" fmla="*/ 82 w 106"/>
                <a:gd name="T11" fmla="*/ 11 h 37"/>
                <a:gd name="T12" fmla="*/ 39 w 106"/>
                <a:gd name="T13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6" h="37">
                  <a:moveTo>
                    <a:pt x="39" y="0"/>
                  </a:moveTo>
                  <a:cubicBezTo>
                    <a:pt x="39" y="0"/>
                    <a:pt x="15" y="1"/>
                    <a:pt x="11" y="11"/>
                  </a:cubicBezTo>
                  <a:cubicBezTo>
                    <a:pt x="7" y="21"/>
                    <a:pt x="0" y="34"/>
                    <a:pt x="17" y="34"/>
                  </a:cubicBezTo>
                  <a:cubicBezTo>
                    <a:pt x="35" y="34"/>
                    <a:pt x="54" y="14"/>
                    <a:pt x="71" y="24"/>
                  </a:cubicBezTo>
                  <a:cubicBezTo>
                    <a:pt x="88" y="34"/>
                    <a:pt x="106" y="37"/>
                    <a:pt x="106" y="29"/>
                  </a:cubicBezTo>
                  <a:cubicBezTo>
                    <a:pt x="106" y="22"/>
                    <a:pt x="96" y="12"/>
                    <a:pt x="82" y="11"/>
                  </a:cubicBezTo>
                  <a:cubicBezTo>
                    <a:pt x="67" y="10"/>
                    <a:pt x="59" y="1"/>
                    <a:pt x="39" y="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569" name="Freeform 25240"/>
            <p:cNvSpPr>
              <a:spLocks/>
            </p:cNvSpPr>
            <p:nvPr/>
          </p:nvSpPr>
          <p:spPr bwMode="auto">
            <a:xfrm>
              <a:off x="3836336" y="1558515"/>
              <a:ext cx="39143" cy="25727"/>
            </a:xfrm>
            <a:custGeom>
              <a:avLst/>
              <a:gdLst>
                <a:gd name="T0" fmla="*/ 37 w 105"/>
                <a:gd name="T1" fmla="*/ 11 h 69"/>
                <a:gd name="T2" fmla="*/ 0 w 105"/>
                <a:gd name="T3" fmla="*/ 13 h 69"/>
                <a:gd name="T4" fmla="*/ 7 w 105"/>
                <a:gd name="T5" fmla="*/ 33 h 69"/>
                <a:gd name="T6" fmla="*/ 7 w 105"/>
                <a:gd name="T7" fmla="*/ 56 h 69"/>
                <a:gd name="T8" fmla="*/ 56 w 105"/>
                <a:gd name="T9" fmla="*/ 57 h 69"/>
                <a:gd name="T10" fmla="*/ 84 w 105"/>
                <a:gd name="T11" fmla="*/ 63 h 69"/>
                <a:gd name="T12" fmla="*/ 101 w 105"/>
                <a:gd name="T13" fmla="*/ 59 h 69"/>
                <a:gd name="T14" fmla="*/ 94 w 105"/>
                <a:gd name="T15" fmla="*/ 36 h 69"/>
                <a:gd name="T16" fmla="*/ 72 w 105"/>
                <a:gd name="T17" fmla="*/ 42 h 69"/>
                <a:gd name="T18" fmla="*/ 67 w 105"/>
                <a:gd name="T19" fmla="*/ 24 h 69"/>
                <a:gd name="T20" fmla="*/ 77 w 105"/>
                <a:gd name="T21" fmla="*/ 9 h 69"/>
                <a:gd name="T22" fmla="*/ 55 w 105"/>
                <a:gd name="T23" fmla="*/ 11 h 69"/>
                <a:gd name="T24" fmla="*/ 37 w 105"/>
                <a:gd name="T25" fmla="*/ 11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5" h="69">
                  <a:moveTo>
                    <a:pt x="37" y="11"/>
                  </a:moveTo>
                  <a:cubicBezTo>
                    <a:pt x="37" y="11"/>
                    <a:pt x="0" y="4"/>
                    <a:pt x="0" y="13"/>
                  </a:cubicBezTo>
                  <a:cubicBezTo>
                    <a:pt x="0" y="23"/>
                    <a:pt x="12" y="27"/>
                    <a:pt x="7" y="33"/>
                  </a:cubicBezTo>
                  <a:cubicBezTo>
                    <a:pt x="2" y="38"/>
                    <a:pt x="0" y="56"/>
                    <a:pt x="7" y="56"/>
                  </a:cubicBezTo>
                  <a:cubicBezTo>
                    <a:pt x="13" y="56"/>
                    <a:pt x="50" y="56"/>
                    <a:pt x="56" y="57"/>
                  </a:cubicBezTo>
                  <a:cubicBezTo>
                    <a:pt x="62" y="58"/>
                    <a:pt x="77" y="58"/>
                    <a:pt x="84" y="63"/>
                  </a:cubicBezTo>
                  <a:cubicBezTo>
                    <a:pt x="90" y="69"/>
                    <a:pt x="97" y="69"/>
                    <a:pt x="101" y="59"/>
                  </a:cubicBezTo>
                  <a:cubicBezTo>
                    <a:pt x="105" y="50"/>
                    <a:pt x="102" y="36"/>
                    <a:pt x="94" y="36"/>
                  </a:cubicBezTo>
                  <a:cubicBezTo>
                    <a:pt x="87" y="36"/>
                    <a:pt x="83" y="51"/>
                    <a:pt x="72" y="42"/>
                  </a:cubicBezTo>
                  <a:cubicBezTo>
                    <a:pt x="61" y="34"/>
                    <a:pt x="56" y="26"/>
                    <a:pt x="67" y="24"/>
                  </a:cubicBezTo>
                  <a:cubicBezTo>
                    <a:pt x="77" y="22"/>
                    <a:pt x="84" y="14"/>
                    <a:pt x="77" y="9"/>
                  </a:cubicBezTo>
                  <a:cubicBezTo>
                    <a:pt x="71" y="4"/>
                    <a:pt x="55" y="0"/>
                    <a:pt x="55" y="11"/>
                  </a:cubicBezTo>
                  <a:cubicBezTo>
                    <a:pt x="55" y="22"/>
                    <a:pt x="44" y="16"/>
                    <a:pt x="37" y="11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570" name="Freeform 25241"/>
            <p:cNvSpPr>
              <a:spLocks/>
            </p:cNvSpPr>
            <p:nvPr/>
          </p:nvSpPr>
          <p:spPr bwMode="auto">
            <a:xfrm>
              <a:off x="3013074" y="1743180"/>
              <a:ext cx="13416" cy="17520"/>
            </a:xfrm>
            <a:custGeom>
              <a:avLst/>
              <a:gdLst>
                <a:gd name="T0" fmla="*/ 19 w 36"/>
                <a:gd name="T1" fmla="*/ 12 h 47"/>
                <a:gd name="T2" fmla="*/ 8 w 36"/>
                <a:gd name="T3" fmla="*/ 20 h 47"/>
                <a:gd name="T4" fmla="*/ 6 w 36"/>
                <a:gd name="T5" fmla="*/ 34 h 47"/>
                <a:gd name="T6" fmla="*/ 23 w 36"/>
                <a:gd name="T7" fmla="*/ 44 h 47"/>
                <a:gd name="T8" fmla="*/ 36 w 36"/>
                <a:gd name="T9" fmla="*/ 31 h 47"/>
                <a:gd name="T10" fmla="*/ 19 w 36"/>
                <a:gd name="T11" fmla="*/ 12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6" h="47">
                  <a:moveTo>
                    <a:pt x="19" y="12"/>
                  </a:moveTo>
                  <a:cubicBezTo>
                    <a:pt x="19" y="12"/>
                    <a:pt x="15" y="20"/>
                    <a:pt x="8" y="20"/>
                  </a:cubicBezTo>
                  <a:cubicBezTo>
                    <a:pt x="0" y="20"/>
                    <a:pt x="1" y="31"/>
                    <a:pt x="6" y="34"/>
                  </a:cubicBezTo>
                  <a:cubicBezTo>
                    <a:pt x="12" y="37"/>
                    <a:pt x="15" y="47"/>
                    <a:pt x="23" y="44"/>
                  </a:cubicBezTo>
                  <a:cubicBezTo>
                    <a:pt x="30" y="42"/>
                    <a:pt x="36" y="41"/>
                    <a:pt x="36" y="31"/>
                  </a:cubicBezTo>
                  <a:cubicBezTo>
                    <a:pt x="36" y="21"/>
                    <a:pt x="22" y="0"/>
                    <a:pt x="19" y="12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571" name="Freeform 25243"/>
            <p:cNvSpPr>
              <a:spLocks/>
            </p:cNvSpPr>
            <p:nvPr/>
          </p:nvSpPr>
          <p:spPr bwMode="auto">
            <a:xfrm>
              <a:off x="2986242" y="1788321"/>
              <a:ext cx="74182" cy="47981"/>
            </a:xfrm>
            <a:custGeom>
              <a:avLst/>
              <a:gdLst>
                <a:gd name="T0" fmla="*/ 62 w 199"/>
                <a:gd name="T1" fmla="*/ 7 h 129"/>
                <a:gd name="T2" fmla="*/ 29 w 199"/>
                <a:gd name="T3" fmla="*/ 9 h 129"/>
                <a:gd name="T4" fmla="*/ 14 w 199"/>
                <a:gd name="T5" fmla="*/ 29 h 129"/>
                <a:gd name="T6" fmla="*/ 18 w 199"/>
                <a:gd name="T7" fmla="*/ 48 h 129"/>
                <a:gd name="T8" fmla="*/ 11 w 199"/>
                <a:gd name="T9" fmla="*/ 66 h 129"/>
                <a:gd name="T10" fmla="*/ 25 w 199"/>
                <a:gd name="T11" fmla="*/ 88 h 129"/>
                <a:gd name="T12" fmla="*/ 71 w 199"/>
                <a:gd name="T13" fmla="*/ 88 h 129"/>
                <a:gd name="T14" fmla="*/ 68 w 199"/>
                <a:gd name="T15" fmla="*/ 109 h 129"/>
                <a:gd name="T16" fmla="*/ 83 w 199"/>
                <a:gd name="T17" fmla="*/ 129 h 129"/>
                <a:gd name="T18" fmla="*/ 123 w 199"/>
                <a:gd name="T19" fmla="*/ 117 h 129"/>
                <a:gd name="T20" fmla="*/ 154 w 199"/>
                <a:gd name="T21" fmla="*/ 108 h 129"/>
                <a:gd name="T22" fmla="*/ 193 w 199"/>
                <a:gd name="T23" fmla="*/ 92 h 129"/>
                <a:gd name="T24" fmla="*/ 188 w 199"/>
                <a:gd name="T25" fmla="*/ 61 h 129"/>
                <a:gd name="T26" fmla="*/ 142 w 199"/>
                <a:gd name="T27" fmla="*/ 39 h 129"/>
                <a:gd name="T28" fmla="*/ 92 w 199"/>
                <a:gd name="T29" fmla="*/ 11 h 129"/>
                <a:gd name="T30" fmla="*/ 62 w 199"/>
                <a:gd name="T31" fmla="*/ 7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9" h="129">
                  <a:moveTo>
                    <a:pt x="62" y="7"/>
                  </a:moveTo>
                  <a:cubicBezTo>
                    <a:pt x="62" y="7"/>
                    <a:pt x="39" y="0"/>
                    <a:pt x="29" y="9"/>
                  </a:cubicBezTo>
                  <a:cubicBezTo>
                    <a:pt x="18" y="18"/>
                    <a:pt x="3" y="18"/>
                    <a:pt x="14" y="29"/>
                  </a:cubicBezTo>
                  <a:cubicBezTo>
                    <a:pt x="26" y="40"/>
                    <a:pt x="32" y="44"/>
                    <a:pt x="18" y="48"/>
                  </a:cubicBezTo>
                  <a:cubicBezTo>
                    <a:pt x="5" y="53"/>
                    <a:pt x="0" y="60"/>
                    <a:pt x="11" y="66"/>
                  </a:cubicBezTo>
                  <a:cubicBezTo>
                    <a:pt x="23" y="71"/>
                    <a:pt x="11" y="90"/>
                    <a:pt x="25" y="88"/>
                  </a:cubicBezTo>
                  <a:cubicBezTo>
                    <a:pt x="40" y="87"/>
                    <a:pt x="61" y="80"/>
                    <a:pt x="71" y="88"/>
                  </a:cubicBezTo>
                  <a:cubicBezTo>
                    <a:pt x="81" y="95"/>
                    <a:pt x="80" y="105"/>
                    <a:pt x="68" y="109"/>
                  </a:cubicBezTo>
                  <a:cubicBezTo>
                    <a:pt x="55" y="113"/>
                    <a:pt x="60" y="129"/>
                    <a:pt x="83" y="129"/>
                  </a:cubicBezTo>
                  <a:cubicBezTo>
                    <a:pt x="106" y="129"/>
                    <a:pt x="109" y="114"/>
                    <a:pt x="123" y="117"/>
                  </a:cubicBezTo>
                  <a:cubicBezTo>
                    <a:pt x="136" y="119"/>
                    <a:pt x="145" y="108"/>
                    <a:pt x="154" y="108"/>
                  </a:cubicBezTo>
                  <a:cubicBezTo>
                    <a:pt x="164" y="108"/>
                    <a:pt x="188" y="102"/>
                    <a:pt x="193" y="92"/>
                  </a:cubicBezTo>
                  <a:cubicBezTo>
                    <a:pt x="199" y="82"/>
                    <a:pt x="195" y="64"/>
                    <a:pt x="188" y="61"/>
                  </a:cubicBezTo>
                  <a:cubicBezTo>
                    <a:pt x="181" y="58"/>
                    <a:pt x="155" y="51"/>
                    <a:pt x="142" y="39"/>
                  </a:cubicBezTo>
                  <a:cubicBezTo>
                    <a:pt x="128" y="27"/>
                    <a:pt x="102" y="13"/>
                    <a:pt x="92" y="11"/>
                  </a:cubicBezTo>
                  <a:cubicBezTo>
                    <a:pt x="82" y="10"/>
                    <a:pt x="83" y="11"/>
                    <a:pt x="62" y="7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572" name="Freeform 25273"/>
            <p:cNvSpPr>
              <a:spLocks/>
            </p:cNvSpPr>
            <p:nvPr/>
          </p:nvSpPr>
          <p:spPr bwMode="auto">
            <a:xfrm>
              <a:off x="4730149" y="1603655"/>
              <a:ext cx="13101" cy="9312"/>
            </a:xfrm>
            <a:custGeom>
              <a:avLst/>
              <a:gdLst>
                <a:gd name="T0" fmla="*/ 23 w 35"/>
                <a:gd name="T1" fmla="*/ 2 h 25"/>
                <a:gd name="T2" fmla="*/ 9 w 35"/>
                <a:gd name="T3" fmla="*/ 13 h 25"/>
                <a:gd name="T4" fmla="*/ 9 w 35"/>
                <a:gd name="T5" fmla="*/ 24 h 25"/>
                <a:gd name="T6" fmla="*/ 33 w 35"/>
                <a:gd name="T7" fmla="*/ 17 h 25"/>
                <a:gd name="T8" fmla="*/ 32 w 35"/>
                <a:gd name="T9" fmla="*/ 5 h 25"/>
                <a:gd name="T10" fmla="*/ 23 w 35"/>
                <a:gd name="T11" fmla="*/ 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" h="25">
                  <a:moveTo>
                    <a:pt x="23" y="2"/>
                  </a:moveTo>
                  <a:cubicBezTo>
                    <a:pt x="23" y="2"/>
                    <a:pt x="19" y="10"/>
                    <a:pt x="9" y="13"/>
                  </a:cubicBezTo>
                  <a:cubicBezTo>
                    <a:pt x="0" y="15"/>
                    <a:pt x="5" y="23"/>
                    <a:pt x="9" y="24"/>
                  </a:cubicBezTo>
                  <a:cubicBezTo>
                    <a:pt x="13" y="25"/>
                    <a:pt x="32" y="24"/>
                    <a:pt x="33" y="17"/>
                  </a:cubicBezTo>
                  <a:cubicBezTo>
                    <a:pt x="33" y="10"/>
                    <a:pt x="35" y="8"/>
                    <a:pt x="32" y="5"/>
                  </a:cubicBezTo>
                  <a:cubicBezTo>
                    <a:pt x="29" y="3"/>
                    <a:pt x="29" y="0"/>
                    <a:pt x="23" y="2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573" name="Freeform 25275"/>
            <p:cNvSpPr>
              <a:spLocks/>
            </p:cNvSpPr>
            <p:nvPr/>
          </p:nvSpPr>
          <p:spPr bwMode="auto">
            <a:xfrm>
              <a:off x="4592992" y="1881917"/>
              <a:ext cx="12942" cy="14205"/>
            </a:xfrm>
            <a:custGeom>
              <a:avLst/>
              <a:gdLst>
                <a:gd name="T0" fmla="*/ 25 w 35"/>
                <a:gd name="T1" fmla="*/ 7 h 38"/>
                <a:gd name="T2" fmla="*/ 14 w 35"/>
                <a:gd name="T3" fmla="*/ 17 h 38"/>
                <a:gd name="T4" fmla="*/ 0 w 35"/>
                <a:gd name="T5" fmla="*/ 25 h 38"/>
                <a:gd name="T6" fmla="*/ 6 w 35"/>
                <a:gd name="T7" fmla="*/ 35 h 38"/>
                <a:gd name="T8" fmla="*/ 13 w 35"/>
                <a:gd name="T9" fmla="*/ 27 h 38"/>
                <a:gd name="T10" fmla="*/ 26 w 35"/>
                <a:gd name="T11" fmla="*/ 19 h 38"/>
                <a:gd name="T12" fmla="*/ 35 w 35"/>
                <a:gd name="T13" fmla="*/ 12 h 38"/>
                <a:gd name="T14" fmla="*/ 25 w 35"/>
                <a:gd name="T15" fmla="*/ 7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5" h="38">
                  <a:moveTo>
                    <a:pt x="25" y="7"/>
                  </a:moveTo>
                  <a:cubicBezTo>
                    <a:pt x="25" y="7"/>
                    <a:pt x="21" y="17"/>
                    <a:pt x="14" y="17"/>
                  </a:cubicBezTo>
                  <a:cubicBezTo>
                    <a:pt x="7" y="18"/>
                    <a:pt x="0" y="20"/>
                    <a:pt x="0" y="25"/>
                  </a:cubicBezTo>
                  <a:cubicBezTo>
                    <a:pt x="0" y="31"/>
                    <a:pt x="2" y="38"/>
                    <a:pt x="6" y="35"/>
                  </a:cubicBezTo>
                  <a:cubicBezTo>
                    <a:pt x="10" y="31"/>
                    <a:pt x="7" y="27"/>
                    <a:pt x="13" y="27"/>
                  </a:cubicBezTo>
                  <a:cubicBezTo>
                    <a:pt x="19" y="27"/>
                    <a:pt x="24" y="22"/>
                    <a:pt x="26" y="19"/>
                  </a:cubicBezTo>
                  <a:cubicBezTo>
                    <a:pt x="29" y="16"/>
                    <a:pt x="34" y="18"/>
                    <a:pt x="35" y="12"/>
                  </a:cubicBezTo>
                  <a:cubicBezTo>
                    <a:pt x="35" y="6"/>
                    <a:pt x="27" y="0"/>
                    <a:pt x="25" y="7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574" name="Freeform 25276"/>
            <p:cNvSpPr>
              <a:spLocks/>
            </p:cNvSpPr>
            <p:nvPr/>
          </p:nvSpPr>
          <p:spPr bwMode="auto">
            <a:xfrm>
              <a:off x="4565371" y="1980721"/>
              <a:ext cx="6313" cy="7103"/>
            </a:xfrm>
            <a:custGeom>
              <a:avLst/>
              <a:gdLst>
                <a:gd name="T0" fmla="*/ 11 w 17"/>
                <a:gd name="T1" fmla="*/ 2 h 19"/>
                <a:gd name="T2" fmla="*/ 7 w 17"/>
                <a:gd name="T3" fmla="*/ 6 h 19"/>
                <a:gd name="T4" fmla="*/ 4 w 17"/>
                <a:gd name="T5" fmla="*/ 14 h 19"/>
                <a:gd name="T6" fmla="*/ 14 w 17"/>
                <a:gd name="T7" fmla="*/ 15 h 19"/>
                <a:gd name="T8" fmla="*/ 16 w 17"/>
                <a:gd name="T9" fmla="*/ 5 h 19"/>
                <a:gd name="T10" fmla="*/ 11 w 17"/>
                <a:gd name="T11" fmla="*/ 2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" h="19">
                  <a:moveTo>
                    <a:pt x="11" y="2"/>
                  </a:moveTo>
                  <a:cubicBezTo>
                    <a:pt x="11" y="2"/>
                    <a:pt x="8" y="3"/>
                    <a:pt x="7" y="6"/>
                  </a:cubicBezTo>
                  <a:cubicBezTo>
                    <a:pt x="6" y="9"/>
                    <a:pt x="0" y="12"/>
                    <a:pt x="4" y="14"/>
                  </a:cubicBezTo>
                  <a:cubicBezTo>
                    <a:pt x="8" y="17"/>
                    <a:pt x="12" y="19"/>
                    <a:pt x="14" y="15"/>
                  </a:cubicBezTo>
                  <a:cubicBezTo>
                    <a:pt x="16" y="10"/>
                    <a:pt x="17" y="8"/>
                    <a:pt x="16" y="5"/>
                  </a:cubicBezTo>
                  <a:cubicBezTo>
                    <a:pt x="15" y="2"/>
                    <a:pt x="14" y="0"/>
                    <a:pt x="11" y="2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575" name="Freeform 25277"/>
            <p:cNvSpPr>
              <a:spLocks/>
            </p:cNvSpPr>
            <p:nvPr/>
          </p:nvSpPr>
          <p:spPr bwMode="auto">
            <a:xfrm>
              <a:off x="4069457" y="1749494"/>
              <a:ext cx="28725" cy="23044"/>
            </a:xfrm>
            <a:custGeom>
              <a:avLst/>
              <a:gdLst>
                <a:gd name="T0" fmla="*/ 53 w 77"/>
                <a:gd name="T1" fmla="*/ 15 h 62"/>
                <a:gd name="T2" fmla="*/ 35 w 77"/>
                <a:gd name="T3" fmla="*/ 29 h 62"/>
                <a:gd name="T4" fmla="*/ 12 w 77"/>
                <a:gd name="T5" fmla="*/ 41 h 62"/>
                <a:gd name="T6" fmla="*/ 5 w 77"/>
                <a:gd name="T7" fmla="*/ 58 h 62"/>
                <a:gd name="T8" fmla="*/ 22 w 77"/>
                <a:gd name="T9" fmla="*/ 51 h 62"/>
                <a:gd name="T10" fmla="*/ 48 w 77"/>
                <a:gd name="T11" fmla="*/ 41 h 62"/>
                <a:gd name="T12" fmla="*/ 68 w 77"/>
                <a:gd name="T13" fmla="*/ 35 h 62"/>
                <a:gd name="T14" fmla="*/ 77 w 77"/>
                <a:gd name="T15" fmla="*/ 24 h 62"/>
                <a:gd name="T16" fmla="*/ 53 w 77"/>
                <a:gd name="T17" fmla="*/ 15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7" h="62">
                  <a:moveTo>
                    <a:pt x="53" y="15"/>
                  </a:moveTo>
                  <a:cubicBezTo>
                    <a:pt x="53" y="15"/>
                    <a:pt x="41" y="24"/>
                    <a:pt x="35" y="29"/>
                  </a:cubicBezTo>
                  <a:cubicBezTo>
                    <a:pt x="28" y="35"/>
                    <a:pt x="19" y="34"/>
                    <a:pt x="12" y="41"/>
                  </a:cubicBezTo>
                  <a:cubicBezTo>
                    <a:pt x="5" y="49"/>
                    <a:pt x="0" y="56"/>
                    <a:pt x="5" y="58"/>
                  </a:cubicBezTo>
                  <a:cubicBezTo>
                    <a:pt x="9" y="60"/>
                    <a:pt x="11" y="62"/>
                    <a:pt x="22" y="51"/>
                  </a:cubicBezTo>
                  <a:cubicBezTo>
                    <a:pt x="32" y="41"/>
                    <a:pt x="38" y="40"/>
                    <a:pt x="48" y="41"/>
                  </a:cubicBezTo>
                  <a:cubicBezTo>
                    <a:pt x="59" y="41"/>
                    <a:pt x="62" y="36"/>
                    <a:pt x="68" y="35"/>
                  </a:cubicBezTo>
                  <a:cubicBezTo>
                    <a:pt x="75" y="34"/>
                    <a:pt x="77" y="30"/>
                    <a:pt x="77" y="24"/>
                  </a:cubicBezTo>
                  <a:cubicBezTo>
                    <a:pt x="76" y="17"/>
                    <a:pt x="70" y="0"/>
                    <a:pt x="53" y="1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576" name="Freeform 25279"/>
            <p:cNvSpPr>
              <a:spLocks/>
            </p:cNvSpPr>
            <p:nvPr/>
          </p:nvSpPr>
          <p:spPr bwMode="auto">
            <a:xfrm>
              <a:off x="4783497" y="2071002"/>
              <a:ext cx="10733" cy="10417"/>
            </a:xfrm>
            <a:custGeom>
              <a:avLst/>
              <a:gdLst>
                <a:gd name="T0" fmla="*/ 12 w 29"/>
                <a:gd name="T1" fmla="*/ 6 h 28"/>
                <a:gd name="T2" fmla="*/ 4 w 29"/>
                <a:gd name="T3" fmla="*/ 4 h 28"/>
                <a:gd name="T4" fmla="*/ 6 w 29"/>
                <a:gd name="T5" fmla="*/ 14 h 28"/>
                <a:gd name="T6" fmla="*/ 12 w 29"/>
                <a:gd name="T7" fmla="*/ 23 h 28"/>
                <a:gd name="T8" fmla="*/ 28 w 29"/>
                <a:gd name="T9" fmla="*/ 21 h 28"/>
                <a:gd name="T10" fmla="*/ 18 w 29"/>
                <a:gd name="T11" fmla="*/ 14 h 28"/>
                <a:gd name="T12" fmla="*/ 12 w 29"/>
                <a:gd name="T13" fmla="*/ 6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28">
                  <a:moveTo>
                    <a:pt x="12" y="6"/>
                  </a:moveTo>
                  <a:cubicBezTo>
                    <a:pt x="12" y="6"/>
                    <a:pt x="4" y="0"/>
                    <a:pt x="4" y="4"/>
                  </a:cubicBezTo>
                  <a:cubicBezTo>
                    <a:pt x="3" y="7"/>
                    <a:pt x="0" y="11"/>
                    <a:pt x="6" y="14"/>
                  </a:cubicBezTo>
                  <a:cubicBezTo>
                    <a:pt x="12" y="16"/>
                    <a:pt x="5" y="22"/>
                    <a:pt x="12" y="23"/>
                  </a:cubicBezTo>
                  <a:cubicBezTo>
                    <a:pt x="20" y="24"/>
                    <a:pt x="29" y="28"/>
                    <a:pt x="28" y="21"/>
                  </a:cubicBezTo>
                  <a:cubicBezTo>
                    <a:pt x="27" y="15"/>
                    <a:pt x="20" y="19"/>
                    <a:pt x="18" y="14"/>
                  </a:cubicBezTo>
                  <a:cubicBezTo>
                    <a:pt x="17" y="8"/>
                    <a:pt x="18" y="10"/>
                    <a:pt x="12" y="6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577" name="Freeform 25280"/>
            <p:cNvSpPr>
              <a:spLocks/>
            </p:cNvSpPr>
            <p:nvPr/>
          </p:nvSpPr>
          <p:spPr bwMode="auto">
            <a:xfrm>
              <a:off x="4866676" y="2003764"/>
              <a:ext cx="11838" cy="8681"/>
            </a:xfrm>
            <a:custGeom>
              <a:avLst/>
              <a:gdLst>
                <a:gd name="T0" fmla="*/ 19 w 32"/>
                <a:gd name="T1" fmla="*/ 4 h 23"/>
                <a:gd name="T2" fmla="*/ 12 w 32"/>
                <a:gd name="T3" fmla="*/ 12 h 23"/>
                <a:gd name="T4" fmla="*/ 7 w 32"/>
                <a:gd name="T5" fmla="*/ 21 h 23"/>
                <a:gd name="T6" fmla="*/ 27 w 32"/>
                <a:gd name="T7" fmla="*/ 20 h 23"/>
                <a:gd name="T8" fmla="*/ 27 w 32"/>
                <a:gd name="T9" fmla="*/ 2 h 23"/>
                <a:gd name="T10" fmla="*/ 19 w 32"/>
                <a:gd name="T11" fmla="*/ 4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2" h="23">
                  <a:moveTo>
                    <a:pt x="19" y="4"/>
                  </a:moveTo>
                  <a:cubicBezTo>
                    <a:pt x="19" y="4"/>
                    <a:pt x="24" y="12"/>
                    <a:pt x="12" y="12"/>
                  </a:cubicBezTo>
                  <a:cubicBezTo>
                    <a:pt x="0" y="11"/>
                    <a:pt x="2" y="20"/>
                    <a:pt x="7" y="21"/>
                  </a:cubicBezTo>
                  <a:cubicBezTo>
                    <a:pt x="13" y="22"/>
                    <a:pt x="25" y="23"/>
                    <a:pt x="27" y="20"/>
                  </a:cubicBezTo>
                  <a:cubicBezTo>
                    <a:pt x="28" y="17"/>
                    <a:pt x="32" y="5"/>
                    <a:pt x="27" y="2"/>
                  </a:cubicBezTo>
                  <a:cubicBezTo>
                    <a:pt x="22" y="0"/>
                    <a:pt x="19" y="1"/>
                    <a:pt x="19" y="4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578" name="Freeform 25483"/>
            <p:cNvSpPr>
              <a:spLocks/>
            </p:cNvSpPr>
            <p:nvPr/>
          </p:nvSpPr>
          <p:spPr bwMode="auto">
            <a:xfrm>
              <a:off x="8521954" y="1736394"/>
              <a:ext cx="93122" cy="36933"/>
            </a:xfrm>
            <a:custGeom>
              <a:avLst/>
              <a:gdLst>
                <a:gd name="T0" fmla="*/ 12 w 250"/>
                <a:gd name="T1" fmla="*/ 95 h 99"/>
                <a:gd name="T2" fmla="*/ 58 w 250"/>
                <a:gd name="T3" fmla="*/ 92 h 99"/>
                <a:gd name="T4" fmla="*/ 81 w 250"/>
                <a:gd name="T5" fmla="*/ 81 h 99"/>
                <a:gd name="T6" fmla="*/ 113 w 250"/>
                <a:gd name="T7" fmla="*/ 83 h 99"/>
                <a:gd name="T8" fmla="*/ 133 w 250"/>
                <a:gd name="T9" fmla="*/ 92 h 99"/>
                <a:gd name="T10" fmla="*/ 160 w 250"/>
                <a:gd name="T11" fmla="*/ 84 h 99"/>
                <a:gd name="T12" fmla="*/ 197 w 250"/>
                <a:gd name="T13" fmla="*/ 75 h 99"/>
                <a:gd name="T14" fmla="*/ 238 w 250"/>
                <a:gd name="T15" fmla="*/ 61 h 99"/>
                <a:gd name="T16" fmla="*/ 232 w 250"/>
                <a:gd name="T17" fmla="*/ 36 h 99"/>
                <a:gd name="T18" fmla="*/ 204 w 250"/>
                <a:gd name="T19" fmla="*/ 20 h 99"/>
                <a:gd name="T20" fmla="*/ 174 w 250"/>
                <a:gd name="T21" fmla="*/ 11 h 99"/>
                <a:gd name="T22" fmla="*/ 144 w 250"/>
                <a:gd name="T23" fmla="*/ 7 h 99"/>
                <a:gd name="T24" fmla="*/ 108 w 250"/>
                <a:gd name="T25" fmla="*/ 15 h 99"/>
                <a:gd name="T26" fmla="*/ 62 w 250"/>
                <a:gd name="T27" fmla="*/ 23 h 99"/>
                <a:gd name="T28" fmla="*/ 34 w 250"/>
                <a:gd name="T29" fmla="*/ 44 h 99"/>
                <a:gd name="T30" fmla="*/ 1 w 250"/>
                <a:gd name="T31" fmla="*/ 68 h 99"/>
                <a:gd name="T32" fmla="*/ 12 w 250"/>
                <a:gd name="T33" fmla="*/ 95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50" h="99">
                  <a:moveTo>
                    <a:pt x="12" y="95"/>
                  </a:moveTo>
                  <a:cubicBezTo>
                    <a:pt x="21" y="96"/>
                    <a:pt x="52" y="99"/>
                    <a:pt x="58" y="92"/>
                  </a:cubicBezTo>
                  <a:cubicBezTo>
                    <a:pt x="65" y="85"/>
                    <a:pt x="69" y="81"/>
                    <a:pt x="81" y="81"/>
                  </a:cubicBezTo>
                  <a:cubicBezTo>
                    <a:pt x="93" y="81"/>
                    <a:pt x="109" y="73"/>
                    <a:pt x="113" y="83"/>
                  </a:cubicBezTo>
                  <a:cubicBezTo>
                    <a:pt x="117" y="92"/>
                    <a:pt x="126" y="96"/>
                    <a:pt x="133" y="92"/>
                  </a:cubicBezTo>
                  <a:cubicBezTo>
                    <a:pt x="140" y="88"/>
                    <a:pt x="148" y="84"/>
                    <a:pt x="160" y="84"/>
                  </a:cubicBezTo>
                  <a:cubicBezTo>
                    <a:pt x="172" y="84"/>
                    <a:pt x="176" y="75"/>
                    <a:pt x="197" y="75"/>
                  </a:cubicBezTo>
                  <a:cubicBezTo>
                    <a:pt x="218" y="75"/>
                    <a:pt x="236" y="69"/>
                    <a:pt x="238" y="61"/>
                  </a:cubicBezTo>
                  <a:cubicBezTo>
                    <a:pt x="241" y="53"/>
                    <a:pt x="250" y="36"/>
                    <a:pt x="232" y="36"/>
                  </a:cubicBezTo>
                  <a:cubicBezTo>
                    <a:pt x="213" y="36"/>
                    <a:pt x="214" y="27"/>
                    <a:pt x="204" y="20"/>
                  </a:cubicBezTo>
                  <a:cubicBezTo>
                    <a:pt x="193" y="13"/>
                    <a:pt x="177" y="17"/>
                    <a:pt x="174" y="11"/>
                  </a:cubicBezTo>
                  <a:cubicBezTo>
                    <a:pt x="172" y="4"/>
                    <a:pt x="153" y="0"/>
                    <a:pt x="144" y="7"/>
                  </a:cubicBezTo>
                  <a:cubicBezTo>
                    <a:pt x="134" y="13"/>
                    <a:pt x="124" y="16"/>
                    <a:pt x="108" y="15"/>
                  </a:cubicBezTo>
                  <a:cubicBezTo>
                    <a:pt x="108" y="15"/>
                    <a:pt x="77" y="12"/>
                    <a:pt x="62" y="23"/>
                  </a:cubicBezTo>
                  <a:cubicBezTo>
                    <a:pt x="48" y="33"/>
                    <a:pt x="52" y="37"/>
                    <a:pt x="34" y="44"/>
                  </a:cubicBezTo>
                  <a:cubicBezTo>
                    <a:pt x="17" y="51"/>
                    <a:pt x="2" y="59"/>
                    <a:pt x="1" y="68"/>
                  </a:cubicBezTo>
                  <a:cubicBezTo>
                    <a:pt x="0" y="77"/>
                    <a:pt x="2" y="93"/>
                    <a:pt x="12" y="9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579" name="Freeform 25512"/>
            <p:cNvSpPr>
              <a:spLocks/>
            </p:cNvSpPr>
            <p:nvPr/>
          </p:nvSpPr>
          <p:spPr bwMode="auto">
            <a:xfrm>
              <a:off x="5430775" y="1827464"/>
              <a:ext cx="50033" cy="34723"/>
            </a:xfrm>
            <a:custGeom>
              <a:avLst/>
              <a:gdLst>
                <a:gd name="T0" fmla="*/ 85 w 134"/>
                <a:gd name="T1" fmla="*/ 13 h 93"/>
                <a:gd name="T2" fmla="*/ 56 w 134"/>
                <a:gd name="T3" fmla="*/ 2 h 93"/>
                <a:gd name="T4" fmla="*/ 33 w 134"/>
                <a:gd name="T5" fmla="*/ 12 h 93"/>
                <a:gd name="T6" fmla="*/ 3 w 134"/>
                <a:gd name="T7" fmla="*/ 45 h 93"/>
                <a:gd name="T8" fmla="*/ 9 w 134"/>
                <a:gd name="T9" fmla="*/ 80 h 93"/>
                <a:gd name="T10" fmla="*/ 36 w 134"/>
                <a:gd name="T11" fmla="*/ 92 h 93"/>
                <a:gd name="T12" fmla="*/ 69 w 134"/>
                <a:gd name="T13" fmla="*/ 87 h 93"/>
                <a:gd name="T14" fmla="*/ 89 w 134"/>
                <a:gd name="T15" fmla="*/ 77 h 93"/>
                <a:gd name="T16" fmla="*/ 113 w 134"/>
                <a:gd name="T17" fmla="*/ 55 h 93"/>
                <a:gd name="T18" fmla="*/ 129 w 134"/>
                <a:gd name="T19" fmla="*/ 49 h 93"/>
                <a:gd name="T20" fmla="*/ 114 w 134"/>
                <a:gd name="T21" fmla="*/ 34 h 93"/>
                <a:gd name="T22" fmla="*/ 85 w 134"/>
                <a:gd name="T23" fmla="*/ 13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4" h="93">
                  <a:moveTo>
                    <a:pt x="85" y="13"/>
                  </a:moveTo>
                  <a:cubicBezTo>
                    <a:pt x="72" y="10"/>
                    <a:pt x="64" y="0"/>
                    <a:pt x="56" y="2"/>
                  </a:cubicBezTo>
                  <a:cubicBezTo>
                    <a:pt x="48" y="4"/>
                    <a:pt x="43" y="12"/>
                    <a:pt x="33" y="12"/>
                  </a:cubicBezTo>
                  <a:cubicBezTo>
                    <a:pt x="23" y="12"/>
                    <a:pt x="2" y="32"/>
                    <a:pt x="3" y="45"/>
                  </a:cubicBezTo>
                  <a:cubicBezTo>
                    <a:pt x="3" y="45"/>
                    <a:pt x="0" y="77"/>
                    <a:pt x="9" y="80"/>
                  </a:cubicBezTo>
                  <a:cubicBezTo>
                    <a:pt x="18" y="83"/>
                    <a:pt x="23" y="91"/>
                    <a:pt x="36" y="92"/>
                  </a:cubicBezTo>
                  <a:cubicBezTo>
                    <a:pt x="49" y="93"/>
                    <a:pt x="59" y="87"/>
                    <a:pt x="69" y="87"/>
                  </a:cubicBezTo>
                  <a:cubicBezTo>
                    <a:pt x="79" y="87"/>
                    <a:pt x="77" y="83"/>
                    <a:pt x="89" y="77"/>
                  </a:cubicBezTo>
                  <a:cubicBezTo>
                    <a:pt x="101" y="71"/>
                    <a:pt x="99" y="55"/>
                    <a:pt x="113" y="55"/>
                  </a:cubicBezTo>
                  <a:cubicBezTo>
                    <a:pt x="127" y="55"/>
                    <a:pt x="127" y="56"/>
                    <a:pt x="129" y="49"/>
                  </a:cubicBezTo>
                  <a:cubicBezTo>
                    <a:pt x="131" y="42"/>
                    <a:pt x="134" y="41"/>
                    <a:pt x="114" y="34"/>
                  </a:cubicBezTo>
                  <a:cubicBezTo>
                    <a:pt x="94" y="27"/>
                    <a:pt x="98" y="16"/>
                    <a:pt x="85" y="13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580" name="Freeform 25513"/>
            <p:cNvSpPr>
              <a:spLocks/>
            </p:cNvSpPr>
            <p:nvPr/>
          </p:nvSpPr>
          <p:spPr bwMode="auto">
            <a:xfrm>
              <a:off x="5677628" y="1788321"/>
              <a:ext cx="46245" cy="34566"/>
            </a:xfrm>
            <a:custGeom>
              <a:avLst/>
              <a:gdLst>
                <a:gd name="T0" fmla="*/ 12 w 124"/>
                <a:gd name="T1" fmla="*/ 59 h 93"/>
                <a:gd name="T2" fmla="*/ 33 w 124"/>
                <a:gd name="T3" fmla="*/ 74 h 93"/>
                <a:gd name="T4" fmla="*/ 60 w 124"/>
                <a:gd name="T5" fmla="*/ 81 h 93"/>
                <a:gd name="T6" fmla="*/ 83 w 124"/>
                <a:gd name="T7" fmla="*/ 93 h 93"/>
                <a:gd name="T8" fmla="*/ 113 w 124"/>
                <a:gd name="T9" fmla="*/ 86 h 93"/>
                <a:gd name="T10" fmla="*/ 109 w 124"/>
                <a:gd name="T11" fmla="*/ 59 h 93"/>
                <a:gd name="T12" fmla="*/ 51 w 124"/>
                <a:gd name="T13" fmla="*/ 23 h 93"/>
                <a:gd name="T14" fmla="*/ 24 w 124"/>
                <a:gd name="T15" fmla="*/ 4 h 93"/>
                <a:gd name="T16" fmla="*/ 3 w 124"/>
                <a:gd name="T17" fmla="*/ 19 h 93"/>
                <a:gd name="T18" fmla="*/ 7 w 124"/>
                <a:gd name="T19" fmla="*/ 33 h 93"/>
                <a:gd name="T20" fmla="*/ 12 w 124"/>
                <a:gd name="T21" fmla="*/ 59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4" h="93">
                  <a:moveTo>
                    <a:pt x="12" y="59"/>
                  </a:moveTo>
                  <a:cubicBezTo>
                    <a:pt x="22" y="65"/>
                    <a:pt x="18" y="74"/>
                    <a:pt x="33" y="74"/>
                  </a:cubicBezTo>
                  <a:cubicBezTo>
                    <a:pt x="48" y="74"/>
                    <a:pt x="56" y="71"/>
                    <a:pt x="60" y="81"/>
                  </a:cubicBezTo>
                  <a:cubicBezTo>
                    <a:pt x="64" y="91"/>
                    <a:pt x="73" y="93"/>
                    <a:pt x="83" y="93"/>
                  </a:cubicBezTo>
                  <a:cubicBezTo>
                    <a:pt x="93" y="93"/>
                    <a:pt x="112" y="92"/>
                    <a:pt x="113" y="86"/>
                  </a:cubicBezTo>
                  <a:cubicBezTo>
                    <a:pt x="114" y="80"/>
                    <a:pt x="124" y="65"/>
                    <a:pt x="109" y="59"/>
                  </a:cubicBezTo>
                  <a:cubicBezTo>
                    <a:pt x="94" y="53"/>
                    <a:pt x="58" y="33"/>
                    <a:pt x="51" y="23"/>
                  </a:cubicBezTo>
                  <a:cubicBezTo>
                    <a:pt x="51" y="23"/>
                    <a:pt x="33" y="0"/>
                    <a:pt x="24" y="4"/>
                  </a:cubicBezTo>
                  <a:cubicBezTo>
                    <a:pt x="15" y="8"/>
                    <a:pt x="0" y="13"/>
                    <a:pt x="3" y="19"/>
                  </a:cubicBezTo>
                  <a:cubicBezTo>
                    <a:pt x="6" y="25"/>
                    <a:pt x="9" y="23"/>
                    <a:pt x="7" y="33"/>
                  </a:cubicBezTo>
                  <a:cubicBezTo>
                    <a:pt x="5" y="43"/>
                    <a:pt x="2" y="53"/>
                    <a:pt x="12" y="5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581" name="Freeform 25514"/>
            <p:cNvSpPr>
              <a:spLocks/>
            </p:cNvSpPr>
            <p:nvPr/>
          </p:nvSpPr>
          <p:spPr bwMode="auto">
            <a:xfrm>
              <a:off x="5504642" y="1485122"/>
              <a:ext cx="414946" cy="301305"/>
            </a:xfrm>
            <a:custGeom>
              <a:avLst/>
              <a:gdLst>
                <a:gd name="T0" fmla="*/ 2 w 1113"/>
                <a:gd name="T1" fmla="*/ 660 h 808"/>
                <a:gd name="T2" fmla="*/ 50 w 1113"/>
                <a:gd name="T3" fmla="*/ 696 h 808"/>
                <a:gd name="T4" fmla="*/ 98 w 1113"/>
                <a:gd name="T5" fmla="*/ 710 h 808"/>
                <a:gd name="T6" fmla="*/ 143 w 1113"/>
                <a:gd name="T7" fmla="*/ 717 h 808"/>
                <a:gd name="T8" fmla="*/ 154 w 1113"/>
                <a:gd name="T9" fmla="*/ 748 h 808"/>
                <a:gd name="T10" fmla="*/ 126 w 1113"/>
                <a:gd name="T11" fmla="*/ 779 h 808"/>
                <a:gd name="T12" fmla="*/ 221 w 1113"/>
                <a:gd name="T13" fmla="*/ 797 h 808"/>
                <a:gd name="T14" fmla="*/ 269 w 1113"/>
                <a:gd name="T15" fmla="*/ 793 h 808"/>
                <a:gd name="T16" fmla="*/ 322 w 1113"/>
                <a:gd name="T17" fmla="*/ 789 h 808"/>
                <a:gd name="T18" fmla="*/ 381 w 1113"/>
                <a:gd name="T19" fmla="*/ 777 h 808"/>
                <a:gd name="T20" fmla="*/ 261 w 1113"/>
                <a:gd name="T21" fmla="*/ 624 h 808"/>
                <a:gd name="T22" fmla="*/ 254 w 1113"/>
                <a:gd name="T23" fmla="*/ 578 h 808"/>
                <a:gd name="T24" fmla="*/ 249 w 1113"/>
                <a:gd name="T25" fmla="*/ 540 h 808"/>
                <a:gd name="T26" fmla="*/ 292 w 1113"/>
                <a:gd name="T27" fmla="*/ 511 h 808"/>
                <a:gd name="T28" fmla="*/ 375 w 1113"/>
                <a:gd name="T29" fmla="*/ 464 h 808"/>
                <a:gd name="T30" fmla="*/ 416 w 1113"/>
                <a:gd name="T31" fmla="*/ 416 h 808"/>
                <a:gd name="T32" fmla="*/ 465 w 1113"/>
                <a:gd name="T33" fmla="*/ 347 h 808"/>
                <a:gd name="T34" fmla="*/ 520 w 1113"/>
                <a:gd name="T35" fmla="*/ 313 h 808"/>
                <a:gd name="T36" fmla="*/ 581 w 1113"/>
                <a:gd name="T37" fmla="*/ 278 h 808"/>
                <a:gd name="T38" fmla="*/ 663 w 1113"/>
                <a:gd name="T39" fmla="*/ 224 h 808"/>
                <a:gd name="T40" fmla="*/ 763 w 1113"/>
                <a:gd name="T41" fmla="*/ 189 h 808"/>
                <a:gd name="T42" fmla="*/ 821 w 1113"/>
                <a:gd name="T43" fmla="*/ 176 h 808"/>
                <a:gd name="T44" fmla="*/ 991 w 1113"/>
                <a:gd name="T45" fmla="*/ 128 h 808"/>
                <a:gd name="T46" fmla="*/ 1113 w 1113"/>
                <a:gd name="T47" fmla="*/ 46 h 808"/>
                <a:gd name="T48" fmla="*/ 1020 w 1113"/>
                <a:gd name="T49" fmla="*/ 2 h 808"/>
                <a:gd name="T50" fmla="*/ 922 w 1113"/>
                <a:gd name="T51" fmla="*/ 44 h 808"/>
                <a:gd name="T52" fmla="*/ 869 w 1113"/>
                <a:gd name="T53" fmla="*/ 75 h 808"/>
                <a:gd name="T54" fmla="*/ 757 w 1113"/>
                <a:gd name="T55" fmla="*/ 105 h 808"/>
                <a:gd name="T56" fmla="*/ 646 w 1113"/>
                <a:gd name="T57" fmla="*/ 97 h 808"/>
                <a:gd name="T58" fmla="*/ 561 w 1113"/>
                <a:gd name="T59" fmla="*/ 131 h 808"/>
                <a:gd name="T60" fmla="*/ 502 w 1113"/>
                <a:gd name="T61" fmla="*/ 149 h 808"/>
                <a:gd name="T62" fmla="*/ 450 w 1113"/>
                <a:gd name="T63" fmla="*/ 177 h 808"/>
                <a:gd name="T64" fmla="*/ 382 w 1113"/>
                <a:gd name="T65" fmla="*/ 217 h 808"/>
                <a:gd name="T66" fmla="*/ 301 w 1113"/>
                <a:gd name="T67" fmla="*/ 239 h 808"/>
                <a:gd name="T68" fmla="*/ 293 w 1113"/>
                <a:gd name="T69" fmla="*/ 289 h 808"/>
                <a:gd name="T70" fmla="*/ 258 w 1113"/>
                <a:gd name="T71" fmla="*/ 341 h 808"/>
                <a:gd name="T72" fmla="*/ 223 w 1113"/>
                <a:gd name="T73" fmla="*/ 377 h 808"/>
                <a:gd name="T74" fmla="*/ 153 w 1113"/>
                <a:gd name="T75" fmla="*/ 420 h 808"/>
                <a:gd name="T76" fmla="*/ 220 w 1113"/>
                <a:gd name="T77" fmla="*/ 430 h 808"/>
                <a:gd name="T78" fmla="*/ 194 w 1113"/>
                <a:gd name="T79" fmla="*/ 458 h 808"/>
                <a:gd name="T80" fmla="*/ 133 w 1113"/>
                <a:gd name="T81" fmla="*/ 490 h 808"/>
                <a:gd name="T82" fmla="*/ 112 w 1113"/>
                <a:gd name="T83" fmla="*/ 524 h 808"/>
                <a:gd name="T84" fmla="*/ 108 w 1113"/>
                <a:gd name="T85" fmla="*/ 563 h 808"/>
                <a:gd name="T86" fmla="*/ 70 w 1113"/>
                <a:gd name="T87" fmla="*/ 610 h 8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113" h="808">
                  <a:moveTo>
                    <a:pt x="17" y="630"/>
                  </a:moveTo>
                  <a:cubicBezTo>
                    <a:pt x="13" y="636"/>
                    <a:pt x="18" y="640"/>
                    <a:pt x="9" y="645"/>
                  </a:cubicBezTo>
                  <a:cubicBezTo>
                    <a:pt x="0" y="650"/>
                    <a:pt x="2" y="653"/>
                    <a:pt x="2" y="660"/>
                  </a:cubicBezTo>
                  <a:cubicBezTo>
                    <a:pt x="2" y="667"/>
                    <a:pt x="12" y="666"/>
                    <a:pt x="12" y="676"/>
                  </a:cubicBezTo>
                  <a:cubicBezTo>
                    <a:pt x="12" y="686"/>
                    <a:pt x="19" y="697"/>
                    <a:pt x="31" y="699"/>
                  </a:cubicBezTo>
                  <a:cubicBezTo>
                    <a:pt x="43" y="701"/>
                    <a:pt x="47" y="702"/>
                    <a:pt x="50" y="696"/>
                  </a:cubicBezTo>
                  <a:cubicBezTo>
                    <a:pt x="53" y="690"/>
                    <a:pt x="61" y="690"/>
                    <a:pt x="67" y="690"/>
                  </a:cubicBezTo>
                  <a:cubicBezTo>
                    <a:pt x="73" y="690"/>
                    <a:pt x="84" y="688"/>
                    <a:pt x="86" y="694"/>
                  </a:cubicBezTo>
                  <a:cubicBezTo>
                    <a:pt x="88" y="700"/>
                    <a:pt x="90" y="710"/>
                    <a:pt x="98" y="710"/>
                  </a:cubicBezTo>
                  <a:cubicBezTo>
                    <a:pt x="106" y="710"/>
                    <a:pt x="105" y="698"/>
                    <a:pt x="115" y="698"/>
                  </a:cubicBezTo>
                  <a:cubicBezTo>
                    <a:pt x="125" y="698"/>
                    <a:pt x="131" y="700"/>
                    <a:pt x="131" y="706"/>
                  </a:cubicBezTo>
                  <a:cubicBezTo>
                    <a:pt x="131" y="712"/>
                    <a:pt x="135" y="717"/>
                    <a:pt x="143" y="717"/>
                  </a:cubicBezTo>
                  <a:cubicBezTo>
                    <a:pt x="151" y="717"/>
                    <a:pt x="135" y="729"/>
                    <a:pt x="153" y="731"/>
                  </a:cubicBezTo>
                  <a:cubicBezTo>
                    <a:pt x="171" y="733"/>
                    <a:pt x="174" y="735"/>
                    <a:pt x="172" y="740"/>
                  </a:cubicBezTo>
                  <a:cubicBezTo>
                    <a:pt x="170" y="745"/>
                    <a:pt x="154" y="743"/>
                    <a:pt x="154" y="748"/>
                  </a:cubicBezTo>
                  <a:cubicBezTo>
                    <a:pt x="154" y="753"/>
                    <a:pt x="145" y="750"/>
                    <a:pt x="145" y="760"/>
                  </a:cubicBezTo>
                  <a:cubicBezTo>
                    <a:pt x="145" y="770"/>
                    <a:pt x="134" y="768"/>
                    <a:pt x="122" y="769"/>
                  </a:cubicBezTo>
                  <a:cubicBezTo>
                    <a:pt x="110" y="770"/>
                    <a:pt x="107" y="780"/>
                    <a:pt x="126" y="779"/>
                  </a:cubicBezTo>
                  <a:cubicBezTo>
                    <a:pt x="145" y="778"/>
                    <a:pt x="155" y="777"/>
                    <a:pt x="158" y="780"/>
                  </a:cubicBezTo>
                  <a:cubicBezTo>
                    <a:pt x="161" y="783"/>
                    <a:pt x="171" y="784"/>
                    <a:pt x="181" y="784"/>
                  </a:cubicBezTo>
                  <a:cubicBezTo>
                    <a:pt x="191" y="784"/>
                    <a:pt x="217" y="790"/>
                    <a:pt x="221" y="797"/>
                  </a:cubicBezTo>
                  <a:cubicBezTo>
                    <a:pt x="225" y="804"/>
                    <a:pt x="248" y="808"/>
                    <a:pt x="250" y="801"/>
                  </a:cubicBezTo>
                  <a:cubicBezTo>
                    <a:pt x="252" y="794"/>
                    <a:pt x="254" y="791"/>
                    <a:pt x="258" y="791"/>
                  </a:cubicBezTo>
                  <a:cubicBezTo>
                    <a:pt x="262" y="791"/>
                    <a:pt x="267" y="785"/>
                    <a:pt x="269" y="793"/>
                  </a:cubicBezTo>
                  <a:cubicBezTo>
                    <a:pt x="271" y="801"/>
                    <a:pt x="273" y="799"/>
                    <a:pt x="288" y="799"/>
                  </a:cubicBezTo>
                  <a:cubicBezTo>
                    <a:pt x="303" y="799"/>
                    <a:pt x="312" y="804"/>
                    <a:pt x="312" y="797"/>
                  </a:cubicBezTo>
                  <a:cubicBezTo>
                    <a:pt x="312" y="790"/>
                    <a:pt x="317" y="786"/>
                    <a:pt x="322" y="789"/>
                  </a:cubicBezTo>
                  <a:cubicBezTo>
                    <a:pt x="327" y="792"/>
                    <a:pt x="328" y="800"/>
                    <a:pt x="339" y="800"/>
                  </a:cubicBezTo>
                  <a:cubicBezTo>
                    <a:pt x="350" y="800"/>
                    <a:pt x="387" y="797"/>
                    <a:pt x="391" y="796"/>
                  </a:cubicBezTo>
                  <a:cubicBezTo>
                    <a:pt x="395" y="795"/>
                    <a:pt x="411" y="786"/>
                    <a:pt x="381" y="777"/>
                  </a:cubicBezTo>
                  <a:cubicBezTo>
                    <a:pt x="351" y="768"/>
                    <a:pt x="317" y="741"/>
                    <a:pt x="307" y="726"/>
                  </a:cubicBezTo>
                  <a:cubicBezTo>
                    <a:pt x="297" y="711"/>
                    <a:pt x="265" y="672"/>
                    <a:pt x="265" y="659"/>
                  </a:cubicBezTo>
                  <a:cubicBezTo>
                    <a:pt x="265" y="646"/>
                    <a:pt x="256" y="627"/>
                    <a:pt x="261" y="624"/>
                  </a:cubicBezTo>
                  <a:cubicBezTo>
                    <a:pt x="266" y="621"/>
                    <a:pt x="274" y="610"/>
                    <a:pt x="270" y="605"/>
                  </a:cubicBezTo>
                  <a:cubicBezTo>
                    <a:pt x="266" y="600"/>
                    <a:pt x="261" y="587"/>
                    <a:pt x="248" y="587"/>
                  </a:cubicBezTo>
                  <a:cubicBezTo>
                    <a:pt x="235" y="587"/>
                    <a:pt x="244" y="579"/>
                    <a:pt x="254" y="578"/>
                  </a:cubicBezTo>
                  <a:cubicBezTo>
                    <a:pt x="264" y="577"/>
                    <a:pt x="268" y="576"/>
                    <a:pt x="266" y="567"/>
                  </a:cubicBezTo>
                  <a:cubicBezTo>
                    <a:pt x="264" y="558"/>
                    <a:pt x="284" y="564"/>
                    <a:pt x="278" y="553"/>
                  </a:cubicBezTo>
                  <a:cubicBezTo>
                    <a:pt x="272" y="542"/>
                    <a:pt x="246" y="551"/>
                    <a:pt x="249" y="540"/>
                  </a:cubicBezTo>
                  <a:cubicBezTo>
                    <a:pt x="252" y="529"/>
                    <a:pt x="269" y="538"/>
                    <a:pt x="281" y="538"/>
                  </a:cubicBezTo>
                  <a:cubicBezTo>
                    <a:pt x="293" y="538"/>
                    <a:pt x="307" y="540"/>
                    <a:pt x="307" y="532"/>
                  </a:cubicBezTo>
                  <a:cubicBezTo>
                    <a:pt x="307" y="524"/>
                    <a:pt x="284" y="517"/>
                    <a:pt x="292" y="511"/>
                  </a:cubicBezTo>
                  <a:cubicBezTo>
                    <a:pt x="300" y="505"/>
                    <a:pt x="325" y="516"/>
                    <a:pt x="326" y="504"/>
                  </a:cubicBezTo>
                  <a:cubicBezTo>
                    <a:pt x="327" y="492"/>
                    <a:pt x="341" y="475"/>
                    <a:pt x="354" y="475"/>
                  </a:cubicBezTo>
                  <a:cubicBezTo>
                    <a:pt x="367" y="475"/>
                    <a:pt x="375" y="470"/>
                    <a:pt x="375" y="464"/>
                  </a:cubicBezTo>
                  <a:cubicBezTo>
                    <a:pt x="375" y="458"/>
                    <a:pt x="355" y="447"/>
                    <a:pt x="372" y="445"/>
                  </a:cubicBezTo>
                  <a:cubicBezTo>
                    <a:pt x="389" y="443"/>
                    <a:pt x="403" y="445"/>
                    <a:pt x="400" y="432"/>
                  </a:cubicBezTo>
                  <a:cubicBezTo>
                    <a:pt x="397" y="419"/>
                    <a:pt x="416" y="428"/>
                    <a:pt x="416" y="416"/>
                  </a:cubicBezTo>
                  <a:cubicBezTo>
                    <a:pt x="416" y="404"/>
                    <a:pt x="406" y="391"/>
                    <a:pt x="419" y="389"/>
                  </a:cubicBezTo>
                  <a:cubicBezTo>
                    <a:pt x="432" y="387"/>
                    <a:pt x="455" y="385"/>
                    <a:pt x="458" y="372"/>
                  </a:cubicBezTo>
                  <a:cubicBezTo>
                    <a:pt x="461" y="359"/>
                    <a:pt x="474" y="357"/>
                    <a:pt x="465" y="347"/>
                  </a:cubicBezTo>
                  <a:cubicBezTo>
                    <a:pt x="456" y="337"/>
                    <a:pt x="468" y="328"/>
                    <a:pt x="488" y="333"/>
                  </a:cubicBezTo>
                  <a:cubicBezTo>
                    <a:pt x="508" y="338"/>
                    <a:pt x="498" y="318"/>
                    <a:pt x="499" y="309"/>
                  </a:cubicBezTo>
                  <a:cubicBezTo>
                    <a:pt x="500" y="300"/>
                    <a:pt x="514" y="306"/>
                    <a:pt x="520" y="313"/>
                  </a:cubicBezTo>
                  <a:cubicBezTo>
                    <a:pt x="526" y="320"/>
                    <a:pt x="534" y="328"/>
                    <a:pt x="540" y="316"/>
                  </a:cubicBezTo>
                  <a:cubicBezTo>
                    <a:pt x="546" y="304"/>
                    <a:pt x="552" y="307"/>
                    <a:pt x="566" y="302"/>
                  </a:cubicBezTo>
                  <a:cubicBezTo>
                    <a:pt x="580" y="297"/>
                    <a:pt x="574" y="292"/>
                    <a:pt x="581" y="278"/>
                  </a:cubicBezTo>
                  <a:cubicBezTo>
                    <a:pt x="588" y="264"/>
                    <a:pt x="586" y="266"/>
                    <a:pt x="607" y="251"/>
                  </a:cubicBezTo>
                  <a:cubicBezTo>
                    <a:pt x="628" y="236"/>
                    <a:pt x="632" y="229"/>
                    <a:pt x="644" y="233"/>
                  </a:cubicBezTo>
                  <a:cubicBezTo>
                    <a:pt x="656" y="237"/>
                    <a:pt x="659" y="234"/>
                    <a:pt x="663" y="224"/>
                  </a:cubicBezTo>
                  <a:cubicBezTo>
                    <a:pt x="667" y="214"/>
                    <a:pt x="671" y="212"/>
                    <a:pt x="686" y="211"/>
                  </a:cubicBezTo>
                  <a:cubicBezTo>
                    <a:pt x="701" y="210"/>
                    <a:pt x="713" y="201"/>
                    <a:pt x="729" y="198"/>
                  </a:cubicBezTo>
                  <a:cubicBezTo>
                    <a:pt x="745" y="195"/>
                    <a:pt x="758" y="201"/>
                    <a:pt x="763" y="189"/>
                  </a:cubicBezTo>
                  <a:cubicBezTo>
                    <a:pt x="768" y="177"/>
                    <a:pt x="777" y="170"/>
                    <a:pt x="783" y="178"/>
                  </a:cubicBezTo>
                  <a:cubicBezTo>
                    <a:pt x="789" y="186"/>
                    <a:pt x="795" y="192"/>
                    <a:pt x="800" y="184"/>
                  </a:cubicBezTo>
                  <a:cubicBezTo>
                    <a:pt x="805" y="176"/>
                    <a:pt x="804" y="181"/>
                    <a:pt x="821" y="176"/>
                  </a:cubicBezTo>
                  <a:cubicBezTo>
                    <a:pt x="838" y="171"/>
                    <a:pt x="838" y="161"/>
                    <a:pt x="872" y="159"/>
                  </a:cubicBezTo>
                  <a:cubicBezTo>
                    <a:pt x="906" y="157"/>
                    <a:pt x="915" y="147"/>
                    <a:pt x="936" y="143"/>
                  </a:cubicBezTo>
                  <a:cubicBezTo>
                    <a:pt x="957" y="139"/>
                    <a:pt x="973" y="132"/>
                    <a:pt x="991" y="128"/>
                  </a:cubicBezTo>
                  <a:cubicBezTo>
                    <a:pt x="1009" y="124"/>
                    <a:pt x="1015" y="111"/>
                    <a:pt x="1034" y="110"/>
                  </a:cubicBezTo>
                  <a:cubicBezTo>
                    <a:pt x="1053" y="109"/>
                    <a:pt x="1081" y="98"/>
                    <a:pt x="1091" y="86"/>
                  </a:cubicBezTo>
                  <a:cubicBezTo>
                    <a:pt x="1101" y="74"/>
                    <a:pt x="1113" y="56"/>
                    <a:pt x="1113" y="46"/>
                  </a:cubicBezTo>
                  <a:cubicBezTo>
                    <a:pt x="1113" y="36"/>
                    <a:pt x="1109" y="23"/>
                    <a:pt x="1098" y="18"/>
                  </a:cubicBezTo>
                  <a:cubicBezTo>
                    <a:pt x="1087" y="13"/>
                    <a:pt x="1068" y="14"/>
                    <a:pt x="1061" y="7"/>
                  </a:cubicBezTo>
                  <a:cubicBezTo>
                    <a:pt x="1054" y="0"/>
                    <a:pt x="1033" y="2"/>
                    <a:pt x="1020" y="2"/>
                  </a:cubicBezTo>
                  <a:cubicBezTo>
                    <a:pt x="1007" y="2"/>
                    <a:pt x="1009" y="10"/>
                    <a:pt x="990" y="12"/>
                  </a:cubicBezTo>
                  <a:cubicBezTo>
                    <a:pt x="971" y="14"/>
                    <a:pt x="974" y="28"/>
                    <a:pt x="954" y="29"/>
                  </a:cubicBezTo>
                  <a:cubicBezTo>
                    <a:pt x="934" y="30"/>
                    <a:pt x="924" y="34"/>
                    <a:pt x="922" y="44"/>
                  </a:cubicBezTo>
                  <a:cubicBezTo>
                    <a:pt x="920" y="54"/>
                    <a:pt x="930" y="65"/>
                    <a:pt x="915" y="65"/>
                  </a:cubicBezTo>
                  <a:cubicBezTo>
                    <a:pt x="900" y="65"/>
                    <a:pt x="895" y="60"/>
                    <a:pt x="891" y="67"/>
                  </a:cubicBezTo>
                  <a:cubicBezTo>
                    <a:pt x="887" y="74"/>
                    <a:pt x="880" y="75"/>
                    <a:pt x="869" y="75"/>
                  </a:cubicBezTo>
                  <a:cubicBezTo>
                    <a:pt x="858" y="75"/>
                    <a:pt x="837" y="81"/>
                    <a:pt x="828" y="87"/>
                  </a:cubicBezTo>
                  <a:cubicBezTo>
                    <a:pt x="819" y="93"/>
                    <a:pt x="801" y="98"/>
                    <a:pt x="787" y="98"/>
                  </a:cubicBezTo>
                  <a:cubicBezTo>
                    <a:pt x="773" y="98"/>
                    <a:pt x="768" y="95"/>
                    <a:pt x="757" y="105"/>
                  </a:cubicBezTo>
                  <a:cubicBezTo>
                    <a:pt x="746" y="115"/>
                    <a:pt x="736" y="112"/>
                    <a:pt x="720" y="112"/>
                  </a:cubicBezTo>
                  <a:cubicBezTo>
                    <a:pt x="704" y="112"/>
                    <a:pt x="700" y="112"/>
                    <a:pt x="688" y="106"/>
                  </a:cubicBezTo>
                  <a:cubicBezTo>
                    <a:pt x="676" y="100"/>
                    <a:pt x="654" y="97"/>
                    <a:pt x="646" y="97"/>
                  </a:cubicBezTo>
                  <a:cubicBezTo>
                    <a:pt x="638" y="97"/>
                    <a:pt x="611" y="102"/>
                    <a:pt x="610" y="112"/>
                  </a:cubicBezTo>
                  <a:cubicBezTo>
                    <a:pt x="609" y="122"/>
                    <a:pt x="598" y="136"/>
                    <a:pt x="589" y="127"/>
                  </a:cubicBezTo>
                  <a:cubicBezTo>
                    <a:pt x="580" y="118"/>
                    <a:pt x="564" y="116"/>
                    <a:pt x="561" y="131"/>
                  </a:cubicBezTo>
                  <a:cubicBezTo>
                    <a:pt x="558" y="146"/>
                    <a:pt x="555" y="141"/>
                    <a:pt x="540" y="143"/>
                  </a:cubicBezTo>
                  <a:cubicBezTo>
                    <a:pt x="525" y="145"/>
                    <a:pt x="525" y="151"/>
                    <a:pt x="520" y="154"/>
                  </a:cubicBezTo>
                  <a:cubicBezTo>
                    <a:pt x="515" y="157"/>
                    <a:pt x="509" y="159"/>
                    <a:pt x="502" y="149"/>
                  </a:cubicBezTo>
                  <a:cubicBezTo>
                    <a:pt x="495" y="139"/>
                    <a:pt x="483" y="143"/>
                    <a:pt x="481" y="151"/>
                  </a:cubicBezTo>
                  <a:cubicBezTo>
                    <a:pt x="479" y="159"/>
                    <a:pt x="469" y="153"/>
                    <a:pt x="466" y="163"/>
                  </a:cubicBezTo>
                  <a:cubicBezTo>
                    <a:pt x="463" y="173"/>
                    <a:pt x="462" y="177"/>
                    <a:pt x="450" y="177"/>
                  </a:cubicBezTo>
                  <a:cubicBezTo>
                    <a:pt x="438" y="177"/>
                    <a:pt x="426" y="179"/>
                    <a:pt x="424" y="186"/>
                  </a:cubicBezTo>
                  <a:cubicBezTo>
                    <a:pt x="422" y="193"/>
                    <a:pt x="402" y="193"/>
                    <a:pt x="402" y="207"/>
                  </a:cubicBezTo>
                  <a:cubicBezTo>
                    <a:pt x="402" y="221"/>
                    <a:pt x="399" y="216"/>
                    <a:pt x="382" y="217"/>
                  </a:cubicBezTo>
                  <a:cubicBezTo>
                    <a:pt x="365" y="218"/>
                    <a:pt x="351" y="220"/>
                    <a:pt x="349" y="229"/>
                  </a:cubicBezTo>
                  <a:cubicBezTo>
                    <a:pt x="347" y="238"/>
                    <a:pt x="351" y="249"/>
                    <a:pt x="337" y="249"/>
                  </a:cubicBezTo>
                  <a:cubicBezTo>
                    <a:pt x="323" y="249"/>
                    <a:pt x="314" y="233"/>
                    <a:pt x="301" y="239"/>
                  </a:cubicBezTo>
                  <a:cubicBezTo>
                    <a:pt x="288" y="245"/>
                    <a:pt x="282" y="264"/>
                    <a:pt x="299" y="265"/>
                  </a:cubicBezTo>
                  <a:cubicBezTo>
                    <a:pt x="316" y="266"/>
                    <a:pt x="323" y="272"/>
                    <a:pt x="318" y="280"/>
                  </a:cubicBezTo>
                  <a:cubicBezTo>
                    <a:pt x="313" y="288"/>
                    <a:pt x="294" y="281"/>
                    <a:pt x="293" y="289"/>
                  </a:cubicBezTo>
                  <a:cubicBezTo>
                    <a:pt x="292" y="297"/>
                    <a:pt x="295" y="305"/>
                    <a:pt x="283" y="307"/>
                  </a:cubicBezTo>
                  <a:cubicBezTo>
                    <a:pt x="271" y="309"/>
                    <a:pt x="262" y="315"/>
                    <a:pt x="266" y="322"/>
                  </a:cubicBezTo>
                  <a:cubicBezTo>
                    <a:pt x="270" y="329"/>
                    <a:pt x="266" y="338"/>
                    <a:pt x="258" y="341"/>
                  </a:cubicBezTo>
                  <a:cubicBezTo>
                    <a:pt x="250" y="344"/>
                    <a:pt x="275" y="355"/>
                    <a:pt x="263" y="359"/>
                  </a:cubicBezTo>
                  <a:cubicBezTo>
                    <a:pt x="251" y="363"/>
                    <a:pt x="268" y="371"/>
                    <a:pt x="247" y="373"/>
                  </a:cubicBezTo>
                  <a:cubicBezTo>
                    <a:pt x="226" y="375"/>
                    <a:pt x="228" y="369"/>
                    <a:pt x="223" y="377"/>
                  </a:cubicBezTo>
                  <a:cubicBezTo>
                    <a:pt x="218" y="385"/>
                    <a:pt x="220" y="396"/>
                    <a:pt x="204" y="399"/>
                  </a:cubicBezTo>
                  <a:cubicBezTo>
                    <a:pt x="188" y="402"/>
                    <a:pt x="179" y="405"/>
                    <a:pt x="177" y="412"/>
                  </a:cubicBezTo>
                  <a:cubicBezTo>
                    <a:pt x="175" y="419"/>
                    <a:pt x="154" y="411"/>
                    <a:pt x="153" y="420"/>
                  </a:cubicBezTo>
                  <a:cubicBezTo>
                    <a:pt x="152" y="429"/>
                    <a:pt x="142" y="427"/>
                    <a:pt x="164" y="436"/>
                  </a:cubicBezTo>
                  <a:cubicBezTo>
                    <a:pt x="186" y="445"/>
                    <a:pt x="189" y="450"/>
                    <a:pt x="196" y="442"/>
                  </a:cubicBezTo>
                  <a:cubicBezTo>
                    <a:pt x="203" y="434"/>
                    <a:pt x="205" y="430"/>
                    <a:pt x="220" y="430"/>
                  </a:cubicBezTo>
                  <a:cubicBezTo>
                    <a:pt x="235" y="430"/>
                    <a:pt x="238" y="429"/>
                    <a:pt x="235" y="437"/>
                  </a:cubicBezTo>
                  <a:cubicBezTo>
                    <a:pt x="232" y="445"/>
                    <a:pt x="212" y="442"/>
                    <a:pt x="206" y="446"/>
                  </a:cubicBezTo>
                  <a:cubicBezTo>
                    <a:pt x="200" y="450"/>
                    <a:pt x="194" y="452"/>
                    <a:pt x="194" y="458"/>
                  </a:cubicBezTo>
                  <a:cubicBezTo>
                    <a:pt x="194" y="464"/>
                    <a:pt x="207" y="471"/>
                    <a:pt x="194" y="476"/>
                  </a:cubicBezTo>
                  <a:cubicBezTo>
                    <a:pt x="181" y="481"/>
                    <a:pt x="169" y="482"/>
                    <a:pt x="155" y="483"/>
                  </a:cubicBezTo>
                  <a:cubicBezTo>
                    <a:pt x="141" y="484"/>
                    <a:pt x="145" y="490"/>
                    <a:pt x="133" y="490"/>
                  </a:cubicBezTo>
                  <a:cubicBezTo>
                    <a:pt x="121" y="490"/>
                    <a:pt x="116" y="494"/>
                    <a:pt x="116" y="500"/>
                  </a:cubicBezTo>
                  <a:cubicBezTo>
                    <a:pt x="116" y="506"/>
                    <a:pt x="125" y="509"/>
                    <a:pt x="126" y="516"/>
                  </a:cubicBezTo>
                  <a:cubicBezTo>
                    <a:pt x="127" y="523"/>
                    <a:pt x="124" y="524"/>
                    <a:pt x="112" y="524"/>
                  </a:cubicBezTo>
                  <a:cubicBezTo>
                    <a:pt x="100" y="524"/>
                    <a:pt x="91" y="523"/>
                    <a:pt x="83" y="531"/>
                  </a:cubicBezTo>
                  <a:cubicBezTo>
                    <a:pt x="75" y="539"/>
                    <a:pt x="64" y="556"/>
                    <a:pt x="81" y="558"/>
                  </a:cubicBezTo>
                  <a:cubicBezTo>
                    <a:pt x="98" y="560"/>
                    <a:pt x="109" y="557"/>
                    <a:pt x="108" y="563"/>
                  </a:cubicBezTo>
                  <a:cubicBezTo>
                    <a:pt x="107" y="569"/>
                    <a:pt x="91" y="570"/>
                    <a:pt x="90" y="583"/>
                  </a:cubicBezTo>
                  <a:cubicBezTo>
                    <a:pt x="90" y="583"/>
                    <a:pt x="88" y="598"/>
                    <a:pt x="80" y="598"/>
                  </a:cubicBezTo>
                  <a:cubicBezTo>
                    <a:pt x="72" y="598"/>
                    <a:pt x="69" y="603"/>
                    <a:pt x="70" y="610"/>
                  </a:cubicBezTo>
                  <a:cubicBezTo>
                    <a:pt x="71" y="617"/>
                    <a:pt x="65" y="623"/>
                    <a:pt x="50" y="622"/>
                  </a:cubicBezTo>
                  <a:cubicBezTo>
                    <a:pt x="35" y="621"/>
                    <a:pt x="21" y="624"/>
                    <a:pt x="17" y="63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582" name="Freeform 25515"/>
            <p:cNvSpPr>
              <a:spLocks/>
            </p:cNvSpPr>
            <p:nvPr/>
          </p:nvSpPr>
          <p:spPr bwMode="auto">
            <a:xfrm>
              <a:off x="5942000" y="1653215"/>
              <a:ext cx="43562" cy="23201"/>
            </a:xfrm>
            <a:custGeom>
              <a:avLst/>
              <a:gdLst>
                <a:gd name="T0" fmla="*/ 14 w 117"/>
                <a:gd name="T1" fmla="*/ 59 h 62"/>
                <a:gd name="T2" fmla="*/ 60 w 117"/>
                <a:gd name="T3" fmla="*/ 54 h 62"/>
                <a:gd name="T4" fmla="*/ 92 w 117"/>
                <a:gd name="T5" fmla="*/ 51 h 62"/>
                <a:gd name="T6" fmla="*/ 111 w 117"/>
                <a:gd name="T7" fmla="*/ 35 h 62"/>
                <a:gd name="T8" fmla="*/ 91 w 117"/>
                <a:gd name="T9" fmla="*/ 16 h 62"/>
                <a:gd name="T10" fmla="*/ 50 w 117"/>
                <a:gd name="T11" fmla="*/ 6 h 62"/>
                <a:gd name="T12" fmla="*/ 25 w 117"/>
                <a:gd name="T13" fmla="*/ 8 h 62"/>
                <a:gd name="T14" fmla="*/ 10 w 117"/>
                <a:gd name="T15" fmla="*/ 21 h 62"/>
                <a:gd name="T16" fmla="*/ 14 w 117"/>
                <a:gd name="T17" fmla="*/ 59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7" h="62">
                  <a:moveTo>
                    <a:pt x="14" y="59"/>
                  </a:moveTo>
                  <a:cubicBezTo>
                    <a:pt x="28" y="61"/>
                    <a:pt x="56" y="62"/>
                    <a:pt x="60" y="54"/>
                  </a:cubicBezTo>
                  <a:cubicBezTo>
                    <a:pt x="64" y="46"/>
                    <a:pt x="79" y="51"/>
                    <a:pt x="92" y="51"/>
                  </a:cubicBezTo>
                  <a:cubicBezTo>
                    <a:pt x="105" y="51"/>
                    <a:pt x="117" y="41"/>
                    <a:pt x="111" y="35"/>
                  </a:cubicBezTo>
                  <a:cubicBezTo>
                    <a:pt x="105" y="29"/>
                    <a:pt x="99" y="22"/>
                    <a:pt x="91" y="16"/>
                  </a:cubicBezTo>
                  <a:cubicBezTo>
                    <a:pt x="83" y="10"/>
                    <a:pt x="73" y="0"/>
                    <a:pt x="50" y="6"/>
                  </a:cubicBezTo>
                  <a:cubicBezTo>
                    <a:pt x="50" y="6"/>
                    <a:pt x="31" y="2"/>
                    <a:pt x="25" y="8"/>
                  </a:cubicBezTo>
                  <a:cubicBezTo>
                    <a:pt x="19" y="14"/>
                    <a:pt x="8" y="13"/>
                    <a:pt x="10" y="21"/>
                  </a:cubicBezTo>
                  <a:cubicBezTo>
                    <a:pt x="12" y="29"/>
                    <a:pt x="0" y="57"/>
                    <a:pt x="14" y="5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583" name="Freeform 25516"/>
            <p:cNvSpPr>
              <a:spLocks/>
            </p:cNvSpPr>
            <p:nvPr/>
          </p:nvSpPr>
          <p:spPr bwMode="auto">
            <a:xfrm>
              <a:off x="6042224" y="1667420"/>
              <a:ext cx="18309" cy="18625"/>
            </a:xfrm>
            <a:custGeom>
              <a:avLst/>
              <a:gdLst>
                <a:gd name="T0" fmla="*/ 9 w 49"/>
                <a:gd name="T1" fmla="*/ 30 h 50"/>
                <a:gd name="T2" fmla="*/ 44 w 49"/>
                <a:gd name="T3" fmla="*/ 38 h 50"/>
                <a:gd name="T4" fmla="*/ 37 w 49"/>
                <a:gd name="T5" fmla="*/ 13 h 50"/>
                <a:gd name="T6" fmla="*/ 12 w 49"/>
                <a:gd name="T7" fmla="*/ 8 h 50"/>
                <a:gd name="T8" fmla="*/ 9 w 49"/>
                <a:gd name="T9" fmla="*/ 3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50">
                  <a:moveTo>
                    <a:pt x="9" y="30"/>
                  </a:moveTo>
                  <a:cubicBezTo>
                    <a:pt x="18" y="36"/>
                    <a:pt x="44" y="50"/>
                    <a:pt x="44" y="38"/>
                  </a:cubicBezTo>
                  <a:cubicBezTo>
                    <a:pt x="44" y="26"/>
                    <a:pt x="49" y="18"/>
                    <a:pt x="37" y="13"/>
                  </a:cubicBezTo>
                  <a:cubicBezTo>
                    <a:pt x="25" y="8"/>
                    <a:pt x="14" y="0"/>
                    <a:pt x="12" y="8"/>
                  </a:cubicBezTo>
                  <a:cubicBezTo>
                    <a:pt x="12" y="8"/>
                    <a:pt x="0" y="24"/>
                    <a:pt x="9" y="3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584" name="Freeform 25517"/>
            <p:cNvSpPr>
              <a:spLocks/>
            </p:cNvSpPr>
            <p:nvPr/>
          </p:nvSpPr>
          <p:spPr bwMode="auto">
            <a:xfrm>
              <a:off x="6070634" y="1650690"/>
              <a:ext cx="34723" cy="11522"/>
            </a:xfrm>
            <a:custGeom>
              <a:avLst/>
              <a:gdLst>
                <a:gd name="T0" fmla="*/ 18 w 93"/>
                <a:gd name="T1" fmla="*/ 27 h 31"/>
                <a:gd name="T2" fmla="*/ 54 w 93"/>
                <a:gd name="T3" fmla="*/ 15 h 31"/>
                <a:gd name="T4" fmla="*/ 89 w 93"/>
                <a:gd name="T5" fmla="*/ 14 h 31"/>
                <a:gd name="T6" fmla="*/ 34 w 93"/>
                <a:gd name="T7" fmla="*/ 3 h 31"/>
                <a:gd name="T8" fmla="*/ 6 w 93"/>
                <a:gd name="T9" fmla="*/ 12 h 31"/>
                <a:gd name="T10" fmla="*/ 18 w 93"/>
                <a:gd name="T11" fmla="*/ 27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3" h="31">
                  <a:moveTo>
                    <a:pt x="18" y="27"/>
                  </a:moveTo>
                  <a:cubicBezTo>
                    <a:pt x="34" y="23"/>
                    <a:pt x="38" y="15"/>
                    <a:pt x="54" y="15"/>
                  </a:cubicBezTo>
                  <a:cubicBezTo>
                    <a:pt x="70" y="15"/>
                    <a:pt x="93" y="20"/>
                    <a:pt x="89" y="14"/>
                  </a:cubicBezTo>
                  <a:cubicBezTo>
                    <a:pt x="85" y="8"/>
                    <a:pt x="61" y="0"/>
                    <a:pt x="34" y="3"/>
                  </a:cubicBezTo>
                  <a:cubicBezTo>
                    <a:pt x="34" y="3"/>
                    <a:pt x="12" y="3"/>
                    <a:pt x="6" y="12"/>
                  </a:cubicBezTo>
                  <a:cubicBezTo>
                    <a:pt x="0" y="21"/>
                    <a:pt x="2" y="31"/>
                    <a:pt x="18" y="27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585" name="Freeform 25518"/>
            <p:cNvSpPr>
              <a:spLocks/>
            </p:cNvSpPr>
            <p:nvPr/>
          </p:nvSpPr>
          <p:spPr bwMode="auto">
            <a:xfrm>
              <a:off x="6150814" y="1668999"/>
              <a:ext cx="22412" cy="24149"/>
            </a:xfrm>
            <a:custGeom>
              <a:avLst/>
              <a:gdLst>
                <a:gd name="T0" fmla="*/ 20 w 60"/>
                <a:gd name="T1" fmla="*/ 57 h 65"/>
                <a:gd name="T2" fmla="*/ 56 w 60"/>
                <a:gd name="T3" fmla="*/ 57 h 65"/>
                <a:gd name="T4" fmla="*/ 51 w 60"/>
                <a:gd name="T5" fmla="*/ 32 h 65"/>
                <a:gd name="T6" fmla="*/ 25 w 60"/>
                <a:gd name="T7" fmla="*/ 14 h 65"/>
                <a:gd name="T8" fmla="*/ 12 w 60"/>
                <a:gd name="T9" fmla="*/ 30 h 65"/>
                <a:gd name="T10" fmla="*/ 4 w 60"/>
                <a:gd name="T11" fmla="*/ 44 h 65"/>
                <a:gd name="T12" fmla="*/ 20 w 60"/>
                <a:gd name="T13" fmla="*/ 57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65">
                  <a:moveTo>
                    <a:pt x="20" y="57"/>
                  </a:moveTo>
                  <a:cubicBezTo>
                    <a:pt x="33" y="57"/>
                    <a:pt x="56" y="65"/>
                    <a:pt x="56" y="57"/>
                  </a:cubicBezTo>
                  <a:cubicBezTo>
                    <a:pt x="56" y="49"/>
                    <a:pt x="60" y="35"/>
                    <a:pt x="51" y="32"/>
                  </a:cubicBezTo>
                  <a:cubicBezTo>
                    <a:pt x="42" y="29"/>
                    <a:pt x="33" y="0"/>
                    <a:pt x="25" y="14"/>
                  </a:cubicBezTo>
                  <a:cubicBezTo>
                    <a:pt x="25" y="14"/>
                    <a:pt x="17" y="27"/>
                    <a:pt x="12" y="30"/>
                  </a:cubicBezTo>
                  <a:cubicBezTo>
                    <a:pt x="7" y="33"/>
                    <a:pt x="0" y="39"/>
                    <a:pt x="4" y="44"/>
                  </a:cubicBezTo>
                  <a:cubicBezTo>
                    <a:pt x="8" y="49"/>
                    <a:pt x="7" y="57"/>
                    <a:pt x="20" y="57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586" name="Freeform 25519"/>
            <p:cNvSpPr>
              <a:spLocks/>
            </p:cNvSpPr>
            <p:nvPr/>
          </p:nvSpPr>
          <p:spPr bwMode="auto">
            <a:xfrm>
              <a:off x="6159022" y="1601446"/>
              <a:ext cx="13416" cy="6629"/>
            </a:xfrm>
            <a:custGeom>
              <a:avLst/>
              <a:gdLst>
                <a:gd name="T0" fmla="*/ 14 w 36"/>
                <a:gd name="T1" fmla="*/ 15 h 18"/>
                <a:gd name="T2" fmla="*/ 36 w 36"/>
                <a:gd name="T3" fmla="*/ 13 h 18"/>
                <a:gd name="T4" fmla="*/ 15 w 36"/>
                <a:gd name="T5" fmla="*/ 4 h 18"/>
                <a:gd name="T6" fmla="*/ 14 w 36"/>
                <a:gd name="T7" fmla="*/ 15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6" h="18">
                  <a:moveTo>
                    <a:pt x="14" y="15"/>
                  </a:moveTo>
                  <a:cubicBezTo>
                    <a:pt x="28" y="18"/>
                    <a:pt x="36" y="13"/>
                    <a:pt x="36" y="13"/>
                  </a:cubicBezTo>
                  <a:cubicBezTo>
                    <a:pt x="36" y="13"/>
                    <a:pt x="36" y="0"/>
                    <a:pt x="15" y="4"/>
                  </a:cubicBezTo>
                  <a:cubicBezTo>
                    <a:pt x="15" y="4"/>
                    <a:pt x="0" y="12"/>
                    <a:pt x="14" y="1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587" name="Freeform 25521"/>
            <p:cNvSpPr>
              <a:spLocks/>
            </p:cNvSpPr>
            <p:nvPr/>
          </p:nvSpPr>
          <p:spPr bwMode="auto">
            <a:xfrm>
              <a:off x="6217894" y="1557726"/>
              <a:ext cx="21307" cy="20992"/>
            </a:xfrm>
            <a:custGeom>
              <a:avLst/>
              <a:gdLst>
                <a:gd name="T0" fmla="*/ 17 w 57"/>
                <a:gd name="T1" fmla="*/ 40 h 56"/>
                <a:gd name="T2" fmla="*/ 32 w 57"/>
                <a:gd name="T3" fmla="*/ 48 h 56"/>
                <a:gd name="T4" fmla="*/ 47 w 57"/>
                <a:gd name="T5" fmla="*/ 38 h 56"/>
                <a:gd name="T6" fmla="*/ 48 w 57"/>
                <a:gd name="T7" fmla="*/ 29 h 56"/>
                <a:gd name="T8" fmla="*/ 38 w 57"/>
                <a:gd name="T9" fmla="*/ 3 h 56"/>
                <a:gd name="T10" fmla="*/ 28 w 57"/>
                <a:gd name="T11" fmla="*/ 5 h 56"/>
                <a:gd name="T12" fmla="*/ 20 w 57"/>
                <a:gd name="T13" fmla="*/ 22 h 56"/>
                <a:gd name="T14" fmla="*/ 1 w 57"/>
                <a:gd name="T15" fmla="*/ 28 h 56"/>
                <a:gd name="T16" fmla="*/ 17 w 57"/>
                <a:gd name="T17" fmla="*/ 4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7" h="56">
                  <a:moveTo>
                    <a:pt x="17" y="40"/>
                  </a:moveTo>
                  <a:cubicBezTo>
                    <a:pt x="18" y="50"/>
                    <a:pt x="31" y="56"/>
                    <a:pt x="32" y="48"/>
                  </a:cubicBezTo>
                  <a:cubicBezTo>
                    <a:pt x="33" y="40"/>
                    <a:pt x="37" y="37"/>
                    <a:pt x="47" y="38"/>
                  </a:cubicBezTo>
                  <a:cubicBezTo>
                    <a:pt x="57" y="39"/>
                    <a:pt x="53" y="31"/>
                    <a:pt x="48" y="29"/>
                  </a:cubicBezTo>
                  <a:cubicBezTo>
                    <a:pt x="43" y="27"/>
                    <a:pt x="48" y="1"/>
                    <a:pt x="38" y="3"/>
                  </a:cubicBezTo>
                  <a:cubicBezTo>
                    <a:pt x="28" y="5"/>
                    <a:pt x="27" y="0"/>
                    <a:pt x="28" y="5"/>
                  </a:cubicBezTo>
                  <a:cubicBezTo>
                    <a:pt x="28" y="5"/>
                    <a:pt x="35" y="23"/>
                    <a:pt x="20" y="22"/>
                  </a:cubicBezTo>
                  <a:cubicBezTo>
                    <a:pt x="5" y="21"/>
                    <a:pt x="0" y="23"/>
                    <a:pt x="1" y="28"/>
                  </a:cubicBezTo>
                  <a:cubicBezTo>
                    <a:pt x="2" y="33"/>
                    <a:pt x="16" y="30"/>
                    <a:pt x="17" y="4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588" name="Freeform 25522"/>
            <p:cNvSpPr>
              <a:spLocks/>
            </p:cNvSpPr>
            <p:nvPr/>
          </p:nvSpPr>
          <p:spPr bwMode="auto">
            <a:xfrm>
              <a:off x="6235413" y="1623385"/>
              <a:ext cx="9312" cy="7103"/>
            </a:xfrm>
            <a:custGeom>
              <a:avLst/>
              <a:gdLst>
                <a:gd name="T0" fmla="*/ 14 w 25"/>
                <a:gd name="T1" fmla="*/ 1 h 19"/>
                <a:gd name="T2" fmla="*/ 4 w 25"/>
                <a:gd name="T3" fmla="*/ 8 h 19"/>
                <a:gd name="T4" fmla="*/ 24 w 25"/>
                <a:gd name="T5" fmla="*/ 11 h 19"/>
                <a:gd name="T6" fmla="*/ 14 w 25"/>
                <a:gd name="T7" fmla="*/ 1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" h="19">
                  <a:moveTo>
                    <a:pt x="14" y="1"/>
                  </a:moveTo>
                  <a:cubicBezTo>
                    <a:pt x="14" y="1"/>
                    <a:pt x="0" y="5"/>
                    <a:pt x="4" y="8"/>
                  </a:cubicBezTo>
                  <a:cubicBezTo>
                    <a:pt x="8" y="11"/>
                    <a:pt x="25" y="19"/>
                    <a:pt x="24" y="11"/>
                  </a:cubicBezTo>
                  <a:cubicBezTo>
                    <a:pt x="23" y="3"/>
                    <a:pt x="23" y="0"/>
                    <a:pt x="14" y="1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589" name="Freeform 25523"/>
            <p:cNvSpPr>
              <a:spLocks/>
            </p:cNvSpPr>
            <p:nvPr/>
          </p:nvSpPr>
          <p:spPr bwMode="auto">
            <a:xfrm>
              <a:off x="6248829" y="1622280"/>
              <a:ext cx="15626" cy="10417"/>
            </a:xfrm>
            <a:custGeom>
              <a:avLst/>
              <a:gdLst>
                <a:gd name="T0" fmla="*/ 28 w 42"/>
                <a:gd name="T1" fmla="*/ 5 h 28"/>
                <a:gd name="T2" fmla="*/ 7 w 42"/>
                <a:gd name="T3" fmla="*/ 5 h 28"/>
                <a:gd name="T4" fmla="*/ 7 w 42"/>
                <a:gd name="T5" fmla="*/ 20 h 28"/>
                <a:gd name="T6" fmla="*/ 33 w 42"/>
                <a:gd name="T7" fmla="*/ 25 h 28"/>
                <a:gd name="T8" fmla="*/ 42 w 42"/>
                <a:gd name="T9" fmla="*/ 20 h 28"/>
                <a:gd name="T10" fmla="*/ 28 w 42"/>
                <a:gd name="T11" fmla="*/ 5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" h="28">
                  <a:moveTo>
                    <a:pt x="28" y="5"/>
                  </a:moveTo>
                  <a:cubicBezTo>
                    <a:pt x="18" y="7"/>
                    <a:pt x="13" y="0"/>
                    <a:pt x="7" y="5"/>
                  </a:cubicBezTo>
                  <a:cubicBezTo>
                    <a:pt x="7" y="5"/>
                    <a:pt x="0" y="20"/>
                    <a:pt x="7" y="20"/>
                  </a:cubicBezTo>
                  <a:cubicBezTo>
                    <a:pt x="14" y="20"/>
                    <a:pt x="29" y="22"/>
                    <a:pt x="33" y="25"/>
                  </a:cubicBezTo>
                  <a:cubicBezTo>
                    <a:pt x="37" y="28"/>
                    <a:pt x="42" y="27"/>
                    <a:pt x="42" y="20"/>
                  </a:cubicBezTo>
                  <a:cubicBezTo>
                    <a:pt x="42" y="13"/>
                    <a:pt x="38" y="3"/>
                    <a:pt x="28" y="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590" name="Freeform 25524"/>
            <p:cNvSpPr>
              <a:spLocks/>
            </p:cNvSpPr>
            <p:nvPr/>
          </p:nvSpPr>
          <p:spPr bwMode="auto">
            <a:xfrm>
              <a:off x="6273924" y="1628593"/>
              <a:ext cx="17046" cy="7892"/>
            </a:xfrm>
            <a:custGeom>
              <a:avLst/>
              <a:gdLst>
                <a:gd name="T0" fmla="*/ 13 w 46"/>
                <a:gd name="T1" fmla="*/ 13 h 21"/>
                <a:gd name="T2" fmla="*/ 44 w 46"/>
                <a:gd name="T3" fmla="*/ 18 h 21"/>
                <a:gd name="T4" fmla="*/ 31 w 46"/>
                <a:gd name="T5" fmla="*/ 8 h 21"/>
                <a:gd name="T6" fmla="*/ 15 w 46"/>
                <a:gd name="T7" fmla="*/ 1 h 21"/>
                <a:gd name="T8" fmla="*/ 13 w 46"/>
                <a:gd name="T9" fmla="*/ 13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" h="21">
                  <a:moveTo>
                    <a:pt x="13" y="13"/>
                  </a:moveTo>
                  <a:cubicBezTo>
                    <a:pt x="26" y="13"/>
                    <a:pt x="42" y="21"/>
                    <a:pt x="44" y="18"/>
                  </a:cubicBezTo>
                  <a:cubicBezTo>
                    <a:pt x="46" y="15"/>
                    <a:pt x="40" y="11"/>
                    <a:pt x="31" y="8"/>
                  </a:cubicBezTo>
                  <a:cubicBezTo>
                    <a:pt x="22" y="5"/>
                    <a:pt x="22" y="0"/>
                    <a:pt x="15" y="1"/>
                  </a:cubicBezTo>
                  <a:cubicBezTo>
                    <a:pt x="15" y="1"/>
                    <a:pt x="0" y="13"/>
                    <a:pt x="13" y="13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591" name="Freeform 25525"/>
            <p:cNvSpPr>
              <a:spLocks/>
            </p:cNvSpPr>
            <p:nvPr/>
          </p:nvSpPr>
          <p:spPr bwMode="auto">
            <a:xfrm>
              <a:off x="6286235" y="1608075"/>
              <a:ext cx="15941" cy="8997"/>
            </a:xfrm>
            <a:custGeom>
              <a:avLst/>
              <a:gdLst>
                <a:gd name="T0" fmla="*/ 12 w 43"/>
                <a:gd name="T1" fmla="*/ 13 h 24"/>
                <a:gd name="T2" fmla="*/ 27 w 43"/>
                <a:gd name="T3" fmla="*/ 15 h 24"/>
                <a:gd name="T4" fmla="*/ 32 w 43"/>
                <a:gd name="T5" fmla="*/ 3 h 24"/>
                <a:gd name="T6" fmla="*/ 13 w 43"/>
                <a:gd name="T7" fmla="*/ 0 h 24"/>
                <a:gd name="T8" fmla="*/ 12 w 43"/>
                <a:gd name="T9" fmla="*/ 1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" h="24">
                  <a:moveTo>
                    <a:pt x="12" y="13"/>
                  </a:moveTo>
                  <a:cubicBezTo>
                    <a:pt x="24" y="24"/>
                    <a:pt x="25" y="23"/>
                    <a:pt x="27" y="15"/>
                  </a:cubicBezTo>
                  <a:cubicBezTo>
                    <a:pt x="29" y="7"/>
                    <a:pt x="43" y="5"/>
                    <a:pt x="32" y="3"/>
                  </a:cubicBezTo>
                  <a:cubicBezTo>
                    <a:pt x="21" y="1"/>
                    <a:pt x="19" y="0"/>
                    <a:pt x="13" y="0"/>
                  </a:cubicBezTo>
                  <a:cubicBezTo>
                    <a:pt x="13" y="0"/>
                    <a:pt x="0" y="2"/>
                    <a:pt x="12" y="13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592" name="Freeform 25526"/>
            <p:cNvSpPr>
              <a:spLocks/>
            </p:cNvSpPr>
            <p:nvPr/>
          </p:nvSpPr>
          <p:spPr bwMode="auto">
            <a:xfrm>
              <a:off x="6303281" y="1592923"/>
              <a:ext cx="14205" cy="7734"/>
            </a:xfrm>
            <a:custGeom>
              <a:avLst/>
              <a:gdLst>
                <a:gd name="T0" fmla="*/ 13 w 38"/>
                <a:gd name="T1" fmla="*/ 14 h 21"/>
                <a:gd name="T2" fmla="*/ 37 w 38"/>
                <a:gd name="T3" fmla="*/ 13 h 21"/>
                <a:gd name="T4" fmla="*/ 14 w 38"/>
                <a:gd name="T5" fmla="*/ 0 h 21"/>
                <a:gd name="T6" fmla="*/ 13 w 38"/>
                <a:gd name="T7" fmla="*/ 14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8" h="21">
                  <a:moveTo>
                    <a:pt x="13" y="14"/>
                  </a:moveTo>
                  <a:cubicBezTo>
                    <a:pt x="26" y="18"/>
                    <a:pt x="36" y="21"/>
                    <a:pt x="37" y="13"/>
                  </a:cubicBezTo>
                  <a:cubicBezTo>
                    <a:pt x="38" y="5"/>
                    <a:pt x="32" y="0"/>
                    <a:pt x="14" y="0"/>
                  </a:cubicBezTo>
                  <a:cubicBezTo>
                    <a:pt x="14" y="0"/>
                    <a:pt x="0" y="10"/>
                    <a:pt x="13" y="14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593" name="Freeform 25527"/>
            <p:cNvSpPr>
              <a:spLocks/>
            </p:cNvSpPr>
            <p:nvPr/>
          </p:nvSpPr>
          <p:spPr bwMode="auto">
            <a:xfrm>
              <a:off x="6303755" y="1602866"/>
              <a:ext cx="19256" cy="9786"/>
            </a:xfrm>
            <a:custGeom>
              <a:avLst/>
              <a:gdLst>
                <a:gd name="T0" fmla="*/ 11 w 52"/>
                <a:gd name="T1" fmla="*/ 20 h 26"/>
                <a:gd name="T2" fmla="*/ 50 w 52"/>
                <a:gd name="T3" fmla="*/ 20 h 26"/>
                <a:gd name="T4" fmla="*/ 38 w 52"/>
                <a:gd name="T5" fmla="*/ 6 h 26"/>
                <a:gd name="T6" fmla="*/ 20 w 52"/>
                <a:gd name="T7" fmla="*/ 2 h 26"/>
                <a:gd name="T8" fmla="*/ 2 w 52"/>
                <a:gd name="T9" fmla="*/ 8 h 26"/>
                <a:gd name="T10" fmla="*/ 11 w 52"/>
                <a:gd name="T11" fmla="*/ 2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2" h="26">
                  <a:moveTo>
                    <a:pt x="11" y="20"/>
                  </a:moveTo>
                  <a:cubicBezTo>
                    <a:pt x="22" y="20"/>
                    <a:pt x="48" y="26"/>
                    <a:pt x="50" y="20"/>
                  </a:cubicBezTo>
                  <a:cubicBezTo>
                    <a:pt x="52" y="14"/>
                    <a:pt x="49" y="7"/>
                    <a:pt x="38" y="6"/>
                  </a:cubicBezTo>
                  <a:cubicBezTo>
                    <a:pt x="27" y="5"/>
                    <a:pt x="32" y="1"/>
                    <a:pt x="20" y="2"/>
                  </a:cubicBezTo>
                  <a:cubicBezTo>
                    <a:pt x="20" y="2"/>
                    <a:pt x="2" y="0"/>
                    <a:pt x="2" y="8"/>
                  </a:cubicBezTo>
                  <a:cubicBezTo>
                    <a:pt x="2" y="16"/>
                    <a:pt x="0" y="20"/>
                    <a:pt x="11" y="2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594" name="Freeform 25546"/>
            <p:cNvSpPr>
              <a:spLocks/>
            </p:cNvSpPr>
            <p:nvPr/>
          </p:nvSpPr>
          <p:spPr bwMode="auto">
            <a:xfrm>
              <a:off x="6924516" y="1605549"/>
              <a:ext cx="50033" cy="20834"/>
            </a:xfrm>
            <a:custGeom>
              <a:avLst/>
              <a:gdLst>
                <a:gd name="T0" fmla="*/ 120 w 134"/>
                <a:gd name="T1" fmla="*/ 8 h 56"/>
                <a:gd name="T2" fmla="*/ 100 w 134"/>
                <a:gd name="T3" fmla="*/ 10 h 56"/>
                <a:gd name="T4" fmla="*/ 83 w 134"/>
                <a:gd name="T5" fmla="*/ 8 h 56"/>
                <a:gd name="T6" fmla="*/ 63 w 134"/>
                <a:gd name="T7" fmla="*/ 1 h 56"/>
                <a:gd name="T8" fmla="*/ 46 w 134"/>
                <a:gd name="T9" fmla="*/ 9 h 56"/>
                <a:gd name="T10" fmla="*/ 26 w 134"/>
                <a:gd name="T11" fmla="*/ 22 h 56"/>
                <a:gd name="T12" fmla="*/ 6 w 134"/>
                <a:gd name="T13" fmla="*/ 30 h 56"/>
                <a:gd name="T14" fmla="*/ 27 w 134"/>
                <a:gd name="T15" fmla="*/ 39 h 56"/>
                <a:gd name="T16" fmla="*/ 47 w 134"/>
                <a:gd name="T17" fmla="*/ 48 h 56"/>
                <a:gd name="T18" fmla="*/ 66 w 134"/>
                <a:gd name="T19" fmla="*/ 56 h 56"/>
                <a:gd name="T20" fmla="*/ 96 w 134"/>
                <a:gd name="T21" fmla="*/ 50 h 56"/>
                <a:gd name="T22" fmla="*/ 120 w 134"/>
                <a:gd name="T23" fmla="*/ 40 h 56"/>
                <a:gd name="T24" fmla="*/ 128 w 134"/>
                <a:gd name="T25" fmla="*/ 29 h 56"/>
                <a:gd name="T26" fmla="*/ 132 w 134"/>
                <a:gd name="T27" fmla="*/ 18 h 56"/>
                <a:gd name="T28" fmla="*/ 120 w 134"/>
                <a:gd name="T29" fmla="*/ 8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4" h="56">
                  <a:moveTo>
                    <a:pt x="120" y="8"/>
                  </a:moveTo>
                  <a:cubicBezTo>
                    <a:pt x="112" y="8"/>
                    <a:pt x="110" y="8"/>
                    <a:pt x="100" y="10"/>
                  </a:cubicBezTo>
                  <a:cubicBezTo>
                    <a:pt x="100" y="10"/>
                    <a:pt x="87" y="13"/>
                    <a:pt x="83" y="8"/>
                  </a:cubicBezTo>
                  <a:cubicBezTo>
                    <a:pt x="79" y="4"/>
                    <a:pt x="73" y="2"/>
                    <a:pt x="63" y="1"/>
                  </a:cubicBezTo>
                  <a:cubicBezTo>
                    <a:pt x="53" y="0"/>
                    <a:pt x="49" y="5"/>
                    <a:pt x="46" y="9"/>
                  </a:cubicBezTo>
                  <a:cubicBezTo>
                    <a:pt x="44" y="13"/>
                    <a:pt x="39" y="22"/>
                    <a:pt x="26" y="22"/>
                  </a:cubicBezTo>
                  <a:cubicBezTo>
                    <a:pt x="14" y="22"/>
                    <a:pt x="0" y="26"/>
                    <a:pt x="6" y="30"/>
                  </a:cubicBezTo>
                  <a:cubicBezTo>
                    <a:pt x="11" y="33"/>
                    <a:pt x="17" y="39"/>
                    <a:pt x="27" y="39"/>
                  </a:cubicBezTo>
                  <a:cubicBezTo>
                    <a:pt x="37" y="39"/>
                    <a:pt x="42" y="44"/>
                    <a:pt x="47" y="48"/>
                  </a:cubicBezTo>
                  <a:cubicBezTo>
                    <a:pt x="52" y="52"/>
                    <a:pt x="58" y="56"/>
                    <a:pt x="66" y="56"/>
                  </a:cubicBezTo>
                  <a:cubicBezTo>
                    <a:pt x="75" y="56"/>
                    <a:pt x="93" y="55"/>
                    <a:pt x="96" y="50"/>
                  </a:cubicBezTo>
                  <a:cubicBezTo>
                    <a:pt x="100" y="44"/>
                    <a:pt x="119" y="45"/>
                    <a:pt x="120" y="40"/>
                  </a:cubicBezTo>
                  <a:cubicBezTo>
                    <a:pt x="120" y="36"/>
                    <a:pt x="123" y="30"/>
                    <a:pt x="128" y="29"/>
                  </a:cubicBezTo>
                  <a:cubicBezTo>
                    <a:pt x="134" y="28"/>
                    <a:pt x="134" y="24"/>
                    <a:pt x="132" y="18"/>
                  </a:cubicBezTo>
                  <a:cubicBezTo>
                    <a:pt x="131" y="12"/>
                    <a:pt x="128" y="8"/>
                    <a:pt x="120" y="8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595" name="Freeform 25547"/>
            <p:cNvSpPr>
              <a:spLocks/>
            </p:cNvSpPr>
            <p:nvPr/>
          </p:nvSpPr>
          <p:spPr bwMode="auto">
            <a:xfrm>
              <a:off x="7029634" y="1611074"/>
              <a:ext cx="9786" cy="7892"/>
            </a:xfrm>
            <a:custGeom>
              <a:avLst/>
              <a:gdLst>
                <a:gd name="T0" fmla="*/ 5 w 26"/>
                <a:gd name="T1" fmla="*/ 18 h 21"/>
                <a:gd name="T2" fmla="*/ 18 w 26"/>
                <a:gd name="T3" fmla="*/ 17 h 21"/>
                <a:gd name="T4" fmla="*/ 23 w 26"/>
                <a:gd name="T5" fmla="*/ 10 h 21"/>
                <a:gd name="T6" fmla="*/ 9 w 26"/>
                <a:gd name="T7" fmla="*/ 5 h 21"/>
                <a:gd name="T8" fmla="*/ 5 w 26"/>
                <a:gd name="T9" fmla="*/ 18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21">
                  <a:moveTo>
                    <a:pt x="5" y="18"/>
                  </a:moveTo>
                  <a:cubicBezTo>
                    <a:pt x="10" y="21"/>
                    <a:pt x="11" y="21"/>
                    <a:pt x="18" y="17"/>
                  </a:cubicBezTo>
                  <a:cubicBezTo>
                    <a:pt x="24" y="14"/>
                    <a:pt x="26" y="12"/>
                    <a:pt x="23" y="10"/>
                  </a:cubicBezTo>
                  <a:cubicBezTo>
                    <a:pt x="20" y="8"/>
                    <a:pt x="13" y="0"/>
                    <a:pt x="9" y="5"/>
                  </a:cubicBezTo>
                  <a:cubicBezTo>
                    <a:pt x="9" y="5"/>
                    <a:pt x="0" y="15"/>
                    <a:pt x="5" y="18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596" name="Freeform 25548"/>
            <p:cNvSpPr>
              <a:spLocks/>
            </p:cNvSpPr>
            <p:nvPr/>
          </p:nvSpPr>
          <p:spPr bwMode="auto">
            <a:xfrm>
              <a:off x="7494612" y="1543205"/>
              <a:ext cx="20202" cy="24622"/>
            </a:xfrm>
            <a:custGeom>
              <a:avLst/>
              <a:gdLst>
                <a:gd name="T0" fmla="*/ 36 w 54"/>
                <a:gd name="T1" fmla="*/ 54 h 66"/>
                <a:gd name="T2" fmla="*/ 46 w 54"/>
                <a:gd name="T3" fmla="*/ 30 h 66"/>
                <a:gd name="T4" fmla="*/ 29 w 54"/>
                <a:gd name="T5" fmla="*/ 6 h 66"/>
                <a:gd name="T6" fmla="*/ 15 w 54"/>
                <a:gd name="T7" fmla="*/ 10 h 66"/>
                <a:gd name="T8" fmla="*/ 11 w 54"/>
                <a:gd name="T9" fmla="*/ 40 h 66"/>
                <a:gd name="T10" fmla="*/ 7 w 54"/>
                <a:gd name="T11" fmla="*/ 56 h 66"/>
                <a:gd name="T12" fmla="*/ 36 w 54"/>
                <a:gd name="T13" fmla="*/ 54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" h="66">
                  <a:moveTo>
                    <a:pt x="36" y="54"/>
                  </a:moveTo>
                  <a:cubicBezTo>
                    <a:pt x="37" y="42"/>
                    <a:pt x="54" y="40"/>
                    <a:pt x="46" y="30"/>
                  </a:cubicBezTo>
                  <a:cubicBezTo>
                    <a:pt x="38" y="20"/>
                    <a:pt x="36" y="12"/>
                    <a:pt x="29" y="6"/>
                  </a:cubicBezTo>
                  <a:cubicBezTo>
                    <a:pt x="22" y="0"/>
                    <a:pt x="13" y="0"/>
                    <a:pt x="15" y="10"/>
                  </a:cubicBezTo>
                  <a:cubicBezTo>
                    <a:pt x="15" y="10"/>
                    <a:pt x="22" y="39"/>
                    <a:pt x="11" y="40"/>
                  </a:cubicBezTo>
                  <a:cubicBezTo>
                    <a:pt x="0" y="41"/>
                    <a:pt x="3" y="51"/>
                    <a:pt x="7" y="56"/>
                  </a:cubicBezTo>
                  <a:cubicBezTo>
                    <a:pt x="11" y="61"/>
                    <a:pt x="35" y="66"/>
                    <a:pt x="36" y="54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597" name="Freeform 25549"/>
            <p:cNvSpPr>
              <a:spLocks/>
            </p:cNvSpPr>
            <p:nvPr/>
          </p:nvSpPr>
          <p:spPr bwMode="auto">
            <a:xfrm>
              <a:off x="7492087" y="1614862"/>
              <a:ext cx="23833" cy="23517"/>
            </a:xfrm>
            <a:custGeom>
              <a:avLst/>
              <a:gdLst>
                <a:gd name="T0" fmla="*/ 14 w 64"/>
                <a:gd name="T1" fmla="*/ 27 h 63"/>
                <a:gd name="T2" fmla="*/ 38 w 64"/>
                <a:gd name="T3" fmla="*/ 51 h 63"/>
                <a:gd name="T4" fmla="*/ 64 w 64"/>
                <a:gd name="T5" fmla="*/ 54 h 63"/>
                <a:gd name="T6" fmla="*/ 49 w 64"/>
                <a:gd name="T7" fmla="*/ 35 h 63"/>
                <a:gd name="T8" fmla="*/ 10 w 64"/>
                <a:gd name="T9" fmla="*/ 6 h 63"/>
                <a:gd name="T10" fmla="*/ 14 w 64"/>
                <a:gd name="T11" fmla="*/ 2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4" h="63">
                  <a:moveTo>
                    <a:pt x="14" y="27"/>
                  </a:moveTo>
                  <a:cubicBezTo>
                    <a:pt x="28" y="36"/>
                    <a:pt x="31" y="39"/>
                    <a:pt x="38" y="51"/>
                  </a:cubicBezTo>
                  <a:cubicBezTo>
                    <a:pt x="45" y="63"/>
                    <a:pt x="64" y="61"/>
                    <a:pt x="64" y="54"/>
                  </a:cubicBezTo>
                  <a:cubicBezTo>
                    <a:pt x="64" y="47"/>
                    <a:pt x="59" y="44"/>
                    <a:pt x="49" y="35"/>
                  </a:cubicBezTo>
                  <a:cubicBezTo>
                    <a:pt x="39" y="26"/>
                    <a:pt x="17" y="0"/>
                    <a:pt x="10" y="6"/>
                  </a:cubicBezTo>
                  <a:cubicBezTo>
                    <a:pt x="10" y="6"/>
                    <a:pt x="0" y="18"/>
                    <a:pt x="14" y="27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598" name="Freeform 25550"/>
            <p:cNvSpPr>
              <a:spLocks/>
            </p:cNvSpPr>
            <p:nvPr/>
          </p:nvSpPr>
          <p:spPr bwMode="auto">
            <a:xfrm>
              <a:off x="7606201" y="1615651"/>
              <a:ext cx="26832" cy="21150"/>
            </a:xfrm>
            <a:custGeom>
              <a:avLst/>
              <a:gdLst>
                <a:gd name="T0" fmla="*/ 40 w 72"/>
                <a:gd name="T1" fmla="*/ 51 h 57"/>
                <a:gd name="T2" fmla="*/ 61 w 72"/>
                <a:gd name="T3" fmla="*/ 38 h 57"/>
                <a:gd name="T4" fmla="*/ 71 w 72"/>
                <a:gd name="T5" fmla="*/ 22 h 57"/>
                <a:gd name="T6" fmla="*/ 56 w 72"/>
                <a:gd name="T7" fmla="*/ 7 h 57"/>
                <a:gd name="T8" fmla="*/ 25 w 72"/>
                <a:gd name="T9" fmla="*/ 7 h 57"/>
                <a:gd name="T10" fmla="*/ 10 w 72"/>
                <a:gd name="T11" fmla="*/ 17 h 57"/>
                <a:gd name="T12" fmla="*/ 2 w 72"/>
                <a:gd name="T13" fmla="*/ 28 h 57"/>
                <a:gd name="T14" fmla="*/ 11 w 72"/>
                <a:gd name="T15" fmla="*/ 44 h 57"/>
                <a:gd name="T16" fmla="*/ 40 w 72"/>
                <a:gd name="T17" fmla="*/ 51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" h="57">
                  <a:moveTo>
                    <a:pt x="40" y="51"/>
                  </a:moveTo>
                  <a:cubicBezTo>
                    <a:pt x="45" y="45"/>
                    <a:pt x="61" y="45"/>
                    <a:pt x="61" y="38"/>
                  </a:cubicBezTo>
                  <a:cubicBezTo>
                    <a:pt x="61" y="31"/>
                    <a:pt x="72" y="33"/>
                    <a:pt x="71" y="22"/>
                  </a:cubicBezTo>
                  <a:cubicBezTo>
                    <a:pt x="70" y="11"/>
                    <a:pt x="66" y="13"/>
                    <a:pt x="56" y="7"/>
                  </a:cubicBezTo>
                  <a:cubicBezTo>
                    <a:pt x="46" y="1"/>
                    <a:pt x="32" y="0"/>
                    <a:pt x="25" y="7"/>
                  </a:cubicBezTo>
                  <a:cubicBezTo>
                    <a:pt x="25" y="7"/>
                    <a:pt x="17" y="17"/>
                    <a:pt x="10" y="17"/>
                  </a:cubicBezTo>
                  <a:cubicBezTo>
                    <a:pt x="3" y="17"/>
                    <a:pt x="2" y="23"/>
                    <a:pt x="2" y="28"/>
                  </a:cubicBezTo>
                  <a:cubicBezTo>
                    <a:pt x="2" y="33"/>
                    <a:pt x="0" y="39"/>
                    <a:pt x="11" y="44"/>
                  </a:cubicBezTo>
                  <a:cubicBezTo>
                    <a:pt x="22" y="49"/>
                    <a:pt x="35" y="57"/>
                    <a:pt x="40" y="51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599" name="Freeform 25551"/>
            <p:cNvSpPr>
              <a:spLocks/>
            </p:cNvSpPr>
            <p:nvPr/>
          </p:nvSpPr>
          <p:spPr bwMode="auto">
            <a:xfrm>
              <a:off x="7596889" y="1631592"/>
              <a:ext cx="91228" cy="34723"/>
            </a:xfrm>
            <a:custGeom>
              <a:avLst/>
              <a:gdLst>
                <a:gd name="T0" fmla="*/ 6 w 245"/>
                <a:gd name="T1" fmla="*/ 69 h 93"/>
                <a:gd name="T2" fmla="*/ 28 w 245"/>
                <a:gd name="T3" fmla="*/ 82 h 93"/>
                <a:gd name="T4" fmla="*/ 53 w 245"/>
                <a:gd name="T5" fmla="*/ 70 h 93"/>
                <a:gd name="T6" fmla="*/ 89 w 245"/>
                <a:gd name="T7" fmla="*/ 72 h 93"/>
                <a:gd name="T8" fmla="*/ 113 w 245"/>
                <a:gd name="T9" fmla="*/ 80 h 93"/>
                <a:gd name="T10" fmla="*/ 156 w 245"/>
                <a:gd name="T11" fmla="*/ 91 h 93"/>
                <a:gd name="T12" fmla="*/ 229 w 245"/>
                <a:gd name="T13" fmla="*/ 93 h 93"/>
                <a:gd name="T14" fmla="*/ 245 w 245"/>
                <a:gd name="T15" fmla="*/ 76 h 93"/>
                <a:gd name="T16" fmla="*/ 235 w 245"/>
                <a:gd name="T17" fmla="*/ 55 h 93"/>
                <a:gd name="T18" fmla="*/ 211 w 245"/>
                <a:gd name="T19" fmla="*/ 36 h 93"/>
                <a:gd name="T20" fmla="*/ 173 w 245"/>
                <a:gd name="T21" fmla="*/ 16 h 93"/>
                <a:gd name="T22" fmla="*/ 152 w 245"/>
                <a:gd name="T23" fmla="*/ 3 h 93"/>
                <a:gd name="T24" fmla="*/ 126 w 245"/>
                <a:gd name="T25" fmla="*/ 6 h 93"/>
                <a:gd name="T26" fmla="*/ 109 w 245"/>
                <a:gd name="T27" fmla="*/ 14 h 93"/>
                <a:gd name="T28" fmla="*/ 82 w 245"/>
                <a:gd name="T29" fmla="*/ 22 h 93"/>
                <a:gd name="T30" fmla="*/ 57 w 245"/>
                <a:gd name="T31" fmla="*/ 53 h 93"/>
                <a:gd name="T32" fmla="*/ 35 w 245"/>
                <a:gd name="T33" fmla="*/ 61 h 93"/>
                <a:gd name="T34" fmla="*/ 6 w 245"/>
                <a:gd name="T35" fmla="*/ 69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5" h="93">
                  <a:moveTo>
                    <a:pt x="6" y="69"/>
                  </a:moveTo>
                  <a:cubicBezTo>
                    <a:pt x="12" y="79"/>
                    <a:pt x="22" y="88"/>
                    <a:pt x="28" y="82"/>
                  </a:cubicBezTo>
                  <a:cubicBezTo>
                    <a:pt x="34" y="76"/>
                    <a:pt x="35" y="70"/>
                    <a:pt x="53" y="70"/>
                  </a:cubicBezTo>
                  <a:cubicBezTo>
                    <a:pt x="71" y="70"/>
                    <a:pt x="83" y="65"/>
                    <a:pt x="89" y="72"/>
                  </a:cubicBezTo>
                  <a:cubicBezTo>
                    <a:pt x="95" y="79"/>
                    <a:pt x="111" y="75"/>
                    <a:pt x="113" y="80"/>
                  </a:cubicBezTo>
                  <a:cubicBezTo>
                    <a:pt x="115" y="85"/>
                    <a:pt x="139" y="89"/>
                    <a:pt x="156" y="91"/>
                  </a:cubicBezTo>
                  <a:cubicBezTo>
                    <a:pt x="173" y="93"/>
                    <a:pt x="222" y="93"/>
                    <a:pt x="229" y="93"/>
                  </a:cubicBezTo>
                  <a:cubicBezTo>
                    <a:pt x="236" y="93"/>
                    <a:pt x="245" y="88"/>
                    <a:pt x="245" y="76"/>
                  </a:cubicBezTo>
                  <a:cubicBezTo>
                    <a:pt x="245" y="64"/>
                    <a:pt x="245" y="56"/>
                    <a:pt x="235" y="55"/>
                  </a:cubicBezTo>
                  <a:cubicBezTo>
                    <a:pt x="225" y="54"/>
                    <a:pt x="234" y="43"/>
                    <a:pt x="211" y="36"/>
                  </a:cubicBezTo>
                  <a:cubicBezTo>
                    <a:pt x="188" y="29"/>
                    <a:pt x="183" y="19"/>
                    <a:pt x="173" y="16"/>
                  </a:cubicBezTo>
                  <a:cubicBezTo>
                    <a:pt x="163" y="13"/>
                    <a:pt x="164" y="3"/>
                    <a:pt x="152" y="3"/>
                  </a:cubicBezTo>
                  <a:cubicBezTo>
                    <a:pt x="140" y="3"/>
                    <a:pt x="126" y="0"/>
                    <a:pt x="126" y="6"/>
                  </a:cubicBezTo>
                  <a:cubicBezTo>
                    <a:pt x="126" y="12"/>
                    <a:pt x="119" y="15"/>
                    <a:pt x="109" y="14"/>
                  </a:cubicBezTo>
                  <a:cubicBezTo>
                    <a:pt x="109" y="14"/>
                    <a:pt x="88" y="11"/>
                    <a:pt x="82" y="22"/>
                  </a:cubicBezTo>
                  <a:cubicBezTo>
                    <a:pt x="76" y="33"/>
                    <a:pt x="63" y="47"/>
                    <a:pt x="57" y="53"/>
                  </a:cubicBezTo>
                  <a:cubicBezTo>
                    <a:pt x="51" y="59"/>
                    <a:pt x="51" y="61"/>
                    <a:pt x="35" y="61"/>
                  </a:cubicBezTo>
                  <a:cubicBezTo>
                    <a:pt x="19" y="61"/>
                    <a:pt x="0" y="59"/>
                    <a:pt x="6" y="6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600" name="Freeform 25552"/>
            <p:cNvSpPr>
              <a:spLocks/>
            </p:cNvSpPr>
            <p:nvPr/>
          </p:nvSpPr>
          <p:spPr bwMode="auto">
            <a:xfrm>
              <a:off x="7528547" y="1522370"/>
              <a:ext cx="204079" cy="81284"/>
            </a:xfrm>
            <a:custGeom>
              <a:avLst/>
              <a:gdLst>
                <a:gd name="T0" fmla="*/ 39 w 547"/>
                <a:gd name="T1" fmla="*/ 158 h 218"/>
                <a:gd name="T2" fmla="*/ 70 w 547"/>
                <a:gd name="T3" fmla="*/ 180 h 218"/>
                <a:gd name="T4" fmla="*/ 125 w 547"/>
                <a:gd name="T5" fmla="*/ 201 h 218"/>
                <a:gd name="T6" fmla="*/ 171 w 547"/>
                <a:gd name="T7" fmla="*/ 200 h 218"/>
                <a:gd name="T8" fmla="*/ 184 w 547"/>
                <a:gd name="T9" fmla="*/ 167 h 218"/>
                <a:gd name="T10" fmla="*/ 217 w 547"/>
                <a:gd name="T11" fmla="*/ 188 h 218"/>
                <a:gd name="T12" fmla="*/ 259 w 547"/>
                <a:gd name="T13" fmla="*/ 178 h 218"/>
                <a:gd name="T14" fmla="*/ 330 w 547"/>
                <a:gd name="T15" fmla="*/ 170 h 218"/>
                <a:gd name="T16" fmla="*/ 370 w 547"/>
                <a:gd name="T17" fmla="*/ 185 h 218"/>
                <a:gd name="T18" fmla="*/ 432 w 547"/>
                <a:gd name="T19" fmla="*/ 176 h 218"/>
                <a:gd name="T20" fmla="*/ 497 w 547"/>
                <a:gd name="T21" fmla="*/ 155 h 218"/>
                <a:gd name="T22" fmla="*/ 515 w 547"/>
                <a:gd name="T23" fmla="*/ 123 h 218"/>
                <a:gd name="T24" fmla="*/ 517 w 547"/>
                <a:gd name="T25" fmla="*/ 107 h 218"/>
                <a:gd name="T26" fmla="*/ 534 w 547"/>
                <a:gd name="T27" fmla="*/ 85 h 218"/>
                <a:gd name="T28" fmla="*/ 460 w 547"/>
                <a:gd name="T29" fmla="*/ 61 h 218"/>
                <a:gd name="T30" fmla="*/ 425 w 547"/>
                <a:gd name="T31" fmla="*/ 50 h 218"/>
                <a:gd name="T32" fmla="*/ 394 w 547"/>
                <a:gd name="T33" fmla="*/ 67 h 218"/>
                <a:gd name="T34" fmla="*/ 367 w 547"/>
                <a:gd name="T35" fmla="*/ 110 h 218"/>
                <a:gd name="T36" fmla="*/ 396 w 547"/>
                <a:gd name="T37" fmla="*/ 149 h 218"/>
                <a:gd name="T38" fmla="*/ 358 w 547"/>
                <a:gd name="T39" fmla="*/ 135 h 218"/>
                <a:gd name="T40" fmla="*/ 341 w 547"/>
                <a:gd name="T41" fmla="*/ 85 h 218"/>
                <a:gd name="T42" fmla="*/ 385 w 547"/>
                <a:gd name="T43" fmla="*/ 67 h 218"/>
                <a:gd name="T44" fmla="*/ 328 w 547"/>
                <a:gd name="T45" fmla="*/ 30 h 218"/>
                <a:gd name="T46" fmla="*/ 283 w 547"/>
                <a:gd name="T47" fmla="*/ 26 h 218"/>
                <a:gd name="T48" fmla="*/ 263 w 547"/>
                <a:gd name="T49" fmla="*/ 71 h 218"/>
                <a:gd name="T50" fmla="*/ 244 w 547"/>
                <a:gd name="T51" fmla="*/ 83 h 218"/>
                <a:gd name="T52" fmla="*/ 224 w 547"/>
                <a:gd name="T53" fmla="*/ 60 h 218"/>
                <a:gd name="T54" fmla="*/ 181 w 547"/>
                <a:gd name="T55" fmla="*/ 33 h 218"/>
                <a:gd name="T56" fmla="*/ 131 w 547"/>
                <a:gd name="T57" fmla="*/ 2 h 218"/>
                <a:gd name="T58" fmla="*/ 101 w 547"/>
                <a:gd name="T59" fmla="*/ 18 h 218"/>
                <a:gd name="T60" fmla="*/ 60 w 547"/>
                <a:gd name="T61" fmla="*/ 35 h 218"/>
                <a:gd name="T62" fmla="*/ 30 w 547"/>
                <a:gd name="T63" fmla="*/ 59 h 218"/>
                <a:gd name="T64" fmla="*/ 20 w 547"/>
                <a:gd name="T65" fmla="*/ 91 h 218"/>
                <a:gd name="T66" fmla="*/ 13 w 547"/>
                <a:gd name="T67" fmla="*/ 115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47" h="218">
                  <a:moveTo>
                    <a:pt x="14" y="140"/>
                  </a:moveTo>
                  <a:cubicBezTo>
                    <a:pt x="24" y="145"/>
                    <a:pt x="39" y="152"/>
                    <a:pt x="39" y="158"/>
                  </a:cubicBezTo>
                  <a:cubicBezTo>
                    <a:pt x="39" y="164"/>
                    <a:pt x="40" y="167"/>
                    <a:pt x="52" y="167"/>
                  </a:cubicBezTo>
                  <a:cubicBezTo>
                    <a:pt x="64" y="167"/>
                    <a:pt x="64" y="172"/>
                    <a:pt x="70" y="180"/>
                  </a:cubicBezTo>
                  <a:cubicBezTo>
                    <a:pt x="76" y="188"/>
                    <a:pt x="74" y="196"/>
                    <a:pt x="91" y="196"/>
                  </a:cubicBezTo>
                  <a:cubicBezTo>
                    <a:pt x="108" y="196"/>
                    <a:pt x="116" y="190"/>
                    <a:pt x="125" y="201"/>
                  </a:cubicBezTo>
                  <a:cubicBezTo>
                    <a:pt x="134" y="212"/>
                    <a:pt x="147" y="218"/>
                    <a:pt x="155" y="213"/>
                  </a:cubicBezTo>
                  <a:cubicBezTo>
                    <a:pt x="163" y="208"/>
                    <a:pt x="169" y="207"/>
                    <a:pt x="171" y="200"/>
                  </a:cubicBezTo>
                  <a:cubicBezTo>
                    <a:pt x="173" y="193"/>
                    <a:pt x="170" y="186"/>
                    <a:pt x="175" y="181"/>
                  </a:cubicBezTo>
                  <a:cubicBezTo>
                    <a:pt x="180" y="176"/>
                    <a:pt x="172" y="166"/>
                    <a:pt x="184" y="167"/>
                  </a:cubicBezTo>
                  <a:cubicBezTo>
                    <a:pt x="196" y="168"/>
                    <a:pt x="203" y="175"/>
                    <a:pt x="203" y="181"/>
                  </a:cubicBezTo>
                  <a:cubicBezTo>
                    <a:pt x="203" y="187"/>
                    <a:pt x="209" y="187"/>
                    <a:pt x="217" y="188"/>
                  </a:cubicBezTo>
                  <a:cubicBezTo>
                    <a:pt x="225" y="189"/>
                    <a:pt x="233" y="195"/>
                    <a:pt x="238" y="187"/>
                  </a:cubicBezTo>
                  <a:cubicBezTo>
                    <a:pt x="243" y="179"/>
                    <a:pt x="242" y="177"/>
                    <a:pt x="259" y="178"/>
                  </a:cubicBezTo>
                  <a:cubicBezTo>
                    <a:pt x="276" y="179"/>
                    <a:pt x="282" y="172"/>
                    <a:pt x="295" y="171"/>
                  </a:cubicBezTo>
                  <a:cubicBezTo>
                    <a:pt x="308" y="170"/>
                    <a:pt x="321" y="163"/>
                    <a:pt x="330" y="170"/>
                  </a:cubicBezTo>
                  <a:cubicBezTo>
                    <a:pt x="339" y="177"/>
                    <a:pt x="341" y="189"/>
                    <a:pt x="353" y="190"/>
                  </a:cubicBezTo>
                  <a:cubicBezTo>
                    <a:pt x="365" y="191"/>
                    <a:pt x="370" y="193"/>
                    <a:pt x="370" y="185"/>
                  </a:cubicBezTo>
                  <a:cubicBezTo>
                    <a:pt x="370" y="177"/>
                    <a:pt x="389" y="178"/>
                    <a:pt x="399" y="179"/>
                  </a:cubicBezTo>
                  <a:cubicBezTo>
                    <a:pt x="409" y="180"/>
                    <a:pt x="430" y="187"/>
                    <a:pt x="432" y="176"/>
                  </a:cubicBezTo>
                  <a:cubicBezTo>
                    <a:pt x="434" y="165"/>
                    <a:pt x="445" y="164"/>
                    <a:pt x="456" y="164"/>
                  </a:cubicBezTo>
                  <a:cubicBezTo>
                    <a:pt x="467" y="164"/>
                    <a:pt x="485" y="165"/>
                    <a:pt x="497" y="155"/>
                  </a:cubicBezTo>
                  <a:cubicBezTo>
                    <a:pt x="509" y="145"/>
                    <a:pt x="497" y="133"/>
                    <a:pt x="509" y="133"/>
                  </a:cubicBezTo>
                  <a:cubicBezTo>
                    <a:pt x="521" y="133"/>
                    <a:pt x="523" y="122"/>
                    <a:pt x="515" y="123"/>
                  </a:cubicBezTo>
                  <a:cubicBezTo>
                    <a:pt x="507" y="124"/>
                    <a:pt x="507" y="119"/>
                    <a:pt x="507" y="112"/>
                  </a:cubicBezTo>
                  <a:cubicBezTo>
                    <a:pt x="507" y="105"/>
                    <a:pt x="506" y="107"/>
                    <a:pt x="517" y="107"/>
                  </a:cubicBezTo>
                  <a:cubicBezTo>
                    <a:pt x="528" y="107"/>
                    <a:pt x="521" y="99"/>
                    <a:pt x="530" y="98"/>
                  </a:cubicBezTo>
                  <a:cubicBezTo>
                    <a:pt x="539" y="97"/>
                    <a:pt x="547" y="86"/>
                    <a:pt x="534" y="85"/>
                  </a:cubicBezTo>
                  <a:cubicBezTo>
                    <a:pt x="521" y="84"/>
                    <a:pt x="510" y="81"/>
                    <a:pt x="493" y="74"/>
                  </a:cubicBezTo>
                  <a:cubicBezTo>
                    <a:pt x="476" y="67"/>
                    <a:pt x="469" y="60"/>
                    <a:pt x="460" y="61"/>
                  </a:cubicBezTo>
                  <a:cubicBezTo>
                    <a:pt x="451" y="62"/>
                    <a:pt x="449" y="62"/>
                    <a:pt x="443" y="51"/>
                  </a:cubicBezTo>
                  <a:cubicBezTo>
                    <a:pt x="437" y="40"/>
                    <a:pt x="433" y="49"/>
                    <a:pt x="425" y="50"/>
                  </a:cubicBezTo>
                  <a:cubicBezTo>
                    <a:pt x="417" y="51"/>
                    <a:pt x="423" y="62"/>
                    <a:pt x="408" y="60"/>
                  </a:cubicBezTo>
                  <a:cubicBezTo>
                    <a:pt x="393" y="58"/>
                    <a:pt x="390" y="62"/>
                    <a:pt x="394" y="67"/>
                  </a:cubicBezTo>
                  <a:cubicBezTo>
                    <a:pt x="398" y="72"/>
                    <a:pt x="405" y="91"/>
                    <a:pt x="385" y="92"/>
                  </a:cubicBezTo>
                  <a:cubicBezTo>
                    <a:pt x="365" y="93"/>
                    <a:pt x="367" y="106"/>
                    <a:pt x="367" y="110"/>
                  </a:cubicBezTo>
                  <a:cubicBezTo>
                    <a:pt x="367" y="114"/>
                    <a:pt x="367" y="122"/>
                    <a:pt x="376" y="126"/>
                  </a:cubicBezTo>
                  <a:cubicBezTo>
                    <a:pt x="385" y="130"/>
                    <a:pt x="398" y="140"/>
                    <a:pt x="396" y="149"/>
                  </a:cubicBezTo>
                  <a:cubicBezTo>
                    <a:pt x="394" y="158"/>
                    <a:pt x="388" y="160"/>
                    <a:pt x="376" y="159"/>
                  </a:cubicBezTo>
                  <a:cubicBezTo>
                    <a:pt x="364" y="158"/>
                    <a:pt x="372" y="144"/>
                    <a:pt x="358" y="135"/>
                  </a:cubicBezTo>
                  <a:cubicBezTo>
                    <a:pt x="344" y="126"/>
                    <a:pt x="340" y="103"/>
                    <a:pt x="335" y="100"/>
                  </a:cubicBezTo>
                  <a:cubicBezTo>
                    <a:pt x="330" y="97"/>
                    <a:pt x="327" y="88"/>
                    <a:pt x="341" y="85"/>
                  </a:cubicBezTo>
                  <a:cubicBezTo>
                    <a:pt x="355" y="82"/>
                    <a:pt x="350" y="72"/>
                    <a:pt x="363" y="72"/>
                  </a:cubicBezTo>
                  <a:cubicBezTo>
                    <a:pt x="376" y="72"/>
                    <a:pt x="383" y="78"/>
                    <a:pt x="385" y="67"/>
                  </a:cubicBezTo>
                  <a:cubicBezTo>
                    <a:pt x="387" y="56"/>
                    <a:pt x="371" y="54"/>
                    <a:pt x="361" y="49"/>
                  </a:cubicBezTo>
                  <a:cubicBezTo>
                    <a:pt x="351" y="44"/>
                    <a:pt x="333" y="38"/>
                    <a:pt x="328" y="30"/>
                  </a:cubicBezTo>
                  <a:cubicBezTo>
                    <a:pt x="323" y="22"/>
                    <a:pt x="313" y="19"/>
                    <a:pt x="302" y="19"/>
                  </a:cubicBezTo>
                  <a:cubicBezTo>
                    <a:pt x="291" y="19"/>
                    <a:pt x="293" y="25"/>
                    <a:pt x="283" y="26"/>
                  </a:cubicBezTo>
                  <a:cubicBezTo>
                    <a:pt x="273" y="27"/>
                    <a:pt x="263" y="32"/>
                    <a:pt x="263" y="44"/>
                  </a:cubicBezTo>
                  <a:cubicBezTo>
                    <a:pt x="263" y="56"/>
                    <a:pt x="259" y="67"/>
                    <a:pt x="263" y="71"/>
                  </a:cubicBezTo>
                  <a:cubicBezTo>
                    <a:pt x="267" y="75"/>
                    <a:pt x="274" y="79"/>
                    <a:pt x="263" y="85"/>
                  </a:cubicBezTo>
                  <a:cubicBezTo>
                    <a:pt x="252" y="91"/>
                    <a:pt x="247" y="89"/>
                    <a:pt x="244" y="83"/>
                  </a:cubicBezTo>
                  <a:cubicBezTo>
                    <a:pt x="241" y="77"/>
                    <a:pt x="237" y="80"/>
                    <a:pt x="235" y="70"/>
                  </a:cubicBezTo>
                  <a:cubicBezTo>
                    <a:pt x="233" y="60"/>
                    <a:pt x="235" y="60"/>
                    <a:pt x="224" y="60"/>
                  </a:cubicBezTo>
                  <a:cubicBezTo>
                    <a:pt x="213" y="60"/>
                    <a:pt x="199" y="62"/>
                    <a:pt x="199" y="51"/>
                  </a:cubicBezTo>
                  <a:cubicBezTo>
                    <a:pt x="199" y="40"/>
                    <a:pt x="200" y="36"/>
                    <a:pt x="181" y="33"/>
                  </a:cubicBezTo>
                  <a:cubicBezTo>
                    <a:pt x="162" y="30"/>
                    <a:pt x="146" y="32"/>
                    <a:pt x="144" y="21"/>
                  </a:cubicBezTo>
                  <a:cubicBezTo>
                    <a:pt x="142" y="10"/>
                    <a:pt x="142" y="4"/>
                    <a:pt x="131" y="2"/>
                  </a:cubicBezTo>
                  <a:cubicBezTo>
                    <a:pt x="120" y="0"/>
                    <a:pt x="115" y="4"/>
                    <a:pt x="111" y="7"/>
                  </a:cubicBezTo>
                  <a:cubicBezTo>
                    <a:pt x="107" y="10"/>
                    <a:pt x="110" y="19"/>
                    <a:pt x="101" y="18"/>
                  </a:cubicBezTo>
                  <a:cubicBezTo>
                    <a:pt x="92" y="17"/>
                    <a:pt x="87" y="13"/>
                    <a:pt x="84" y="19"/>
                  </a:cubicBezTo>
                  <a:cubicBezTo>
                    <a:pt x="81" y="25"/>
                    <a:pt x="75" y="36"/>
                    <a:pt x="60" y="35"/>
                  </a:cubicBezTo>
                  <a:cubicBezTo>
                    <a:pt x="60" y="35"/>
                    <a:pt x="42" y="30"/>
                    <a:pt x="42" y="42"/>
                  </a:cubicBezTo>
                  <a:cubicBezTo>
                    <a:pt x="42" y="54"/>
                    <a:pt x="40" y="58"/>
                    <a:pt x="30" y="59"/>
                  </a:cubicBezTo>
                  <a:cubicBezTo>
                    <a:pt x="20" y="60"/>
                    <a:pt x="13" y="64"/>
                    <a:pt x="13" y="74"/>
                  </a:cubicBezTo>
                  <a:cubicBezTo>
                    <a:pt x="13" y="84"/>
                    <a:pt x="14" y="88"/>
                    <a:pt x="20" y="91"/>
                  </a:cubicBezTo>
                  <a:cubicBezTo>
                    <a:pt x="26" y="94"/>
                    <a:pt x="27" y="100"/>
                    <a:pt x="25" y="106"/>
                  </a:cubicBezTo>
                  <a:cubicBezTo>
                    <a:pt x="23" y="112"/>
                    <a:pt x="26" y="111"/>
                    <a:pt x="13" y="115"/>
                  </a:cubicBezTo>
                  <a:cubicBezTo>
                    <a:pt x="0" y="119"/>
                    <a:pt x="4" y="135"/>
                    <a:pt x="14" y="14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601" name="Freeform 25553"/>
            <p:cNvSpPr>
              <a:spLocks/>
            </p:cNvSpPr>
            <p:nvPr/>
          </p:nvSpPr>
          <p:spPr bwMode="auto">
            <a:xfrm>
              <a:off x="7746674" y="1554885"/>
              <a:ext cx="118218" cy="42457"/>
            </a:xfrm>
            <a:custGeom>
              <a:avLst/>
              <a:gdLst>
                <a:gd name="T0" fmla="*/ 8 w 317"/>
                <a:gd name="T1" fmla="*/ 53 h 114"/>
                <a:gd name="T2" fmla="*/ 28 w 317"/>
                <a:gd name="T3" fmla="*/ 61 h 114"/>
                <a:gd name="T4" fmla="*/ 51 w 317"/>
                <a:gd name="T5" fmla="*/ 69 h 114"/>
                <a:gd name="T6" fmla="*/ 70 w 317"/>
                <a:gd name="T7" fmla="*/ 79 h 114"/>
                <a:gd name="T8" fmla="*/ 93 w 317"/>
                <a:gd name="T9" fmla="*/ 83 h 114"/>
                <a:gd name="T10" fmla="*/ 127 w 317"/>
                <a:gd name="T11" fmla="*/ 95 h 114"/>
                <a:gd name="T12" fmla="*/ 164 w 317"/>
                <a:gd name="T13" fmla="*/ 110 h 114"/>
                <a:gd name="T14" fmla="*/ 236 w 317"/>
                <a:gd name="T15" fmla="*/ 108 h 114"/>
                <a:gd name="T16" fmla="*/ 263 w 317"/>
                <a:gd name="T17" fmla="*/ 100 h 114"/>
                <a:gd name="T18" fmla="*/ 285 w 317"/>
                <a:gd name="T19" fmla="*/ 92 h 114"/>
                <a:gd name="T20" fmla="*/ 301 w 317"/>
                <a:gd name="T21" fmla="*/ 83 h 114"/>
                <a:gd name="T22" fmla="*/ 316 w 317"/>
                <a:gd name="T23" fmla="*/ 68 h 114"/>
                <a:gd name="T24" fmla="*/ 308 w 317"/>
                <a:gd name="T25" fmla="*/ 54 h 114"/>
                <a:gd name="T26" fmla="*/ 286 w 317"/>
                <a:gd name="T27" fmla="*/ 58 h 114"/>
                <a:gd name="T28" fmla="*/ 257 w 317"/>
                <a:gd name="T29" fmla="*/ 46 h 114"/>
                <a:gd name="T30" fmla="*/ 227 w 317"/>
                <a:gd name="T31" fmla="*/ 43 h 114"/>
                <a:gd name="T32" fmla="*/ 208 w 317"/>
                <a:gd name="T33" fmla="*/ 36 h 114"/>
                <a:gd name="T34" fmla="*/ 189 w 317"/>
                <a:gd name="T35" fmla="*/ 39 h 114"/>
                <a:gd name="T36" fmla="*/ 173 w 317"/>
                <a:gd name="T37" fmla="*/ 44 h 114"/>
                <a:gd name="T38" fmla="*/ 158 w 317"/>
                <a:gd name="T39" fmla="*/ 31 h 114"/>
                <a:gd name="T40" fmla="*/ 131 w 317"/>
                <a:gd name="T41" fmla="*/ 17 h 114"/>
                <a:gd name="T42" fmla="*/ 86 w 317"/>
                <a:gd name="T43" fmla="*/ 24 h 114"/>
                <a:gd name="T44" fmla="*/ 56 w 317"/>
                <a:gd name="T45" fmla="*/ 30 h 114"/>
                <a:gd name="T46" fmla="*/ 43 w 317"/>
                <a:gd name="T47" fmla="*/ 6 h 114"/>
                <a:gd name="T48" fmla="*/ 24 w 317"/>
                <a:gd name="T49" fmla="*/ 6 h 114"/>
                <a:gd name="T50" fmla="*/ 19 w 317"/>
                <a:gd name="T51" fmla="*/ 19 h 114"/>
                <a:gd name="T52" fmla="*/ 10 w 317"/>
                <a:gd name="T53" fmla="*/ 37 h 114"/>
                <a:gd name="T54" fmla="*/ 8 w 317"/>
                <a:gd name="T55" fmla="*/ 53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17" h="114">
                  <a:moveTo>
                    <a:pt x="8" y="53"/>
                  </a:moveTo>
                  <a:cubicBezTo>
                    <a:pt x="16" y="53"/>
                    <a:pt x="18" y="61"/>
                    <a:pt x="28" y="61"/>
                  </a:cubicBezTo>
                  <a:cubicBezTo>
                    <a:pt x="38" y="61"/>
                    <a:pt x="50" y="60"/>
                    <a:pt x="51" y="69"/>
                  </a:cubicBezTo>
                  <a:cubicBezTo>
                    <a:pt x="52" y="78"/>
                    <a:pt x="56" y="79"/>
                    <a:pt x="70" y="79"/>
                  </a:cubicBezTo>
                  <a:cubicBezTo>
                    <a:pt x="84" y="79"/>
                    <a:pt x="81" y="80"/>
                    <a:pt x="93" y="83"/>
                  </a:cubicBezTo>
                  <a:cubicBezTo>
                    <a:pt x="105" y="86"/>
                    <a:pt x="119" y="90"/>
                    <a:pt x="127" y="95"/>
                  </a:cubicBezTo>
                  <a:cubicBezTo>
                    <a:pt x="135" y="100"/>
                    <a:pt x="146" y="107"/>
                    <a:pt x="164" y="110"/>
                  </a:cubicBezTo>
                  <a:cubicBezTo>
                    <a:pt x="182" y="113"/>
                    <a:pt x="227" y="114"/>
                    <a:pt x="236" y="108"/>
                  </a:cubicBezTo>
                  <a:cubicBezTo>
                    <a:pt x="245" y="102"/>
                    <a:pt x="253" y="100"/>
                    <a:pt x="263" y="100"/>
                  </a:cubicBezTo>
                  <a:cubicBezTo>
                    <a:pt x="273" y="100"/>
                    <a:pt x="276" y="92"/>
                    <a:pt x="285" y="92"/>
                  </a:cubicBezTo>
                  <a:cubicBezTo>
                    <a:pt x="294" y="92"/>
                    <a:pt x="299" y="89"/>
                    <a:pt x="301" y="83"/>
                  </a:cubicBezTo>
                  <a:cubicBezTo>
                    <a:pt x="303" y="77"/>
                    <a:pt x="315" y="78"/>
                    <a:pt x="316" y="68"/>
                  </a:cubicBezTo>
                  <a:cubicBezTo>
                    <a:pt x="317" y="58"/>
                    <a:pt x="313" y="54"/>
                    <a:pt x="308" y="54"/>
                  </a:cubicBezTo>
                  <a:cubicBezTo>
                    <a:pt x="303" y="54"/>
                    <a:pt x="293" y="63"/>
                    <a:pt x="286" y="58"/>
                  </a:cubicBezTo>
                  <a:cubicBezTo>
                    <a:pt x="279" y="53"/>
                    <a:pt x="269" y="47"/>
                    <a:pt x="257" y="46"/>
                  </a:cubicBezTo>
                  <a:cubicBezTo>
                    <a:pt x="245" y="45"/>
                    <a:pt x="234" y="48"/>
                    <a:pt x="227" y="43"/>
                  </a:cubicBezTo>
                  <a:cubicBezTo>
                    <a:pt x="220" y="38"/>
                    <a:pt x="218" y="36"/>
                    <a:pt x="208" y="36"/>
                  </a:cubicBezTo>
                  <a:cubicBezTo>
                    <a:pt x="198" y="36"/>
                    <a:pt x="193" y="35"/>
                    <a:pt x="189" y="39"/>
                  </a:cubicBezTo>
                  <a:cubicBezTo>
                    <a:pt x="185" y="43"/>
                    <a:pt x="187" y="46"/>
                    <a:pt x="173" y="44"/>
                  </a:cubicBezTo>
                  <a:cubicBezTo>
                    <a:pt x="159" y="42"/>
                    <a:pt x="159" y="41"/>
                    <a:pt x="158" y="31"/>
                  </a:cubicBezTo>
                  <a:cubicBezTo>
                    <a:pt x="157" y="21"/>
                    <a:pt x="146" y="17"/>
                    <a:pt x="131" y="17"/>
                  </a:cubicBezTo>
                  <a:cubicBezTo>
                    <a:pt x="116" y="17"/>
                    <a:pt x="90" y="18"/>
                    <a:pt x="86" y="24"/>
                  </a:cubicBezTo>
                  <a:cubicBezTo>
                    <a:pt x="82" y="30"/>
                    <a:pt x="65" y="33"/>
                    <a:pt x="56" y="30"/>
                  </a:cubicBezTo>
                  <a:cubicBezTo>
                    <a:pt x="47" y="27"/>
                    <a:pt x="47" y="12"/>
                    <a:pt x="43" y="6"/>
                  </a:cubicBezTo>
                  <a:cubicBezTo>
                    <a:pt x="39" y="0"/>
                    <a:pt x="24" y="1"/>
                    <a:pt x="24" y="6"/>
                  </a:cubicBezTo>
                  <a:cubicBezTo>
                    <a:pt x="24" y="11"/>
                    <a:pt x="16" y="13"/>
                    <a:pt x="19" y="19"/>
                  </a:cubicBezTo>
                  <a:cubicBezTo>
                    <a:pt x="19" y="19"/>
                    <a:pt x="18" y="37"/>
                    <a:pt x="10" y="37"/>
                  </a:cubicBezTo>
                  <a:cubicBezTo>
                    <a:pt x="2" y="37"/>
                    <a:pt x="0" y="53"/>
                    <a:pt x="8" y="53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602" name="Freeform 25558"/>
            <p:cNvSpPr>
              <a:spLocks/>
            </p:cNvSpPr>
            <p:nvPr/>
          </p:nvSpPr>
          <p:spPr bwMode="auto">
            <a:xfrm>
              <a:off x="6093678" y="1666000"/>
              <a:ext cx="11206" cy="8207"/>
            </a:xfrm>
            <a:custGeom>
              <a:avLst/>
              <a:gdLst>
                <a:gd name="T0" fmla="*/ 1 w 30"/>
                <a:gd name="T1" fmla="*/ 7 h 22"/>
                <a:gd name="T2" fmla="*/ 20 w 30"/>
                <a:gd name="T3" fmla="*/ 15 h 22"/>
                <a:gd name="T4" fmla="*/ 20 w 30"/>
                <a:gd name="T5" fmla="*/ 4 h 22"/>
                <a:gd name="T6" fmla="*/ 1 w 30"/>
                <a:gd name="T7" fmla="*/ 7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0" h="22">
                  <a:moveTo>
                    <a:pt x="1" y="7"/>
                  </a:moveTo>
                  <a:cubicBezTo>
                    <a:pt x="2" y="14"/>
                    <a:pt x="20" y="22"/>
                    <a:pt x="20" y="15"/>
                  </a:cubicBezTo>
                  <a:cubicBezTo>
                    <a:pt x="20" y="8"/>
                    <a:pt x="30" y="4"/>
                    <a:pt x="20" y="4"/>
                  </a:cubicBezTo>
                  <a:cubicBezTo>
                    <a:pt x="20" y="4"/>
                    <a:pt x="0" y="0"/>
                    <a:pt x="1" y="7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603" name="Freeform 25559"/>
            <p:cNvSpPr>
              <a:spLocks/>
            </p:cNvSpPr>
            <p:nvPr/>
          </p:nvSpPr>
          <p:spPr bwMode="auto">
            <a:xfrm>
              <a:off x="5528474" y="1750599"/>
              <a:ext cx="23044" cy="16415"/>
            </a:xfrm>
            <a:custGeom>
              <a:avLst/>
              <a:gdLst>
                <a:gd name="T0" fmla="*/ 57 w 62"/>
                <a:gd name="T1" fmla="*/ 18 h 44"/>
                <a:gd name="T2" fmla="*/ 40 w 62"/>
                <a:gd name="T3" fmla="*/ 13 h 44"/>
                <a:gd name="T4" fmla="*/ 12 w 62"/>
                <a:gd name="T5" fmla="*/ 1 h 44"/>
                <a:gd name="T6" fmla="*/ 10 w 62"/>
                <a:gd name="T7" fmla="*/ 21 h 44"/>
                <a:gd name="T8" fmla="*/ 50 w 62"/>
                <a:gd name="T9" fmla="*/ 38 h 44"/>
                <a:gd name="T10" fmla="*/ 57 w 62"/>
                <a:gd name="T11" fmla="*/ 18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2" h="44">
                  <a:moveTo>
                    <a:pt x="57" y="18"/>
                  </a:moveTo>
                  <a:cubicBezTo>
                    <a:pt x="52" y="14"/>
                    <a:pt x="49" y="18"/>
                    <a:pt x="40" y="13"/>
                  </a:cubicBezTo>
                  <a:cubicBezTo>
                    <a:pt x="40" y="13"/>
                    <a:pt x="22" y="0"/>
                    <a:pt x="12" y="1"/>
                  </a:cubicBezTo>
                  <a:cubicBezTo>
                    <a:pt x="2" y="1"/>
                    <a:pt x="0" y="13"/>
                    <a:pt x="10" y="21"/>
                  </a:cubicBezTo>
                  <a:cubicBezTo>
                    <a:pt x="21" y="28"/>
                    <a:pt x="47" y="44"/>
                    <a:pt x="50" y="38"/>
                  </a:cubicBezTo>
                  <a:cubicBezTo>
                    <a:pt x="52" y="31"/>
                    <a:pt x="62" y="23"/>
                    <a:pt x="57" y="18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604" name="Freeform 25242"/>
            <p:cNvSpPr>
              <a:spLocks/>
            </p:cNvSpPr>
            <p:nvPr/>
          </p:nvSpPr>
          <p:spPr bwMode="auto">
            <a:xfrm>
              <a:off x="2982138" y="1777904"/>
              <a:ext cx="11838" cy="10733"/>
            </a:xfrm>
            <a:custGeom>
              <a:avLst/>
              <a:gdLst>
                <a:gd name="T0" fmla="*/ 16 w 32"/>
                <a:gd name="T1" fmla="*/ 9 h 29"/>
                <a:gd name="T2" fmla="*/ 11 w 32"/>
                <a:gd name="T3" fmla="*/ 27 h 29"/>
                <a:gd name="T4" fmla="*/ 31 w 32"/>
                <a:gd name="T5" fmla="*/ 20 h 29"/>
                <a:gd name="T6" fmla="*/ 16 w 32"/>
                <a:gd name="T7" fmla="*/ 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2" h="29">
                  <a:moveTo>
                    <a:pt x="16" y="9"/>
                  </a:moveTo>
                  <a:cubicBezTo>
                    <a:pt x="16" y="9"/>
                    <a:pt x="0" y="24"/>
                    <a:pt x="11" y="27"/>
                  </a:cubicBezTo>
                  <a:cubicBezTo>
                    <a:pt x="22" y="29"/>
                    <a:pt x="32" y="28"/>
                    <a:pt x="31" y="20"/>
                  </a:cubicBezTo>
                  <a:cubicBezTo>
                    <a:pt x="30" y="11"/>
                    <a:pt x="21" y="0"/>
                    <a:pt x="16" y="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605" name="Freeform 25605"/>
            <p:cNvSpPr>
              <a:spLocks/>
            </p:cNvSpPr>
            <p:nvPr/>
          </p:nvSpPr>
          <p:spPr bwMode="auto">
            <a:xfrm>
              <a:off x="1300417" y="1599236"/>
              <a:ext cx="254744" cy="161464"/>
            </a:xfrm>
            <a:custGeom>
              <a:avLst/>
              <a:gdLst>
                <a:gd name="T0" fmla="*/ 34 w 683"/>
                <a:gd name="T1" fmla="*/ 326 h 433"/>
                <a:gd name="T2" fmla="*/ 76 w 683"/>
                <a:gd name="T3" fmla="*/ 341 h 433"/>
                <a:gd name="T4" fmla="*/ 144 w 683"/>
                <a:gd name="T5" fmla="*/ 373 h 433"/>
                <a:gd name="T6" fmla="*/ 189 w 683"/>
                <a:gd name="T7" fmla="*/ 432 h 433"/>
                <a:gd name="T8" fmla="*/ 230 w 683"/>
                <a:gd name="T9" fmla="*/ 414 h 433"/>
                <a:gd name="T10" fmla="*/ 283 w 683"/>
                <a:gd name="T11" fmla="*/ 389 h 433"/>
                <a:gd name="T12" fmla="*/ 351 w 683"/>
                <a:gd name="T13" fmla="*/ 376 h 433"/>
                <a:gd name="T14" fmla="*/ 368 w 683"/>
                <a:gd name="T15" fmla="*/ 305 h 433"/>
                <a:gd name="T16" fmla="*/ 421 w 683"/>
                <a:gd name="T17" fmla="*/ 274 h 433"/>
                <a:gd name="T18" fmla="*/ 494 w 683"/>
                <a:gd name="T19" fmla="*/ 224 h 433"/>
                <a:gd name="T20" fmla="*/ 577 w 683"/>
                <a:gd name="T21" fmla="*/ 185 h 433"/>
                <a:gd name="T22" fmla="*/ 666 w 683"/>
                <a:gd name="T23" fmla="*/ 148 h 433"/>
                <a:gd name="T24" fmla="*/ 665 w 683"/>
                <a:gd name="T25" fmla="*/ 121 h 433"/>
                <a:gd name="T26" fmla="*/ 613 w 683"/>
                <a:gd name="T27" fmla="*/ 79 h 433"/>
                <a:gd name="T28" fmla="*/ 564 w 683"/>
                <a:gd name="T29" fmla="*/ 52 h 433"/>
                <a:gd name="T30" fmla="*/ 514 w 683"/>
                <a:gd name="T31" fmla="*/ 45 h 433"/>
                <a:gd name="T32" fmla="*/ 467 w 683"/>
                <a:gd name="T33" fmla="*/ 53 h 433"/>
                <a:gd name="T34" fmla="*/ 451 w 683"/>
                <a:gd name="T35" fmla="*/ 70 h 433"/>
                <a:gd name="T36" fmla="*/ 432 w 683"/>
                <a:gd name="T37" fmla="*/ 47 h 433"/>
                <a:gd name="T38" fmla="*/ 367 w 683"/>
                <a:gd name="T39" fmla="*/ 37 h 433"/>
                <a:gd name="T40" fmla="*/ 319 w 683"/>
                <a:gd name="T41" fmla="*/ 16 h 433"/>
                <a:gd name="T42" fmla="*/ 292 w 683"/>
                <a:gd name="T43" fmla="*/ 0 h 433"/>
                <a:gd name="T44" fmla="*/ 250 w 683"/>
                <a:gd name="T45" fmla="*/ 13 h 433"/>
                <a:gd name="T46" fmla="*/ 209 w 683"/>
                <a:gd name="T47" fmla="*/ 19 h 433"/>
                <a:gd name="T48" fmla="*/ 177 w 683"/>
                <a:gd name="T49" fmla="*/ 19 h 433"/>
                <a:gd name="T50" fmla="*/ 137 w 683"/>
                <a:gd name="T51" fmla="*/ 20 h 433"/>
                <a:gd name="T52" fmla="*/ 86 w 683"/>
                <a:gd name="T53" fmla="*/ 35 h 433"/>
                <a:gd name="T54" fmla="*/ 101 w 683"/>
                <a:gd name="T55" fmla="*/ 66 h 433"/>
                <a:gd name="T56" fmla="*/ 123 w 683"/>
                <a:gd name="T57" fmla="*/ 90 h 433"/>
                <a:gd name="T58" fmla="*/ 134 w 683"/>
                <a:gd name="T59" fmla="*/ 118 h 433"/>
                <a:gd name="T60" fmla="*/ 96 w 683"/>
                <a:gd name="T61" fmla="*/ 152 h 433"/>
                <a:gd name="T62" fmla="*/ 80 w 683"/>
                <a:gd name="T63" fmla="*/ 185 h 433"/>
                <a:gd name="T64" fmla="*/ 77 w 683"/>
                <a:gd name="T65" fmla="*/ 214 h 433"/>
                <a:gd name="T66" fmla="*/ 61 w 683"/>
                <a:gd name="T67" fmla="*/ 235 h 433"/>
                <a:gd name="T68" fmla="*/ 41 w 683"/>
                <a:gd name="T69" fmla="*/ 261 h 433"/>
                <a:gd name="T70" fmla="*/ 23 w 683"/>
                <a:gd name="T71" fmla="*/ 301 h 433"/>
                <a:gd name="T72" fmla="*/ 34 w 683"/>
                <a:gd name="T73" fmla="*/ 326 h 4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83" h="433">
                  <a:moveTo>
                    <a:pt x="34" y="326"/>
                  </a:moveTo>
                  <a:cubicBezTo>
                    <a:pt x="48" y="326"/>
                    <a:pt x="54" y="341"/>
                    <a:pt x="76" y="341"/>
                  </a:cubicBezTo>
                  <a:cubicBezTo>
                    <a:pt x="97" y="341"/>
                    <a:pt x="133" y="350"/>
                    <a:pt x="144" y="373"/>
                  </a:cubicBezTo>
                  <a:cubicBezTo>
                    <a:pt x="156" y="396"/>
                    <a:pt x="172" y="430"/>
                    <a:pt x="189" y="432"/>
                  </a:cubicBezTo>
                  <a:cubicBezTo>
                    <a:pt x="206" y="433"/>
                    <a:pt x="210" y="420"/>
                    <a:pt x="230" y="414"/>
                  </a:cubicBezTo>
                  <a:cubicBezTo>
                    <a:pt x="250" y="409"/>
                    <a:pt x="262" y="380"/>
                    <a:pt x="283" y="389"/>
                  </a:cubicBezTo>
                  <a:cubicBezTo>
                    <a:pt x="305" y="397"/>
                    <a:pt x="345" y="396"/>
                    <a:pt x="351" y="376"/>
                  </a:cubicBezTo>
                  <a:cubicBezTo>
                    <a:pt x="357" y="356"/>
                    <a:pt x="346" y="308"/>
                    <a:pt x="368" y="305"/>
                  </a:cubicBezTo>
                  <a:cubicBezTo>
                    <a:pt x="389" y="303"/>
                    <a:pt x="418" y="297"/>
                    <a:pt x="421" y="274"/>
                  </a:cubicBezTo>
                  <a:cubicBezTo>
                    <a:pt x="424" y="251"/>
                    <a:pt x="458" y="230"/>
                    <a:pt x="494" y="224"/>
                  </a:cubicBezTo>
                  <a:cubicBezTo>
                    <a:pt x="530" y="218"/>
                    <a:pt x="510" y="205"/>
                    <a:pt x="577" y="185"/>
                  </a:cubicBezTo>
                  <a:cubicBezTo>
                    <a:pt x="645" y="165"/>
                    <a:pt x="658" y="148"/>
                    <a:pt x="666" y="148"/>
                  </a:cubicBezTo>
                  <a:cubicBezTo>
                    <a:pt x="675" y="148"/>
                    <a:pt x="683" y="128"/>
                    <a:pt x="665" y="121"/>
                  </a:cubicBezTo>
                  <a:cubicBezTo>
                    <a:pt x="646" y="113"/>
                    <a:pt x="623" y="95"/>
                    <a:pt x="613" y="79"/>
                  </a:cubicBezTo>
                  <a:cubicBezTo>
                    <a:pt x="603" y="63"/>
                    <a:pt x="589" y="63"/>
                    <a:pt x="564" y="52"/>
                  </a:cubicBezTo>
                  <a:cubicBezTo>
                    <a:pt x="540" y="40"/>
                    <a:pt x="531" y="46"/>
                    <a:pt x="514" y="45"/>
                  </a:cubicBezTo>
                  <a:cubicBezTo>
                    <a:pt x="497" y="43"/>
                    <a:pt x="471" y="39"/>
                    <a:pt x="467" y="53"/>
                  </a:cubicBezTo>
                  <a:cubicBezTo>
                    <a:pt x="463" y="68"/>
                    <a:pt x="463" y="73"/>
                    <a:pt x="451" y="70"/>
                  </a:cubicBezTo>
                  <a:cubicBezTo>
                    <a:pt x="440" y="68"/>
                    <a:pt x="451" y="47"/>
                    <a:pt x="432" y="47"/>
                  </a:cubicBezTo>
                  <a:cubicBezTo>
                    <a:pt x="414" y="47"/>
                    <a:pt x="388" y="46"/>
                    <a:pt x="367" y="37"/>
                  </a:cubicBezTo>
                  <a:cubicBezTo>
                    <a:pt x="345" y="29"/>
                    <a:pt x="325" y="26"/>
                    <a:pt x="319" y="16"/>
                  </a:cubicBezTo>
                  <a:cubicBezTo>
                    <a:pt x="314" y="6"/>
                    <a:pt x="306" y="0"/>
                    <a:pt x="292" y="0"/>
                  </a:cubicBezTo>
                  <a:cubicBezTo>
                    <a:pt x="278" y="0"/>
                    <a:pt x="260" y="3"/>
                    <a:pt x="250" y="13"/>
                  </a:cubicBezTo>
                  <a:cubicBezTo>
                    <a:pt x="240" y="23"/>
                    <a:pt x="232" y="19"/>
                    <a:pt x="209" y="19"/>
                  </a:cubicBezTo>
                  <a:cubicBezTo>
                    <a:pt x="186" y="19"/>
                    <a:pt x="187" y="19"/>
                    <a:pt x="177" y="19"/>
                  </a:cubicBezTo>
                  <a:cubicBezTo>
                    <a:pt x="177" y="19"/>
                    <a:pt x="159" y="22"/>
                    <a:pt x="137" y="20"/>
                  </a:cubicBezTo>
                  <a:cubicBezTo>
                    <a:pt x="116" y="19"/>
                    <a:pt x="74" y="19"/>
                    <a:pt x="86" y="35"/>
                  </a:cubicBezTo>
                  <a:cubicBezTo>
                    <a:pt x="97" y="50"/>
                    <a:pt x="94" y="49"/>
                    <a:pt x="101" y="66"/>
                  </a:cubicBezTo>
                  <a:cubicBezTo>
                    <a:pt x="109" y="83"/>
                    <a:pt x="111" y="88"/>
                    <a:pt x="123" y="90"/>
                  </a:cubicBezTo>
                  <a:cubicBezTo>
                    <a:pt x="134" y="93"/>
                    <a:pt x="143" y="106"/>
                    <a:pt x="134" y="118"/>
                  </a:cubicBezTo>
                  <a:cubicBezTo>
                    <a:pt x="126" y="129"/>
                    <a:pt x="113" y="144"/>
                    <a:pt x="96" y="152"/>
                  </a:cubicBezTo>
                  <a:cubicBezTo>
                    <a:pt x="78" y="161"/>
                    <a:pt x="73" y="172"/>
                    <a:pt x="80" y="185"/>
                  </a:cubicBezTo>
                  <a:cubicBezTo>
                    <a:pt x="87" y="198"/>
                    <a:pt x="91" y="212"/>
                    <a:pt x="77" y="214"/>
                  </a:cubicBezTo>
                  <a:cubicBezTo>
                    <a:pt x="63" y="215"/>
                    <a:pt x="61" y="224"/>
                    <a:pt x="61" y="235"/>
                  </a:cubicBezTo>
                  <a:cubicBezTo>
                    <a:pt x="61" y="247"/>
                    <a:pt x="60" y="258"/>
                    <a:pt x="41" y="261"/>
                  </a:cubicBezTo>
                  <a:cubicBezTo>
                    <a:pt x="23" y="264"/>
                    <a:pt x="45" y="285"/>
                    <a:pt x="23" y="301"/>
                  </a:cubicBezTo>
                  <a:cubicBezTo>
                    <a:pt x="0" y="317"/>
                    <a:pt x="20" y="326"/>
                    <a:pt x="34" y="326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606" name="Freeform 25606"/>
            <p:cNvSpPr>
              <a:spLocks/>
            </p:cNvSpPr>
            <p:nvPr/>
          </p:nvSpPr>
          <p:spPr bwMode="auto">
            <a:xfrm>
              <a:off x="1462197" y="1635064"/>
              <a:ext cx="437358" cy="239434"/>
            </a:xfrm>
            <a:custGeom>
              <a:avLst/>
              <a:gdLst>
                <a:gd name="T0" fmla="*/ 1155 w 1173"/>
                <a:gd name="T1" fmla="*/ 435 h 642"/>
                <a:gd name="T2" fmla="*/ 1080 w 1173"/>
                <a:gd name="T3" fmla="*/ 407 h 642"/>
                <a:gd name="T4" fmla="*/ 1027 w 1173"/>
                <a:gd name="T5" fmla="*/ 378 h 642"/>
                <a:gd name="T6" fmla="*/ 935 w 1173"/>
                <a:gd name="T7" fmla="*/ 334 h 642"/>
                <a:gd name="T8" fmla="*/ 927 w 1173"/>
                <a:gd name="T9" fmla="*/ 244 h 642"/>
                <a:gd name="T10" fmla="*/ 888 w 1173"/>
                <a:gd name="T11" fmla="*/ 146 h 642"/>
                <a:gd name="T12" fmla="*/ 932 w 1173"/>
                <a:gd name="T13" fmla="*/ 65 h 642"/>
                <a:gd name="T14" fmla="*/ 878 w 1173"/>
                <a:gd name="T15" fmla="*/ 5 h 642"/>
                <a:gd name="T16" fmla="*/ 783 w 1173"/>
                <a:gd name="T17" fmla="*/ 43 h 642"/>
                <a:gd name="T18" fmla="*/ 830 w 1173"/>
                <a:gd name="T19" fmla="*/ 89 h 642"/>
                <a:gd name="T20" fmla="*/ 770 w 1173"/>
                <a:gd name="T21" fmla="*/ 73 h 642"/>
                <a:gd name="T22" fmla="*/ 705 w 1173"/>
                <a:gd name="T23" fmla="*/ 74 h 642"/>
                <a:gd name="T24" fmla="*/ 717 w 1173"/>
                <a:gd name="T25" fmla="*/ 160 h 642"/>
                <a:gd name="T26" fmla="*/ 760 w 1173"/>
                <a:gd name="T27" fmla="*/ 237 h 642"/>
                <a:gd name="T28" fmla="*/ 698 w 1173"/>
                <a:gd name="T29" fmla="*/ 244 h 642"/>
                <a:gd name="T30" fmla="*/ 682 w 1173"/>
                <a:gd name="T31" fmla="*/ 192 h 642"/>
                <a:gd name="T32" fmla="*/ 648 w 1173"/>
                <a:gd name="T33" fmla="*/ 134 h 642"/>
                <a:gd name="T34" fmla="*/ 600 w 1173"/>
                <a:gd name="T35" fmla="*/ 105 h 642"/>
                <a:gd name="T36" fmla="*/ 547 w 1173"/>
                <a:gd name="T37" fmla="*/ 119 h 642"/>
                <a:gd name="T38" fmla="*/ 565 w 1173"/>
                <a:gd name="T39" fmla="*/ 162 h 642"/>
                <a:gd name="T40" fmla="*/ 528 w 1173"/>
                <a:gd name="T41" fmla="*/ 161 h 642"/>
                <a:gd name="T42" fmla="*/ 503 w 1173"/>
                <a:gd name="T43" fmla="*/ 158 h 642"/>
                <a:gd name="T44" fmla="*/ 437 w 1173"/>
                <a:gd name="T45" fmla="*/ 113 h 642"/>
                <a:gd name="T46" fmla="*/ 358 w 1173"/>
                <a:gd name="T47" fmla="*/ 129 h 642"/>
                <a:gd name="T48" fmla="*/ 322 w 1173"/>
                <a:gd name="T49" fmla="*/ 127 h 642"/>
                <a:gd name="T50" fmla="*/ 335 w 1173"/>
                <a:gd name="T51" fmla="*/ 78 h 642"/>
                <a:gd name="T52" fmla="*/ 229 w 1173"/>
                <a:gd name="T53" fmla="*/ 70 h 642"/>
                <a:gd name="T54" fmla="*/ 105 w 1173"/>
                <a:gd name="T55" fmla="*/ 119 h 642"/>
                <a:gd name="T56" fmla="*/ 36 w 1173"/>
                <a:gd name="T57" fmla="*/ 168 h 642"/>
                <a:gd name="T58" fmla="*/ 52 w 1173"/>
                <a:gd name="T59" fmla="*/ 199 h 642"/>
                <a:gd name="T60" fmla="*/ 1 w 1173"/>
                <a:gd name="T61" fmla="*/ 250 h 642"/>
                <a:gd name="T62" fmla="*/ 48 w 1173"/>
                <a:gd name="T63" fmla="*/ 267 h 642"/>
                <a:gd name="T64" fmla="*/ 115 w 1173"/>
                <a:gd name="T65" fmla="*/ 296 h 642"/>
                <a:gd name="T66" fmla="*/ 183 w 1173"/>
                <a:gd name="T67" fmla="*/ 280 h 642"/>
                <a:gd name="T68" fmla="*/ 145 w 1173"/>
                <a:gd name="T69" fmla="*/ 311 h 642"/>
                <a:gd name="T70" fmla="*/ 82 w 1173"/>
                <a:gd name="T71" fmla="*/ 323 h 642"/>
                <a:gd name="T72" fmla="*/ 85 w 1173"/>
                <a:gd name="T73" fmla="*/ 370 h 642"/>
                <a:gd name="T74" fmla="*/ 156 w 1173"/>
                <a:gd name="T75" fmla="*/ 393 h 642"/>
                <a:gd name="T76" fmla="*/ 300 w 1173"/>
                <a:gd name="T77" fmla="*/ 391 h 642"/>
                <a:gd name="T78" fmla="*/ 375 w 1173"/>
                <a:gd name="T79" fmla="*/ 386 h 642"/>
                <a:gd name="T80" fmla="*/ 449 w 1173"/>
                <a:gd name="T81" fmla="*/ 406 h 642"/>
                <a:gd name="T82" fmla="*/ 372 w 1173"/>
                <a:gd name="T83" fmla="*/ 417 h 642"/>
                <a:gd name="T84" fmla="*/ 218 w 1173"/>
                <a:gd name="T85" fmla="*/ 427 h 642"/>
                <a:gd name="T86" fmla="*/ 114 w 1173"/>
                <a:gd name="T87" fmla="*/ 452 h 642"/>
                <a:gd name="T88" fmla="*/ 182 w 1173"/>
                <a:gd name="T89" fmla="*/ 527 h 642"/>
                <a:gd name="T90" fmla="*/ 359 w 1173"/>
                <a:gd name="T91" fmla="*/ 551 h 642"/>
                <a:gd name="T92" fmla="*/ 450 w 1173"/>
                <a:gd name="T93" fmla="*/ 619 h 642"/>
                <a:gd name="T94" fmla="*/ 570 w 1173"/>
                <a:gd name="T95" fmla="*/ 614 h 642"/>
                <a:gd name="T96" fmla="*/ 711 w 1173"/>
                <a:gd name="T97" fmla="*/ 576 h 642"/>
                <a:gd name="T98" fmla="*/ 822 w 1173"/>
                <a:gd name="T99" fmla="*/ 546 h 642"/>
                <a:gd name="T100" fmla="*/ 900 w 1173"/>
                <a:gd name="T101" fmla="*/ 586 h 642"/>
                <a:gd name="T102" fmla="*/ 943 w 1173"/>
                <a:gd name="T103" fmla="*/ 631 h 642"/>
                <a:gd name="T104" fmla="*/ 926 w 1173"/>
                <a:gd name="T105" fmla="*/ 588 h 642"/>
                <a:gd name="T106" fmla="*/ 993 w 1173"/>
                <a:gd name="T107" fmla="*/ 589 h 642"/>
                <a:gd name="T108" fmla="*/ 1116 w 1173"/>
                <a:gd name="T109" fmla="*/ 563 h 642"/>
                <a:gd name="T110" fmla="*/ 1101 w 1173"/>
                <a:gd name="T111" fmla="*/ 523 h 642"/>
                <a:gd name="T112" fmla="*/ 1033 w 1173"/>
                <a:gd name="T113" fmla="*/ 527 h 642"/>
                <a:gd name="T114" fmla="*/ 1074 w 1173"/>
                <a:gd name="T115" fmla="*/ 478 h 642"/>
                <a:gd name="T116" fmla="*/ 1135 w 1173"/>
                <a:gd name="T117" fmla="*/ 488 h 6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173" h="642">
                  <a:moveTo>
                    <a:pt x="1172" y="476"/>
                  </a:moveTo>
                  <a:cubicBezTo>
                    <a:pt x="1172" y="463"/>
                    <a:pt x="1172" y="463"/>
                    <a:pt x="1167" y="455"/>
                  </a:cubicBezTo>
                  <a:cubicBezTo>
                    <a:pt x="1161" y="447"/>
                    <a:pt x="1169" y="437"/>
                    <a:pt x="1155" y="435"/>
                  </a:cubicBezTo>
                  <a:cubicBezTo>
                    <a:pt x="1142" y="432"/>
                    <a:pt x="1129" y="432"/>
                    <a:pt x="1122" y="424"/>
                  </a:cubicBezTo>
                  <a:cubicBezTo>
                    <a:pt x="1114" y="415"/>
                    <a:pt x="1109" y="417"/>
                    <a:pt x="1101" y="416"/>
                  </a:cubicBezTo>
                  <a:cubicBezTo>
                    <a:pt x="1094" y="415"/>
                    <a:pt x="1084" y="412"/>
                    <a:pt x="1080" y="407"/>
                  </a:cubicBezTo>
                  <a:cubicBezTo>
                    <a:pt x="1076" y="402"/>
                    <a:pt x="1068" y="399"/>
                    <a:pt x="1062" y="399"/>
                  </a:cubicBezTo>
                  <a:cubicBezTo>
                    <a:pt x="1056" y="398"/>
                    <a:pt x="1052" y="392"/>
                    <a:pt x="1048" y="385"/>
                  </a:cubicBezTo>
                  <a:cubicBezTo>
                    <a:pt x="1045" y="378"/>
                    <a:pt x="1030" y="371"/>
                    <a:pt x="1027" y="378"/>
                  </a:cubicBezTo>
                  <a:cubicBezTo>
                    <a:pt x="1023" y="385"/>
                    <a:pt x="1028" y="392"/>
                    <a:pt x="1010" y="385"/>
                  </a:cubicBezTo>
                  <a:cubicBezTo>
                    <a:pt x="992" y="379"/>
                    <a:pt x="985" y="379"/>
                    <a:pt x="972" y="363"/>
                  </a:cubicBezTo>
                  <a:cubicBezTo>
                    <a:pt x="960" y="347"/>
                    <a:pt x="933" y="350"/>
                    <a:pt x="935" y="334"/>
                  </a:cubicBezTo>
                  <a:cubicBezTo>
                    <a:pt x="937" y="318"/>
                    <a:pt x="942" y="322"/>
                    <a:pt x="942" y="309"/>
                  </a:cubicBezTo>
                  <a:cubicBezTo>
                    <a:pt x="942" y="296"/>
                    <a:pt x="969" y="306"/>
                    <a:pt x="956" y="288"/>
                  </a:cubicBezTo>
                  <a:cubicBezTo>
                    <a:pt x="943" y="269"/>
                    <a:pt x="937" y="263"/>
                    <a:pt x="927" y="244"/>
                  </a:cubicBezTo>
                  <a:cubicBezTo>
                    <a:pt x="917" y="225"/>
                    <a:pt x="908" y="187"/>
                    <a:pt x="900" y="184"/>
                  </a:cubicBezTo>
                  <a:cubicBezTo>
                    <a:pt x="892" y="180"/>
                    <a:pt x="891" y="182"/>
                    <a:pt x="890" y="167"/>
                  </a:cubicBezTo>
                  <a:cubicBezTo>
                    <a:pt x="889" y="152"/>
                    <a:pt x="896" y="156"/>
                    <a:pt x="888" y="146"/>
                  </a:cubicBezTo>
                  <a:cubicBezTo>
                    <a:pt x="880" y="136"/>
                    <a:pt x="877" y="135"/>
                    <a:pt x="885" y="123"/>
                  </a:cubicBezTo>
                  <a:cubicBezTo>
                    <a:pt x="893" y="112"/>
                    <a:pt x="908" y="103"/>
                    <a:pt x="912" y="92"/>
                  </a:cubicBezTo>
                  <a:cubicBezTo>
                    <a:pt x="917" y="80"/>
                    <a:pt x="927" y="72"/>
                    <a:pt x="932" y="65"/>
                  </a:cubicBezTo>
                  <a:cubicBezTo>
                    <a:pt x="936" y="58"/>
                    <a:pt x="947" y="52"/>
                    <a:pt x="941" y="40"/>
                  </a:cubicBezTo>
                  <a:cubicBezTo>
                    <a:pt x="935" y="29"/>
                    <a:pt x="935" y="28"/>
                    <a:pt x="914" y="20"/>
                  </a:cubicBezTo>
                  <a:cubicBezTo>
                    <a:pt x="892" y="11"/>
                    <a:pt x="892" y="0"/>
                    <a:pt x="878" y="5"/>
                  </a:cubicBezTo>
                  <a:cubicBezTo>
                    <a:pt x="864" y="9"/>
                    <a:pt x="868" y="12"/>
                    <a:pt x="842" y="12"/>
                  </a:cubicBezTo>
                  <a:cubicBezTo>
                    <a:pt x="816" y="12"/>
                    <a:pt x="805" y="12"/>
                    <a:pt x="795" y="19"/>
                  </a:cubicBezTo>
                  <a:cubicBezTo>
                    <a:pt x="785" y="25"/>
                    <a:pt x="770" y="43"/>
                    <a:pt x="783" y="43"/>
                  </a:cubicBezTo>
                  <a:cubicBezTo>
                    <a:pt x="797" y="43"/>
                    <a:pt x="830" y="55"/>
                    <a:pt x="838" y="68"/>
                  </a:cubicBezTo>
                  <a:cubicBezTo>
                    <a:pt x="846" y="80"/>
                    <a:pt x="851" y="88"/>
                    <a:pt x="847" y="93"/>
                  </a:cubicBezTo>
                  <a:cubicBezTo>
                    <a:pt x="843" y="98"/>
                    <a:pt x="840" y="101"/>
                    <a:pt x="830" y="89"/>
                  </a:cubicBezTo>
                  <a:cubicBezTo>
                    <a:pt x="820" y="78"/>
                    <a:pt x="810" y="75"/>
                    <a:pt x="803" y="70"/>
                  </a:cubicBezTo>
                  <a:cubicBezTo>
                    <a:pt x="795" y="64"/>
                    <a:pt x="781" y="56"/>
                    <a:pt x="780" y="63"/>
                  </a:cubicBezTo>
                  <a:cubicBezTo>
                    <a:pt x="778" y="70"/>
                    <a:pt x="778" y="75"/>
                    <a:pt x="770" y="73"/>
                  </a:cubicBezTo>
                  <a:cubicBezTo>
                    <a:pt x="762" y="70"/>
                    <a:pt x="762" y="73"/>
                    <a:pt x="755" y="65"/>
                  </a:cubicBezTo>
                  <a:cubicBezTo>
                    <a:pt x="747" y="58"/>
                    <a:pt x="740" y="53"/>
                    <a:pt x="728" y="54"/>
                  </a:cubicBezTo>
                  <a:cubicBezTo>
                    <a:pt x="717" y="55"/>
                    <a:pt x="717" y="67"/>
                    <a:pt x="705" y="74"/>
                  </a:cubicBezTo>
                  <a:cubicBezTo>
                    <a:pt x="694" y="81"/>
                    <a:pt x="693" y="88"/>
                    <a:pt x="697" y="96"/>
                  </a:cubicBezTo>
                  <a:cubicBezTo>
                    <a:pt x="700" y="104"/>
                    <a:pt x="704" y="111"/>
                    <a:pt x="706" y="126"/>
                  </a:cubicBezTo>
                  <a:cubicBezTo>
                    <a:pt x="708" y="141"/>
                    <a:pt x="712" y="145"/>
                    <a:pt x="717" y="160"/>
                  </a:cubicBezTo>
                  <a:cubicBezTo>
                    <a:pt x="721" y="175"/>
                    <a:pt x="732" y="174"/>
                    <a:pt x="727" y="186"/>
                  </a:cubicBezTo>
                  <a:cubicBezTo>
                    <a:pt x="723" y="197"/>
                    <a:pt x="729" y="205"/>
                    <a:pt x="738" y="214"/>
                  </a:cubicBezTo>
                  <a:cubicBezTo>
                    <a:pt x="747" y="222"/>
                    <a:pt x="762" y="231"/>
                    <a:pt x="760" y="237"/>
                  </a:cubicBezTo>
                  <a:cubicBezTo>
                    <a:pt x="757" y="244"/>
                    <a:pt x="748" y="246"/>
                    <a:pt x="743" y="251"/>
                  </a:cubicBezTo>
                  <a:cubicBezTo>
                    <a:pt x="738" y="256"/>
                    <a:pt x="734" y="262"/>
                    <a:pt x="719" y="259"/>
                  </a:cubicBezTo>
                  <a:cubicBezTo>
                    <a:pt x="704" y="256"/>
                    <a:pt x="697" y="254"/>
                    <a:pt x="698" y="244"/>
                  </a:cubicBezTo>
                  <a:cubicBezTo>
                    <a:pt x="699" y="234"/>
                    <a:pt x="704" y="232"/>
                    <a:pt x="699" y="225"/>
                  </a:cubicBezTo>
                  <a:cubicBezTo>
                    <a:pt x="694" y="219"/>
                    <a:pt x="700" y="212"/>
                    <a:pt x="692" y="205"/>
                  </a:cubicBezTo>
                  <a:cubicBezTo>
                    <a:pt x="683" y="199"/>
                    <a:pt x="689" y="197"/>
                    <a:pt x="682" y="192"/>
                  </a:cubicBezTo>
                  <a:cubicBezTo>
                    <a:pt x="676" y="187"/>
                    <a:pt x="675" y="177"/>
                    <a:pt x="677" y="166"/>
                  </a:cubicBezTo>
                  <a:cubicBezTo>
                    <a:pt x="679" y="154"/>
                    <a:pt x="674" y="151"/>
                    <a:pt x="666" y="151"/>
                  </a:cubicBezTo>
                  <a:cubicBezTo>
                    <a:pt x="659" y="152"/>
                    <a:pt x="663" y="139"/>
                    <a:pt x="648" y="134"/>
                  </a:cubicBezTo>
                  <a:cubicBezTo>
                    <a:pt x="633" y="129"/>
                    <a:pt x="640" y="127"/>
                    <a:pt x="629" y="127"/>
                  </a:cubicBezTo>
                  <a:cubicBezTo>
                    <a:pt x="618" y="127"/>
                    <a:pt x="619" y="125"/>
                    <a:pt x="618" y="118"/>
                  </a:cubicBezTo>
                  <a:cubicBezTo>
                    <a:pt x="618" y="112"/>
                    <a:pt x="610" y="107"/>
                    <a:pt x="600" y="105"/>
                  </a:cubicBezTo>
                  <a:cubicBezTo>
                    <a:pt x="590" y="103"/>
                    <a:pt x="587" y="106"/>
                    <a:pt x="575" y="99"/>
                  </a:cubicBezTo>
                  <a:cubicBezTo>
                    <a:pt x="563" y="93"/>
                    <a:pt x="556" y="96"/>
                    <a:pt x="548" y="99"/>
                  </a:cubicBezTo>
                  <a:cubicBezTo>
                    <a:pt x="540" y="103"/>
                    <a:pt x="536" y="113"/>
                    <a:pt x="547" y="119"/>
                  </a:cubicBezTo>
                  <a:cubicBezTo>
                    <a:pt x="559" y="126"/>
                    <a:pt x="571" y="128"/>
                    <a:pt x="576" y="134"/>
                  </a:cubicBezTo>
                  <a:cubicBezTo>
                    <a:pt x="581" y="141"/>
                    <a:pt x="590" y="152"/>
                    <a:pt x="579" y="153"/>
                  </a:cubicBezTo>
                  <a:cubicBezTo>
                    <a:pt x="568" y="154"/>
                    <a:pt x="565" y="158"/>
                    <a:pt x="565" y="162"/>
                  </a:cubicBezTo>
                  <a:cubicBezTo>
                    <a:pt x="565" y="166"/>
                    <a:pt x="556" y="167"/>
                    <a:pt x="549" y="161"/>
                  </a:cubicBezTo>
                  <a:cubicBezTo>
                    <a:pt x="542" y="155"/>
                    <a:pt x="546" y="151"/>
                    <a:pt x="537" y="152"/>
                  </a:cubicBezTo>
                  <a:cubicBezTo>
                    <a:pt x="529" y="154"/>
                    <a:pt x="534" y="153"/>
                    <a:pt x="528" y="161"/>
                  </a:cubicBezTo>
                  <a:cubicBezTo>
                    <a:pt x="522" y="170"/>
                    <a:pt x="523" y="170"/>
                    <a:pt x="515" y="175"/>
                  </a:cubicBezTo>
                  <a:cubicBezTo>
                    <a:pt x="507" y="180"/>
                    <a:pt x="494" y="182"/>
                    <a:pt x="495" y="172"/>
                  </a:cubicBezTo>
                  <a:cubicBezTo>
                    <a:pt x="497" y="162"/>
                    <a:pt x="494" y="165"/>
                    <a:pt x="503" y="158"/>
                  </a:cubicBezTo>
                  <a:cubicBezTo>
                    <a:pt x="512" y="151"/>
                    <a:pt x="519" y="146"/>
                    <a:pt x="513" y="139"/>
                  </a:cubicBezTo>
                  <a:cubicBezTo>
                    <a:pt x="507" y="132"/>
                    <a:pt x="510" y="133"/>
                    <a:pt x="489" y="128"/>
                  </a:cubicBezTo>
                  <a:cubicBezTo>
                    <a:pt x="469" y="123"/>
                    <a:pt x="455" y="124"/>
                    <a:pt x="437" y="113"/>
                  </a:cubicBezTo>
                  <a:cubicBezTo>
                    <a:pt x="419" y="103"/>
                    <a:pt x="403" y="99"/>
                    <a:pt x="396" y="98"/>
                  </a:cubicBezTo>
                  <a:cubicBezTo>
                    <a:pt x="389" y="96"/>
                    <a:pt x="385" y="102"/>
                    <a:pt x="374" y="110"/>
                  </a:cubicBezTo>
                  <a:cubicBezTo>
                    <a:pt x="363" y="118"/>
                    <a:pt x="356" y="123"/>
                    <a:pt x="358" y="129"/>
                  </a:cubicBezTo>
                  <a:cubicBezTo>
                    <a:pt x="359" y="134"/>
                    <a:pt x="363" y="140"/>
                    <a:pt x="350" y="142"/>
                  </a:cubicBezTo>
                  <a:cubicBezTo>
                    <a:pt x="338" y="144"/>
                    <a:pt x="302" y="154"/>
                    <a:pt x="305" y="142"/>
                  </a:cubicBezTo>
                  <a:cubicBezTo>
                    <a:pt x="308" y="130"/>
                    <a:pt x="310" y="127"/>
                    <a:pt x="322" y="127"/>
                  </a:cubicBezTo>
                  <a:cubicBezTo>
                    <a:pt x="334" y="127"/>
                    <a:pt x="342" y="127"/>
                    <a:pt x="337" y="118"/>
                  </a:cubicBezTo>
                  <a:cubicBezTo>
                    <a:pt x="332" y="110"/>
                    <a:pt x="326" y="110"/>
                    <a:pt x="332" y="101"/>
                  </a:cubicBezTo>
                  <a:cubicBezTo>
                    <a:pt x="337" y="93"/>
                    <a:pt x="345" y="87"/>
                    <a:pt x="335" y="78"/>
                  </a:cubicBezTo>
                  <a:cubicBezTo>
                    <a:pt x="324" y="68"/>
                    <a:pt x="325" y="64"/>
                    <a:pt x="312" y="59"/>
                  </a:cubicBezTo>
                  <a:cubicBezTo>
                    <a:pt x="299" y="54"/>
                    <a:pt x="293" y="49"/>
                    <a:pt x="281" y="56"/>
                  </a:cubicBezTo>
                  <a:cubicBezTo>
                    <a:pt x="269" y="63"/>
                    <a:pt x="244" y="66"/>
                    <a:pt x="229" y="70"/>
                  </a:cubicBezTo>
                  <a:cubicBezTo>
                    <a:pt x="213" y="75"/>
                    <a:pt x="215" y="87"/>
                    <a:pt x="194" y="91"/>
                  </a:cubicBezTo>
                  <a:cubicBezTo>
                    <a:pt x="173" y="94"/>
                    <a:pt x="150" y="101"/>
                    <a:pt x="127" y="110"/>
                  </a:cubicBezTo>
                  <a:cubicBezTo>
                    <a:pt x="127" y="110"/>
                    <a:pt x="115" y="111"/>
                    <a:pt x="105" y="119"/>
                  </a:cubicBezTo>
                  <a:cubicBezTo>
                    <a:pt x="95" y="128"/>
                    <a:pt x="90" y="136"/>
                    <a:pt x="79" y="140"/>
                  </a:cubicBezTo>
                  <a:cubicBezTo>
                    <a:pt x="69" y="144"/>
                    <a:pt x="67" y="148"/>
                    <a:pt x="57" y="151"/>
                  </a:cubicBezTo>
                  <a:cubicBezTo>
                    <a:pt x="48" y="155"/>
                    <a:pt x="34" y="159"/>
                    <a:pt x="36" y="168"/>
                  </a:cubicBezTo>
                  <a:cubicBezTo>
                    <a:pt x="37" y="177"/>
                    <a:pt x="43" y="180"/>
                    <a:pt x="49" y="180"/>
                  </a:cubicBezTo>
                  <a:cubicBezTo>
                    <a:pt x="54" y="180"/>
                    <a:pt x="64" y="182"/>
                    <a:pt x="65" y="190"/>
                  </a:cubicBezTo>
                  <a:cubicBezTo>
                    <a:pt x="66" y="199"/>
                    <a:pt x="64" y="199"/>
                    <a:pt x="52" y="199"/>
                  </a:cubicBezTo>
                  <a:cubicBezTo>
                    <a:pt x="41" y="199"/>
                    <a:pt x="30" y="204"/>
                    <a:pt x="27" y="212"/>
                  </a:cubicBezTo>
                  <a:cubicBezTo>
                    <a:pt x="24" y="220"/>
                    <a:pt x="21" y="227"/>
                    <a:pt x="12" y="232"/>
                  </a:cubicBezTo>
                  <a:cubicBezTo>
                    <a:pt x="3" y="237"/>
                    <a:pt x="0" y="242"/>
                    <a:pt x="1" y="250"/>
                  </a:cubicBezTo>
                  <a:cubicBezTo>
                    <a:pt x="1" y="257"/>
                    <a:pt x="8" y="254"/>
                    <a:pt x="9" y="263"/>
                  </a:cubicBezTo>
                  <a:cubicBezTo>
                    <a:pt x="11" y="273"/>
                    <a:pt x="24" y="278"/>
                    <a:pt x="29" y="273"/>
                  </a:cubicBezTo>
                  <a:cubicBezTo>
                    <a:pt x="34" y="269"/>
                    <a:pt x="41" y="265"/>
                    <a:pt x="48" y="267"/>
                  </a:cubicBezTo>
                  <a:cubicBezTo>
                    <a:pt x="54" y="269"/>
                    <a:pt x="65" y="278"/>
                    <a:pt x="64" y="285"/>
                  </a:cubicBezTo>
                  <a:cubicBezTo>
                    <a:pt x="64" y="293"/>
                    <a:pt x="66" y="295"/>
                    <a:pt x="79" y="298"/>
                  </a:cubicBezTo>
                  <a:cubicBezTo>
                    <a:pt x="93" y="300"/>
                    <a:pt x="107" y="303"/>
                    <a:pt x="115" y="296"/>
                  </a:cubicBezTo>
                  <a:cubicBezTo>
                    <a:pt x="122" y="289"/>
                    <a:pt x="131" y="291"/>
                    <a:pt x="138" y="292"/>
                  </a:cubicBezTo>
                  <a:cubicBezTo>
                    <a:pt x="144" y="293"/>
                    <a:pt x="163" y="294"/>
                    <a:pt x="165" y="289"/>
                  </a:cubicBezTo>
                  <a:cubicBezTo>
                    <a:pt x="166" y="284"/>
                    <a:pt x="170" y="280"/>
                    <a:pt x="183" y="280"/>
                  </a:cubicBezTo>
                  <a:cubicBezTo>
                    <a:pt x="196" y="280"/>
                    <a:pt x="202" y="290"/>
                    <a:pt x="196" y="298"/>
                  </a:cubicBezTo>
                  <a:cubicBezTo>
                    <a:pt x="191" y="305"/>
                    <a:pt x="176" y="298"/>
                    <a:pt x="166" y="302"/>
                  </a:cubicBezTo>
                  <a:cubicBezTo>
                    <a:pt x="156" y="306"/>
                    <a:pt x="160" y="311"/>
                    <a:pt x="145" y="311"/>
                  </a:cubicBezTo>
                  <a:cubicBezTo>
                    <a:pt x="129" y="311"/>
                    <a:pt x="130" y="306"/>
                    <a:pt x="125" y="313"/>
                  </a:cubicBezTo>
                  <a:cubicBezTo>
                    <a:pt x="120" y="321"/>
                    <a:pt x="114" y="320"/>
                    <a:pt x="101" y="320"/>
                  </a:cubicBezTo>
                  <a:cubicBezTo>
                    <a:pt x="88" y="320"/>
                    <a:pt x="90" y="318"/>
                    <a:pt x="82" y="323"/>
                  </a:cubicBezTo>
                  <a:cubicBezTo>
                    <a:pt x="74" y="329"/>
                    <a:pt x="68" y="327"/>
                    <a:pt x="62" y="334"/>
                  </a:cubicBezTo>
                  <a:cubicBezTo>
                    <a:pt x="55" y="341"/>
                    <a:pt x="45" y="344"/>
                    <a:pt x="57" y="353"/>
                  </a:cubicBezTo>
                  <a:cubicBezTo>
                    <a:pt x="68" y="361"/>
                    <a:pt x="79" y="364"/>
                    <a:pt x="85" y="370"/>
                  </a:cubicBezTo>
                  <a:cubicBezTo>
                    <a:pt x="91" y="376"/>
                    <a:pt x="97" y="390"/>
                    <a:pt x="110" y="390"/>
                  </a:cubicBezTo>
                  <a:cubicBezTo>
                    <a:pt x="124" y="390"/>
                    <a:pt x="135" y="399"/>
                    <a:pt x="140" y="395"/>
                  </a:cubicBezTo>
                  <a:cubicBezTo>
                    <a:pt x="144" y="392"/>
                    <a:pt x="151" y="391"/>
                    <a:pt x="156" y="393"/>
                  </a:cubicBezTo>
                  <a:cubicBezTo>
                    <a:pt x="161" y="395"/>
                    <a:pt x="178" y="399"/>
                    <a:pt x="188" y="395"/>
                  </a:cubicBezTo>
                  <a:cubicBezTo>
                    <a:pt x="197" y="392"/>
                    <a:pt x="205" y="392"/>
                    <a:pt x="219" y="392"/>
                  </a:cubicBezTo>
                  <a:cubicBezTo>
                    <a:pt x="234" y="392"/>
                    <a:pt x="292" y="401"/>
                    <a:pt x="300" y="391"/>
                  </a:cubicBezTo>
                  <a:cubicBezTo>
                    <a:pt x="308" y="381"/>
                    <a:pt x="317" y="389"/>
                    <a:pt x="325" y="383"/>
                  </a:cubicBezTo>
                  <a:cubicBezTo>
                    <a:pt x="332" y="376"/>
                    <a:pt x="344" y="371"/>
                    <a:pt x="348" y="378"/>
                  </a:cubicBezTo>
                  <a:cubicBezTo>
                    <a:pt x="353" y="384"/>
                    <a:pt x="365" y="387"/>
                    <a:pt x="375" y="386"/>
                  </a:cubicBezTo>
                  <a:cubicBezTo>
                    <a:pt x="384" y="385"/>
                    <a:pt x="390" y="394"/>
                    <a:pt x="403" y="394"/>
                  </a:cubicBezTo>
                  <a:cubicBezTo>
                    <a:pt x="416" y="394"/>
                    <a:pt x="425" y="398"/>
                    <a:pt x="436" y="398"/>
                  </a:cubicBezTo>
                  <a:cubicBezTo>
                    <a:pt x="448" y="398"/>
                    <a:pt x="449" y="396"/>
                    <a:pt x="449" y="406"/>
                  </a:cubicBezTo>
                  <a:cubicBezTo>
                    <a:pt x="449" y="416"/>
                    <a:pt x="445" y="419"/>
                    <a:pt x="435" y="419"/>
                  </a:cubicBezTo>
                  <a:cubicBezTo>
                    <a:pt x="425" y="419"/>
                    <a:pt x="422" y="430"/>
                    <a:pt x="411" y="424"/>
                  </a:cubicBezTo>
                  <a:cubicBezTo>
                    <a:pt x="399" y="419"/>
                    <a:pt x="385" y="414"/>
                    <a:pt x="372" y="417"/>
                  </a:cubicBezTo>
                  <a:cubicBezTo>
                    <a:pt x="359" y="419"/>
                    <a:pt x="345" y="428"/>
                    <a:pt x="326" y="422"/>
                  </a:cubicBezTo>
                  <a:cubicBezTo>
                    <a:pt x="307" y="417"/>
                    <a:pt x="287" y="419"/>
                    <a:pt x="265" y="420"/>
                  </a:cubicBezTo>
                  <a:cubicBezTo>
                    <a:pt x="243" y="421"/>
                    <a:pt x="230" y="427"/>
                    <a:pt x="218" y="427"/>
                  </a:cubicBezTo>
                  <a:cubicBezTo>
                    <a:pt x="206" y="428"/>
                    <a:pt x="201" y="432"/>
                    <a:pt x="185" y="432"/>
                  </a:cubicBezTo>
                  <a:cubicBezTo>
                    <a:pt x="168" y="432"/>
                    <a:pt x="158" y="441"/>
                    <a:pt x="142" y="440"/>
                  </a:cubicBezTo>
                  <a:cubicBezTo>
                    <a:pt x="125" y="438"/>
                    <a:pt x="114" y="441"/>
                    <a:pt x="114" y="452"/>
                  </a:cubicBezTo>
                  <a:cubicBezTo>
                    <a:pt x="114" y="462"/>
                    <a:pt x="114" y="471"/>
                    <a:pt x="127" y="480"/>
                  </a:cubicBezTo>
                  <a:cubicBezTo>
                    <a:pt x="141" y="488"/>
                    <a:pt x="160" y="503"/>
                    <a:pt x="163" y="511"/>
                  </a:cubicBezTo>
                  <a:cubicBezTo>
                    <a:pt x="166" y="519"/>
                    <a:pt x="167" y="524"/>
                    <a:pt x="182" y="527"/>
                  </a:cubicBezTo>
                  <a:cubicBezTo>
                    <a:pt x="197" y="530"/>
                    <a:pt x="209" y="531"/>
                    <a:pt x="215" y="537"/>
                  </a:cubicBezTo>
                  <a:cubicBezTo>
                    <a:pt x="221" y="543"/>
                    <a:pt x="261" y="540"/>
                    <a:pt x="274" y="540"/>
                  </a:cubicBezTo>
                  <a:cubicBezTo>
                    <a:pt x="287" y="540"/>
                    <a:pt x="360" y="536"/>
                    <a:pt x="359" y="551"/>
                  </a:cubicBezTo>
                  <a:cubicBezTo>
                    <a:pt x="358" y="566"/>
                    <a:pt x="360" y="593"/>
                    <a:pt x="370" y="604"/>
                  </a:cubicBezTo>
                  <a:cubicBezTo>
                    <a:pt x="380" y="616"/>
                    <a:pt x="403" y="634"/>
                    <a:pt x="416" y="627"/>
                  </a:cubicBezTo>
                  <a:cubicBezTo>
                    <a:pt x="428" y="619"/>
                    <a:pt x="436" y="617"/>
                    <a:pt x="450" y="619"/>
                  </a:cubicBezTo>
                  <a:cubicBezTo>
                    <a:pt x="464" y="620"/>
                    <a:pt x="490" y="615"/>
                    <a:pt x="504" y="620"/>
                  </a:cubicBezTo>
                  <a:cubicBezTo>
                    <a:pt x="517" y="625"/>
                    <a:pt x="535" y="631"/>
                    <a:pt x="540" y="624"/>
                  </a:cubicBezTo>
                  <a:cubicBezTo>
                    <a:pt x="544" y="618"/>
                    <a:pt x="553" y="614"/>
                    <a:pt x="570" y="614"/>
                  </a:cubicBezTo>
                  <a:cubicBezTo>
                    <a:pt x="588" y="614"/>
                    <a:pt x="610" y="615"/>
                    <a:pt x="622" y="609"/>
                  </a:cubicBezTo>
                  <a:cubicBezTo>
                    <a:pt x="634" y="604"/>
                    <a:pt x="653" y="602"/>
                    <a:pt x="666" y="594"/>
                  </a:cubicBezTo>
                  <a:cubicBezTo>
                    <a:pt x="679" y="586"/>
                    <a:pt x="684" y="576"/>
                    <a:pt x="711" y="576"/>
                  </a:cubicBezTo>
                  <a:cubicBezTo>
                    <a:pt x="737" y="576"/>
                    <a:pt x="763" y="567"/>
                    <a:pt x="772" y="553"/>
                  </a:cubicBezTo>
                  <a:cubicBezTo>
                    <a:pt x="782" y="540"/>
                    <a:pt x="794" y="524"/>
                    <a:pt x="808" y="524"/>
                  </a:cubicBezTo>
                  <a:cubicBezTo>
                    <a:pt x="821" y="524"/>
                    <a:pt x="821" y="536"/>
                    <a:pt x="822" y="546"/>
                  </a:cubicBezTo>
                  <a:cubicBezTo>
                    <a:pt x="823" y="556"/>
                    <a:pt x="839" y="558"/>
                    <a:pt x="847" y="556"/>
                  </a:cubicBezTo>
                  <a:cubicBezTo>
                    <a:pt x="855" y="553"/>
                    <a:pt x="883" y="551"/>
                    <a:pt x="891" y="564"/>
                  </a:cubicBezTo>
                  <a:cubicBezTo>
                    <a:pt x="900" y="576"/>
                    <a:pt x="898" y="576"/>
                    <a:pt x="900" y="586"/>
                  </a:cubicBezTo>
                  <a:cubicBezTo>
                    <a:pt x="902" y="596"/>
                    <a:pt x="904" y="612"/>
                    <a:pt x="909" y="621"/>
                  </a:cubicBezTo>
                  <a:cubicBezTo>
                    <a:pt x="914" y="630"/>
                    <a:pt x="917" y="634"/>
                    <a:pt x="927" y="637"/>
                  </a:cubicBezTo>
                  <a:cubicBezTo>
                    <a:pt x="938" y="640"/>
                    <a:pt x="943" y="642"/>
                    <a:pt x="943" y="631"/>
                  </a:cubicBezTo>
                  <a:cubicBezTo>
                    <a:pt x="943" y="620"/>
                    <a:pt x="930" y="617"/>
                    <a:pt x="925" y="614"/>
                  </a:cubicBezTo>
                  <a:cubicBezTo>
                    <a:pt x="920" y="611"/>
                    <a:pt x="912" y="605"/>
                    <a:pt x="912" y="597"/>
                  </a:cubicBezTo>
                  <a:cubicBezTo>
                    <a:pt x="911" y="589"/>
                    <a:pt x="914" y="587"/>
                    <a:pt x="926" y="588"/>
                  </a:cubicBezTo>
                  <a:cubicBezTo>
                    <a:pt x="937" y="589"/>
                    <a:pt x="932" y="580"/>
                    <a:pt x="944" y="581"/>
                  </a:cubicBezTo>
                  <a:cubicBezTo>
                    <a:pt x="955" y="581"/>
                    <a:pt x="950" y="589"/>
                    <a:pt x="963" y="589"/>
                  </a:cubicBezTo>
                  <a:cubicBezTo>
                    <a:pt x="977" y="589"/>
                    <a:pt x="970" y="586"/>
                    <a:pt x="993" y="589"/>
                  </a:cubicBezTo>
                  <a:cubicBezTo>
                    <a:pt x="1017" y="593"/>
                    <a:pt x="1039" y="596"/>
                    <a:pt x="1051" y="589"/>
                  </a:cubicBezTo>
                  <a:cubicBezTo>
                    <a:pt x="1062" y="582"/>
                    <a:pt x="1066" y="574"/>
                    <a:pt x="1082" y="573"/>
                  </a:cubicBezTo>
                  <a:cubicBezTo>
                    <a:pt x="1098" y="571"/>
                    <a:pt x="1106" y="564"/>
                    <a:pt x="1116" y="563"/>
                  </a:cubicBezTo>
                  <a:cubicBezTo>
                    <a:pt x="1125" y="561"/>
                    <a:pt x="1129" y="557"/>
                    <a:pt x="1129" y="549"/>
                  </a:cubicBezTo>
                  <a:cubicBezTo>
                    <a:pt x="1129" y="541"/>
                    <a:pt x="1119" y="541"/>
                    <a:pt x="1111" y="541"/>
                  </a:cubicBezTo>
                  <a:cubicBezTo>
                    <a:pt x="1104" y="541"/>
                    <a:pt x="1104" y="533"/>
                    <a:pt x="1101" y="523"/>
                  </a:cubicBezTo>
                  <a:cubicBezTo>
                    <a:pt x="1099" y="514"/>
                    <a:pt x="1091" y="510"/>
                    <a:pt x="1081" y="513"/>
                  </a:cubicBezTo>
                  <a:cubicBezTo>
                    <a:pt x="1072" y="517"/>
                    <a:pt x="1056" y="513"/>
                    <a:pt x="1052" y="523"/>
                  </a:cubicBezTo>
                  <a:cubicBezTo>
                    <a:pt x="1048" y="532"/>
                    <a:pt x="1036" y="538"/>
                    <a:pt x="1033" y="527"/>
                  </a:cubicBezTo>
                  <a:cubicBezTo>
                    <a:pt x="1029" y="516"/>
                    <a:pt x="1030" y="508"/>
                    <a:pt x="1043" y="508"/>
                  </a:cubicBezTo>
                  <a:cubicBezTo>
                    <a:pt x="1055" y="508"/>
                    <a:pt x="1065" y="505"/>
                    <a:pt x="1066" y="498"/>
                  </a:cubicBezTo>
                  <a:cubicBezTo>
                    <a:pt x="1068" y="490"/>
                    <a:pt x="1066" y="480"/>
                    <a:pt x="1074" y="478"/>
                  </a:cubicBezTo>
                  <a:cubicBezTo>
                    <a:pt x="1083" y="476"/>
                    <a:pt x="1089" y="463"/>
                    <a:pt x="1095" y="474"/>
                  </a:cubicBezTo>
                  <a:cubicBezTo>
                    <a:pt x="1101" y="485"/>
                    <a:pt x="1106" y="490"/>
                    <a:pt x="1114" y="488"/>
                  </a:cubicBezTo>
                  <a:cubicBezTo>
                    <a:pt x="1121" y="485"/>
                    <a:pt x="1128" y="480"/>
                    <a:pt x="1135" y="488"/>
                  </a:cubicBezTo>
                  <a:cubicBezTo>
                    <a:pt x="1142" y="495"/>
                    <a:pt x="1149" y="494"/>
                    <a:pt x="1159" y="493"/>
                  </a:cubicBezTo>
                  <a:cubicBezTo>
                    <a:pt x="1168" y="491"/>
                    <a:pt x="1173" y="489"/>
                    <a:pt x="1172" y="476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607" name="Freeform 25607"/>
            <p:cNvSpPr>
              <a:spLocks/>
            </p:cNvSpPr>
            <p:nvPr/>
          </p:nvSpPr>
          <p:spPr bwMode="auto">
            <a:xfrm>
              <a:off x="1499130" y="1487647"/>
              <a:ext cx="290888" cy="122006"/>
            </a:xfrm>
            <a:custGeom>
              <a:avLst/>
              <a:gdLst>
                <a:gd name="T0" fmla="*/ 104 w 780"/>
                <a:gd name="T1" fmla="*/ 93 h 327"/>
                <a:gd name="T2" fmla="*/ 75 w 780"/>
                <a:gd name="T3" fmla="*/ 136 h 327"/>
                <a:gd name="T4" fmla="*/ 30 w 780"/>
                <a:gd name="T5" fmla="*/ 161 h 327"/>
                <a:gd name="T6" fmla="*/ 95 w 780"/>
                <a:gd name="T7" fmla="*/ 174 h 327"/>
                <a:gd name="T8" fmla="*/ 59 w 780"/>
                <a:gd name="T9" fmla="*/ 185 h 327"/>
                <a:gd name="T10" fmla="*/ 7 w 780"/>
                <a:gd name="T11" fmla="*/ 201 h 327"/>
                <a:gd name="T12" fmla="*/ 42 w 780"/>
                <a:gd name="T13" fmla="*/ 232 h 327"/>
                <a:gd name="T14" fmla="*/ 94 w 780"/>
                <a:gd name="T15" fmla="*/ 233 h 327"/>
                <a:gd name="T16" fmla="*/ 142 w 780"/>
                <a:gd name="T17" fmla="*/ 238 h 327"/>
                <a:gd name="T18" fmla="*/ 202 w 780"/>
                <a:gd name="T19" fmla="*/ 243 h 327"/>
                <a:gd name="T20" fmla="*/ 238 w 780"/>
                <a:gd name="T21" fmla="*/ 199 h 327"/>
                <a:gd name="T22" fmla="*/ 237 w 780"/>
                <a:gd name="T23" fmla="*/ 225 h 327"/>
                <a:gd name="T24" fmla="*/ 282 w 780"/>
                <a:gd name="T25" fmla="*/ 239 h 327"/>
                <a:gd name="T26" fmla="*/ 332 w 780"/>
                <a:gd name="T27" fmla="*/ 223 h 327"/>
                <a:gd name="T28" fmla="*/ 385 w 780"/>
                <a:gd name="T29" fmla="*/ 223 h 327"/>
                <a:gd name="T30" fmla="*/ 400 w 780"/>
                <a:gd name="T31" fmla="*/ 233 h 327"/>
                <a:gd name="T32" fmla="*/ 279 w 780"/>
                <a:gd name="T33" fmla="*/ 256 h 327"/>
                <a:gd name="T34" fmla="*/ 212 w 780"/>
                <a:gd name="T35" fmla="*/ 288 h 327"/>
                <a:gd name="T36" fmla="*/ 271 w 780"/>
                <a:gd name="T37" fmla="*/ 322 h 327"/>
                <a:gd name="T38" fmla="*/ 398 w 780"/>
                <a:gd name="T39" fmla="*/ 306 h 327"/>
                <a:gd name="T40" fmla="*/ 468 w 780"/>
                <a:gd name="T41" fmla="*/ 271 h 327"/>
                <a:gd name="T42" fmla="*/ 552 w 780"/>
                <a:gd name="T43" fmla="*/ 247 h 327"/>
                <a:gd name="T44" fmla="*/ 615 w 780"/>
                <a:gd name="T45" fmla="*/ 247 h 327"/>
                <a:gd name="T46" fmla="*/ 684 w 780"/>
                <a:gd name="T47" fmla="*/ 255 h 327"/>
                <a:gd name="T48" fmla="*/ 751 w 780"/>
                <a:gd name="T49" fmla="*/ 228 h 327"/>
                <a:gd name="T50" fmla="*/ 774 w 780"/>
                <a:gd name="T51" fmla="*/ 173 h 327"/>
                <a:gd name="T52" fmla="*/ 754 w 780"/>
                <a:gd name="T53" fmla="*/ 118 h 327"/>
                <a:gd name="T54" fmla="*/ 699 w 780"/>
                <a:gd name="T55" fmla="*/ 121 h 327"/>
                <a:gd name="T56" fmla="*/ 676 w 780"/>
                <a:gd name="T57" fmla="*/ 145 h 327"/>
                <a:gd name="T58" fmla="*/ 622 w 780"/>
                <a:gd name="T59" fmla="*/ 108 h 327"/>
                <a:gd name="T60" fmla="*/ 606 w 780"/>
                <a:gd name="T61" fmla="*/ 84 h 327"/>
                <a:gd name="T62" fmla="*/ 581 w 780"/>
                <a:gd name="T63" fmla="*/ 40 h 327"/>
                <a:gd name="T64" fmla="*/ 557 w 780"/>
                <a:gd name="T65" fmla="*/ 4 h 327"/>
                <a:gd name="T66" fmla="*/ 507 w 780"/>
                <a:gd name="T67" fmla="*/ 38 h 327"/>
                <a:gd name="T68" fmla="*/ 472 w 780"/>
                <a:gd name="T69" fmla="*/ 80 h 327"/>
                <a:gd name="T70" fmla="*/ 523 w 780"/>
                <a:gd name="T71" fmla="*/ 101 h 327"/>
                <a:gd name="T72" fmla="*/ 494 w 780"/>
                <a:gd name="T73" fmla="*/ 126 h 327"/>
                <a:gd name="T74" fmla="*/ 555 w 780"/>
                <a:gd name="T75" fmla="*/ 156 h 327"/>
                <a:gd name="T76" fmla="*/ 461 w 780"/>
                <a:gd name="T77" fmla="*/ 176 h 327"/>
                <a:gd name="T78" fmla="*/ 390 w 780"/>
                <a:gd name="T79" fmla="*/ 147 h 327"/>
                <a:gd name="T80" fmla="*/ 328 w 780"/>
                <a:gd name="T81" fmla="*/ 99 h 327"/>
                <a:gd name="T82" fmla="*/ 233 w 780"/>
                <a:gd name="T83" fmla="*/ 91 h 327"/>
                <a:gd name="T84" fmla="*/ 177 w 780"/>
                <a:gd name="T85" fmla="*/ 54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780" h="327">
                  <a:moveTo>
                    <a:pt x="131" y="60"/>
                  </a:moveTo>
                  <a:cubicBezTo>
                    <a:pt x="125" y="60"/>
                    <a:pt x="118" y="66"/>
                    <a:pt x="115" y="73"/>
                  </a:cubicBezTo>
                  <a:cubicBezTo>
                    <a:pt x="112" y="81"/>
                    <a:pt x="117" y="94"/>
                    <a:pt x="104" y="93"/>
                  </a:cubicBezTo>
                  <a:cubicBezTo>
                    <a:pt x="90" y="91"/>
                    <a:pt x="68" y="94"/>
                    <a:pt x="65" y="101"/>
                  </a:cubicBezTo>
                  <a:cubicBezTo>
                    <a:pt x="62" y="109"/>
                    <a:pt x="62" y="125"/>
                    <a:pt x="67" y="127"/>
                  </a:cubicBezTo>
                  <a:cubicBezTo>
                    <a:pt x="72" y="129"/>
                    <a:pt x="77" y="131"/>
                    <a:pt x="75" y="136"/>
                  </a:cubicBezTo>
                  <a:cubicBezTo>
                    <a:pt x="73" y="140"/>
                    <a:pt x="68" y="144"/>
                    <a:pt x="59" y="144"/>
                  </a:cubicBezTo>
                  <a:cubicBezTo>
                    <a:pt x="49" y="143"/>
                    <a:pt x="42" y="145"/>
                    <a:pt x="41" y="150"/>
                  </a:cubicBezTo>
                  <a:cubicBezTo>
                    <a:pt x="41" y="155"/>
                    <a:pt x="36" y="159"/>
                    <a:pt x="30" y="161"/>
                  </a:cubicBezTo>
                  <a:cubicBezTo>
                    <a:pt x="23" y="163"/>
                    <a:pt x="21" y="174"/>
                    <a:pt x="30" y="174"/>
                  </a:cubicBezTo>
                  <a:cubicBezTo>
                    <a:pt x="39" y="174"/>
                    <a:pt x="46" y="172"/>
                    <a:pt x="59" y="173"/>
                  </a:cubicBezTo>
                  <a:cubicBezTo>
                    <a:pt x="72" y="174"/>
                    <a:pt x="83" y="174"/>
                    <a:pt x="95" y="174"/>
                  </a:cubicBezTo>
                  <a:cubicBezTo>
                    <a:pt x="107" y="174"/>
                    <a:pt x="116" y="172"/>
                    <a:pt x="115" y="179"/>
                  </a:cubicBezTo>
                  <a:cubicBezTo>
                    <a:pt x="114" y="186"/>
                    <a:pt x="117" y="190"/>
                    <a:pt x="102" y="187"/>
                  </a:cubicBezTo>
                  <a:cubicBezTo>
                    <a:pt x="87" y="185"/>
                    <a:pt x="68" y="185"/>
                    <a:pt x="59" y="185"/>
                  </a:cubicBezTo>
                  <a:cubicBezTo>
                    <a:pt x="49" y="184"/>
                    <a:pt x="31" y="184"/>
                    <a:pt x="26" y="184"/>
                  </a:cubicBezTo>
                  <a:cubicBezTo>
                    <a:pt x="22" y="184"/>
                    <a:pt x="21" y="189"/>
                    <a:pt x="16" y="192"/>
                  </a:cubicBezTo>
                  <a:cubicBezTo>
                    <a:pt x="11" y="195"/>
                    <a:pt x="13" y="199"/>
                    <a:pt x="7" y="201"/>
                  </a:cubicBezTo>
                  <a:cubicBezTo>
                    <a:pt x="1" y="203"/>
                    <a:pt x="0" y="217"/>
                    <a:pt x="4" y="218"/>
                  </a:cubicBezTo>
                  <a:cubicBezTo>
                    <a:pt x="8" y="220"/>
                    <a:pt x="18" y="218"/>
                    <a:pt x="21" y="223"/>
                  </a:cubicBezTo>
                  <a:cubicBezTo>
                    <a:pt x="25" y="227"/>
                    <a:pt x="31" y="232"/>
                    <a:pt x="42" y="232"/>
                  </a:cubicBezTo>
                  <a:cubicBezTo>
                    <a:pt x="54" y="232"/>
                    <a:pt x="50" y="235"/>
                    <a:pt x="62" y="229"/>
                  </a:cubicBezTo>
                  <a:cubicBezTo>
                    <a:pt x="74" y="223"/>
                    <a:pt x="75" y="225"/>
                    <a:pt x="82" y="225"/>
                  </a:cubicBezTo>
                  <a:cubicBezTo>
                    <a:pt x="89" y="225"/>
                    <a:pt x="94" y="228"/>
                    <a:pt x="94" y="233"/>
                  </a:cubicBezTo>
                  <a:cubicBezTo>
                    <a:pt x="94" y="239"/>
                    <a:pt x="99" y="248"/>
                    <a:pt x="109" y="248"/>
                  </a:cubicBezTo>
                  <a:cubicBezTo>
                    <a:pt x="120" y="248"/>
                    <a:pt x="127" y="249"/>
                    <a:pt x="128" y="244"/>
                  </a:cubicBezTo>
                  <a:cubicBezTo>
                    <a:pt x="130" y="239"/>
                    <a:pt x="135" y="238"/>
                    <a:pt x="142" y="238"/>
                  </a:cubicBezTo>
                  <a:cubicBezTo>
                    <a:pt x="149" y="238"/>
                    <a:pt x="157" y="236"/>
                    <a:pt x="157" y="243"/>
                  </a:cubicBezTo>
                  <a:cubicBezTo>
                    <a:pt x="158" y="249"/>
                    <a:pt x="162" y="248"/>
                    <a:pt x="173" y="250"/>
                  </a:cubicBezTo>
                  <a:cubicBezTo>
                    <a:pt x="185" y="253"/>
                    <a:pt x="196" y="252"/>
                    <a:pt x="202" y="243"/>
                  </a:cubicBezTo>
                  <a:cubicBezTo>
                    <a:pt x="208" y="233"/>
                    <a:pt x="216" y="235"/>
                    <a:pt x="215" y="226"/>
                  </a:cubicBezTo>
                  <a:cubicBezTo>
                    <a:pt x="213" y="217"/>
                    <a:pt x="216" y="217"/>
                    <a:pt x="223" y="213"/>
                  </a:cubicBezTo>
                  <a:cubicBezTo>
                    <a:pt x="230" y="209"/>
                    <a:pt x="230" y="199"/>
                    <a:pt x="238" y="199"/>
                  </a:cubicBezTo>
                  <a:cubicBezTo>
                    <a:pt x="246" y="199"/>
                    <a:pt x="251" y="197"/>
                    <a:pt x="251" y="202"/>
                  </a:cubicBezTo>
                  <a:cubicBezTo>
                    <a:pt x="251" y="208"/>
                    <a:pt x="249" y="211"/>
                    <a:pt x="243" y="215"/>
                  </a:cubicBezTo>
                  <a:cubicBezTo>
                    <a:pt x="237" y="218"/>
                    <a:pt x="235" y="219"/>
                    <a:pt x="237" y="225"/>
                  </a:cubicBezTo>
                  <a:cubicBezTo>
                    <a:pt x="239" y="230"/>
                    <a:pt x="238" y="233"/>
                    <a:pt x="242" y="236"/>
                  </a:cubicBezTo>
                  <a:cubicBezTo>
                    <a:pt x="246" y="239"/>
                    <a:pt x="251" y="242"/>
                    <a:pt x="256" y="242"/>
                  </a:cubicBezTo>
                  <a:cubicBezTo>
                    <a:pt x="261" y="242"/>
                    <a:pt x="282" y="244"/>
                    <a:pt x="282" y="239"/>
                  </a:cubicBezTo>
                  <a:cubicBezTo>
                    <a:pt x="282" y="234"/>
                    <a:pt x="291" y="229"/>
                    <a:pt x="298" y="230"/>
                  </a:cubicBezTo>
                  <a:cubicBezTo>
                    <a:pt x="305" y="232"/>
                    <a:pt x="317" y="233"/>
                    <a:pt x="318" y="229"/>
                  </a:cubicBezTo>
                  <a:cubicBezTo>
                    <a:pt x="319" y="225"/>
                    <a:pt x="326" y="223"/>
                    <a:pt x="332" y="223"/>
                  </a:cubicBezTo>
                  <a:cubicBezTo>
                    <a:pt x="339" y="223"/>
                    <a:pt x="352" y="221"/>
                    <a:pt x="352" y="226"/>
                  </a:cubicBezTo>
                  <a:cubicBezTo>
                    <a:pt x="353" y="231"/>
                    <a:pt x="364" y="233"/>
                    <a:pt x="368" y="232"/>
                  </a:cubicBezTo>
                  <a:cubicBezTo>
                    <a:pt x="372" y="231"/>
                    <a:pt x="374" y="223"/>
                    <a:pt x="385" y="223"/>
                  </a:cubicBezTo>
                  <a:cubicBezTo>
                    <a:pt x="395" y="223"/>
                    <a:pt x="405" y="220"/>
                    <a:pt x="405" y="220"/>
                  </a:cubicBezTo>
                  <a:cubicBezTo>
                    <a:pt x="405" y="220"/>
                    <a:pt x="415" y="218"/>
                    <a:pt x="415" y="222"/>
                  </a:cubicBezTo>
                  <a:cubicBezTo>
                    <a:pt x="415" y="225"/>
                    <a:pt x="408" y="230"/>
                    <a:pt x="400" y="233"/>
                  </a:cubicBezTo>
                  <a:cubicBezTo>
                    <a:pt x="393" y="235"/>
                    <a:pt x="395" y="244"/>
                    <a:pt x="382" y="244"/>
                  </a:cubicBezTo>
                  <a:cubicBezTo>
                    <a:pt x="369" y="244"/>
                    <a:pt x="317" y="248"/>
                    <a:pt x="306" y="248"/>
                  </a:cubicBezTo>
                  <a:cubicBezTo>
                    <a:pt x="295" y="249"/>
                    <a:pt x="287" y="253"/>
                    <a:pt x="279" y="256"/>
                  </a:cubicBezTo>
                  <a:cubicBezTo>
                    <a:pt x="270" y="260"/>
                    <a:pt x="261" y="267"/>
                    <a:pt x="250" y="267"/>
                  </a:cubicBezTo>
                  <a:cubicBezTo>
                    <a:pt x="239" y="267"/>
                    <a:pt x="237" y="275"/>
                    <a:pt x="226" y="276"/>
                  </a:cubicBezTo>
                  <a:cubicBezTo>
                    <a:pt x="214" y="276"/>
                    <a:pt x="212" y="283"/>
                    <a:pt x="212" y="288"/>
                  </a:cubicBezTo>
                  <a:cubicBezTo>
                    <a:pt x="212" y="294"/>
                    <a:pt x="216" y="303"/>
                    <a:pt x="222" y="303"/>
                  </a:cubicBezTo>
                  <a:cubicBezTo>
                    <a:pt x="228" y="303"/>
                    <a:pt x="241" y="308"/>
                    <a:pt x="243" y="311"/>
                  </a:cubicBezTo>
                  <a:cubicBezTo>
                    <a:pt x="245" y="315"/>
                    <a:pt x="260" y="322"/>
                    <a:pt x="271" y="322"/>
                  </a:cubicBezTo>
                  <a:cubicBezTo>
                    <a:pt x="281" y="322"/>
                    <a:pt x="343" y="327"/>
                    <a:pt x="347" y="323"/>
                  </a:cubicBezTo>
                  <a:cubicBezTo>
                    <a:pt x="350" y="319"/>
                    <a:pt x="348" y="314"/>
                    <a:pt x="362" y="314"/>
                  </a:cubicBezTo>
                  <a:cubicBezTo>
                    <a:pt x="377" y="314"/>
                    <a:pt x="387" y="306"/>
                    <a:pt x="398" y="306"/>
                  </a:cubicBezTo>
                  <a:cubicBezTo>
                    <a:pt x="408" y="307"/>
                    <a:pt x="410" y="298"/>
                    <a:pt x="419" y="297"/>
                  </a:cubicBezTo>
                  <a:cubicBezTo>
                    <a:pt x="428" y="296"/>
                    <a:pt x="440" y="291"/>
                    <a:pt x="442" y="285"/>
                  </a:cubicBezTo>
                  <a:cubicBezTo>
                    <a:pt x="444" y="279"/>
                    <a:pt x="453" y="271"/>
                    <a:pt x="468" y="271"/>
                  </a:cubicBezTo>
                  <a:cubicBezTo>
                    <a:pt x="482" y="271"/>
                    <a:pt x="484" y="263"/>
                    <a:pt x="499" y="263"/>
                  </a:cubicBezTo>
                  <a:cubicBezTo>
                    <a:pt x="515" y="263"/>
                    <a:pt x="532" y="266"/>
                    <a:pt x="535" y="257"/>
                  </a:cubicBezTo>
                  <a:cubicBezTo>
                    <a:pt x="539" y="248"/>
                    <a:pt x="542" y="248"/>
                    <a:pt x="552" y="247"/>
                  </a:cubicBezTo>
                  <a:cubicBezTo>
                    <a:pt x="561" y="245"/>
                    <a:pt x="579" y="243"/>
                    <a:pt x="579" y="249"/>
                  </a:cubicBezTo>
                  <a:cubicBezTo>
                    <a:pt x="579" y="255"/>
                    <a:pt x="587" y="257"/>
                    <a:pt x="593" y="257"/>
                  </a:cubicBezTo>
                  <a:cubicBezTo>
                    <a:pt x="599" y="257"/>
                    <a:pt x="614" y="250"/>
                    <a:pt x="615" y="247"/>
                  </a:cubicBezTo>
                  <a:cubicBezTo>
                    <a:pt x="617" y="243"/>
                    <a:pt x="630" y="246"/>
                    <a:pt x="634" y="246"/>
                  </a:cubicBezTo>
                  <a:cubicBezTo>
                    <a:pt x="638" y="246"/>
                    <a:pt x="644" y="258"/>
                    <a:pt x="653" y="258"/>
                  </a:cubicBezTo>
                  <a:cubicBezTo>
                    <a:pt x="661" y="258"/>
                    <a:pt x="683" y="263"/>
                    <a:pt x="684" y="255"/>
                  </a:cubicBezTo>
                  <a:cubicBezTo>
                    <a:pt x="686" y="248"/>
                    <a:pt x="691" y="247"/>
                    <a:pt x="702" y="245"/>
                  </a:cubicBezTo>
                  <a:cubicBezTo>
                    <a:pt x="714" y="244"/>
                    <a:pt x="741" y="250"/>
                    <a:pt x="742" y="243"/>
                  </a:cubicBezTo>
                  <a:cubicBezTo>
                    <a:pt x="742" y="235"/>
                    <a:pt x="750" y="240"/>
                    <a:pt x="751" y="228"/>
                  </a:cubicBezTo>
                  <a:cubicBezTo>
                    <a:pt x="752" y="217"/>
                    <a:pt x="752" y="214"/>
                    <a:pt x="757" y="211"/>
                  </a:cubicBezTo>
                  <a:cubicBezTo>
                    <a:pt x="763" y="208"/>
                    <a:pt x="768" y="203"/>
                    <a:pt x="768" y="194"/>
                  </a:cubicBezTo>
                  <a:cubicBezTo>
                    <a:pt x="768" y="185"/>
                    <a:pt x="767" y="176"/>
                    <a:pt x="774" y="173"/>
                  </a:cubicBezTo>
                  <a:cubicBezTo>
                    <a:pt x="780" y="170"/>
                    <a:pt x="780" y="159"/>
                    <a:pt x="780" y="152"/>
                  </a:cubicBezTo>
                  <a:cubicBezTo>
                    <a:pt x="780" y="144"/>
                    <a:pt x="780" y="127"/>
                    <a:pt x="772" y="124"/>
                  </a:cubicBezTo>
                  <a:cubicBezTo>
                    <a:pt x="764" y="121"/>
                    <a:pt x="760" y="116"/>
                    <a:pt x="754" y="118"/>
                  </a:cubicBezTo>
                  <a:cubicBezTo>
                    <a:pt x="747" y="120"/>
                    <a:pt x="740" y="119"/>
                    <a:pt x="736" y="114"/>
                  </a:cubicBezTo>
                  <a:cubicBezTo>
                    <a:pt x="732" y="109"/>
                    <a:pt x="721" y="110"/>
                    <a:pt x="714" y="110"/>
                  </a:cubicBezTo>
                  <a:cubicBezTo>
                    <a:pt x="707" y="110"/>
                    <a:pt x="706" y="119"/>
                    <a:pt x="699" y="121"/>
                  </a:cubicBezTo>
                  <a:cubicBezTo>
                    <a:pt x="691" y="123"/>
                    <a:pt x="686" y="134"/>
                    <a:pt x="692" y="138"/>
                  </a:cubicBezTo>
                  <a:cubicBezTo>
                    <a:pt x="699" y="142"/>
                    <a:pt x="699" y="146"/>
                    <a:pt x="694" y="150"/>
                  </a:cubicBezTo>
                  <a:cubicBezTo>
                    <a:pt x="689" y="154"/>
                    <a:pt x="678" y="156"/>
                    <a:pt x="676" y="145"/>
                  </a:cubicBezTo>
                  <a:cubicBezTo>
                    <a:pt x="673" y="134"/>
                    <a:pt x="668" y="130"/>
                    <a:pt x="663" y="128"/>
                  </a:cubicBezTo>
                  <a:cubicBezTo>
                    <a:pt x="657" y="126"/>
                    <a:pt x="636" y="127"/>
                    <a:pt x="635" y="120"/>
                  </a:cubicBezTo>
                  <a:cubicBezTo>
                    <a:pt x="633" y="113"/>
                    <a:pt x="628" y="107"/>
                    <a:pt x="622" y="108"/>
                  </a:cubicBezTo>
                  <a:cubicBezTo>
                    <a:pt x="615" y="109"/>
                    <a:pt x="594" y="114"/>
                    <a:pt x="593" y="106"/>
                  </a:cubicBezTo>
                  <a:cubicBezTo>
                    <a:pt x="593" y="99"/>
                    <a:pt x="590" y="92"/>
                    <a:pt x="598" y="92"/>
                  </a:cubicBezTo>
                  <a:cubicBezTo>
                    <a:pt x="605" y="92"/>
                    <a:pt x="608" y="88"/>
                    <a:pt x="606" y="84"/>
                  </a:cubicBezTo>
                  <a:cubicBezTo>
                    <a:pt x="605" y="80"/>
                    <a:pt x="610" y="67"/>
                    <a:pt x="601" y="67"/>
                  </a:cubicBezTo>
                  <a:cubicBezTo>
                    <a:pt x="593" y="67"/>
                    <a:pt x="598" y="58"/>
                    <a:pt x="587" y="57"/>
                  </a:cubicBezTo>
                  <a:cubicBezTo>
                    <a:pt x="577" y="56"/>
                    <a:pt x="580" y="48"/>
                    <a:pt x="581" y="40"/>
                  </a:cubicBezTo>
                  <a:cubicBezTo>
                    <a:pt x="582" y="33"/>
                    <a:pt x="585" y="22"/>
                    <a:pt x="582" y="17"/>
                  </a:cubicBezTo>
                  <a:cubicBezTo>
                    <a:pt x="578" y="12"/>
                    <a:pt x="574" y="14"/>
                    <a:pt x="571" y="8"/>
                  </a:cubicBezTo>
                  <a:cubicBezTo>
                    <a:pt x="568" y="1"/>
                    <a:pt x="560" y="0"/>
                    <a:pt x="557" y="4"/>
                  </a:cubicBezTo>
                  <a:cubicBezTo>
                    <a:pt x="554" y="8"/>
                    <a:pt x="555" y="8"/>
                    <a:pt x="544" y="8"/>
                  </a:cubicBezTo>
                  <a:cubicBezTo>
                    <a:pt x="534" y="8"/>
                    <a:pt x="532" y="15"/>
                    <a:pt x="524" y="19"/>
                  </a:cubicBezTo>
                  <a:cubicBezTo>
                    <a:pt x="517" y="23"/>
                    <a:pt x="511" y="33"/>
                    <a:pt x="507" y="38"/>
                  </a:cubicBezTo>
                  <a:cubicBezTo>
                    <a:pt x="502" y="42"/>
                    <a:pt x="503" y="49"/>
                    <a:pt x="491" y="50"/>
                  </a:cubicBezTo>
                  <a:cubicBezTo>
                    <a:pt x="480" y="51"/>
                    <a:pt x="476" y="58"/>
                    <a:pt x="471" y="61"/>
                  </a:cubicBezTo>
                  <a:cubicBezTo>
                    <a:pt x="466" y="64"/>
                    <a:pt x="465" y="74"/>
                    <a:pt x="472" y="80"/>
                  </a:cubicBezTo>
                  <a:cubicBezTo>
                    <a:pt x="479" y="86"/>
                    <a:pt x="484" y="91"/>
                    <a:pt x="492" y="89"/>
                  </a:cubicBezTo>
                  <a:cubicBezTo>
                    <a:pt x="500" y="88"/>
                    <a:pt x="511" y="87"/>
                    <a:pt x="514" y="93"/>
                  </a:cubicBezTo>
                  <a:cubicBezTo>
                    <a:pt x="518" y="99"/>
                    <a:pt x="518" y="101"/>
                    <a:pt x="523" y="101"/>
                  </a:cubicBezTo>
                  <a:cubicBezTo>
                    <a:pt x="528" y="101"/>
                    <a:pt x="533" y="107"/>
                    <a:pt x="533" y="111"/>
                  </a:cubicBezTo>
                  <a:cubicBezTo>
                    <a:pt x="533" y="116"/>
                    <a:pt x="529" y="119"/>
                    <a:pt x="515" y="119"/>
                  </a:cubicBezTo>
                  <a:cubicBezTo>
                    <a:pt x="501" y="119"/>
                    <a:pt x="502" y="126"/>
                    <a:pt x="494" y="126"/>
                  </a:cubicBezTo>
                  <a:cubicBezTo>
                    <a:pt x="486" y="126"/>
                    <a:pt x="484" y="134"/>
                    <a:pt x="501" y="137"/>
                  </a:cubicBezTo>
                  <a:cubicBezTo>
                    <a:pt x="518" y="141"/>
                    <a:pt x="519" y="149"/>
                    <a:pt x="529" y="149"/>
                  </a:cubicBezTo>
                  <a:cubicBezTo>
                    <a:pt x="538" y="149"/>
                    <a:pt x="550" y="153"/>
                    <a:pt x="555" y="156"/>
                  </a:cubicBezTo>
                  <a:cubicBezTo>
                    <a:pt x="559" y="159"/>
                    <a:pt x="562" y="167"/>
                    <a:pt x="555" y="169"/>
                  </a:cubicBezTo>
                  <a:cubicBezTo>
                    <a:pt x="547" y="170"/>
                    <a:pt x="552" y="177"/>
                    <a:pt x="539" y="177"/>
                  </a:cubicBezTo>
                  <a:cubicBezTo>
                    <a:pt x="527" y="176"/>
                    <a:pt x="468" y="175"/>
                    <a:pt x="461" y="176"/>
                  </a:cubicBezTo>
                  <a:cubicBezTo>
                    <a:pt x="455" y="177"/>
                    <a:pt x="452" y="169"/>
                    <a:pt x="443" y="170"/>
                  </a:cubicBezTo>
                  <a:cubicBezTo>
                    <a:pt x="435" y="172"/>
                    <a:pt x="426" y="177"/>
                    <a:pt x="413" y="177"/>
                  </a:cubicBezTo>
                  <a:cubicBezTo>
                    <a:pt x="401" y="176"/>
                    <a:pt x="397" y="153"/>
                    <a:pt x="390" y="147"/>
                  </a:cubicBezTo>
                  <a:cubicBezTo>
                    <a:pt x="384" y="142"/>
                    <a:pt x="390" y="129"/>
                    <a:pt x="379" y="127"/>
                  </a:cubicBezTo>
                  <a:cubicBezTo>
                    <a:pt x="368" y="126"/>
                    <a:pt x="365" y="117"/>
                    <a:pt x="357" y="117"/>
                  </a:cubicBezTo>
                  <a:cubicBezTo>
                    <a:pt x="348" y="117"/>
                    <a:pt x="332" y="108"/>
                    <a:pt x="328" y="99"/>
                  </a:cubicBezTo>
                  <a:cubicBezTo>
                    <a:pt x="324" y="91"/>
                    <a:pt x="314" y="83"/>
                    <a:pt x="302" y="81"/>
                  </a:cubicBezTo>
                  <a:cubicBezTo>
                    <a:pt x="291" y="80"/>
                    <a:pt x="272" y="82"/>
                    <a:pt x="268" y="86"/>
                  </a:cubicBezTo>
                  <a:cubicBezTo>
                    <a:pt x="264" y="91"/>
                    <a:pt x="239" y="97"/>
                    <a:pt x="233" y="91"/>
                  </a:cubicBezTo>
                  <a:cubicBezTo>
                    <a:pt x="228" y="86"/>
                    <a:pt x="229" y="71"/>
                    <a:pt x="222" y="65"/>
                  </a:cubicBezTo>
                  <a:cubicBezTo>
                    <a:pt x="215" y="59"/>
                    <a:pt x="207" y="51"/>
                    <a:pt x="198" y="52"/>
                  </a:cubicBezTo>
                  <a:cubicBezTo>
                    <a:pt x="190" y="53"/>
                    <a:pt x="188" y="55"/>
                    <a:pt x="177" y="54"/>
                  </a:cubicBezTo>
                  <a:cubicBezTo>
                    <a:pt x="177" y="54"/>
                    <a:pt x="160" y="49"/>
                    <a:pt x="152" y="56"/>
                  </a:cubicBezTo>
                  <a:cubicBezTo>
                    <a:pt x="145" y="62"/>
                    <a:pt x="137" y="60"/>
                    <a:pt x="131" y="6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608" name="Freeform 25615"/>
            <p:cNvSpPr>
              <a:spLocks/>
            </p:cNvSpPr>
            <p:nvPr/>
          </p:nvSpPr>
          <p:spPr bwMode="auto">
            <a:xfrm>
              <a:off x="1724044" y="1641378"/>
              <a:ext cx="15310" cy="7418"/>
            </a:xfrm>
            <a:custGeom>
              <a:avLst/>
              <a:gdLst>
                <a:gd name="T0" fmla="*/ 37 w 41"/>
                <a:gd name="T1" fmla="*/ 17 h 20"/>
                <a:gd name="T2" fmla="*/ 29 w 41"/>
                <a:gd name="T3" fmla="*/ 2 h 20"/>
                <a:gd name="T4" fmla="*/ 25 w 41"/>
                <a:gd name="T5" fmla="*/ 4 h 20"/>
                <a:gd name="T6" fmla="*/ 18 w 41"/>
                <a:gd name="T7" fmla="*/ 10 h 20"/>
                <a:gd name="T8" fmla="*/ 1 w 41"/>
                <a:gd name="T9" fmla="*/ 13 h 20"/>
                <a:gd name="T10" fmla="*/ 9 w 41"/>
                <a:gd name="T11" fmla="*/ 19 h 20"/>
                <a:gd name="T12" fmla="*/ 37 w 41"/>
                <a:gd name="T13" fmla="*/ 17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" h="20">
                  <a:moveTo>
                    <a:pt x="37" y="17"/>
                  </a:moveTo>
                  <a:cubicBezTo>
                    <a:pt x="37" y="13"/>
                    <a:pt x="41" y="2"/>
                    <a:pt x="29" y="2"/>
                  </a:cubicBezTo>
                  <a:cubicBezTo>
                    <a:pt x="29" y="2"/>
                    <a:pt x="26" y="0"/>
                    <a:pt x="25" y="4"/>
                  </a:cubicBezTo>
                  <a:cubicBezTo>
                    <a:pt x="25" y="8"/>
                    <a:pt x="23" y="10"/>
                    <a:pt x="18" y="10"/>
                  </a:cubicBezTo>
                  <a:cubicBezTo>
                    <a:pt x="14" y="10"/>
                    <a:pt x="2" y="9"/>
                    <a:pt x="1" y="13"/>
                  </a:cubicBezTo>
                  <a:cubicBezTo>
                    <a:pt x="0" y="17"/>
                    <a:pt x="2" y="19"/>
                    <a:pt x="9" y="19"/>
                  </a:cubicBezTo>
                  <a:cubicBezTo>
                    <a:pt x="16" y="19"/>
                    <a:pt x="36" y="20"/>
                    <a:pt x="37" y="17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609" name="Freeform 25616"/>
            <p:cNvSpPr>
              <a:spLocks/>
            </p:cNvSpPr>
            <p:nvPr/>
          </p:nvSpPr>
          <p:spPr bwMode="auto">
            <a:xfrm>
              <a:off x="2223273" y="1965726"/>
              <a:ext cx="163674" cy="114903"/>
            </a:xfrm>
            <a:custGeom>
              <a:avLst/>
              <a:gdLst>
                <a:gd name="T0" fmla="*/ 367 w 439"/>
                <a:gd name="T1" fmla="*/ 258 h 308"/>
                <a:gd name="T2" fmla="*/ 382 w 439"/>
                <a:gd name="T3" fmla="*/ 266 h 308"/>
                <a:gd name="T4" fmla="*/ 395 w 439"/>
                <a:gd name="T5" fmla="*/ 269 h 308"/>
                <a:gd name="T6" fmla="*/ 407 w 439"/>
                <a:gd name="T7" fmla="*/ 262 h 308"/>
                <a:gd name="T8" fmla="*/ 421 w 439"/>
                <a:gd name="T9" fmla="*/ 251 h 308"/>
                <a:gd name="T10" fmla="*/ 439 w 439"/>
                <a:gd name="T11" fmla="*/ 241 h 308"/>
                <a:gd name="T12" fmla="*/ 434 w 439"/>
                <a:gd name="T13" fmla="*/ 225 h 308"/>
                <a:gd name="T14" fmla="*/ 425 w 439"/>
                <a:gd name="T15" fmla="*/ 210 h 308"/>
                <a:gd name="T16" fmla="*/ 407 w 439"/>
                <a:gd name="T17" fmla="*/ 201 h 308"/>
                <a:gd name="T18" fmla="*/ 390 w 439"/>
                <a:gd name="T19" fmla="*/ 209 h 308"/>
                <a:gd name="T20" fmla="*/ 368 w 439"/>
                <a:gd name="T21" fmla="*/ 202 h 308"/>
                <a:gd name="T22" fmla="*/ 354 w 439"/>
                <a:gd name="T23" fmla="*/ 202 h 308"/>
                <a:gd name="T24" fmla="*/ 350 w 439"/>
                <a:gd name="T25" fmla="*/ 160 h 308"/>
                <a:gd name="T26" fmla="*/ 328 w 439"/>
                <a:gd name="T27" fmla="*/ 136 h 308"/>
                <a:gd name="T28" fmla="*/ 304 w 439"/>
                <a:gd name="T29" fmla="*/ 134 h 308"/>
                <a:gd name="T30" fmla="*/ 281 w 439"/>
                <a:gd name="T31" fmla="*/ 123 h 308"/>
                <a:gd name="T32" fmla="*/ 248 w 439"/>
                <a:gd name="T33" fmla="*/ 104 h 308"/>
                <a:gd name="T34" fmla="*/ 228 w 439"/>
                <a:gd name="T35" fmla="*/ 92 h 308"/>
                <a:gd name="T36" fmla="*/ 205 w 439"/>
                <a:gd name="T37" fmla="*/ 84 h 308"/>
                <a:gd name="T38" fmla="*/ 190 w 439"/>
                <a:gd name="T39" fmla="*/ 68 h 308"/>
                <a:gd name="T40" fmla="*/ 163 w 439"/>
                <a:gd name="T41" fmla="*/ 66 h 308"/>
                <a:gd name="T42" fmla="*/ 149 w 439"/>
                <a:gd name="T43" fmla="*/ 75 h 308"/>
                <a:gd name="T44" fmla="*/ 138 w 439"/>
                <a:gd name="T45" fmla="*/ 62 h 308"/>
                <a:gd name="T46" fmla="*/ 142 w 439"/>
                <a:gd name="T47" fmla="*/ 39 h 308"/>
                <a:gd name="T48" fmla="*/ 161 w 439"/>
                <a:gd name="T49" fmla="*/ 49 h 308"/>
                <a:gd name="T50" fmla="*/ 170 w 439"/>
                <a:gd name="T51" fmla="*/ 35 h 308"/>
                <a:gd name="T52" fmla="*/ 152 w 439"/>
                <a:gd name="T53" fmla="*/ 11 h 308"/>
                <a:gd name="T54" fmla="*/ 131 w 439"/>
                <a:gd name="T55" fmla="*/ 9 h 308"/>
                <a:gd name="T56" fmla="*/ 128 w 439"/>
                <a:gd name="T57" fmla="*/ 24 h 308"/>
                <a:gd name="T58" fmla="*/ 91 w 439"/>
                <a:gd name="T59" fmla="*/ 9 h 308"/>
                <a:gd name="T60" fmla="*/ 77 w 439"/>
                <a:gd name="T61" fmla="*/ 32 h 308"/>
                <a:gd name="T62" fmla="*/ 66 w 439"/>
                <a:gd name="T63" fmla="*/ 72 h 308"/>
                <a:gd name="T64" fmla="*/ 64 w 439"/>
                <a:gd name="T65" fmla="*/ 98 h 308"/>
                <a:gd name="T66" fmla="*/ 65 w 439"/>
                <a:gd name="T67" fmla="*/ 112 h 308"/>
                <a:gd name="T68" fmla="*/ 65 w 439"/>
                <a:gd name="T69" fmla="*/ 123 h 308"/>
                <a:gd name="T70" fmla="*/ 55 w 439"/>
                <a:gd name="T71" fmla="*/ 143 h 308"/>
                <a:gd name="T72" fmla="*/ 52 w 439"/>
                <a:gd name="T73" fmla="*/ 163 h 308"/>
                <a:gd name="T74" fmla="*/ 58 w 439"/>
                <a:gd name="T75" fmla="*/ 178 h 308"/>
                <a:gd name="T76" fmla="*/ 51 w 439"/>
                <a:gd name="T77" fmla="*/ 204 h 308"/>
                <a:gd name="T78" fmla="*/ 19 w 439"/>
                <a:gd name="T79" fmla="*/ 223 h 308"/>
                <a:gd name="T80" fmla="*/ 5 w 439"/>
                <a:gd name="T81" fmla="*/ 239 h 308"/>
                <a:gd name="T82" fmla="*/ 9 w 439"/>
                <a:gd name="T83" fmla="*/ 255 h 308"/>
                <a:gd name="T84" fmla="*/ 28 w 439"/>
                <a:gd name="T85" fmla="*/ 260 h 308"/>
                <a:gd name="T86" fmla="*/ 49 w 439"/>
                <a:gd name="T87" fmla="*/ 251 h 308"/>
                <a:gd name="T88" fmla="*/ 76 w 439"/>
                <a:gd name="T89" fmla="*/ 243 h 308"/>
                <a:gd name="T90" fmla="*/ 99 w 439"/>
                <a:gd name="T91" fmla="*/ 244 h 308"/>
                <a:gd name="T92" fmla="*/ 106 w 439"/>
                <a:gd name="T93" fmla="*/ 254 h 308"/>
                <a:gd name="T94" fmla="*/ 100 w 439"/>
                <a:gd name="T95" fmla="*/ 266 h 308"/>
                <a:gd name="T96" fmla="*/ 104 w 439"/>
                <a:gd name="T97" fmla="*/ 291 h 308"/>
                <a:gd name="T98" fmla="*/ 118 w 439"/>
                <a:gd name="T99" fmla="*/ 303 h 308"/>
                <a:gd name="T100" fmla="*/ 136 w 439"/>
                <a:gd name="T101" fmla="*/ 303 h 308"/>
                <a:gd name="T102" fmla="*/ 154 w 439"/>
                <a:gd name="T103" fmla="*/ 292 h 308"/>
                <a:gd name="T104" fmla="*/ 179 w 439"/>
                <a:gd name="T105" fmla="*/ 274 h 308"/>
                <a:gd name="T106" fmla="*/ 195 w 439"/>
                <a:gd name="T107" fmla="*/ 253 h 308"/>
                <a:gd name="T108" fmla="*/ 230 w 439"/>
                <a:gd name="T109" fmla="*/ 225 h 308"/>
                <a:gd name="T110" fmla="*/ 249 w 439"/>
                <a:gd name="T111" fmla="*/ 202 h 308"/>
                <a:gd name="T112" fmla="*/ 269 w 439"/>
                <a:gd name="T113" fmla="*/ 216 h 308"/>
                <a:gd name="T114" fmla="*/ 303 w 439"/>
                <a:gd name="T115" fmla="*/ 226 h 308"/>
                <a:gd name="T116" fmla="*/ 315 w 439"/>
                <a:gd name="T117" fmla="*/ 246 h 308"/>
                <a:gd name="T118" fmla="*/ 341 w 439"/>
                <a:gd name="T119" fmla="*/ 251 h 308"/>
                <a:gd name="T120" fmla="*/ 367 w 439"/>
                <a:gd name="T121" fmla="*/ 258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39" h="308">
                  <a:moveTo>
                    <a:pt x="367" y="258"/>
                  </a:moveTo>
                  <a:cubicBezTo>
                    <a:pt x="369" y="261"/>
                    <a:pt x="380" y="259"/>
                    <a:pt x="382" y="266"/>
                  </a:cubicBezTo>
                  <a:cubicBezTo>
                    <a:pt x="384" y="272"/>
                    <a:pt x="394" y="273"/>
                    <a:pt x="395" y="269"/>
                  </a:cubicBezTo>
                  <a:cubicBezTo>
                    <a:pt x="396" y="266"/>
                    <a:pt x="401" y="264"/>
                    <a:pt x="407" y="262"/>
                  </a:cubicBezTo>
                  <a:cubicBezTo>
                    <a:pt x="413" y="261"/>
                    <a:pt x="406" y="253"/>
                    <a:pt x="421" y="251"/>
                  </a:cubicBezTo>
                  <a:cubicBezTo>
                    <a:pt x="436" y="248"/>
                    <a:pt x="439" y="252"/>
                    <a:pt x="439" y="241"/>
                  </a:cubicBezTo>
                  <a:cubicBezTo>
                    <a:pt x="439" y="231"/>
                    <a:pt x="439" y="228"/>
                    <a:pt x="434" y="225"/>
                  </a:cubicBezTo>
                  <a:cubicBezTo>
                    <a:pt x="428" y="223"/>
                    <a:pt x="429" y="217"/>
                    <a:pt x="425" y="210"/>
                  </a:cubicBezTo>
                  <a:cubicBezTo>
                    <a:pt x="421" y="203"/>
                    <a:pt x="413" y="199"/>
                    <a:pt x="407" y="201"/>
                  </a:cubicBezTo>
                  <a:cubicBezTo>
                    <a:pt x="402" y="202"/>
                    <a:pt x="400" y="210"/>
                    <a:pt x="390" y="209"/>
                  </a:cubicBezTo>
                  <a:cubicBezTo>
                    <a:pt x="380" y="207"/>
                    <a:pt x="377" y="197"/>
                    <a:pt x="368" y="202"/>
                  </a:cubicBezTo>
                  <a:cubicBezTo>
                    <a:pt x="359" y="208"/>
                    <a:pt x="356" y="213"/>
                    <a:pt x="354" y="202"/>
                  </a:cubicBezTo>
                  <a:cubicBezTo>
                    <a:pt x="352" y="190"/>
                    <a:pt x="358" y="169"/>
                    <a:pt x="350" y="160"/>
                  </a:cubicBezTo>
                  <a:cubicBezTo>
                    <a:pt x="342" y="150"/>
                    <a:pt x="338" y="140"/>
                    <a:pt x="328" y="136"/>
                  </a:cubicBezTo>
                  <a:cubicBezTo>
                    <a:pt x="317" y="132"/>
                    <a:pt x="311" y="133"/>
                    <a:pt x="304" y="134"/>
                  </a:cubicBezTo>
                  <a:cubicBezTo>
                    <a:pt x="297" y="134"/>
                    <a:pt x="287" y="128"/>
                    <a:pt x="281" y="123"/>
                  </a:cubicBezTo>
                  <a:cubicBezTo>
                    <a:pt x="276" y="117"/>
                    <a:pt x="255" y="112"/>
                    <a:pt x="248" y="104"/>
                  </a:cubicBezTo>
                  <a:cubicBezTo>
                    <a:pt x="242" y="97"/>
                    <a:pt x="236" y="93"/>
                    <a:pt x="228" y="92"/>
                  </a:cubicBezTo>
                  <a:cubicBezTo>
                    <a:pt x="221" y="91"/>
                    <a:pt x="210" y="91"/>
                    <a:pt x="205" y="84"/>
                  </a:cubicBezTo>
                  <a:cubicBezTo>
                    <a:pt x="199" y="78"/>
                    <a:pt x="197" y="74"/>
                    <a:pt x="190" y="68"/>
                  </a:cubicBezTo>
                  <a:cubicBezTo>
                    <a:pt x="183" y="63"/>
                    <a:pt x="169" y="58"/>
                    <a:pt x="163" y="66"/>
                  </a:cubicBezTo>
                  <a:cubicBezTo>
                    <a:pt x="156" y="74"/>
                    <a:pt x="158" y="78"/>
                    <a:pt x="149" y="75"/>
                  </a:cubicBezTo>
                  <a:cubicBezTo>
                    <a:pt x="140" y="73"/>
                    <a:pt x="140" y="71"/>
                    <a:pt x="138" y="62"/>
                  </a:cubicBezTo>
                  <a:cubicBezTo>
                    <a:pt x="136" y="54"/>
                    <a:pt x="136" y="38"/>
                    <a:pt x="142" y="39"/>
                  </a:cubicBezTo>
                  <a:cubicBezTo>
                    <a:pt x="148" y="40"/>
                    <a:pt x="154" y="49"/>
                    <a:pt x="161" y="49"/>
                  </a:cubicBezTo>
                  <a:cubicBezTo>
                    <a:pt x="168" y="49"/>
                    <a:pt x="176" y="46"/>
                    <a:pt x="170" y="35"/>
                  </a:cubicBezTo>
                  <a:cubicBezTo>
                    <a:pt x="164" y="24"/>
                    <a:pt x="157" y="16"/>
                    <a:pt x="152" y="11"/>
                  </a:cubicBezTo>
                  <a:cubicBezTo>
                    <a:pt x="148" y="5"/>
                    <a:pt x="131" y="0"/>
                    <a:pt x="131" y="9"/>
                  </a:cubicBezTo>
                  <a:cubicBezTo>
                    <a:pt x="131" y="18"/>
                    <a:pt x="143" y="33"/>
                    <a:pt x="128" y="24"/>
                  </a:cubicBezTo>
                  <a:cubicBezTo>
                    <a:pt x="113" y="15"/>
                    <a:pt x="96" y="5"/>
                    <a:pt x="91" y="9"/>
                  </a:cubicBezTo>
                  <a:cubicBezTo>
                    <a:pt x="85" y="12"/>
                    <a:pt x="79" y="22"/>
                    <a:pt x="77" y="32"/>
                  </a:cubicBezTo>
                  <a:cubicBezTo>
                    <a:pt x="75" y="43"/>
                    <a:pt x="64" y="43"/>
                    <a:pt x="66" y="72"/>
                  </a:cubicBezTo>
                  <a:cubicBezTo>
                    <a:pt x="66" y="72"/>
                    <a:pt x="69" y="94"/>
                    <a:pt x="64" y="98"/>
                  </a:cubicBezTo>
                  <a:cubicBezTo>
                    <a:pt x="60" y="102"/>
                    <a:pt x="62" y="107"/>
                    <a:pt x="65" y="112"/>
                  </a:cubicBezTo>
                  <a:cubicBezTo>
                    <a:pt x="68" y="117"/>
                    <a:pt x="70" y="119"/>
                    <a:pt x="65" y="123"/>
                  </a:cubicBezTo>
                  <a:cubicBezTo>
                    <a:pt x="59" y="127"/>
                    <a:pt x="59" y="137"/>
                    <a:pt x="55" y="143"/>
                  </a:cubicBezTo>
                  <a:cubicBezTo>
                    <a:pt x="50" y="148"/>
                    <a:pt x="51" y="157"/>
                    <a:pt x="52" y="163"/>
                  </a:cubicBezTo>
                  <a:cubicBezTo>
                    <a:pt x="52" y="169"/>
                    <a:pt x="55" y="172"/>
                    <a:pt x="58" y="178"/>
                  </a:cubicBezTo>
                  <a:cubicBezTo>
                    <a:pt x="62" y="184"/>
                    <a:pt x="59" y="197"/>
                    <a:pt x="51" y="204"/>
                  </a:cubicBezTo>
                  <a:cubicBezTo>
                    <a:pt x="42" y="210"/>
                    <a:pt x="25" y="212"/>
                    <a:pt x="19" y="223"/>
                  </a:cubicBezTo>
                  <a:cubicBezTo>
                    <a:pt x="12" y="233"/>
                    <a:pt x="11" y="236"/>
                    <a:pt x="5" y="239"/>
                  </a:cubicBezTo>
                  <a:cubicBezTo>
                    <a:pt x="0" y="243"/>
                    <a:pt x="4" y="250"/>
                    <a:pt x="9" y="255"/>
                  </a:cubicBezTo>
                  <a:cubicBezTo>
                    <a:pt x="14" y="260"/>
                    <a:pt x="25" y="267"/>
                    <a:pt x="28" y="260"/>
                  </a:cubicBezTo>
                  <a:cubicBezTo>
                    <a:pt x="32" y="254"/>
                    <a:pt x="39" y="246"/>
                    <a:pt x="49" y="251"/>
                  </a:cubicBezTo>
                  <a:cubicBezTo>
                    <a:pt x="59" y="256"/>
                    <a:pt x="74" y="248"/>
                    <a:pt x="76" y="243"/>
                  </a:cubicBezTo>
                  <a:cubicBezTo>
                    <a:pt x="78" y="238"/>
                    <a:pt x="94" y="241"/>
                    <a:pt x="99" y="244"/>
                  </a:cubicBezTo>
                  <a:cubicBezTo>
                    <a:pt x="103" y="246"/>
                    <a:pt x="107" y="251"/>
                    <a:pt x="106" y="254"/>
                  </a:cubicBezTo>
                  <a:cubicBezTo>
                    <a:pt x="104" y="258"/>
                    <a:pt x="100" y="260"/>
                    <a:pt x="100" y="266"/>
                  </a:cubicBezTo>
                  <a:cubicBezTo>
                    <a:pt x="100" y="271"/>
                    <a:pt x="97" y="286"/>
                    <a:pt x="104" y="291"/>
                  </a:cubicBezTo>
                  <a:cubicBezTo>
                    <a:pt x="111" y="297"/>
                    <a:pt x="113" y="302"/>
                    <a:pt x="118" y="303"/>
                  </a:cubicBezTo>
                  <a:cubicBezTo>
                    <a:pt x="123" y="303"/>
                    <a:pt x="135" y="308"/>
                    <a:pt x="136" y="303"/>
                  </a:cubicBezTo>
                  <a:cubicBezTo>
                    <a:pt x="137" y="297"/>
                    <a:pt x="148" y="293"/>
                    <a:pt x="154" y="292"/>
                  </a:cubicBezTo>
                  <a:cubicBezTo>
                    <a:pt x="159" y="291"/>
                    <a:pt x="178" y="282"/>
                    <a:pt x="179" y="274"/>
                  </a:cubicBezTo>
                  <a:cubicBezTo>
                    <a:pt x="180" y="266"/>
                    <a:pt x="186" y="254"/>
                    <a:pt x="195" y="253"/>
                  </a:cubicBezTo>
                  <a:cubicBezTo>
                    <a:pt x="204" y="252"/>
                    <a:pt x="229" y="238"/>
                    <a:pt x="230" y="225"/>
                  </a:cubicBezTo>
                  <a:cubicBezTo>
                    <a:pt x="232" y="213"/>
                    <a:pt x="241" y="201"/>
                    <a:pt x="249" y="202"/>
                  </a:cubicBezTo>
                  <a:cubicBezTo>
                    <a:pt x="256" y="203"/>
                    <a:pt x="257" y="216"/>
                    <a:pt x="269" y="216"/>
                  </a:cubicBezTo>
                  <a:cubicBezTo>
                    <a:pt x="281" y="216"/>
                    <a:pt x="305" y="217"/>
                    <a:pt x="303" y="226"/>
                  </a:cubicBezTo>
                  <a:cubicBezTo>
                    <a:pt x="302" y="236"/>
                    <a:pt x="303" y="246"/>
                    <a:pt x="315" y="246"/>
                  </a:cubicBezTo>
                  <a:cubicBezTo>
                    <a:pt x="327" y="245"/>
                    <a:pt x="338" y="245"/>
                    <a:pt x="341" y="251"/>
                  </a:cubicBezTo>
                  <a:cubicBezTo>
                    <a:pt x="344" y="257"/>
                    <a:pt x="366" y="254"/>
                    <a:pt x="367" y="258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610" name="Freeform 25618"/>
            <p:cNvSpPr>
              <a:spLocks/>
            </p:cNvSpPr>
            <p:nvPr/>
          </p:nvSpPr>
          <p:spPr bwMode="auto">
            <a:xfrm>
              <a:off x="1901133" y="1774116"/>
              <a:ext cx="14205" cy="10733"/>
            </a:xfrm>
            <a:custGeom>
              <a:avLst/>
              <a:gdLst>
                <a:gd name="T0" fmla="*/ 15 w 38"/>
                <a:gd name="T1" fmla="*/ 22 h 29"/>
                <a:gd name="T2" fmla="*/ 31 w 38"/>
                <a:gd name="T3" fmla="*/ 29 h 29"/>
                <a:gd name="T4" fmla="*/ 38 w 38"/>
                <a:gd name="T5" fmla="*/ 18 h 29"/>
                <a:gd name="T6" fmla="*/ 21 w 38"/>
                <a:gd name="T7" fmla="*/ 8 h 29"/>
                <a:gd name="T8" fmla="*/ 10 w 38"/>
                <a:gd name="T9" fmla="*/ 2 h 29"/>
                <a:gd name="T10" fmla="*/ 5 w 38"/>
                <a:gd name="T11" fmla="*/ 15 h 29"/>
                <a:gd name="T12" fmla="*/ 15 w 38"/>
                <a:gd name="T13" fmla="*/ 22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8" h="29">
                  <a:moveTo>
                    <a:pt x="15" y="22"/>
                  </a:moveTo>
                  <a:cubicBezTo>
                    <a:pt x="18" y="29"/>
                    <a:pt x="27" y="29"/>
                    <a:pt x="31" y="29"/>
                  </a:cubicBezTo>
                  <a:cubicBezTo>
                    <a:pt x="36" y="28"/>
                    <a:pt x="38" y="23"/>
                    <a:pt x="38" y="18"/>
                  </a:cubicBezTo>
                  <a:cubicBezTo>
                    <a:pt x="38" y="13"/>
                    <a:pt x="21" y="25"/>
                    <a:pt x="21" y="8"/>
                  </a:cubicBezTo>
                  <a:cubicBezTo>
                    <a:pt x="21" y="8"/>
                    <a:pt x="20" y="0"/>
                    <a:pt x="10" y="2"/>
                  </a:cubicBezTo>
                  <a:cubicBezTo>
                    <a:pt x="0" y="4"/>
                    <a:pt x="0" y="8"/>
                    <a:pt x="5" y="15"/>
                  </a:cubicBezTo>
                  <a:cubicBezTo>
                    <a:pt x="9" y="21"/>
                    <a:pt x="13" y="15"/>
                    <a:pt x="15" y="22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611" name="Freeform 25619"/>
            <p:cNvSpPr>
              <a:spLocks/>
            </p:cNvSpPr>
            <p:nvPr/>
          </p:nvSpPr>
          <p:spPr bwMode="auto">
            <a:xfrm>
              <a:off x="1850784" y="1619755"/>
              <a:ext cx="157045" cy="131949"/>
            </a:xfrm>
            <a:custGeom>
              <a:avLst/>
              <a:gdLst>
                <a:gd name="T0" fmla="*/ 411 w 421"/>
                <a:gd name="T1" fmla="*/ 191 h 354"/>
                <a:gd name="T2" fmla="*/ 396 w 421"/>
                <a:gd name="T3" fmla="*/ 154 h 354"/>
                <a:gd name="T4" fmla="*/ 396 w 421"/>
                <a:gd name="T5" fmla="*/ 121 h 354"/>
                <a:gd name="T6" fmla="*/ 360 w 421"/>
                <a:gd name="T7" fmla="*/ 131 h 354"/>
                <a:gd name="T8" fmla="*/ 378 w 421"/>
                <a:gd name="T9" fmla="*/ 161 h 354"/>
                <a:gd name="T10" fmla="*/ 353 w 421"/>
                <a:gd name="T11" fmla="*/ 161 h 354"/>
                <a:gd name="T12" fmla="*/ 307 w 421"/>
                <a:gd name="T13" fmla="*/ 137 h 354"/>
                <a:gd name="T14" fmla="*/ 311 w 421"/>
                <a:gd name="T15" fmla="*/ 122 h 354"/>
                <a:gd name="T16" fmla="*/ 363 w 421"/>
                <a:gd name="T17" fmla="*/ 92 h 354"/>
                <a:gd name="T18" fmla="*/ 379 w 421"/>
                <a:gd name="T19" fmla="*/ 58 h 354"/>
                <a:gd name="T20" fmla="*/ 340 w 421"/>
                <a:gd name="T21" fmla="*/ 30 h 354"/>
                <a:gd name="T22" fmla="*/ 330 w 421"/>
                <a:gd name="T23" fmla="*/ 18 h 354"/>
                <a:gd name="T24" fmla="*/ 294 w 421"/>
                <a:gd name="T25" fmla="*/ 6 h 354"/>
                <a:gd name="T26" fmla="*/ 239 w 421"/>
                <a:gd name="T27" fmla="*/ 23 h 354"/>
                <a:gd name="T28" fmla="*/ 252 w 421"/>
                <a:gd name="T29" fmla="*/ 50 h 354"/>
                <a:gd name="T30" fmla="*/ 203 w 421"/>
                <a:gd name="T31" fmla="*/ 35 h 354"/>
                <a:gd name="T32" fmla="*/ 183 w 421"/>
                <a:gd name="T33" fmla="*/ 38 h 354"/>
                <a:gd name="T34" fmla="*/ 152 w 421"/>
                <a:gd name="T35" fmla="*/ 34 h 354"/>
                <a:gd name="T36" fmla="*/ 130 w 421"/>
                <a:gd name="T37" fmla="*/ 55 h 354"/>
                <a:gd name="T38" fmla="*/ 90 w 421"/>
                <a:gd name="T39" fmla="*/ 73 h 354"/>
                <a:gd name="T40" fmla="*/ 129 w 421"/>
                <a:gd name="T41" fmla="*/ 111 h 354"/>
                <a:gd name="T42" fmla="*/ 170 w 421"/>
                <a:gd name="T43" fmla="*/ 132 h 354"/>
                <a:gd name="T44" fmla="*/ 157 w 421"/>
                <a:gd name="T45" fmla="*/ 147 h 354"/>
                <a:gd name="T46" fmla="*/ 125 w 421"/>
                <a:gd name="T47" fmla="*/ 172 h 354"/>
                <a:gd name="T48" fmla="*/ 74 w 421"/>
                <a:gd name="T49" fmla="*/ 152 h 354"/>
                <a:gd name="T50" fmla="*/ 20 w 421"/>
                <a:gd name="T51" fmla="*/ 145 h 354"/>
                <a:gd name="T52" fmla="*/ 64 w 421"/>
                <a:gd name="T53" fmla="*/ 220 h 354"/>
                <a:gd name="T54" fmla="*/ 120 w 421"/>
                <a:gd name="T55" fmla="*/ 231 h 354"/>
                <a:gd name="T56" fmla="*/ 201 w 421"/>
                <a:gd name="T57" fmla="*/ 296 h 354"/>
                <a:gd name="T58" fmla="*/ 246 w 421"/>
                <a:gd name="T59" fmla="*/ 344 h 354"/>
                <a:gd name="T60" fmla="*/ 289 w 421"/>
                <a:gd name="T61" fmla="*/ 342 h 354"/>
                <a:gd name="T62" fmla="*/ 308 w 421"/>
                <a:gd name="T63" fmla="*/ 305 h 354"/>
                <a:gd name="T64" fmla="*/ 391 w 421"/>
                <a:gd name="T65" fmla="*/ 291 h 354"/>
                <a:gd name="T66" fmla="*/ 401 w 421"/>
                <a:gd name="T67" fmla="*/ 231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21" h="354">
                  <a:moveTo>
                    <a:pt x="420" y="210"/>
                  </a:moveTo>
                  <a:cubicBezTo>
                    <a:pt x="419" y="198"/>
                    <a:pt x="413" y="202"/>
                    <a:pt x="411" y="191"/>
                  </a:cubicBezTo>
                  <a:cubicBezTo>
                    <a:pt x="409" y="180"/>
                    <a:pt x="415" y="180"/>
                    <a:pt x="406" y="174"/>
                  </a:cubicBezTo>
                  <a:cubicBezTo>
                    <a:pt x="398" y="167"/>
                    <a:pt x="395" y="162"/>
                    <a:pt x="396" y="154"/>
                  </a:cubicBezTo>
                  <a:cubicBezTo>
                    <a:pt x="396" y="147"/>
                    <a:pt x="403" y="148"/>
                    <a:pt x="403" y="138"/>
                  </a:cubicBezTo>
                  <a:cubicBezTo>
                    <a:pt x="403" y="128"/>
                    <a:pt x="402" y="125"/>
                    <a:pt x="396" y="121"/>
                  </a:cubicBezTo>
                  <a:cubicBezTo>
                    <a:pt x="389" y="118"/>
                    <a:pt x="385" y="115"/>
                    <a:pt x="379" y="119"/>
                  </a:cubicBezTo>
                  <a:cubicBezTo>
                    <a:pt x="373" y="124"/>
                    <a:pt x="360" y="123"/>
                    <a:pt x="360" y="131"/>
                  </a:cubicBezTo>
                  <a:cubicBezTo>
                    <a:pt x="360" y="139"/>
                    <a:pt x="360" y="141"/>
                    <a:pt x="369" y="147"/>
                  </a:cubicBezTo>
                  <a:cubicBezTo>
                    <a:pt x="378" y="152"/>
                    <a:pt x="378" y="154"/>
                    <a:pt x="378" y="161"/>
                  </a:cubicBezTo>
                  <a:cubicBezTo>
                    <a:pt x="378" y="167"/>
                    <a:pt x="375" y="187"/>
                    <a:pt x="369" y="177"/>
                  </a:cubicBezTo>
                  <a:cubicBezTo>
                    <a:pt x="363" y="167"/>
                    <a:pt x="358" y="164"/>
                    <a:pt x="353" y="161"/>
                  </a:cubicBezTo>
                  <a:cubicBezTo>
                    <a:pt x="349" y="158"/>
                    <a:pt x="354" y="139"/>
                    <a:pt x="343" y="139"/>
                  </a:cubicBezTo>
                  <a:cubicBezTo>
                    <a:pt x="332" y="138"/>
                    <a:pt x="313" y="134"/>
                    <a:pt x="307" y="137"/>
                  </a:cubicBezTo>
                  <a:cubicBezTo>
                    <a:pt x="302" y="141"/>
                    <a:pt x="282" y="175"/>
                    <a:pt x="284" y="153"/>
                  </a:cubicBezTo>
                  <a:cubicBezTo>
                    <a:pt x="285" y="132"/>
                    <a:pt x="310" y="133"/>
                    <a:pt x="311" y="122"/>
                  </a:cubicBezTo>
                  <a:cubicBezTo>
                    <a:pt x="312" y="111"/>
                    <a:pt x="335" y="104"/>
                    <a:pt x="346" y="103"/>
                  </a:cubicBezTo>
                  <a:cubicBezTo>
                    <a:pt x="357" y="102"/>
                    <a:pt x="363" y="106"/>
                    <a:pt x="363" y="92"/>
                  </a:cubicBezTo>
                  <a:cubicBezTo>
                    <a:pt x="363" y="78"/>
                    <a:pt x="363" y="71"/>
                    <a:pt x="370" y="70"/>
                  </a:cubicBezTo>
                  <a:cubicBezTo>
                    <a:pt x="377" y="69"/>
                    <a:pt x="378" y="66"/>
                    <a:pt x="379" y="58"/>
                  </a:cubicBezTo>
                  <a:cubicBezTo>
                    <a:pt x="380" y="49"/>
                    <a:pt x="375" y="50"/>
                    <a:pt x="367" y="42"/>
                  </a:cubicBezTo>
                  <a:cubicBezTo>
                    <a:pt x="359" y="34"/>
                    <a:pt x="348" y="28"/>
                    <a:pt x="340" y="30"/>
                  </a:cubicBezTo>
                  <a:cubicBezTo>
                    <a:pt x="332" y="32"/>
                    <a:pt x="316" y="43"/>
                    <a:pt x="315" y="33"/>
                  </a:cubicBezTo>
                  <a:cubicBezTo>
                    <a:pt x="313" y="23"/>
                    <a:pt x="323" y="20"/>
                    <a:pt x="330" y="18"/>
                  </a:cubicBezTo>
                  <a:cubicBezTo>
                    <a:pt x="338" y="15"/>
                    <a:pt x="336" y="6"/>
                    <a:pt x="326" y="4"/>
                  </a:cubicBezTo>
                  <a:cubicBezTo>
                    <a:pt x="316" y="2"/>
                    <a:pt x="300" y="0"/>
                    <a:pt x="294" y="6"/>
                  </a:cubicBezTo>
                  <a:cubicBezTo>
                    <a:pt x="288" y="12"/>
                    <a:pt x="280" y="8"/>
                    <a:pt x="265" y="9"/>
                  </a:cubicBezTo>
                  <a:cubicBezTo>
                    <a:pt x="250" y="10"/>
                    <a:pt x="252" y="23"/>
                    <a:pt x="239" y="23"/>
                  </a:cubicBezTo>
                  <a:cubicBezTo>
                    <a:pt x="226" y="22"/>
                    <a:pt x="217" y="28"/>
                    <a:pt x="230" y="33"/>
                  </a:cubicBezTo>
                  <a:cubicBezTo>
                    <a:pt x="243" y="38"/>
                    <a:pt x="259" y="41"/>
                    <a:pt x="252" y="50"/>
                  </a:cubicBezTo>
                  <a:cubicBezTo>
                    <a:pt x="245" y="58"/>
                    <a:pt x="242" y="57"/>
                    <a:pt x="231" y="48"/>
                  </a:cubicBezTo>
                  <a:cubicBezTo>
                    <a:pt x="219" y="40"/>
                    <a:pt x="212" y="39"/>
                    <a:pt x="203" y="35"/>
                  </a:cubicBezTo>
                  <a:cubicBezTo>
                    <a:pt x="193" y="30"/>
                    <a:pt x="190" y="16"/>
                    <a:pt x="181" y="22"/>
                  </a:cubicBezTo>
                  <a:cubicBezTo>
                    <a:pt x="171" y="28"/>
                    <a:pt x="176" y="34"/>
                    <a:pt x="183" y="38"/>
                  </a:cubicBezTo>
                  <a:cubicBezTo>
                    <a:pt x="190" y="43"/>
                    <a:pt x="190" y="49"/>
                    <a:pt x="177" y="46"/>
                  </a:cubicBezTo>
                  <a:cubicBezTo>
                    <a:pt x="164" y="43"/>
                    <a:pt x="165" y="33"/>
                    <a:pt x="152" y="34"/>
                  </a:cubicBezTo>
                  <a:cubicBezTo>
                    <a:pt x="139" y="35"/>
                    <a:pt x="127" y="36"/>
                    <a:pt x="120" y="41"/>
                  </a:cubicBezTo>
                  <a:cubicBezTo>
                    <a:pt x="114" y="46"/>
                    <a:pt x="119" y="51"/>
                    <a:pt x="130" y="55"/>
                  </a:cubicBezTo>
                  <a:cubicBezTo>
                    <a:pt x="140" y="58"/>
                    <a:pt x="143" y="68"/>
                    <a:pt x="122" y="67"/>
                  </a:cubicBezTo>
                  <a:cubicBezTo>
                    <a:pt x="100" y="66"/>
                    <a:pt x="97" y="69"/>
                    <a:pt x="90" y="73"/>
                  </a:cubicBezTo>
                  <a:cubicBezTo>
                    <a:pt x="82" y="78"/>
                    <a:pt x="80" y="90"/>
                    <a:pt x="95" y="95"/>
                  </a:cubicBezTo>
                  <a:cubicBezTo>
                    <a:pt x="109" y="100"/>
                    <a:pt x="120" y="113"/>
                    <a:pt x="129" y="111"/>
                  </a:cubicBezTo>
                  <a:cubicBezTo>
                    <a:pt x="138" y="109"/>
                    <a:pt x="145" y="109"/>
                    <a:pt x="150" y="116"/>
                  </a:cubicBezTo>
                  <a:cubicBezTo>
                    <a:pt x="156" y="124"/>
                    <a:pt x="166" y="124"/>
                    <a:pt x="170" y="132"/>
                  </a:cubicBezTo>
                  <a:cubicBezTo>
                    <a:pt x="173" y="139"/>
                    <a:pt x="179" y="144"/>
                    <a:pt x="176" y="149"/>
                  </a:cubicBezTo>
                  <a:cubicBezTo>
                    <a:pt x="173" y="155"/>
                    <a:pt x="157" y="138"/>
                    <a:pt x="157" y="147"/>
                  </a:cubicBezTo>
                  <a:cubicBezTo>
                    <a:pt x="157" y="157"/>
                    <a:pt x="169" y="167"/>
                    <a:pt x="155" y="168"/>
                  </a:cubicBezTo>
                  <a:cubicBezTo>
                    <a:pt x="140" y="170"/>
                    <a:pt x="129" y="165"/>
                    <a:pt x="125" y="172"/>
                  </a:cubicBezTo>
                  <a:cubicBezTo>
                    <a:pt x="120" y="178"/>
                    <a:pt x="109" y="185"/>
                    <a:pt x="104" y="176"/>
                  </a:cubicBezTo>
                  <a:cubicBezTo>
                    <a:pt x="99" y="167"/>
                    <a:pt x="80" y="159"/>
                    <a:pt x="74" y="152"/>
                  </a:cubicBezTo>
                  <a:cubicBezTo>
                    <a:pt x="68" y="144"/>
                    <a:pt x="59" y="134"/>
                    <a:pt x="44" y="134"/>
                  </a:cubicBezTo>
                  <a:cubicBezTo>
                    <a:pt x="44" y="134"/>
                    <a:pt x="24" y="134"/>
                    <a:pt x="20" y="145"/>
                  </a:cubicBezTo>
                  <a:cubicBezTo>
                    <a:pt x="16" y="157"/>
                    <a:pt x="0" y="164"/>
                    <a:pt x="13" y="177"/>
                  </a:cubicBezTo>
                  <a:cubicBezTo>
                    <a:pt x="26" y="190"/>
                    <a:pt x="57" y="209"/>
                    <a:pt x="64" y="220"/>
                  </a:cubicBezTo>
                  <a:cubicBezTo>
                    <a:pt x="71" y="230"/>
                    <a:pt x="79" y="236"/>
                    <a:pt x="87" y="230"/>
                  </a:cubicBezTo>
                  <a:cubicBezTo>
                    <a:pt x="96" y="223"/>
                    <a:pt x="111" y="220"/>
                    <a:pt x="120" y="231"/>
                  </a:cubicBezTo>
                  <a:cubicBezTo>
                    <a:pt x="128" y="243"/>
                    <a:pt x="134" y="228"/>
                    <a:pt x="145" y="245"/>
                  </a:cubicBezTo>
                  <a:cubicBezTo>
                    <a:pt x="157" y="263"/>
                    <a:pt x="183" y="279"/>
                    <a:pt x="201" y="296"/>
                  </a:cubicBezTo>
                  <a:cubicBezTo>
                    <a:pt x="218" y="312"/>
                    <a:pt x="225" y="309"/>
                    <a:pt x="228" y="322"/>
                  </a:cubicBezTo>
                  <a:cubicBezTo>
                    <a:pt x="231" y="335"/>
                    <a:pt x="239" y="342"/>
                    <a:pt x="246" y="344"/>
                  </a:cubicBezTo>
                  <a:cubicBezTo>
                    <a:pt x="254" y="345"/>
                    <a:pt x="257" y="354"/>
                    <a:pt x="271" y="354"/>
                  </a:cubicBezTo>
                  <a:cubicBezTo>
                    <a:pt x="284" y="354"/>
                    <a:pt x="281" y="352"/>
                    <a:pt x="289" y="342"/>
                  </a:cubicBezTo>
                  <a:cubicBezTo>
                    <a:pt x="298" y="331"/>
                    <a:pt x="320" y="329"/>
                    <a:pt x="310" y="321"/>
                  </a:cubicBezTo>
                  <a:cubicBezTo>
                    <a:pt x="300" y="314"/>
                    <a:pt x="291" y="304"/>
                    <a:pt x="308" y="305"/>
                  </a:cubicBezTo>
                  <a:cubicBezTo>
                    <a:pt x="325" y="306"/>
                    <a:pt x="358" y="313"/>
                    <a:pt x="365" y="302"/>
                  </a:cubicBezTo>
                  <a:cubicBezTo>
                    <a:pt x="373" y="291"/>
                    <a:pt x="379" y="295"/>
                    <a:pt x="391" y="291"/>
                  </a:cubicBezTo>
                  <a:cubicBezTo>
                    <a:pt x="403" y="286"/>
                    <a:pt x="410" y="273"/>
                    <a:pt x="412" y="258"/>
                  </a:cubicBezTo>
                  <a:cubicBezTo>
                    <a:pt x="414" y="243"/>
                    <a:pt x="396" y="245"/>
                    <a:pt x="401" y="231"/>
                  </a:cubicBezTo>
                  <a:cubicBezTo>
                    <a:pt x="405" y="218"/>
                    <a:pt x="421" y="223"/>
                    <a:pt x="420" y="21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612" name="Freeform 25620"/>
            <p:cNvSpPr>
              <a:spLocks/>
            </p:cNvSpPr>
            <p:nvPr/>
          </p:nvSpPr>
          <p:spPr bwMode="auto">
            <a:xfrm>
              <a:off x="1970106" y="1592133"/>
              <a:ext cx="13101" cy="14205"/>
            </a:xfrm>
            <a:custGeom>
              <a:avLst/>
              <a:gdLst>
                <a:gd name="T0" fmla="*/ 14 w 35"/>
                <a:gd name="T1" fmla="*/ 21 h 38"/>
                <a:gd name="T2" fmla="*/ 9 w 35"/>
                <a:gd name="T3" fmla="*/ 36 h 38"/>
                <a:gd name="T4" fmla="*/ 31 w 35"/>
                <a:gd name="T5" fmla="*/ 27 h 38"/>
                <a:gd name="T6" fmla="*/ 20 w 35"/>
                <a:gd name="T7" fmla="*/ 12 h 38"/>
                <a:gd name="T8" fmla="*/ 14 w 35"/>
                <a:gd name="T9" fmla="*/ 2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38">
                  <a:moveTo>
                    <a:pt x="14" y="21"/>
                  </a:moveTo>
                  <a:cubicBezTo>
                    <a:pt x="5" y="26"/>
                    <a:pt x="0" y="34"/>
                    <a:pt x="9" y="36"/>
                  </a:cubicBezTo>
                  <a:cubicBezTo>
                    <a:pt x="18" y="38"/>
                    <a:pt x="28" y="36"/>
                    <a:pt x="31" y="27"/>
                  </a:cubicBezTo>
                  <a:cubicBezTo>
                    <a:pt x="35" y="18"/>
                    <a:pt x="30" y="0"/>
                    <a:pt x="20" y="12"/>
                  </a:cubicBezTo>
                  <a:cubicBezTo>
                    <a:pt x="20" y="12"/>
                    <a:pt x="23" y="17"/>
                    <a:pt x="14" y="21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613" name="Freeform 25621"/>
            <p:cNvSpPr>
              <a:spLocks/>
            </p:cNvSpPr>
            <p:nvPr/>
          </p:nvSpPr>
          <p:spPr bwMode="auto">
            <a:xfrm>
              <a:off x="2015563" y="1594343"/>
              <a:ext cx="16888" cy="11996"/>
            </a:xfrm>
            <a:custGeom>
              <a:avLst/>
              <a:gdLst>
                <a:gd name="T0" fmla="*/ 4 w 45"/>
                <a:gd name="T1" fmla="*/ 8 h 32"/>
                <a:gd name="T2" fmla="*/ 12 w 45"/>
                <a:gd name="T3" fmla="*/ 22 h 32"/>
                <a:gd name="T4" fmla="*/ 31 w 45"/>
                <a:gd name="T5" fmla="*/ 27 h 32"/>
                <a:gd name="T6" fmla="*/ 45 w 45"/>
                <a:gd name="T7" fmla="*/ 23 h 32"/>
                <a:gd name="T8" fmla="*/ 35 w 45"/>
                <a:gd name="T9" fmla="*/ 12 h 32"/>
                <a:gd name="T10" fmla="*/ 4 w 45"/>
                <a:gd name="T11" fmla="*/ 8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5" h="32">
                  <a:moveTo>
                    <a:pt x="4" y="8"/>
                  </a:moveTo>
                  <a:cubicBezTo>
                    <a:pt x="4" y="8"/>
                    <a:pt x="0" y="22"/>
                    <a:pt x="12" y="22"/>
                  </a:cubicBezTo>
                  <a:cubicBezTo>
                    <a:pt x="23" y="22"/>
                    <a:pt x="25" y="22"/>
                    <a:pt x="31" y="27"/>
                  </a:cubicBezTo>
                  <a:cubicBezTo>
                    <a:pt x="37" y="32"/>
                    <a:pt x="45" y="30"/>
                    <a:pt x="45" y="23"/>
                  </a:cubicBezTo>
                  <a:cubicBezTo>
                    <a:pt x="45" y="17"/>
                    <a:pt x="45" y="19"/>
                    <a:pt x="35" y="12"/>
                  </a:cubicBezTo>
                  <a:cubicBezTo>
                    <a:pt x="24" y="6"/>
                    <a:pt x="7" y="0"/>
                    <a:pt x="4" y="8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614" name="Freeform 25622"/>
            <p:cNvSpPr>
              <a:spLocks/>
            </p:cNvSpPr>
            <p:nvPr/>
          </p:nvSpPr>
          <p:spPr bwMode="auto">
            <a:xfrm>
              <a:off x="1996623" y="1546677"/>
              <a:ext cx="80496" cy="52085"/>
            </a:xfrm>
            <a:custGeom>
              <a:avLst/>
              <a:gdLst>
                <a:gd name="T0" fmla="*/ 210 w 216"/>
                <a:gd name="T1" fmla="*/ 77 h 140"/>
                <a:gd name="T2" fmla="*/ 202 w 216"/>
                <a:gd name="T3" fmla="*/ 57 h 140"/>
                <a:gd name="T4" fmla="*/ 175 w 216"/>
                <a:gd name="T5" fmla="*/ 30 h 140"/>
                <a:gd name="T6" fmla="*/ 140 w 216"/>
                <a:gd name="T7" fmla="*/ 7 h 140"/>
                <a:gd name="T8" fmla="*/ 89 w 216"/>
                <a:gd name="T9" fmla="*/ 13 h 140"/>
                <a:gd name="T10" fmla="*/ 68 w 216"/>
                <a:gd name="T11" fmla="*/ 32 h 140"/>
                <a:gd name="T12" fmla="*/ 44 w 216"/>
                <a:gd name="T13" fmla="*/ 47 h 140"/>
                <a:gd name="T14" fmla="*/ 23 w 216"/>
                <a:gd name="T15" fmla="*/ 60 h 140"/>
                <a:gd name="T16" fmla="*/ 10 w 216"/>
                <a:gd name="T17" fmla="*/ 88 h 140"/>
                <a:gd name="T18" fmla="*/ 43 w 216"/>
                <a:gd name="T19" fmla="*/ 105 h 140"/>
                <a:gd name="T20" fmla="*/ 76 w 216"/>
                <a:gd name="T21" fmla="*/ 115 h 140"/>
                <a:gd name="T22" fmla="*/ 103 w 216"/>
                <a:gd name="T23" fmla="*/ 121 h 140"/>
                <a:gd name="T24" fmla="*/ 139 w 216"/>
                <a:gd name="T25" fmla="*/ 135 h 140"/>
                <a:gd name="T26" fmla="*/ 204 w 216"/>
                <a:gd name="T27" fmla="*/ 128 h 140"/>
                <a:gd name="T28" fmla="*/ 206 w 216"/>
                <a:gd name="T29" fmla="*/ 95 h 140"/>
                <a:gd name="T30" fmla="*/ 210 w 216"/>
                <a:gd name="T31" fmla="*/ 77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16" h="140">
                  <a:moveTo>
                    <a:pt x="210" y="77"/>
                  </a:moveTo>
                  <a:cubicBezTo>
                    <a:pt x="215" y="72"/>
                    <a:pt x="207" y="63"/>
                    <a:pt x="202" y="57"/>
                  </a:cubicBezTo>
                  <a:cubicBezTo>
                    <a:pt x="196" y="52"/>
                    <a:pt x="190" y="43"/>
                    <a:pt x="175" y="30"/>
                  </a:cubicBezTo>
                  <a:cubicBezTo>
                    <a:pt x="160" y="17"/>
                    <a:pt x="152" y="6"/>
                    <a:pt x="140" y="7"/>
                  </a:cubicBezTo>
                  <a:cubicBezTo>
                    <a:pt x="128" y="8"/>
                    <a:pt x="96" y="0"/>
                    <a:pt x="89" y="13"/>
                  </a:cubicBezTo>
                  <a:cubicBezTo>
                    <a:pt x="89" y="13"/>
                    <a:pt x="84" y="29"/>
                    <a:pt x="68" y="32"/>
                  </a:cubicBezTo>
                  <a:cubicBezTo>
                    <a:pt x="53" y="34"/>
                    <a:pt x="48" y="39"/>
                    <a:pt x="44" y="47"/>
                  </a:cubicBezTo>
                  <a:cubicBezTo>
                    <a:pt x="40" y="54"/>
                    <a:pt x="32" y="54"/>
                    <a:pt x="23" y="60"/>
                  </a:cubicBezTo>
                  <a:cubicBezTo>
                    <a:pt x="15" y="66"/>
                    <a:pt x="0" y="82"/>
                    <a:pt x="10" y="88"/>
                  </a:cubicBezTo>
                  <a:cubicBezTo>
                    <a:pt x="20" y="95"/>
                    <a:pt x="34" y="105"/>
                    <a:pt x="43" y="105"/>
                  </a:cubicBezTo>
                  <a:cubicBezTo>
                    <a:pt x="51" y="105"/>
                    <a:pt x="68" y="108"/>
                    <a:pt x="76" y="115"/>
                  </a:cubicBezTo>
                  <a:cubicBezTo>
                    <a:pt x="83" y="123"/>
                    <a:pt x="98" y="113"/>
                    <a:pt x="103" y="121"/>
                  </a:cubicBezTo>
                  <a:cubicBezTo>
                    <a:pt x="107" y="130"/>
                    <a:pt x="121" y="135"/>
                    <a:pt x="139" y="135"/>
                  </a:cubicBezTo>
                  <a:cubicBezTo>
                    <a:pt x="157" y="135"/>
                    <a:pt x="204" y="140"/>
                    <a:pt x="204" y="128"/>
                  </a:cubicBezTo>
                  <a:cubicBezTo>
                    <a:pt x="204" y="116"/>
                    <a:pt x="216" y="100"/>
                    <a:pt x="206" y="95"/>
                  </a:cubicBezTo>
                  <a:cubicBezTo>
                    <a:pt x="196" y="89"/>
                    <a:pt x="204" y="82"/>
                    <a:pt x="210" y="77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615" name="Freeform 25624"/>
            <p:cNvSpPr>
              <a:spLocks/>
            </p:cNvSpPr>
            <p:nvPr/>
          </p:nvSpPr>
          <p:spPr bwMode="auto">
            <a:xfrm>
              <a:off x="1987942" y="1548098"/>
              <a:ext cx="31724" cy="14995"/>
            </a:xfrm>
            <a:custGeom>
              <a:avLst/>
              <a:gdLst>
                <a:gd name="T0" fmla="*/ 33 w 85"/>
                <a:gd name="T1" fmla="*/ 33 h 40"/>
                <a:gd name="T2" fmla="*/ 48 w 85"/>
                <a:gd name="T3" fmla="*/ 24 h 40"/>
                <a:gd name="T4" fmla="*/ 67 w 85"/>
                <a:gd name="T5" fmla="*/ 21 h 40"/>
                <a:gd name="T6" fmla="*/ 76 w 85"/>
                <a:gd name="T7" fmla="*/ 7 h 40"/>
                <a:gd name="T8" fmla="*/ 47 w 85"/>
                <a:gd name="T9" fmla="*/ 0 h 40"/>
                <a:gd name="T10" fmla="*/ 30 w 85"/>
                <a:gd name="T11" fmla="*/ 7 h 40"/>
                <a:gd name="T12" fmla="*/ 10 w 85"/>
                <a:gd name="T13" fmla="*/ 15 h 40"/>
                <a:gd name="T14" fmla="*/ 6 w 85"/>
                <a:gd name="T15" fmla="*/ 28 h 40"/>
                <a:gd name="T16" fmla="*/ 33 w 85"/>
                <a:gd name="T17" fmla="*/ 33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5" h="40">
                  <a:moveTo>
                    <a:pt x="33" y="33"/>
                  </a:moveTo>
                  <a:cubicBezTo>
                    <a:pt x="35" y="25"/>
                    <a:pt x="40" y="19"/>
                    <a:pt x="48" y="24"/>
                  </a:cubicBezTo>
                  <a:cubicBezTo>
                    <a:pt x="57" y="29"/>
                    <a:pt x="64" y="26"/>
                    <a:pt x="67" y="21"/>
                  </a:cubicBezTo>
                  <a:cubicBezTo>
                    <a:pt x="70" y="16"/>
                    <a:pt x="85" y="15"/>
                    <a:pt x="76" y="7"/>
                  </a:cubicBezTo>
                  <a:cubicBezTo>
                    <a:pt x="68" y="0"/>
                    <a:pt x="58" y="0"/>
                    <a:pt x="47" y="0"/>
                  </a:cubicBezTo>
                  <a:cubicBezTo>
                    <a:pt x="47" y="0"/>
                    <a:pt x="40" y="0"/>
                    <a:pt x="30" y="7"/>
                  </a:cubicBezTo>
                  <a:cubicBezTo>
                    <a:pt x="21" y="14"/>
                    <a:pt x="17" y="14"/>
                    <a:pt x="10" y="15"/>
                  </a:cubicBezTo>
                  <a:cubicBezTo>
                    <a:pt x="2" y="17"/>
                    <a:pt x="0" y="23"/>
                    <a:pt x="6" y="28"/>
                  </a:cubicBezTo>
                  <a:cubicBezTo>
                    <a:pt x="13" y="33"/>
                    <a:pt x="30" y="40"/>
                    <a:pt x="33" y="33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616" name="Freeform 25625"/>
            <p:cNvSpPr>
              <a:spLocks/>
            </p:cNvSpPr>
            <p:nvPr/>
          </p:nvSpPr>
          <p:spPr bwMode="auto">
            <a:xfrm>
              <a:off x="1805328" y="1492540"/>
              <a:ext cx="176774" cy="91386"/>
            </a:xfrm>
            <a:custGeom>
              <a:avLst/>
              <a:gdLst>
                <a:gd name="T0" fmla="*/ 369 w 474"/>
                <a:gd name="T1" fmla="*/ 25 h 245"/>
                <a:gd name="T2" fmla="*/ 325 w 474"/>
                <a:gd name="T3" fmla="*/ 24 h 245"/>
                <a:gd name="T4" fmla="*/ 341 w 474"/>
                <a:gd name="T5" fmla="*/ 11 h 245"/>
                <a:gd name="T6" fmla="*/ 291 w 474"/>
                <a:gd name="T7" fmla="*/ 12 h 245"/>
                <a:gd name="T8" fmla="*/ 227 w 474"/>
                <a:gd name="T9" fmla="*/ 10 h 245"/>
                <a:gd name="T10" fmla="*/ 233 w 474"/>
                <a:gd name="T11" fmla="*/ 32 h 245"/>
                <a:gd name="T12" fmla="*/ 259 w 474"/>
                <a:gd name="T13" fmla="*/ 54 h 245"/>
                <a:gd name="T14" fmla="*/ 290 w 474"/>
                <a:gd name="T15" fmla="*/ 81 h 245"/>
                <a:gd name="T16" fmla="*/ 285 w 474"/>
                <a:gd name="T17" fmla="*/ 107 h 245"/>
                <a:gd name="T18" fmla="*/ 239 w 474"/>
                <a:gd name="T19" fmla="*/ 68 h 245"/>
                <a:gd name="T20" fmla="*/ 199 w 474"/>
                <a:gd name="T21" fmla="*/ 41 h 245"/>
                <a:gd name="T22" fmla="*/ 169 w 474"/>
                <a:gd name="T23" fmla="*/ 68 h 245"/>
                <a:gd name="T24" fmla="*/ 152 w 474"/>
                <a:gd name="T25" fmla="*/ 101 h 245"/>
                <a:gd name="T26" fmla="*/ 106 w 474"/>
                <a:gd name="T27" fmla="*/ 55 h 245"/>
                <a:gd name="T28" fmla="*/ 70 w 474"/>
                <a:gd name="T29" fmla="*/ 24 h 245"/>
                <a:gd name="T30" fmla="*/ 17 w 474"/>
                <a:gd name="T31" fmla="*/ 22 h 245"/>
                <a:gd name="T32" fmla="*/ 19 w 474"/>
                <a:gd name="T33" fmla="*/ 44 h 245"/>
                <a:gd name="T34" fmla="*/ 47 w 474"/>
                <a:gd name="T35" fmla="*/ 66 h 245"/>
                <a:gd name="T36" fmla="*/ 24 w 474"/>
                <a:gd name="T37" fmla="*/ 96 h 245"/>
                <a:gd name="T38" fmla="*/ 63 w 474"/>
                <a:gd name="T39" fmla="*/ 103 h 245"/>
                <a:gd name="T40" fmla="*/ 68 w 474"/>
                <a:gd name="T41" fmla="*/ 121 h 245"/>
                <a:gd name="T42" fmla="*/ 102 w 474"/>
                <a:gd name="T43" fmla="*/ 116 h 245"/>
                <a:gd name="T44" fmla="*/ 103 w 474"/>
                <a:gd name="T45" fmla="*/ 141 h 245"/>
                <a:gd name="T46" fmla="*/ 123 w 474"/>
                <a:gd name="T47" fmla="*/ 151 h 245"/>
                <a:gd name="T48" fmla="*/ 161 w 474"/>
                <a:gd name="T49" fmla="*/ 169 h 245"/>
                <a:gd name="T50" fmla="*/ 227 w 474"/>
                <a:gd name="T51" fmla="*/ 162 h 245"/>
                <a:gd name="T52" fmla="*/ 259 w 474"/>
                <a:gd name="T53" fmla="*/ 162 h 245"/>
                <a:gd name="T54" fmla="*/ 293 w 474"/>
                <a:gd name="T55" fmla="*/ 150 h 245"/>
                <a:gd name="T56" fmla="*/ 287 w 474"/>
                <a:gd name="T57" fmla="*/ 172 h 245"/>
                <a:gd name="T58" fmla="*/ 267 w 474"/>
                <a:gd name="T59" fmla="*/ 189 h 245"/>
                <a:gd name="T60" fmla="*/ 290 w 474"/>
                <a:gd name="T61" fmla="*/ 236 h 245"/>
                <a:gd name="T62" fmla="*/ 382 w 474"/>
                <a:gd name="T63" fmla="*/ 240 h 245"/>
                <a:gd name="T64" fmla="*/ 442 w 474"/>
                <a:gd name="T65" fmla="*/ 219 h 245"/>
                <a:gd name="T66" fmla="*/ 432 w 474"/>
                <a:gd name="T67" fmla="*/ 187 h 245"/>
                <a:gd name="T68" fmla="*/ 470 w 474"/>
                <a:gd name="T69" fmla="*/ 184 h 245"/>
                <a:gd name="T70" fmla="*/ 465 w 474"/>
                <a:gd name="T71" fmla="*/ 144 h 245"/>
                <a:gd name="T72" fmla="*/ 459 w 474"/>
                <a:gd name="T73" fmla="*/ 116 h 245"/>
                <a:gd name="T74" fmla="*/ 449 w 474"/>
                <a:gd name="T75" fmla="*/ 58 h 245"/>
                <a:gd name="T76" fmla="*/ 408 w 474"/>
                <a:gd name="T77" fmla="*/ 20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74" h="245">
                  <a:moveTo>
                    <a:pt x="386" y="15"/>
                  </a:moveTo>
                  <a:cubicBezTo>
                    <a:pt x="381" y="22"/>
                    <a:pt x="369" y="16"/>
                    <a:pt x="369" y="25"/>
                  </a:cubicBezTo>
                  <a:cubicBezTo>
                    <a:pt x="369" y="33"/>
                    <a:pt x="369" y="39"/>
                    <a:pt x="358" y="36"/>
                  </a:cubicBezTo>
                  <a:cubicBezTo>
                    <a:pt x="346" y="33"/>
                    <a:pt x="338" y="25"/>
                    <a:pt x="325" y="24"/>
                  </a:cubicBezTo>
                  <a:cubicBezTo>
                    <a:pt x="311" y="22"/>
                    <a:pt x="295" y="15"/>
                    <a:pt x="310" y="13"/>
                  </a:cubicBezTo>
                  <a:cubicBezTo>
                    <a:pt x="325" y="11"/>
                    <a:pt x="343" y="18"/>
                    <a:pt x="341" y="11"/>
                  </a:cubicBezTo>
                  <a:cubicBezTo>
                    <a:pt x="339" y="4"/>
                    <a:pt x="320" y="4"/>
                    <a:pt x="312" y="3"/>
                  </a:cubicBezTo>
                  <a:cubicBezTo>
                    <a:pt x="304" y="2"/>
                    <a:pt x="302" y="15"/>
                    <a:pt x="291" y="12"/>
                  </a:cubicBezTo>
                  <a:cubicBezTo>
                    <a:pt x="280" y="9"/>
                    <a:pt x="274" y="0"/>
                    <a:pt x="262" y="0"/>
                  </a:cubicBezTo>
                  <a:cubicBezTo>
                    <a:pt x="250" y="0"/>
                    <a:pt x="236" y="5"/>
                    <a:pt x="227" y="10"/>
                  </a:cubicBezTo>
                  <a:cubicBezTo>
                    <a:pt x="219" y="14"/>
                    <a:pt x="198" y="22"/>
                    <a:pt x="205" y="28"/>
                  </a:cubicBezTo>
                  <a:cubicBezTo>
                    <a:pt x="212" y="35"/>
                    <a:pt x="221" y="40"/>
                    <a:pt x="233" y="32"/>
                  </a:cubicBezTo>
                  <a:cubicBezTo>
                    <a:pt x="245" y="24"/>
                    <a:pt x="250" y="27"/>
                    <a:pt x="249" y="35"/>
                  </a:cubicBezTo>
                  <a:cubicBezTo>
                    <a:pt x="248" y="43"/>
                    <a:pt x="247" y="50"/>
                    <a:pt x="259" y="54"/>
                  </a:cubicBezTo>
                  <a:cubicBezTo>
                    <a:pt x="271" y="58"/>
                    <a:pt x="278" y="57"/>
                    <a:pt x="279" y="65"/>
                  </a:cubicBezTo>
                  <a:cubicBezTo>
                    <a:pt x="280" y="74"/>
                    <a:pt x="283" y="78"/>
                    <a:pt x="290" y="81"/>
                  </a:cubicBezTo>
                  <a:cubicBezTo>
                    <a:pt x="296" y="85"/>
                    <a:pt x="301" y="88"/>
                    <a:pt x="301" y="96"/>
                  </a:cubicBezTo>
                  <a:cubicBezTo>
                    <a:pt x="301" y="103"/>
                    <a:pt x="292" y="116"/>
                    <a:pt x="285" y="107"/>
                  </a:cubicBezTo>
                  <a:cubicBezTo>
                    <a:pt x="277" y="98"/>
                    <a:pt x="270" y="88"/>
                    <a:pt x="260" y="85"/>
                  </a:cubicBezTo>
                  <a:cubicBezTo>
                    <a:pt x="249" y="81"/>
                    <a:pt x="245" y="79"/>
                    <a:pt x="239" y="68"/>
                  </a:cubicBezTo>
                  <a:cubicBezTo>
                    <a:pt x="232" y="56"/>
                    <a:pt x="235" y="60"/>
                    <a:pt x="227" y="55"/>
                  </a:cubicBezTo>
                  <a:cubicBezTo>
                    <a:pt x="218" y="50"/>
                    <a:pt x="209" y="42"/>
                    <a:pt x="199" y="41"/>
                  </a:cubicBezTo>
                  <a:cubicBezTo>
                    <a:pt x="190" y="40"/>
                    <a:pt x="181" y="43"/>
                    <a:pt x="177" y="50"/>
                  </a:cubicBezTo>
                  <a:cubicBezTo>
                    <a:pt x="174" y="57"/>
                    <a:pt x="161" y="62"/>
                    <a:pt x="169" y="68"/>
                  </a:cubicBezTo>
                  <a:cubicBezTo>
                    <a:pt x="176" y="75"/>
                    <a:pt x="174" y="85"/>
                    <a:pt x="174" y="91"/>
                  </a:cubicBezTo>
                  <a:cubicBezTo>
                    <a:pt x="174" y="96"/>
                    <a:pt x="160" y="115"/>
                    <a:pt x="152" y="101"/>
                  </a:cubicBezTo>
                  <a:cubicBezTo>
                    <a:pt x="144" y="88"/>
                    <a:pt x="139" y="63"/>
                    <a:pt x="124" y="63"/>
                  </a:cubicBezTo>
                  <a:cubicBezTo>
                    <a:pt x="109" y="64"/>
                    <a:pt x="108" y="70"/>
                    <a:pt x="106" y="55"/>
                  </a:cubicBezTo>
                  <a:cubicBezTo>
                    <a:pt x="104" y="40"/>
                    <a:pt x="99" y="37"/>
                    <a:pt x="89" y="35"/>
                  </a:cubicBezTo>
                  <a:cubicBezTo>
                    <a:pt x="79" y="34"/>
                    <a:pt x="83" y="30"/>
                    <a:pt x="70" y="24"/>
                  </a:cubicBezTo>
                  <a:cubicBezTo>
                    <a:pt x="57" y="17"/>
                    <a:pt x="55" y="15"/>
                    <a:pt x="37" y="17"/>
                  </a:cubicBezTo>
                  <a:cubicBezTo>
                    <a:pt x="37" y="17"/>
                    <a:pt x="30" y="20"/>
                    <a:pt x="17" y="22"/>
                  </a:cubicBezTo>
                  <a:cubicBezTo>
                    <a:pt x="4" y="23"/>
                    <a:pt x="0" y="27"/>
                    <a:pt x="6" y="33"/>
                  </a:cubicBezTo>
                  <a:cubicBezTo>
                    <a:pt x="12" y="40"/>
                    <a:pt x="19" y="40"/>
                    <a:pt x="19" y="44"/>
                  </a:cubicBezTo>
                  <a:cubicBezTo>
                    <a:pt x="19" y="48"/>
                    <a:pt x="21" y="58"/>
                    <a:pt x="22" y="63"/>
                  </a:cubicBezTo>
                  <a:cubicBezTo>
                    <a:pt x="24" y="68"/>
                    <a:pt x="48" y="60"/>
                    <a:pt x="47" y="66"/>
                  </a:cubicBezTo>
                  <a:cubicBezTo>
                    <a:pt x="47" y="73"/>
                    <a:pt x="42" y="74"/>
                    <a:pt x="32" y="78"/>
                  </a:cubicBezTo>
                  <a:cubicBezTo>
                    <a:pt x="21" y="83"/>
                    <a:pt x="9" y="93"/>
                    <a:pt x="24" y="96"/>
                  </a:cubicBezTo>
                  <a:cubicBezTo>
                    <a:pt x="38" y="99"/>
                    <a:pt x="50" y="93"/>
                    <a:pt x="52" y="97"/>
                  </a:cubicBezTo>
                  <a:cubicBezTo>
                    <a:pt x="53" y="101"/>
                    <a:pt x="59" y="102"/>
                    <a:pt x="63" y="103"/>
                  </a:cubicBezTo>
                  <a:cubicBezTo>
                    <a:pt x="67" y="103"/>
                    <a:pt x="78" y="108"/>
                    <a:pt x="77" y="111"/>
                  </a:cubicBezTo>
                  <a:cubicBezTo>
                    <a:pt x="75" y="113"/>
                    <a:pt x="57" y="114"/>
                    <a:pt x="68" y="121"/>
                  </a:cubicBezTo>
                  <a:cubicBezTo>
                    <a:pt x="80" y="127"/>
                    <a:pt x="89" y="122"/>
                    <a:pt x="90" y="118"/>
                  </a:cubicBezTo>
                  <a:cubicBezTo>
                    <a:pt x="90" y="113"/>
                    <a:pt x="100" y="109"/>
                    <a:pt x="102" y="116"/>
                  </a:cubicBezTo>
                  <a:cubicBezTo>
                    <a:pt x="103" y="122"/>
                    <a:pt x="104" y="126"/>
                    <a:pt x="96" y="131"/>
                  </a:cubicBezTo>
                  <a:cubicBezTo>
                    <a:pt x="88" y="135"/>
                    <a:pt x="90" y="141"/>
                    <a:pt x="103" y="141"/>
                  </a:cubicBezTo>
                  <a:cubicBezTo>
                    <a:pt x="117" y="141"/>
                    <a:pt x="131" y="130"/>
                    <a:pt x="132" y="139"/>
                  </a:cubicBezTo>
                  <a:cubicBezTo>
                    <a:pt x="133" y="147"/>
                    <a:pt x="123" y="143"/>
                    <a:pt x="123" y="151"/>
                  </a:cubicBezTo>
                  <a:cubicBezTo>
                    <a:pt x="122" y="159"/>
                    <a:pt x="126" y="165"/>
                    <a:pt x="136" y="168"/>
                  </a:cubicBezTo>
                  <a:cubicBezTo>
                    <a:pt x="146" y="171"/>
                    <a:pt x="154" y="174"/>
                    <a:pt x="161" y="169"/>
                  </a:cubicBezTo>
                  <a:cubicBezTo>
                    <a:pt x="167" y="163"/>
                    <a:pt x="176" y="162"/>
                    <a:pt x="189" y="162"/>
                  </a:cubicBezTo>
                  <a:cubicBezTo>
                    <a:pt x="203" y="162"/>
                    <a:pt x="222" y="170"/>
                    <a:pt x="227" y="162"/>
                  </a:cubicBezTo>
                  <a:cubicBezTo>
                    <a:pt x="232" y="154"/>
                    <a:pt x="243" y="144"/>
                    <a:pt x="245" y="154"/>
                  </a:cubicBezTo>
                  <a:cubicBezTo>
                    <a:pt x="247" y="164"/>
                    <a:pt x="250" y="164"/>
                    <a:pt x="259" y="162"/>
                  </a:cubicBezTo>
                  <a:cubicBezTo>
                    <a:pt x="268" y="161"/>
                    <a:pt x="278" y="164"/>
                    <a:pt x="278" y="157"/>
                  </a:cubicBezTo>
                  <a:cubicBezTo>
                    <a:pt x="278" y="150"/>
                    <a:pt x="285" y="149"/>
                    <a:pt x="293" y="150"/>
                  </a:cubicBezTo>
                  <a:cubicBezTo>
                    <a:pt x="300" y="151"/>
                    <a:pt x="310" y="156"/>
                    <a:pt x="305" y="163"/>
                  </a:cubicBezTo>
                  <a:cubicBezTo>
                    <a:pt x="300" y="169"/>
                    <a:pt x="294" y="169"/>
                    <a:pt x="287" y="172"/>
                  </a:cubicBezTo>
                  <a:cubicBezTo>
                    <a:pt x="280" y="174"/>
                    <a:pt x="275" y="177"/>
                    <a:pt x="266" y="177"/>
                  </a:cubicBezTo>
                  <a:cubicBezTo>
                    <a:pt x="257" y="177"/>
                    <a:pt x="257" y="184"/>
                    <a:pt x="267" y="189"/>
                  </a:cubicBezTo>
                  <a:cubicBezTo>
                    <a:pt x="277" y="194"/>
                    <a:pt x="279" y="189"/>
                    <a:pt x="279" y="203"/>
                  </a:cubicBezTo>
                  <a:cubicBezTo>
                    <a:pt x="279" y="217"/>
                    <a:pt x="270" y="231"/>
                    <a:pt x="290" y="236"/>
                  </a:cubicBezTo>
                  <a:cubicBezTo>
                    <a:pt x="310" y="241"/>
                    <a:pt x="323" y="228"/>
                    <a:pt x="338" y="236"/>
                  </a:cubicBezTo>
                  <a:cubicBezTo>
                    <a:pt x="353" y="244"/>
                    <a:pt x="364" y="240"/>
                    <a:pt x="382" y="240"/>
                  </a:cubicBezTo>
                  <a:cubicBezTo>
                    <a:pt x="400" y="240"/>
                    <a:pt x="426" y="245"/>
                    <a:pt x="427" y="234"/>
                  </a:cubicBezTo>
                  <a:cubicBezTo>
                    <a:pt x="429" y="222"/>
                    <a:pt x="437" y="219"/>
                    <a:pt x="442" y="219"/>
                  </a:cubicBezTo>
                  <a:cubicBezTo>
                    <a:pt x="446" y="219"/>
                    <a:pt x="459" y="220"/>
                    <a:pt x="453" y="210"/>
                  </a:cubicBezTo>
                  <a:cubicBezTo>
                    <a:pt x="447" y="199"/>
                    <a:pt x="433" y="202"/>
                    <a:pt x="432" y="187"/>
                  </a:cubicBezTo>
                  <a:cubicBezTo>
                    <a:pt x="432" y="173"/>
                    <a:pt x="442" y="167"/>
                    <a:pt x="454" y="170"/>
                  </a:cubicBezTo>
                  <a:cubicBezTo>
                    <a:pt x="467" y="174"/>
                    <a:pt x="465" y="184"/>
                    <a:pt x="470" y="184"/>
                  </a:cubicBezTo>
                  <a:cubicBezTo>
                    <a:pt x="474" y="184"/>
                    <a:pt x="474" y="184"/>
                    <a:pt x="474" y="169"/>
                  </a:cubicBezTo>
                  <a:cubicBezTo>
                    <a:pt x="474" y="153"/>
                    <a:pt x="472" y="144"/>
                    <a:pt x="465" y="144"/>
                  </a:cubicBezTo>
                  <a:cubicBezTo>
                    <a:pt x="459" y="144"/>
                    <a:pt x="453" y="141"/>
                    <a:pt x="453" y="134"/>
                  </a:cubicBezTo>
                  <a:cubicBezTo>
                    <a:pt x="453" y="128"/>
                    <a:pt x="461" y="126"/>
                    <a:pt x="459" y="116"/>
                  </a:cubicBezTo>
                  <a:cubicBezTo>
                    <a:pt x="457" y="106"/>
                    <a:pt x="469" y="104"/>
                    <a:pt x="466" y="88"/>
                  </a:cubicBezTo>
                  <a:cubicBezTo>
                    <a:pt x="463" y="71"/>
                    <a:pt x="449" y="75"/>
                    <a:pt x="449" y="58"/>
                  </a:cubicBezTo>
                  <a:cubicBezTo>
                    <a:pt x="450" y="40"/>
                    <a:pt x="449" y="35"/>
                    <a:pt x="439" y="32"/>
                  </a:cubicBezTo>
                  <a:cubicBezTo>
                    <a:pt x="430" y="29"/>
                    <a:pt x="419" y="33"/>
                    <a:pt x="408" y="20"/>
                  </a:cubicBezTo>
                  <a:cubicBezTo>
                    <a:pt x="396" y="8"/>
                    <a:pt x="390" y="9"/>
                    <a:pt x="386" y="1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617" name="Freeform 25626"/>
            <p:cNvSpPr>
              <a:spLocks/>
            </p:cNvSpPr>
            <p:nvPr/>
          </p:nvSpPr>
          <p:spPr bwMode="auto">
            <a:xfrm>
              <a:off x="1797909" y="1554096"/>
              <a:ext cx="39458" cy="26832"/>
            </a:xfrm>
            <a:custGeom>
              <a:avLst/>
              <a:gdLst>
                <a:gd name="T0" fmla="*/ 23 w 106"/>
                <a:gd name="T1" fmla="*/ 63 h 72"/>
                <a:gd name="T2" fmla="*/ 49 w 106"/>
                <a:gd name="T3" fmla="*/ 70 h 72"/>
                <a:gd name="T4" fmla="*/ 82 w 106"/>
                <a:gd name="T5" fmla="*/ 63 h 72"/>
                <a:gd name="T6" fmla="*/ 99 w 106"/>
                <a:gd name="T7" fmla="*/ 50 h 72"/>
                <a:gd name="T8" fmla="*/ 90 w 106"/>
                <a:gd name="T9" fmla="*/ 32 h 72"/>
                <a:gd name="T10" fmla="*/ 65 w 106"/>
                <a:gd name="T11" fmla="*/ 12 h 72"/>
                <a:gd name="T12" fmla="*/ 43 w 106"/>
                <a:gd name="T13" fmla="*/ 8 h 72"/>
                <a:gd name="T14" fmla="*/ 23 w 106"/>
                <a:gd name="T15" fmla="*/ 26 h 72"/>
                <a:gd name="T16" fmla="*/ 7 w 106"/>
                <a:gd name="T17" fmla="*/ 52 h 72"/>
                <a:gd name="T18" fmla="*/ 23 w 106"/>
                <a:gd name="T19" fmla="*/ 63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6" h="72">
                  <a:moveTo>
                    <a:pt x="23" y="63"/>
                  </a:moveTo>
                  <a:cubicBezTo>
                    <a:pt x="27" y="69"/>
                    <a:pt x="37" y="72"/>
                    <a:pt x="49" y="70"/>
                  </a:cubicBezTo>
                  <a:cubicBezTo>
                    <a:pt x="61" y="67"/>
                    <a:pt x="77" y="72"/>
                    <a:pt x="82" y="63"/>
                  </a:cubicBezTo>
                  <a:cubicBezTo>
                    <a:pt x="87" y="54"/>
                    <a:pt x="106" y="59"/>
                    <a:pt x="99" y="50"/>
                  </a:cubicBezTo>
                  <a:cubicBezTo>
                    <a:pt x="92" y="42"/>
                    <a:pt x="98" y="38"/>
                    <a:pt x="90" y="32"/>
                  </a:cubicBezTo>
                  <a:cubicBezTo>
                    <a:pt x="82" y="25"/>
                    <a:pt x="75" y="14"/>
                    <a:pt x="65" y="12"/>
                  </a:cubicBezTo>
                  <a:cubicBezTo>
                    <a:pt x="56" y="11"/>
                    <a:pt x="52" y="0"/>
                    <a:pt x="43" y="8"/>
                  </a:cubicBezTo>
                  <a:cubicBezTo>
                    <a:pt x="43" y="8"/>
                    <a:pt x="32" y="19"/>
                    <a:pt x="23" y="26"/>
                  </a:cubicBezTo>
                  <a:cubicBezTo>
                    <a:pt x="14" y="33"/>
                    <a:pt x="0" y="46"/>
                    <a:pt x="7" y="52"/>
                  </a:cubicBezTo>
                  <a:cubicBezTo>
                    <a:pt x="14" y="57"/>
                    <a:pt x="19" y="57"/>
                    <a:pt x="23" y="63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618" name="Freeform 25632"/>
            <p:cNvSpPr>
              <a:spLocks/>
            </p:cNvSpPr>
            <p:nvPr/>
          </p:nvSpPr>
          <p:spPr bwMode="auto">
            <a:xfrm>
              <a:off x="1989520" y="1477546"/>
              <a:ext cx="419049" cy="129108"/>
            </a:xfrm>
            <a:custGeom>
              <a:avLst/>
              <a:gdLst>
                <a:gd name="T0" fmla="*/ 397 w 1124"/>
                <a:gd name="T1" fmla="*/ 318 h 346"/>
                <a:gd name="T2" fmla="*/ 466 w 1124"/>
                <a:gd name="T3" fmla="*/ 334 h 346"/>
                <a:gd name="T4" fmla="*/ 517 w 1124"/>
                <a:gd name="T5" fmla="*/ 310 h 346"/>
                <a:gd name="T6" fmla="*/ 536 w 1124"/>
                <a:gd name="T7" fmla="*/ 323 h 346"/>
                <a:gd name="T8" fmla="*/ 590 w 1124"/>
                <a:gd name="T9" fmla="*/ 341 h 346"/>
                <a:gd name="T10" fmla="*/ 656 w 1124"/>
                <a:gd name="T11" fmla="*/ 338 h 346"/>
                <a:gd name="T12" fmla="*/ 715 w 1124"/>
                <a:gd name="T13" fmla="*/ 342 h 346"/>
                <a:gd name="T14" fmla="*/ 789 w 1124"/>
                <a:gd name="T15" fmla="*/ 339 h 346"/>
                <a:gd name="T16" fmla="*/ 871 w 1124"/>
                <a:gd name="T17" fmla="*/ 303 h 346"/>
                <a:gd name="T18" fmla="*/ 892 w 1124"/>
                <a:gd name="T19" fmla="*/ 323 h 346"/>
                <a:gd name="T20" fmla="*/ 957 w 1124"/>
                <a:gd name="T21" fmla="*/ 342 h 346"/>
                <a:gd name="T22" fmla="*/ 1029 w 1124"/>
                <a:gd name="T23" fmla="*/ 328 h 346"/>
                <a:gd name="T24" fmla="*/ 1081 w 1124"/>
                <a:gd name="T25" fmla="*/ 306 h 346"/>
                <a:gd name="T26" fmla="*/ 1087 w 1124"/>
                <a:gd name="T27" fmla="*/ 268 h 346"/>
                <a:gd name="T28" fmla="*/ 1119 w 1124"/>
                <a:gd name="T29" fmla="*/ 220 h 346"/>
                <a:gd name="T30" fmla="*/ 1070 w 1124"/>
                <a:gd name="T31" fmla="*/ 196 h 346"/>
                <a:gd name="T32" fmla="*/ 1000 w 1124"/>
                <a:gd name="T33" fmla="*/ 171 h 346"/>
                <a:gd name="T34" fmla="*/ 895 w 1124"/>
                <a:gd name="T35" fmla="*/ 171 h 346"/>
                <a:gd name="T36" fmla="*/ 811 w 1124"/>
                <a:gd name="T37" fmla="*/ 176 h 346"/>
                <a:gd name="T38" fmla="*/ 723 w 1124"/>
                <a:gd name="T39" fmla="*/ 197 h 346"/>
                <a:gd name="T40" fmla="*/ 662 w 1124"/>
                <a:gd name="T41" fmla="*/ 214 h 346"/>
                <a:gd name="T42" fmla="*/ 613 w 1124"/>
                <a:gd name="T43" fmla="*/ 196 h 346"/>
                <a:gd name="T44" fmla="*/ 562 w 1124"/>
                <a:gd name="T45" fmla="*/ 202 h 346"/>
                <a:gd name="T46" fmla="*/ 514 w 1124"/>
                <a:gd name="T47" fmla="*/ 214 h 346"/>
                <a:gd name="T48" fmla="*/ 500 w 1124"/>
                <a:gd name="T49" fmla="*/ 176 h 346"/>
                <a:gd name="T50" fmla="*/ 449 w 1124"/>
                <a:gd name="T51" fmla="*/ 145 h 346"/>
                <a:gd name="T52" fmla="*/ 407 w 1124"/>
                <a:gd name="T53" fmla="*/ 128 h 346"/>
                <a:gd name="T54" fmla="*/ 461 w 1124"/>
                <a:gd name="T55" fmla="*/ 127 h 346"/>
                <a:gd name="T56" fmla="*/ 482 w 1124"/>
                <a:gd name="T57" fmla="*/ 100 h 346"/>
                <a:gd name="T58" fmla="*/ 410 w 1124"/>
                <a:gd name="T59" fmla="*/ 79 h 346"/>
                <a:gd name="T60" fmla="*/ 356 w 1124"/>
                <a:gd name="T61" fmla="*/ 47 h 346"/>
                <a:gd name="T62" fmla="*/ 277 w 1124"/>
                <a:gd name="T63" fmla="*/ 63 h 346"/>
                <a:gd name="T64" fmla="*/ 206 w 1124"/>
                <a:gd name="T65" fmla="*/ 19 h 346"/>
                <a:gd name="T66" fmla="*/ 92 w 1124"/>
                <a:gd name="T67" fmla="*/ 0 h 346"/>
                <a:gd name="T68" fmla="*/ 16 w 1124"/>
                <a:gd name="T69" fmla="*/ 14 h 346"/>
                <a:gd name="T70" fmla="*/ 11 w 1124"/>
                <a:gd name="T71" fmla="*/ 52 h 346"/>
                <a:gd name="T72" fmla="*/ 83 w 1124"/>
                <a:gd name="T73" fmla="*/ 95 h 346"/>
                <a:gd name="T74" fmla="*/ 160 w 1124"/>
                <a:gd name="T75" fmla="*/ 112 h 346"/>
                <a:gd name="T76" fmla="*/ 254 w 1124"/>
                <a:gd name="T77" fmla="*/ 111 h 346"/>
                <a:gd name="T78" fmla="*/ 314 w 1124"/>
                <a:gd name="T79" fmla="*/ 181 h 346"/>
                <a:gd name="T80" fmla="*/ 289 w 1124"/>
                <a:gd name="T81" fmla="*/ 241 h 346"/>
                <a:gd name="T82" fmla="*/ 315 w 1124"/>
                <a:gd name="T83" fmla="*/ 287 h 346"/>
                <a:gd name="T84" fmla="*/ 365 w 1124"/>
                <a:gd name="T85" fmla="*/ 319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124" h="346">
                  <a:moveTo>
                    <a:pt x="378" y="304"/>
                  </a:moveTo>
                  <a:cubicBezTo>
                    <a:pt x="386" y="303"/>
                    <a:pt x="388" y="300"/>
                    <a:pt x="388" y="308"/>
                  </a:cubicBezTo>
                  <a:cubicBezTo>
                    <a:pt x="389" y="316"/>
                    <a:pt x="393" y="318"/>
                    <a:pt x="397" y="318"/>
                  </a:cubicBezTo>
                  <a:cubicBezTo>
                    <a:pt x="401" y="318"/>
                    <a:pt x="400" y="324"/>
                    <a:pt x="408" y="325"/>
                  </a:cubicBezTo>
                  <a:cubicBezTo>
                    <a:pt x="416" y="325"/>
                    <a:pt x="422" y="322"/>
                    <a:pt x="433" y="328"/>
                  </a:cubicBezTo>
                  <a:cubicBezTo>
                    <a:pt x="444" y="335"/>
                    <a:pt x="452" y="336"/>
                    <a:pt x="466" y="334"/>
                  </a:cubicBezTo>
                  <a:cubicBezTo>
                    <a:pt x="479" y="333"/>
                    <a:pt x="485" y="335"/>
                    <a:pt x="489" y="330"/>
                  </a:cubicBezTo>
                  <a:cubicBezTo>
                    <a:pt x="492" y="326"/>
                    <a:pt x="502" y="328"/>
                    <a:pt x="504" y="323"/>
                  </a:cubicBezTo>
                  <a:cubicBezTo>
                    <a:pt x="507" y="317"/>
                    <a:pt x="507" y="311"/>
                    <a:pt x="517" y="310"/>
                  </a:cubicBezTo>
                  <a:cubicBezTo>
                    <a:pt x="526" y="310"/>
                    <a:pt x="525" y="300"/>
                    <a:pt x="532" y="300"/>
                  </a:cubicBezTo>
                  <a:cubicBezTo>
                    <a:pt x="540" y="300"/>
                    <a:pt x="547" y="300"/>
                    <a:pt x="546" y="309"/>
                  </a:cubicBezTo>
                  <a:cubicBezTo>
                    <a:pt x="545" y="318"/>
                    <a:pt x="535" y="318"/>
                    <a:pt x="536" y="323"/>
                  </a:cubicBezTo>
                  <a:cubicBezTo>
                    <a:pt x="537" y="329"/>
                    <a:pt x="542" y="328"/>
                    <a:pt x="544" y="334"/>
                  </a:cubicBezTo>
                  <a:cubicBezTo>
                    <a:pt x="545" y="341"/>
                    <a:pt x="554" y="341"/>
                    <a:pt x="561" y="341"/>
                  </a:cubicBezTo>
                  <a:cubicBezTo>
                    <a:pt x="568" y="341"/>
                    <a:pt x="585" y="346"/>
                    <a:pt x="590" y="341"/>
                  </a:cubicBezTo>
                  <a:cubicBezTo>
                    <a:pt x="595" y="335"/>
                    <a:pt x="606" y="336"/>
                    <a:pt x="616" y="336"/>
                  </a:cubicBezTo>
                  <a:cubicBezTo>
                    <a:pt x="625" y="336"/>
                    <a:pt x="617" y="343"/>
                    <a:pt x="633" y="342"/>
                  </a:cubicBezTo>
                  <a:cubicBezTo>
                    <a:pt x="650" y="341"/>
                    <a:pt x="654" y="344"/>
                    <a:pt x="656" y="338"/>
                  </a:cubicBezTo>
                  <a:cubicBezTo>
                    <a:pt x="659" y="333"/>
                    <a:pt x="669" y="329"/>
                    <a:pt x="672" y="336"/>
                  </a:cubicBezTo>
                  <a:cubicBezTo>
                    <a:pt x="676" y="343"/>
                    <a:pt x="681" y="341"/>
                    <a:pt x="691" y="335"/>
                  </a:cubicBezTo>
                  <a:cubicBezTo>
                    <a:pt x="701" y="329"/>
                    <a:pt x="704" y="342"/>
                    <a:pt x="715" y="342"/>
                  </a:cubicBezTo>
                  <a:cubicBezTo>
                    <a:pt x="727" y="342"/>
                    <a:pt x="725" y="326"/>
                    <a:pt x="740" y="333"/>
                  </a:cubicBezTo>
                  <a:cubicBezTo>
                    <a:pt x="754" y="339"/>
                    <a:pt x="755" y="344"/>
                    <a:pt x="765" y="339"/>
                  </a:cubicBezTo>
                  <a:cubicBezTo>
                    <a:pt x="776" y="334"/>
                    <a:pt x="760" y="333"/>
                    <a:pt x="789" y="339"/>
                  </a:cubicBezTo>
                  <a:cubicBezTo>
                    <a:pt x="818" y="346"/>
                    <a:pt x="826" y="338"/>
                    <a:pt x="845" y="333"/>
                  </a:cubicBezTo>
                  <a:cubicBezTo>
                    <a:pt x="863" y="329"/>
                    <a:pt x="863" y="328"/>
                    <a:pt x="866" y="319"/>
                  </a:cubicBezTo>
                  <a:cubicBezTo>
                    <a:pt x="870" y="310"/>
                    <a:pt x="876" y="308"/>
                    <a:pt x="871" y="303"/>
                  </a:cubicBezTo>
                  <a:cubicBezTo>
                    <a:pt x="867" y="298"/>
                    <a:pt x="859" y="295"/>
                    <a:pt x="872" y="294"/>
                  </a:cubicBezTo>
                  <a:cubicBezTo>
                    <a:pt x="885" y="293"/>
                    <a:pt x="885" y="287"/>
                    <a:pt x="886" y="302"/>
                  </a:cubicBezTo>
                  <a:cubicBezTo>
                    <a:pt x="886" y="316"/>
                    <a:pt x="886" y="322"/>
                    <a:pt x="892" y="323"/>
                  </a:cubicBezTo>
                  <a:cubicBezTo>
                    <a:pt x="899" y="325"/>
                    <a:pt x="901" y="334"/>
                    <a:pt x="912" y="332"/>
                  </a:cubicBezTo>
                  <a:cubicBezTo>
                    <a:pt x="923" y="330"/>
                    <a:pt x="938" y="327"/>
                    <a:pt x="941" y="335"/>
                  </a:cubicBezTo>
                  <a:cubicBezTo>
                    <a:pt x="944" y="343"/>
                    <a:pt x="950" y="343"/>
                    <a:pt x="957" y="342"/>
                  </a:cubicBezTo>
                  <a:cubicBezTo>
                    <a:pt x="965" y="341"/>
                    <a:pt x="989" y="346"/>
                    <a:pt x="990" y="337"/>
                  </a:cubicBezTo>
                  <a:cubicBezTo>
                    <a:pt x="990" y="328"/>
                    <a:pt x="999" y="328"/>
                    <a:pt x="1010" y="327"/>
                  </a:cubicBezTo>
                  <a:cubicBezTo>
                    <a:pt x="1020" y="326"/>
                    <a:pt x="1020" y="323"/>
                    <a:pt x="1029" y="328"/>
                  </a:cubicBezTo>
                  <a:cubicBezTo>
                    <a:pt x="1038" y="333"/>
                    <a:pt x="1046" y="336"/>
                    <a:pt x="1053" y="330"/>
                  </a:cubicBezTo>
                  <a:cubicBezTo>
                    <a:pt x="1059" y="325"/>
                    <a:pt x="1071" y="326"/>
                    <a:pt x="1072" y="319"/>
                  </a:cubicBezTo>
                  <a:cubicBezTo>
                    <a:pt x="1073" y="312"/>
                    <a:pt x="1071" y="307"/>
                    <a:pt x="1081" y="306"/>
                  </a:cubicBezTo>
                  <a:cubicBezTo>
                    <a:pt x="1091" y="305"/>
                    <a:pt x="1090" y="298"/>
                    <a:pt x="1085" y="293"/>
                  </a:cubicBezTo>
                  <a:cubicBezTo>
                    <a:pt x="1080" y="289"/>
                    <a:pt x="1065" y="287"/>
                    <a:pt x="1073" y="280"/>
                  </a:cubicBezTo>
                  <a:cubicBezTo>
                    <a:pt x="1081" y="273"/>
                    <a:pt x="1087" y="278"/>
                    <a:pt x="1087" y="268"/>
                  </a:cubicBezTo>
                  <a:cubicBezTo>
                    <a:pt x="1087" y="258"/>
                    <a:pt x="1091" y="253"/>
                    <a:pt x="1099" y="251"/>
                  </a:cubicBezTo>
                  <a:cubicBezTo>
                    <a:pt x="1106" y="249"/>
                    <a:pt x="1109" y="248"/>
                    <a:pt x="1111" y="239"/>
                  </a:cubicBezTo>
                  <a:cubicBezTo>
                    <a:pt x="1112" y="231"/>
                    <a:pt x="1124" y="229"/>
                    <a:pt x="1119" y="220"/>
                  </a:cubicBezTo>
                  <a:cubicBezTo>
                    <a:pt x="1114" y="212"/>
                    <a:pt x="1110" y="209"/>
                    <a:pt x="1100" y="212"/>
                  </a:cubicBezTo>
                  <a:cubicBezTo>
                    <a:pt x="1090" y="214"/>
                    <a:pt x="1079" y="219"/>
                    <a:pt x="1079" y="209"/>
                  </a:cubicBezTo>
                  <a:cubicBezTo>
                    <a:pt x="1079" y="199"/>
                    <a:pt x="1076" y="201"/>
                    <a:pt x="1070" y="196"/>
                  </a:cubicBezTo>
                  <a:cubicBezTo>
                    <a:pt x="1063" y="191"/>
                    <a:pt x="1057" y="185"/>
                    <a:pt x="1043" y="187"/>
                  </a:cubicBezTo>
                  <a:cubicBezTo>
                    <a:pt x="1030" y="189"/>
                    <a:pt x="1008" y="199"/>
                    <a:pt x="1008" y="187"/>
                  </a:cubicBezTo>
                  <a:cubicBezTo>
                    <a:pt x="1008" y="176"/>
                    <a:pt x="1006" y="174"/>
                    <a:pt x="1000" y="171"/>
                  </a:cubicBezTo>
                  <a:cubicBezTo>
                    <a:pt x="993" y="168"/>
                    <a:pt x="993" y="161"/>
                    <a:pt x="975" y="164"/>
                  </a:cubicBezTo>
                  <a:cubicBezTo>
                    <a:pt x="956" y="166"/>
                    <a:pt x="917" y="160"/>
                    <a:pt x="917" y="165"/>
                  </a:cubicBezTo>
                  <a:cubicBezTo>
                    <a:pt x="916" y="170"/>
                    <a:pt x="916" y="171"/>
                    <a:pt x="895" y="171"/>
                  </a:cubicBezTo>
                  <a:cubicBezTo>
                    <a:pt x="874" y="171"/>
                    <a:pt x="864" y="176"/>
                    <a:pt x="858" y="169"/>
                  </a:cubicBezTo>
                  <a:cubicBezTo>
                    <a:pt x="853" y="161"/>
                    <a:pt x="849" y="161"/>
                    <a:pt x="837" y="162"/>
                  </a:cubicBezTo>
                  <a:cubicBezTo>
                    <a:pt x="825" y="164"/>
                    <a:pt x="825" y="176"/>
                    <a:pt x="811" y="176"/>
                  </a:cubicBezTo>
                  <a:cubicBezTo>
                    <a:pt x="798" y="177"/>
                    <a:pt x="789" y="184"/>
                    <a:pt x="779" y="186"/>
                  </a:cubicBezTo>
                  <a:cubicBezTo>
                    <a:pt x="769" y="187"/>
                    <a:pt x="757" y="189"/>
                    <a:pt x="753" y="193"/>
                  </a:cubicBezTo>
                  <a:cubicBezTo>
                    <a:pt x="750" y="197"/>
                    <a:pt x="731" y="191"/>
                    <a:pt x="723" y="197"/>
                  </a:cubicBezTo>
                  <a:cubicBezTo>
                    <a:pt x="715" y="203"/>
                    <a:pt x="704" y="205"/>
                    <a:pt x="704" y="212"/>
                  </a:cubicBezTo>
                  <a:cubicBezTo>
                    <a:pt x="704" y="218"/>
                    <a:pt x="704" y="217"/>
                    <a:pt x="688" y="217"/>
                  </a:cubicBezTo>
                  <a:cubicBezTo>
                    <a:pt x="671" y="217"/>
                    <a:pt x="674" y="214"/>
                    <a:pt x="662" y="214"/>
                  </a:cubicBezTo>
                  <a:cubicBezTo>
                    <a:pt x="650" y="213"/>
                    <a:pt x="648" y="212"/>
                    <a:pt x="646" y="206"/>
                  </a:cubicBezTo>
                  <a:cubicBezTo>
                    <a:pt x="643" y="200"/>
                    <a:pt x="638" y="199"/>
                    <a:pt x="632" y="195"/>
                  </a:cubicBezTo>
                  <a:cubicBezTo>
                    <a:pt x="626" y="191"/>
                    <a:pt x="614" y="190"/>
                    <a:pt x="613" y="196"/>
                  </a:cubicBezTo>
                  <a:cubicBezTo>
                    <a:pt x="611" y="201"/>
                    <a:pt x="600" y="208"/>
                    <a:pt x="597" y="203"/>
                  </a:cubicBezTo>
                  <a:cubicBezTo>
                    <a:pt x="593" y="198"/>
                    <a:pt x="593" y="193"/>
                    <a:pt x="583" y="197"/>
                  </a:cubicBezTo>
                  <a:cubicBezTo>
                    <a:pt x="574" y="201"/>
                    <a:pt x="575" y="205"/>
                    <a:pt x="562" y="202"/>
                  </a:cubicBezTo>
                  <a:cubicBezTo>
                    <a:pt x="549" y="199"/>
                    <a:pt x="546" y="194"/>
                    <a:pt x="540" y="191"/>
                  </a:cubicBezTo>
                  <a:cubicBezTo>
                    <a:pt x="535" y="188"/>
                    <a:pt x="520" y="185"/>
                    <a:pt x="519" y="194"/>
                  </a:cubicBezTo>
                  <a:cubicBezTo>
                    <a:pt x="517" y="202"/>
                    <a:pt x="526" y="215"/>
                    <a:pt x="514" y="214"/>
                  </a:cubicBezTo>
                  <a:cubicBezTo>
                    <a:pt x="502" y="214"/>
                    <a:pt x="512" y="208"/>
                    <a:pt x="502" y="207"/>
                  </a:cubicBezTo>
                  <a:cubicBezTo>
                    <a:pt x="491" y="207"/>
                    <a:pt x="485" y="197"/>
                    <a:pt x="492" y="191"/>
                  </a:cubicBezTo>
                  <a:cubicBezTo>
                    <a:pt x="498" y="186"/>
                    <a:pt x="501" y="181"/>
                    <a:pt x="500" y="176"/>
                  </a:cubicBezTo>
                  <a:cubicBezTo>
                    <a:pt x="499" y="171"/>
                    <a:pt x="496" y="169"/>
                    <a:pt x="489" y="166"/>
                  </a:cubicBezTo>
                  <a:cubicBezTo>
                    <a:pt x="482" y="164"/>
                    <a:pt x="472" y="164"/>
                    <a:pt x="468" y="155"/>
                  </a:cubicBezTo>
                  <a:cubicBezTo>
                    <a:pt x="464" y="146"/>
                    <a:pt x="461" y="143"/>
                    <a:pt x="449" y="145"/>
                  </a:cubicBezTo>
                  <a:cubicBezTo>
                    <a:pt x="438" y="146"/>
                    <a:pt x="430" y="149"/>
                    <a:pt x="423" y="151"/>
                  </a:cubicBezTo>
                  <a:cubicBezTo>
                    <a:pt x="416" y="153"/>
                    <a:pt x="412" y="152"/>
                    <a:pt x="406" y="147"/>
                  </a:cubicBezTo>
                  <a:cubicBezTo>
                    <a:pt x="401" y="142"/>
                    <a:pt x="400" y="133"/>
                    <a:pt x="407" y="128"/>
                  </a:cubicBezTo>
                  <a:cubicBezTo>
                    <a:pt x="414" y="124"/>
                    <a:pt x="424" y="129"/>
                    <a:pt x="426" y="123"/>
                  </a:cubicBezTo>
                  <a:cubicBezTo>
                    <a:pt x="427" y="118"/>
                    <a:pt x="433" y="117"/>
                    <a:pt x="440" y="123"/>
                  </a:cubicBezTo>
                  <a:cubicBezTo>
                    <a:pt x="446" y="130"/>
                    <a:pt x="454" y="131"/>
                    <a:pt x="461" y="127"/>
                  </a:cubicBezTo>
                  <a:cubicBezTo>
                    <a:pt x="467" y="123"/>
                    <a:pt x="470" y="119"/>
                    <a:pt x="482" y="119"/>
                  </a:cubicBezTo>
                  <a:cubicBezTo>
                    <a:pt x="493" y="119"/>
                    <a:pt x="496" y="123"/>
                    <a:pt x="497" y="115"/>
                  </a:cubicBezTo>
                  <a:cubicBezTo>
                    <a:pt x="497" y="106"/>
                    <a:pt x="487" y="100"/>
                    <a:pt x="482" y="100"/>
                  </a:cubicBezTo>
                  <a:cubicBezTo>
                    <a:pt x="476" y="100"/>
                    <a:pt x="457" y="95"/>
                    <a:pt x="448" y="95"/>
                  </a:cubicBezTo>
                  <a:cubicBezTo>
                    <a:pt x="439" y="95"/>
                    <a:pt x="441" y="86"/>
                    <a:pt x="429" y="87"/>
                  </a:cubicBezTo>
                  <a:cubicBezTo>
                    <a:pt x="417" y="88"/>
                    <a:pt x="410" y="88"/>
                    <a:pt x="410" y="79"/>
                  </a:cubicBezTo>
                  <a:cubicBezTo>
                    <a:pt x="410" y="70"/>
                    <a:pt x="413" y="70"/>
                    <a:pt x="405" y="65"/>
                  </a:cubicBezTo>
                  <a:cubicBezTo>
                    <a:pt x="397" y="59"/>
                    <a:pt x="385" y="56"/>
                    <a:pt x="376" y="54"/>
                  </a:cubicBezTo>
                  <a:cubicBezTo>
                    <a:pt x="367" y="52"/>
                    <a:pt x="367" y="45"/>
                    <a:pt x="356" y="47"/>
                  </a:cubicBezTo>
                  <a:cubicBezTo>
                    <a:pt x="345" y="48"/>
                    <a:pt x="345" y="55"/>
                    <a:pt x="330" y="54"/>
                  </a:cubicBezTo>
                  <a:cubicBezTo>
                    <a:pt x="315" y="52"/>
                    <a:pt x="314" y="55"/>
                    <a:pt x="304" y="60"/>
                  </a:cubicBezTo>
                  <a:cubicBezTo>
                    <a:pt x="294" y="65"/>
                    <a:pt x="296" y="65"/>
                    <a:pt x="277" y="63"/>
                  </a:cubicBezTo>
                  <a:cubicBezTo>
                    <a:pt x="257" y="62"/>
                    <a:pt x="245" y="66"/>
                    <a:pt x="243" y="54"/>
                  </a:cubicBezTo>
                  <a:cubicBezTo>
                    <a:pt x="241" y="42"/>
                    <a:pt x="234" y="43"/>
                    <a:pt x="225" y="37"/>
                  </a:cubicBezTo>
                  <a:cubicBezTo>
                    <a:pt x="216" y="30"/>
                    <a:pt x="223" y="20"/>
                    <a:pt x="206" y="19"/>
                  </a:cubicBezTo>
                  <a:cubicBezTo>
                    <a:pt x="190" y="19"/>
                    <a:pt x="172" y="28"/>
                    <a:pt x="163" y="17"/>
                  </a:cubicBezTo>
                  <a:cubicBezTo>
                    <a:pt x="153" y="5"/>
                    <a:pt x="122" y="13"/>
                    <a:pt x="120" y="8"/>
                  </a:cubicBezTo>
                  <a:cubicBezTo>
                    <a:pt x="118" y="3"/>
                    <a:pt x="102" y="0"/>
                    <a:pt x="92" y="0"/>
                  </a:cubicBezTo>
                  <a:cubicBezTo>
                    <a:pt x="81" y="0"/>
                    <a:pt x="86" y="4"/>
                    <a:pt x="63" y="4"/>
                  </a:cubicBezTo>
                  <a:cubicBezTo>
                    <a:pt x="63" y="4"/>
                    <a:pt x="51" y="1"/>
                    <a:pt x="42" y="9"/>
                  </a:cubicBezTo>
                  <a:cubicBezTo>
                    <a:pt x="34" y="17"/>
                    <a:pt x="26" y="12"/>
                    <a:pt x="16" y="14"/>
                  </a:cubicBezTo>
                  <a:cubicBezTo>
                    <a:pt x="7" y="16"/>
                    <a:pt x="3" y="24"/>
                    <a:pt x="14" y="29"/>
                  </a:cubicBezTo>
                  <a:cubicBezTo>
                    <a:pt x="25" y="34"/>
                    <a:pt x="27" y="37"/>
                    <a:pt x="21" y="38"/>
                  </a:cubicBezTo>
                  <a:cubicBezTo>
                    <a:pt x="16" y="40"/>
                    <a:pt x="0" y="50"/>
                    <a:pt x="11" y="52"/>
                  </a:cubicBezTo>
                  <a:cubicBezTo>
                    <a:pt x="23" y="54"/>
                    <a:pt x="26" y="49"/>
                    <a:pt x="34" y="58"/>
                  </a:cubicBezTo>
                  <a:cubicBezTo>
                    <a:pt x="42" y="67"/>
                    <a:pt x="63" y="64"/>
                    <a:pt x="65" y="78"/>
                  </a:cubicBezTo>
                  <a:cubicBezTo>
                    <a:pt x="67" y="91"/>
                    <a:pt x="73" y="95"/>
                    <a:pt x="83" y="95"/>
                  </a:cubicBezTo>
                  <a:cubicBezTo>
                    <a:pt x="93" y="95"/>
                    <a:pt x="100" y="92"/>
                    <a:pt x="105" y="100"/>
                  </a:cubicBezTo>
                  <a:cubicBezTo>
                    <a:pt x="110" y="108"/>
                    <a:pt x="105" y="113"/>
                    <a:pt x="121" y="113"/>
                  </a:cubicBezTo>
                  <a:cubicBezTo>
                    <a:pt x="137" y="113"/>
                    <a:pt x="142" y="108"/>
                    <a:pt x="160" y="112"/>
                  </a:cubicBezTo>
                  <a:cubicBezTo>
                    <a:pt x="179" y="115"/>
                    <a:pt x="219" y="113"/>
                    <a:pt x="221" y="109"/>
                  </a:cubicBezTo>
                  <a:cubicBezTo>
                    <a:pt x="222" y="105"/>
                    <a:pt x="226" y="102"/>
                    <a:pt x="239" y="102"/>
                  </a:cubicBezTo>
                  <a:cubicBezTo>
                    <a:pt x="251" y="102"/>
                    <a:pt x="248" y="106"/>
                    <a:pt x="254" y="111"/>
                  </a:cubicBezTo>
                  <a:cubicBezTo>
                    <a:pt x="261" y="116"/>
                    <a:pt x="271" y="119"/>
                    <a:pt x="273" y="129"/>
                  </a:cubicBezTo>
                  <a:cubicBezTo>
                    <a:pt x="275" y="139"/>
                    <a:pt x="276" y="147"/>
                    <a:pt x="291" y="152"/>
                  </a:cubicBezTo>
                  <a:cubicBezTo>
                    <a:pt x="306" y="157"/>
                    <a:pt x="313" y="170"/>
                    <a:pt x="314" y="181"/>
                  </a:cubicBezTo>
                  <a:cubicBezTo>
                    <a:pt x="315" y="193"/>
                    <a:pt x="302" y="200"/>
                    <a:pt x="300" y="207"/>
                  </a:cubicBezTo>
                  <a:cubicBezTo>
                    <a:pt x="299" y="213"/>
                    <a:pt x="297" y="226"/>
                    <a:pt x="292" y="228"/>
                  </a:cubicBezTo>
                  <a:cubicBezTo>
                    <a:pt x="288" y="230"/>
                    <a:pt x="287" y="236"/>
                    <a:pt x="289" y="241"/>
                  </a:cubicBezTo>
                  <a:cubicBezTo>
                    <a:pt x="290" y="246"/>
                    <a:pt x="296" y="244"/>
                    <a:pt x="298" y="250"/>
                  </a:cubicBezTo>
                  <a:cubicBezTo>
                    <a:pt x="300" y="256"/>
                    <a:pt x="304" y="257"/>
                    <a:pt x="304" y="268"/>
                  </a:cubicBezTo>
                  <a:cubicBezTo>
                    <a:pt x="304" y="279"/>
                    <a:pt x="315" y="276"/>
                    <a:pt x="315" y="287"/>
                  </a:cubicBezTo>
                  <a:cubicBezTo>
                    <a:pt x="316" y="299"/>
                    <a:pt x="317" y="307"/>
                    <a:pt x="327" y="308"/>
                  </a:cubicBezTo>
                  <a:cubicBezTo>
                    <a:pt x="338" y="310"/>
                    <a:pt x="342" y="306"/>
                    <a:pt x="347" y="314"/>
                  </a:cubicBezTo>
                  <a:cubicBezTo>
                    <a:pt x="351" y="322"/>
                    <a:pt x="359" y="319"/>
                    <a:pt x="365" y="319"/>
                  </a:cubicBezTo>
                  <a:cubicBezTo>
                    <a:pt x="370" y="319"/>
                    <a:pt x="375" y="321"/>
                    <a:pt x="375" y="315"/>
                  </a:cubicBezTo>
                  <a:cubicBezTo>
                    <a:pt x="375" y="308"/>
                    <a:pt x="370" y="305"/>
                    <a:pt x="378" y="304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619" name="Freeform 25636"/>
            <p:cNvSpPr>
              <a:spLocks/>
            </p:cNvSpPr>
            <p:nvPr/>
          </p:nvSpPr>
          <p:spPr bwMode="auto">
            <a:xfrm>
              <a:off x="1902238" y="1837566"/>
              <a:ext cx="20519" cy="21624"/>
            </a:xfrm>
            <a:custGeom>
              <a:avLst/>
              <a:gdLst>
                <a:gd name="T0" fmla="*/ 4 w 55"/>
                <a:gd name="T1" fmla="*/ 42 h 58"/>
                <a:gd name="T2" fmla="*/ 15 w 55"/>
                <a:gd name="T3" fmla="*/ 57 h 58"/>
                <a:gd name="T4" fmla="*/ 30 w 55"/>
                <a:gd name="T5" fmla="*/ 50 h 58"/>
                <a:gd name="T6" fmla="*/ 42 w 55"/>
                <a:gd name="T7" fmla="*/ 30 h 58"/>
                <a:gd name="T8" fmla="*/ 51 w 55"/>
                <a:gd name="T9" fmla="*/ 15 h 58"/>
                <a:gd name="T10" fmla="*/ 42 w 55"/>
                <a:gd name="T11" fmla="*/ 10 h 58"/>
                <a:gd name="T12" fmla="*/ 25 w 55"/>
                <a:gd name="T13" fmla="*/ 10 h 58"/>
                <a:gd name="T14" fmla="*/ 18 w 55"/>
                <a:gd name="T15" fmla="*/ 18 h 58"/>
                <a:gd name="T16" fmla="*/ 3 w 55"/>
                <a:gd name="T17" fmla="*/ 31 h 58"/>
                <a:gd name="T18" fmla="*/ 4 w 55"/>
                <a:gd name="T19" fmla="*/ 42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5" h="58">
                  <a:moveTo>
                    <a:pt x="4" y="42"/>
                  </a:moveTo>
                  <a:cubicBezTo>
                    <a:pt x="8" y="44"/>
                    <a:pt x="8" y="56"/>
                    <a:pt x="15" y="57"/>
                  </a:cubicBezTo>
                  <a:cubicBezTo>
                    <a:pt x="21" y="58"/>
                    <a:pt x="29" y="55"/>
                    <a:pt x="30" y="50"/>
                  </a:cubicBezTo>
                  <a:cubicBezTo>
                    <a:pt x="31" y="46"/>
                    <a:pt x="33" y="34"/>
                    <a:pt x="42" y="30"/>
                  </a:cubicBezTo>
                  <a:cubicBezTo>
                    <a:pt x="51" y="26"/>
                    <a:pt x="55" y="19"/>
                    <a:pt x="51" y="15"/>
                  </a:cubicBezTo>
                  <a:cubicBezTo>
                    <a:pt x="47" y="11"/>
                    <a:pt x="45" y="15"/>
                    <a:pt x="42" y="10"/>
                  </a:cubicBezTo>
                  <a:cubicBezTo>
                    <a:pt x="38" y="5"/>
                    <a:pt x="26" y="0"/>
                    <a:pt x="25" y="10"/>
                  </a:cubicBezTo>
                  <a:cubicBezTo>
                    <a:pt x="25" y="10"/>
                    <a:pt x="24" y="20"/>
                    <a:pt x="18" y="18"/>
                  </a:cubicBezTo>
                  <a:cubicBezTo>
                    <a:pt x="12" y="17"/>
                    <a:pt x="4" y="26"/>
                    <a:pt x="3" y="31"/>
                  </a:cubicBezTo>
                  <a:cubicBezTo>
                    <a:pt x="2" y="36"/>
                    <a:pt x="0" y="40"/>
                    <a:pt x="4" y="42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620" name="Freeform 25637"/>
            <p:cNvSpPr>
              <a:spLocks/>
            </p:cNvSpPr>
            <p:nvPr/>
          </p:nvSpPr>
          <p:spPr bwMode="auto">
            <a:xfrm>
              <a:off x="1886139" y="1823360"/>
              <a:ext cx="11679" cy="7418"/>
            </a:xfrm>
            <a:custGeom>
              <a:avLst/>
              <a:gdLst>
                <a:gd name="T0" fmla="*/ 7 w 31"/>
                <a:gd name="T1" fmla="*/ 1 h 20"/>
                <a:gd name="T2" fmla="*/ 4 w 31"/>
                <a:gd name="T3" fmla="*/ 7 h 20"/>
                <a:gd name="T4" fmla="*/ 20 w 31"/>
                <a:gd name="T5" fmla="*/ 15 h 20"/>
                <a:gd name="T6" fmla="*/ 22 w 31"/>
                <a:gd name="T7" fmla="*/ 2 h 20"/>
                <a:gd name="T8" fmla="*/ 7 w 31"/>
                <a:gd name="T9" fmla="*/ 1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20">
                  <a:moveTo>
                    <a:pt x="7" y="1"/>
                  </a:moveTo>
                  <a:cubicBezTo>
                    <a:pt x="7" y="1"/>
                    <a:pt x="0" y="0"/>
                    <a:pt x="4" y="7"/>
                  </a:cubicBezTo>
                  <a:cubicBezTo>
                    <a:pt x="7" y="14"/>
                    <a:pt x="19" y="20"/>
                    <a:pt x="20" y="15"/>
                  </a:cubicBezTo>
                  <a:cubicBezTo>
                    <a:pt x="21" y="10"/>
                    <a:pt x="31" y="5"/>
                    <a:pt x="22" y="2"/>
                  </a:cubicBezTo>
                  <a:cubicBezTo>
                    <a:pt x="13" y="0"/>
                    <a:pt x="11" y="0"/>
                    <a:pt x="7" y="1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621" name="Freeform 25638"/>
            <p:cNvSpPr>
              <a:spLocks/>
            </p:cNvSpPr>
            <p:nvPr/>
          </p:nvSpPr>
          <p:spPr bwMode="auto">
            <a:xfrm>
              <a:off x="1863884" y="1849403"/>
              <a:ext cx="21939" cy="18309"/>
            </a:xfrm>
            <a:custGeom>
              <a:avLst/>
              <a:gdLst>
                <a:gd name="T0" fmla="*/ 28 w 59"/>
                <a:gd name="T1" fmla="*/ 6 h 49"/>
                <a:gd name="T2" fmla="*/ 15 w 59"/>
                <a:gd name="T3" fmla="*/ 18 h 49"/>
                <a:gd name="T4" fmla="*/ 7 w 59"/>
                <a:gd name="T5" fmla="*/ 33 h 49"/>
                <a:gd name="T6" fmla="*/ 36 w 59"/>
                <a:gd name="T7" fmla="*/ 40 h 49"/>
                <a:gd name="T8" fmla="*/ 47 w 59"/>
                <a:gd name="T9" fmla="*/ 16 h 49"/>
                <a:gd name="T10" fmla="*/ 28 w 59"/>
                <a:gd name="T11" fmla="*/ 6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9" h="49">
                  <a:moveTo>
                    <a:pt x="28" y="6"/>
                  </a:moveTo>
                  <a:cubicBezTo>
                    <a:pt x="27" y="7"/>
                    <a:pt x="25" y="14"/>
                    <a:pt x="15" y="18"/>
                  </a:cubicBezTo>
                  <a:cubicBezTo>
                    <a:pt x="4" y="22"/>
                    <a:pt x="0" y="29"/>
                    <a:pt x="7" y="33"/>
                  </a:cubicBezTo>
                  <a:cubicBezTo>
                    <a:pt x="14" y="37"/>
                    <a:pt x="31" y="49"/>
                    <a:pt x="36" y="40"/>
                  </a:cubicBezTo>
                  <a:cubicBezTo>
                    <a:pt x="40" y="32"/>
                    <a:pt x="59" y="20"/>
                    <a:pt x="47" y="16"/>
                  </a:cubicBezTo>
                  <a:cubicBezTo>
                    <a:pt x="34" y="12"/>
                    <a:pt x="33" y="0"/>
                    <a:pt x="28" y="6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622" name="Freeform 25652"/>
            <p:cNvSpPr>
              <a:spLocks/>
            </p:cNvSpPr>
            <p:nvPr/>
          </p:nvSpPr>
          <p:spPr bwMode="auto">
            <a:xfrm>
              <a:off x="2430982" y="2061689"/>
              <a:ext cx="21939" cy="17520"/>
            </a:xfrm>
            <a:custGeom>
              <a:avLst/>
              <a:gdLst>
                <a:gd name="T0" fmla="*/ 43 w 59"/>
                <a:gd name="T1" fmla="*/ 11 h 47"/>
                <a:gd name="T2" fmla="*/ 24 w 59"/>
                <a:gd name="T3" fmla="*/ 8 h 47"/>
                <a:gd name="T4" fmla="*/ 12 w 59"/>
                <a:gd name="T5" fmla="*/ 4 h 47"/>
                <a:gd name="T6" fmla="*/ 5 w 59"/>
                <a:gd name="T7" fmla="*/ 20 h 47"/>
                <a:gd name="T8" fmla="*/ 21 w 59"/>
                <a:gd name="T9" fmla="*/ 36 h 47"/>
                <a:gd name="T10" fmla="*/ 37 w 59"/>
                <a:gd name="T11" fmla="*/ 46 h 47"/>
                <a:gd name="T12" fmla="*/ 49 w 59"/>
                <a:gd name="T13" fmla="*/ 43 h 47"/>
                <a:gd name="T14" fmla="*/ 57 w 59"/>
                <a:gd name="T15" fmla="*/ 29 h 47"/>
                <a:gd name="T16" fmla="*/ 43 w 59"/>
                <a:gd name="T17" fmla="*/ 11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9" h="47">
                  <a:moveTo>
                    <a:pt x="43" y="11"/>
                  </a:moveTo>
                  <a:cubicBezTo>
                    <a:pt x="43" y="11"/>
                    <a:pt x="29" y="15"/>
                    <a:pt x="24" y="8"/>
                  </a:cubicBezTo>
                  <a:cubicBezTo>
                    <a:pt x="18" y="0"/>
                    <a:pt x="14" y="0"/>
                    <a:pt x="12" y="4"/>
                  </a:cubicBezTo>
                  <a:cubicBezTo>
                    <a:pt x="9" y="8"/>
                    <a:pt x="0" y="16"/>
                    <a:pt x="5" y="20"/>
                  </a:cubicBezTo>
                  <a:cubicBezTo>
                    <a:pt x="10" y="24"/>
                    <a:pt x="18" y="30"/>
                    <a:pt x="21" y="36"/>
                  </a:cubicBezTo>
                  <a:cubicBezTo>
                    <a:pt x="23" y="42"/>
                    <a:pt x="29" y="45"/>
                    <a:pt x="37" y="46"/>
                  </a:cubicBezTo>
                  <a:cubicBezTo>
                    <a:pt x="44" y="46"/>
                    <a:pt x="48" y="47"/>
                    <a:pt x="49" y="43"/>
                  </a:cubicBezTo>
                  <a:cubicBezTo>
                    <a:pt x="51" y="38"/>
                    <a:pt x="59" y="45"/>
                    <a:pt x="57" y="29"/>
                  </a:cubicBezTo>
                  <a:cubicBezTo>
                    <a:pt x="54" y="14"/>
                    <a:pt x="57" y="5"/>
                    <a:pt x="43" y="11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623" name="Freeform 25653"/>
            <p:cNvSpPr>
              <a:spLocks/>
            </p:cNvSpPr>
            <p:nvPr/>
          </p:nvSpPr>
          <p:spPr bwMode="auto">
            <a:xfrm>
              <a:off x="2455604" y="2055219"/>
              <a:ext cx="20834" cy="14678"/>
            </a:xfrm>
            <a:custGeom>
              <a:avLst/>
              <a:gdLst>
                <a:gd name="T0" fmla="*/ 16 w 56"/>
                <a:gd name="T1" fmla="*/ 3 h 39"/>
                <a:gd name="T2" fmla="*/ 7 w 56"/>
                <a:gd name="T3" fmla="*/ 15 h 39"/>
                <a:gd name="T4" fmla="*/ 26 w 56"/>
                <a:gd name="T5" fmla="*/ 29 h 39"/>
                <a:gd name="T6" fmla="*/ 44 w 56"/>
                <a:gd name="T7" fmla="*/ 37 h 39"/>
                <a:gd name="T8" fmla="*/ 51 w 56"/>
                <a:gd name="T9" fmla="*/ 24 h 39"/>
                <a:gd name="T10" fmla="*/ 34 w 56"/>
                <a:gd name="T11" fmla="*/ 9 h 39"/>
                <a:gd name="T12" fmla="*/ 16 w 56"/>
                <a:gd name="T13" fmla="*/ 3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6" h="39">
                  <a:moveTo>
                    <a:pt x="16" y="3"/>
                  </a:moveTo>
                  <a:cubicBezTo>
                    <a:pt x="16" y="3"/>
                    <a:pt x="0" y="9"/>
                    <a:pt x="7" y="15"/>
                  </a:cubicBezTo>
                  <a:cubicBezTo>
                    <a:pt x="15" y="20"/>
                    <a:pt x="21" y="23"/>
                    <a:pt x="26" y="29"/>
                  </a:cubicBezTo>
                  <a:cubicBezTo>
                    <a:pt x="30" y="34"/>
                    <a:pt x="37" y="39"/>
                    <a:pt x="44" y="37"/>
                  </a:cubicBezTo>
                  <a:cubicBezTo>
                    <a:pt x="50" y="35"/>
                    <a:pt x="56" y="33"/>
                    <a:pt x="51" y="24"/>
                  </a:cubicBezTo>
                  <a:cubicBezTo>
                    <a:pt x="47" y="16"/>
                    <a:pt x="36" y="14"/>
                    <a:pt x="34" y="9"/>
                  </a:cubicBezTo>
                  <a:cubicBezTo>
                    <a:pt x="32" y="5"/>
                    <a:pt x="24" y="0"/>
                    <a:pt x="16" y="3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624" name="Freeform 25654"/>
            <p:cNvSpPr>
              <a:spLocks/>
            </p:cNvSpPr>
            <p:nvPr/>
          </p:nvSpPr>
          <p:spPr bwMode="auto">
            <a:xfrm>
              <a:off x="2447396" y="2042276"/>
              <a:ext cx="6629" cy="5209"/>
            </a:xfrm>
            <a:custGeom>
              <a:avLst/>
              <a:gdLst>
                <a:gd name="T0" fmla="*/ 9 w 18"/>
                <a:gd name="T1" fmla="*/ 0 h 14"/>
                <a:gd name="T2" fmla="*/ 1 w 18"/>
                <a:gd name="T3" fmla="*/ 6 h 14"/>
                <a:gd name="T4" fmla="*/ 13 w 18"/>
                <a:gd name="T5" fmla="*/ 9 h 14"/>
                <a:gd name="T6" fmla="*/ 9 w 18"/>
                <a:gd name="T7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14">
                  <a:moveTo>
                    <a:pt x="9" y="0"/>
                  </a:moveTo>
                  <a:cubicBezTo>
                    <a:pt x="9" y="0"/>
                    <a:pt x="0" y="1"/>
                    <a:pt x="1" y="6"/>
                  </a:cubicBezTo>
                  <a:cubicBezTo>
                    <a:pt x="2" y="10"/>
                    <a:pt x="13" y="14"/>
                    <a:pt x="13" y="9"/>
                  </a:cubicBezTo>
                  <a:cubicBezTo>
                    <a:pt x="14" y="3"/>
                    <a:pt x="18" y="0"/>
                    <a:pt x="9" y="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625" name="Freeform 25658"/>
            <p:cNvSpPr>
              <a:spLocks/>
            </p:cNvSpPr>
            <p:nvPr/>
          </p:nvSpPr>
          <p:spPr bwMode="auto">
            <a:xfrm>
              <a:off x="2409358" y="1813574"/>
              <a:ext cx="34250" cy="40721"/>
            </a:xfrm>
            <a:custGeom>
              <a:avLst/>
              <a:gdLst>
                <a:gd name="T0" fmla="*/ 64 w 92"/>
                <a:gd name="T1" fmla="*/ 6 h 109"/>
                <a:gd name="T2" fmla="*/ 45 w 92"/>
                <a:gd name="T3" fmla="*/ 19 h 109"/>
                <a:gd name="T4" fmla="*/ 48 w 92"/>
                <a:gd name="T5" fmla="*/ 35 h 109"/>
                <a:gd name="T6" fmla="*/ 41 w 92"/>
                <a:gd name="T7" fmla="*/ 50 h 109"/>
                <a:gd name="T8" fmla="*/ 18 w 92"/>
                <a:gd name="T9" fmla="*/ 70 h 109"/>
                <a:gd name="T10" fmla="*/ 2 w 92"/>
                <a:gd name="T11" fmla="*/ 91 h 109"/>
                <a:gd name="T12" fmla="*/ 10 w 92"/>
                <a:gd name="T13" fmla="*/ 109 h 109"/>
                <a:gd name="T14" fmla="*/ 42 w 92"/>
                <a:gd name="T15" fmla="*/ 90 h 109"/>
                <a:gd name="T16" fmla="*/ 74 w 92"/>
                <a:gd name="T17" fmla="*/ 56 h 109"/>
                <a:gd name="T18" fmla="*/ 67 w 92"/>
                <a:gd name="T19" fmla="*/ 41 h 109"/>
                <a:gd name="T20" fmla="*/ 72 w 92"/>
                <a:gd name="T21" fmla="*/ 26 h 109"/>
                <a:gd name="T22" fmla="*/ 92 w 92"/>
                <a:gd name="T23" fmla="*/ 15 h 109"/>
                <a:gd name="T24" fmla="*/ 64 w 92"/>
                <a:gd name="T25" fmla="*/ 6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2" h="109">
                  <a:moveTo>
                    <a:pt x="64" y="6"/>
                  </a:moveTo>
                  <a:cubicBezTo>
                    <a:pt x="64" y="6"/>
                    <a:pt x="51" y="11"/>
                    <a:pt x="45" y="19"/>
                  </a:cubicBezTo>
                  <a:cubicBezTo>
                    <a:pt x="39" y="28"/>
                    <a:pt x="43" y="31"/>
                    <a:pt x="48" y="35"/>
                  </a:cubicBezTo>
                  <a:cubicBezTo>
                    <a:pt x="53" y="39"/>
                    <a:pt x="51" y="48"/>
                    <a:pt x="41" y="50"/>
                  </a:cubicBezTo>
                  <a:cubicBezTo>
                    <a:pt x="32" y="52"/>
                    <a:pt x="30" y="67"/>
                    <a:pt x="18" y="70"/>
                  </a:cubicBezTo>
                  <a:cubicBezTo>
                    <a:pt x="6" y="73"/>
                    <a:pt x="2" y="84"/>
                    <a:pt x="2" y="91"/>
                  </a:cubicBezTo>
                  <a:cubicBezTo>
                    <a:pt x="2" y="98"/>
                    <a:pt x="0" y="109"/>
                    <a:pt x="10" y="109"/>
                  </a:cubicBezTo>
                  <a:cubicBezTo>
                    <a:pt x="20" y="109"/>
                    <a:pt x="30" y="97"/>
                    <a:pt x="42" y="90"/>
                  </a:cubicBezTo>
                  <a:cubicBezTo>
                    <a:pt x="54" y="84"/>
                    <a:pt x="73" y="64"/>
                    <a:pt x="74" y="56"/>
                  </a:cubicBezTo>
                  <a:cubicBezTo>
                    <a:pt x="74" y="47"/>
                    <a:pt x="72" y="49"/>
                    <a:pt x="67" y="41"/>
                  </a:cubicBezTo>
                  <a:cubicBezTo>
                    <a:pt x="62" y="32"/>
                    <a:pt x="58" y="28"/>
                    <a:pt x="72" y="26"/>
                  </a:cubicBezTo>
                  <a:cubicBezTo>
                    <a:pt x="87" y="24"/>
                    <a:pt x="92" y="21"/>
                    <a:pt x="92" y="15"/>
                  </a:cubicBezTo>
                  <a:cubicBezTo>
                    <a:pt x="92" y="9"/>
                    <a:pt x="85" y="0"/>
                    <a:pt x="64" y="6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626" name="Freeform 25659"/>
            <p:cNvSpPr>
              <a:spLocks/>
            </p:cNvSpPr>
            <p:nvPr/>
          </p:nvSpPr>
          <p:spPr bwMode="auto">
            <a:xfrm>
              <a:off x="2457813" y="1827464"/>
              <a:ext cx="16731" cy="14836"/>
            </a:xfrm>
            <a:custGeom>
              <a:avLst/>
              <a:gdLst>
                <a:gd name="T0" fmla="*/ 12 w 45"/>
                <a:gd name="T1" fmla="*/ 2 h 40"/>
                <a:gd name="T2" fmla="*/ 0 w 45"/>
                <a:gd name="T3" fmla="*/ 13 h 40"/>
                <a:gd name="T4" fmla="*/ 6 w 45"/>
                <a:gd name="T5" fmla="*/ 32 h 40"/>
                <a:gd name="T6" fmla="*/ 28 w 45"/>
                <a:gd name="T7" fmla="*/ 31 h 40"/>
                <a:gd name="T8" fmla="*/ 37 w 45"/>
                <a:gd name="T9" fmla="*/ 16 h 40"/>
                <a:gd name="T10" fmla="*/ 32 w 45"/>
                <a:gd name="T11" fmla="*/ 2 h 40"/>
                <a:gd name="T12" fmla="*/ 12 w 45"/>
                <a:gd name="T13" fmla="*/ 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5" h="40">
                  <a:moveTo>
                    <a:pt x="12" y="2"/>
                  </a:moveTo>
                  <a:cubicBezTo>
                    <a:pt x="12" y="2"/>
                    <a:pt x="0" y="2"/>
                    <a:pt x="0" y="13"/>
                  </a:cubicBezTo>
                  <a:cubicBezTo>
                    <a:pt x="0" y="24"/>
                    <a:pt x="2" y="26"/>
                    <a:pt x="6" y="32"/>
                  </a:cubicBezTo>
                  <a:cubicBezTo>
                    <a:pt x="10" y="39"/>
                    <a:pt x="26" y="40"/>
                    <a:pt x="28" y="31"/>
                  </a:cubicBezTo>
                  <a:cubicBezTo>
                    <a:pt x="30" y="22"/>
                    <a:pt x="34" y="22"/>
                    <a:pt x="37" y="16"/>
                  </a:cubicBezTo>
                  <a:cubicBezTo>
                    <a:pt x="41" y="10"/>
                    <a:pt x="45" y="5"/>
                    <a:pt x="32" y="2"/>
                  </a:cubicBezTo>
                  <a:cubicBezTo>
                    <a:pt x="20" y="0"/>
                    <a:pt x="25" y="1"/>
                    <a:pt x="12" y="2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627" name="Freeform 25660"/>
            <p:cNvSpPr>
              <a:spLocks/>
            </p:cNvSpPr>
            <p:nvPr/>
          </p:nvSpPr>
          <p:spPr bwMode="auto">
            <a:xfrm>
              <a:off x="2457813" y="1869606"/>
              <a:ext cx="57452" cy="52559"/>
            </a:xfrm>
            <a:custGeom>
              <a:avLst/>
              <a:gdLst>
                <a:gd name="T0" fmla="*/ 71 w 154"/>
                <a:gd name="T1" fmla="*/ 11 h 141"/>
                <a:gd name="T2" fmla="*/ 41 w 154"/>
                <a:gd name="T3" fmla="*/ 20 h 141"/>
                <a:gd name="T4" fmla="*/ 17 w 154"/>
                <a:gd name="T5" fmla="*/ 51 h 141"/>
                <a:gd name="T6" fmla="*/ 0 w 154"/>
                <a:gd name="T7" fmla="*/ 86 h 141"/>
                <a:gd name="T8" fmla="*/ 9 w 154"/>
                <a:gd name="T9" fmla="*/ 100 h 141"/>
                <a:gd name="T10" fmla="*/ 25 w 154"/>
                <a:gd name="T11" fmla="*/ 128 h 141"/>
                <a:gd name="T12" fmla="*/ 97 w 154"/>
                <a:gd name="T13" fmla="*/ 129 h 141"/>
                <a:gd name="T14" fmla="*/ 126 w 154"/>
                <a:gd name="T15" fmla="*/ 112 h 141"/>
                <a:gd name="T16" fmla="*/ 154 w 154"/>
                <a:gd name="T17" fmla="*/ 86 h 141"/>
                <a:gd name="T18" fmla="*/ 144 w 154"/>
                <a:gd name="T19" fmla="*/ 56 h 141"/>
                <a:gd name="T20" fmla="*/ 151 w 154"/>
                <a:gd name="T21" fmla="*/ 33 h 141"/>
                <a:gd name="T22" fmla="*/ 139 w 154"/>
                <a:gd name="T23" fmla="*/ 23 h 141"/>
                <a:gd name="T24" fmla="*/ 120 w 154"/>
                <a:gd name="T25" fmla="*/ 11 h 141"/>
                <a:gd name="T26" fmla="*/ 91 w 154"/>
                <a:gd name="T27" fmla="*/ 6 h 141"/>
                <a:gd name="T28" fmla="*/ 71 w 154"/>
                <a:gd name="T29" fmla="*/ 1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54" h="141">
                  <a:moveTo>
                    <a:pt x="71" y="11"/>
                  </a:moveTo>
                  <a:cubicBezTo>
                    <a:pt x="71" y="11"/>
                    <a:pt x="45" y="8"/>
                    <a:pt x="41" y="20"/>
                  </a:cubicBezTo>
                  <a:cubicBezTo>
                    <a:pt x="37" y="31"/>
                    <a:pt x="34" y="41"/>
                    <a:pt x="17" y="51"/>
                  </a:cubicBezTo>
                  <a:cubicBezTo>
                    <a:pt x="0" y="60"/>
                    <a:pt x="0" y="79"/>
                    <a:pt x="0" y="86"/>
                  </a:cubicBezTo>
                  <a:cubicBezTo>
                    <a:pt x="0" y="92"/>
                    <a:pt x="4" y="90"/>
                    <a:pt x="9" y="100"/>
                  </a:cubicBezTo>
                  <a:cubicBezTo>
                    <a:pt x="14" y="110"/>
                    <a:pt x="14" y="125"/>
                    <a:pt x="25" y="128"/>
                  </a:cubicBezTo>
                  <a:cubicBezTo>
                    <a:pt x="37" y="131"/>
                    <a:pt x="88" y="141"/>
                    <a:pt x="97" y="129"/>
                  </a:cubicBezTo>
                  <a:cubicBezTo>
                    <a:pt x="106" y="118"/>
                    <a:pt x="113" y="119"/>
                    <a:pt x="126" y="112"/>
                  </a:cubicBezTo>
                  <a:cubicBezTo>
                    <a:pt x="140" y="106"/>
                    <a:pt x="154" y="101"/>
                    <a:pt x="154" y="86"/>
                  </a:cubicBezTo>
                  <a:cubicBezTo>
                    <a:pt x="154" y="72"/>
                    <a:pt x="141" y="65"/>
                    <a:pt x="144" y="56"/>
                  </a:cubicBezTo>
                  <a:cubicBezTo>
                    <a:pt x="146" y="48"/>
                    <a:pt x="153" y="39"/>
                    <a:pt x="151" y="33"/>
                  </a:cubicBezTo>
                  <a:cubicBezTo>
                    <a:pt x="149" y="28"/>
                    <a:pt x="151" y="27"/>
                    <a:pt x="139" y="23"/>
                  </a:cubicBezTo>
                  <a:cubicBezTo>
                    <a:pt x="127" y="18"/>
                    <a:pt x="131" y="16"/>
                    <a:pt x="120" y="11"/>
                  </a:cubicBezTo>
                  <a:cubicBezTo>
                    <a:pt x="109" y="7"/>
                    <a:pt x="97" y="0"/>
                    <a:pt x="91" y="6"/>
                  </a:cubicBezTo>
                  <a:cubicBezTo>
                    <a:pt x="86" y="13"/>
                    <a:pt x="90" y="14"/>
                    <a:pt x="71" y="11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628" name="Freeform 25661"/>
            <p:cNvSpPr>
              <a:spLocks/>
            </p:cNvSpPr>
            <p:nvPr/>
          </p:nvSpPr>
          <p:spPr bwMode="auto">
            <a:xfrm>
              <a:off x="2518895" y="1878129"/>
              <a:ext cx="32514" cy="19098"/>
            </a:xfrm>
            <a:custGeom>
              <a:avLst/>
              <a:gdLst>
                <a:gd name="T0" fmla="*/ 39 w 87"/>
                <a:gd name="T1" fmla="*/ 16 h 51"/>
                <a:gd name="T2" fmla="*/ 20 w 87"/>
                <a:gd name="T3" fmla="*/ 8 h 51"/>
                <a:gd name="T4" fmla="*/ 0 w 87"/>
                <a:gd name="T5" fmla="*/ 21 h 51"/>
                <a:gd name="T6" fmla="*/ 12 w 87"/>
                <a:gd name="T7" fmla="*/ 39 h 51"/>
                <a:gd name="T8" fmla="*/ 35 w 87"/>
                <a:gd name="T9" fmla="*/ 51 h 51"/>
                <a:gd name="T10" fmla="*/ 84 w 87"/>
                <a:gd name="T11" fmla="*/ 33 h 51"/>
                <a:gd name="T12" fmla="*/ 66 w 87"/>
                <a:gd name="T13" fmla="*/ 23 h 51"/>
                <a:gd name="T14" fmla="*/ 39 w 87"/>
                <a:gd name="T15" fmla="*/ 16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7" h="51">
                  <a:moveTo>
                    <a:pt x="39" y="16"/>
                  </a:moveTo>
                  <a:cubicBezTo>
                    <a:pt x="39" y="16"/>
                    <a:pt x="27" y="0"/>
                    <a:pt x="20" y="8"/>
                  </a:cubicBezTo>
                  <a:cubicBezTo>
                    <a:pt x="14" y="15"/>
                    <a:pt x="0" y="12"/>
                    <a:pt x="0" y="21"/>
                  </a:cubicBezTo>
                  <a:cubicBezTo>
                    <a:pt x="1" y="31"/>
                    <a:pt x="8" y="30"/>
                    <a:pt x="12" y="39"/>
                  </a:cubicBezTo>
                  <a:cubicBezTo>
                    <a:pt x="16" y="48"/>
                    <a:pt x="25" y="51"/>
                    <a:pt x="35" y="51"/>
                  </a:cubicBezTo>
                  <a:cubicBezTo>
                    <a:pt x="44" y="51"/>
                    <a:pt x="86" y="44"/>
                    <a:pt x="84" y="33"/>
                  </a:cubicBezTo>
                  <a:cubicBezTo>
                    <a:pt x="83" y="23"/>
                    <a:pt x="87" y="23"/>
                    <a:pt x="66" y="23"/>
                  </a:cubicBezTo>
                  <a:cubicBezTo>
                    <a:pt x="45" y="23"/>
                    <a:pt x="51" y="25"/>
                    <a:pt x="39" y="16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629" name="Freeform 25662"/>
            <p:cNvSpPr>
              <a:spLocks/>
            </p:cNvSpPr>
            <p:nvPr/>
          </p:nvSpPr>
          <p:spPr bwMode="auto">
            <a:xfrm>
              <a:off x="2421985" y="1856190"/>
              <a:ext cx="7418" cy="15941"/>
            </a:xfrm>
            <a:custGeom>
              <a:avLst/>
              <a:gdLst>
                <a:gd name="T0" fmla="*/ 13 w 20"/>
                <a:gd name="T1" fmla="*/ 9 h 43"/>
                <a:gd name="T2" fmla="*/ 2 w 20"/>
                <a:gd name="T3" fmla="*/ 20 h 43"/>
                <a:gd name="T4" fmla="*/ 13 w 20"/>
                <a:gd name="T5" fmla="*/ 33 h 43"/>
                <a:gd name="T6" fmla="*/ 13 w 20"/>
                <a:gd name="T7" fmla="*/ 9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" h="43">
                  <a:moveTo>
                    <a:pt x="13" y="9"/>
                  </a:moveTo>
                  <a:cubicBezTo>
                    <a:pt x="13" y="9"/>
                    <a:pt x="3" y="14"/>
                    <a:pt x="2" y="20"/>
                  </a:cubicBezTo>
                  <a:cubicBezTo>
                    <a:pt x="0" y="26"/>
                    <a:pt x="9" y="43"/>
                    <a:pt x="13" y="33"/>
                  </a:cubicBezTo>
                  <a:cubicBezTo>
                    <a:pt x="17" y="23"/>
                    <a:pt x="20" y="0"/>
                    <a:pt x="13" y="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  <p:sp>
          <p:nvSpPr>
            <p:cNvPr id="630" name="Freeform 25663"/>
            <p:cNvSpPr>
              <a:spLocks/>
            </p:cNvSpPr>
            <p:nvPr/>
          </p:nvSpPr>
          <p:spPr bwMode="auto">
            <a:xfrm>
              <a:off x="2410779" y="1867396"/>
              <a:ext cx="11996" cy="11838"/>
            </a:xfrm>
            <a:custGeom>
              <a:avLst/>
              <a:gdLst>
                <a:gd name="T0" fmla="*/ 9 w 32"/>
                <a:gd name="T1" fmla="*/ 13 h 32"/>
                <a:gd name="T2" fmla="*/ 13 w 32"/>
                <a:gd name="T3" fmla="*/ 31 h 32"/>
                <a:gd name="T4" fmla="*/ 29 w 32"/>
                <a:gd name="T5" fmla="*/ 22 h 32"/>
                <a:gd name="T6" fmla="*/ 9 w 32"/>
                <a:gd name="T7" fmla="*/ 13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2" h="32">
                  <a:moveTo>
                    <a:pt x="9" y="13"/>
                  </a:moveTo>
                  <a:cubicBezTo>
                    <a:pt x="9" y="13"/>
                    <a:pt x="0" y="30"/>
                    <a:pt x="13" y="31"/>
                  </a:cubicBezTo>
                  <a:cubicBezTo>
                    <a:pt x="26" y="32"/>
                    <a:pt x="32" y="29"/>
                    <a:pt x="29" y="22"/>
                  </a:cubicBezTo>
                  <a:cubicBezTo>
                    <a:pt x="27" y="16"/>
                    <a:pt x="9" y="0"/>
                    <a:pt x="9" y="13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0817" tIns="50408" rIns="100817" bIns="50408" numCol="1" anchor="t" anchorCtr="0" compatLnSpc="1">
              <a:prstTxWarp prst="textNoShape">
                <a:avLst/>
              </a:prstTxWarp>
            </a:bodyPr>
            <a:lstStyle/>
            <a:p>
              <a:endParaRPr lang="en-US" sz="2315" dirty="0"/>
            </a:p>
          </p:txBody>
        </p:sp>
      </p:grpSp>
      <p:sp>
        <p:nvSpPr>
          <p:cNvPr id="637" name="Rechteck 636"/>
          <p:cNvSpPr/>
          <p:nvPr/>
        </p:nvSpPr>
        <p:spPr>
          <a:xfrm>
            <a:off x="2371234" y="3097272"/>
            <a:ext cx="832279" cy="297646"/>
          </a:xfrm>
          <a:prstGeom prst="rect">
            <a:avLst/>
          </a:prstGeom>
          <a:solidFill>
            <a:schemeClr val="accent3"/>
          </a:solidFill>
          <a:ln>
            <a:solidFill>
              <a:schemeClr val="accent1"/>
            </a:solidFill>
          </a:ln>
        </p:spPr>
        <p:txBody>
          <a:bodyPr wrap="none">
            <a:spAutoFit/>
          </a:bodyPr>
          <a:lstStyle/>
          <a:p>
            <a:pPr>
              <a:lnSpc>
                <a:spcPct val="110000"/>
              </a:lnSpc>
              <a:buClr>
                <a:schemeClr val="accent1"/>
              </a:buClr>
              <a:buSzPct val="150000"/>
            </a:pPr>
            <a:r>
              <a:rPr lang="en-US" sz="1213" b="1" i="1" dirty="0" smtClean="0"/>
              <a:t>Montreal</a:t>
            </a:r>
            <a:endParaRPr lang="en-US" sz="1213" b="1" i="1" dirty="0"/>
          </a:p>
        </p:txBody>
      </p:sp>
      <p:sp>
        <p:nvSpPr>
          <p:cNvPr id="644" name="Rectangle 226"/>
          <p:cNvSpPr>
            <a:spLocks noChangeArrowheads="1"/>
          </p:cNvSpPr>
          <p:nvPr/>
        </p:nvSpPr>
        <p:spPr bwMode="auto">
          <a:xfrm>
            <a:off x="5078356" y="2967686"/>
            <a:ext cx="59538" cy="59538"/>
          </a:xfrm>
          <a:prstGeom prst="ellipse">
            <a:avLst/>
          </a:prstGeom>
          <a:solidFill>
            <a:schemeClr val="accent1"/>
          </a:solidFill>
          <a:ln w="6">
            <a:noFill/>
            <a:miter lim="800000"/>
            <a:headEnd/>
            <a:tailEnd/>
          </a:ln>
          <a:effectLst>
            <a:outerShdw blurRad="50800" dist="12700" dir="2700000" algn="tl" rotWithShape="0">
              <a:schemeClr val="accent1">
                <a:lumMod val="50000"/>
                <a:alpha val="22000"/>
              </a:schemeClr>
            </a:outerShdw>
          </a:effectLst>
        </p:spPr>
        <p:txBody>
          <a:bodyPr/>
          <a:lstStyle/>
          <a:p>
            <a:pPr>
              <a:defRPr/>
            </a:pPr>
            <a:endParaRPr lang="en-US" sz="1213" b="1" i="1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645" name="Rectangle 226"/>
          <p:cNvSpPr>
            <a:spLocks noChangeArrowheads="1"/>
          </p:cNvSpPr>
          <p:nvPr/>
        </p:nvSpPr>
        <p:spPr bwMode="auto">
          <a:xfrm>
            <a:off x="5226577" y="3021353"/>
            <a:ext cx="59538" cy="59538"/>
          </a:xfrm>
          <a:prstGeom prst="ellipse">
            <a:avLst/>
          </a:prstGeom>
          <a:solidFill>
            <a:schemeClr val="accent1"/>
          </a:solidFill>
          <a:ln w="6">
            <a:noFill/>
            <a:miter lim="800000"/>
            <a:headEnd/>
            <a:tailEnd/>
          </a:ln>
          <a:effectLst>
            <a:outerShdw blurRad="50800" dist="12700" dir="2700000" algn="tl" rotWithShape="0">
              <a:schemeClr val="accent1">
                <a:lumMod val="50000"/>
                <a:alpha val="22000"/>
              </a:schemeClr>
            </a:outerShdw>
          </a:effectLst>
        </p:spPr>
        <p:txBody>
          <a:bodyPr/>
          <a:lstStyle/>
          <a:p>
            <a:pPr>
              <a:defRPr/>
            </a:pPr>
            <a:endParaRPr lang="en-US" sz="1213" b="1" i="1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646" name="Rectangle 226"/>
          <p:cNvSpPr>
            <a:spLocks noChangeArrowheads="1"/>
          </p:cNvSpPr>
          <p:nvPr/>
        </p:nvSpPr>
        <p:spPr bwMode="auto">
          <a:xfrm>
            <a:off x="5512677" y="2957113"/>
            <a:ext cx="59538" cy="59538"/>
          </a:xfrm>
          <a:prstGeom prst="ellipse">
            <a:avLst/>
          </a:prstGeom>
          <a:solidFill>
            <a:schemeClr val="accent1"/>
          </a:solidFill>
          <a:ln w="6">
            <a:noFill/>
            <a:miter lim="800000"/>
            <a:headEnd/>
            <a:tailEnd/>
          </a:ln>
          <a:effectLst>
            <a:outerShdw blurRad="50800" dist="12700" dir="2700000" algn="tl" rotWithShape="0">
              <a:schemeClr val="accent1">
                <a:lumMod val="50000"/>
                <a:alpha val="22000"/>
              </a:schemeClr>
            </a:outerShdw>
          </a:effectLst>
        </p:spPr>
        <p:txBody>
          <a:bodyPr/>
          <a:lstStyle/>
          <a:p>
            <a:pPr>
              <a:defRPr/>
            </a:pPr>
            <a:endParaRPr lang="en-US" sz="1213" b="1" i="1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647" name="Rectangle 226"/>
          <p:cNvSpPr>
            <a:spLocks noChangeArrowheads="1"/>
          </p:cNvSpPr>
          <p:nvPr/>
        </p:nvSpPr>
        <p:spPr bwMode="auto">
          <a:xfrm>
            <a:off x="5356387" y="3065255"/>
            <a:ext cx="59538" cy="59538"/>
          </a:xfrm>
          <a:prstGeom prst="ellipse">
            <a:avLst/>
          </a:prstGeom>
          <a:solidFill>
            <a:schemeClr val="accent1"/>
          </a:solidFill>
          <a:ln w="6">
            <a:noFill/>
            <a:miter lim="800000"/>
            <a:headEnd/>
            <a:tailEnd/>
          </a:ln>
          <a:effectLst>
            <a:outerShdw blurRad="50800" dist="12700" dir="2700000" algn="tl" rotWithShape="0">
              <a:schemeClr val="accent1">
                <a:lumMod val="50000"/>
                <a:alpha val="22000"/>
              </a:schemeClr>
            </a:outerShdw>
          </a:effectLst>
        </p:spPr>
        <p:txBody>
          <a:bodyPr/>
          <a:lstStyle/>
          <a:p>
            <a:pPr>
              <a:defRPr/>
            </a:pPr>
            <a:endParaRPr lang="en-US" sz="1213" b="1" i="1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648" name="Rechteck 647"/>
          <p:cNvSpPr/>
          <p:nvPr/>
        </p:nvSpPr>
        <p:spPr>
          <a:xfrm>
            <a:off x="3906539" y="2309172"/>
            <a:ext cx="1128579" cy="1324209"/>
          </a:xfrm>
          <a:prstGeom prst="rect">
            <a:avLst/>
          </a:prstGeom>
          <a:solidFill>
            <a:schemeClr val="accent3"/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>
              <a:lnSpc>
                <a:spcPct val="110000"/>
              </a:lnSpc>
              <a:buClr>
                <a:schemeClr val="accent1"/>
              </a:buClr>
              <a:buSzPct val="150000"/>
            </a:pPr>
            <a:r>
              <a:rPr lang="en-US" sz="1213" b="1" i="1" dirty="0"/>
              <a:t>Dublin</a:t>
            </a:r>
          </a:p>
          <a:p>
            <a:pPr>
              <a:lnSpc>
                <a:spcPct val="110000"/>
              </a:lnSpc>
              <a:buClr>
                <a:schemeClr val="accent1"/>
              </a:buClr>
              <a:buSzPct val="150000"/>
            </a:pPr>
            <a:r>
              <a:rPr lang="en-US" sz="1213" b="1" i="1" dirty="0"/>
              <a:t>London</a:t>
            </a:r>
          </a:p>
          <a:p>
            <a:pPr>
              <a:lnSpc>
                <a:spcPct val="110000"/>
              </a:lnSpc>
              <a:buClr>
                <a:schemeClr val="accent1"/>
              </a:buClr>
              <a:buSzPct val="150000"/>
            </a:pPr>
            <a:r>
              <a:rPr lang="en-US" sz="1213" b="1" i="1" dirty="0" smtClean="0"/>
              <a:t>Brussels</a:t>
            </a:r>
          </a:p>
          <a:p>
            <a:pPr>
              <a:lnSpc>
                <a:spcPct val="110000"/>
              </a:lnSpc>
              <a:buClr>
                <a:schemeClr val="accent1"/>
              </a:buClr>
              <a:buSzPct val="150000"/>
            </a:pPr>
            <a:r>
              <a:rPr lang="en-US" sz="1213" b="1" i="1" dirty="0" smtClean="0"/>
              <a:t>Hamburg</a:t>
            </a:r>
          </a:p>
          <a:p>
            <a:pPr>
              <a:lnSpc>
                <a:spcPct val="110000"/>
              </a:lnSpc>
              <a:buClr>
                <a:schemeClr val="accent1"/>
              </a:buClr>
              <a:buSzPct val="150000"/>
            </a:pPr>
            <a:r>
              <a:rPr lang="en-US" sz="1213" b="1" i="1" dirty="0"/>
              <a:t>Copenhagen</a:t>
            </a:r>
            <a:endParaRPr lang="en-US" sz="1213" b="1" i="1" dirty="0" smtClean="0"/>
          </a:p>
          <a:p>
            <a:pPr>
              <a:lnSpc>
                <a:spcPct val="110000"/>
              </a:lnSpc>
              <a:buClr>
                <a:schemeClr val="accent1"/>
              </a:buClr>
              <a:buSzPct val="150000"/>
            </a:pPr>
            <a:r>
              <a:rPr lang="en-US" sz="1213" b="1" i="1" dirty="0" smtClean="0"/>
              <a:t>Oslo</a:t>
            </a:r>
            <a:endParaRPr lang="en-US" sz="1213" b="1" i="1" dirty="0"/>
          </a:p>
        </p:txBody>
      </p:sp>
      <p:sp>
        <p:nvSpPr>
          <p:cNvPr id="659" name="Rectangle 226"/>
          <p:cNvSpPr>
            <a:spLocks noChangeArrowheads="1"/>
          </p:cNvSpPr>
          <p:nvPr/>
        </p:nvSpPr>
        <p:spPr bwMode="auto">
          <a:xfrm>
            <a:off x="9028665" y="3612371"/>
            <a:ext cx="59538" cy="59538"/>
          </a:xfrm>
          <a:prstGeom prst="ellipse">
            <a:avLst/>
          </a:prstGeom>
          <a:solidFill>
            <a:schemeClr val="accent1"/>
          </a:solidFill>
          <a:ln w="6">
            <a:noFill/>
            <a:miter lim="800000"/>
            <a:headEnd/>
            <a:tailEnd/>
          </a:ln>
          <a:effectLst>
            <a:outerShdw blurRad="50800" dist="12700" dir="2700000" algn="tl" rotWithShape="0">
              <a:schemeClr val="accent1">
                <a:lumMod val="50000"/>
                <a:alpha val="22000"/>
              </a:schemeClr>
            </a:outerShdw>
          </a:effectLst>
        </p:spPr>
        <p:txBody>
          <a:bodyPr/>
          <a:lstStyle/>
          <a:p>
            <a:pPr>
              <a:defRPr/>
            </a:pPr>
            <a:endParaRPr lang="en-US" sz="1213" b="1" i="1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662" name="Rectangle 226"/>
          <p:cNvSpPr>
            <a:spLocks noChangeArrowheads="1"/>
          </p:cNvSpPr>
          <p:nvPr/>
        </p:nvSpPr>
        <p:spPr bwMode="auto">
          <a:xfrm>
            <a:off x="8073378" y="4703003"/>
            <a:ext cx="59538" cy="59538"/>
          </a:xfrm>
          <a:prstGeom prst="ellipse">
            <a:avLst/>
          </a:prstGeom>
          <a:solidFill>
            <a:schemeClr val="accent1"/>
          </a:solidFill>
          <a:ln w="6">
            <a:noFill/>
            <a:miter lim="800000"/>
            <a:headEnd/>
            <a:tailEnd/>
          </a:ln>
          <a:effectLst>
            <a:outerShdw blurRad="50800" dist="12700" dir="2700000" algn="tl" rotWithShape="0">
              <a:schemeClr val="accent1">
                <a:lumMod val="50000"/>
                <a:alpha val="22000"/>
              </a:schemeClr>
            </a:outerShdw>
          </a:effectLst>
        </p:spPr>
        <p:txBody>
          <a:bodyPr/>
          <a:lstStyle/>
          <a:p>
            <a:pPr>
              <a:defRPr/>
            </a:pPr>
            <a:endParaRPr lang="en-US" sz="1213" b="1" i="1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663" name="Rechteck 662"/>
          <p:cNvSpPr/>
          <p:nvPr/>
        </p:nvSpPr>
        <p:spPr>
          <a:xfrm rot="20852415">
            <a:off x="7397703" y="2080809"/>
            <a:ext cx="3195488" cy="330611"/>
          </a:xfrm>
          <a:prstGeom prst="rect">
            <a:avLst/>
          </a:prstGeom>
          <a:solidFill>
            <a:srgbClr val="009999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315" b="1" dirty="0">
                <a:solidFill>
                  <a:schemeClr val="bg1"/>
                </a:solidFill>
              </a:rPr>
              <a:t>Top Priorities  </a:t>
            </a:r>
            <a:r>
              <a:rPr lang="en-US" sz="2315" b="1" dirty="0" smtClean="0">
                <a:solidFill>
                  <a:schemeClr val="bg1"/>
                </a:solidFill>
              </a:rPr>
              <a:t>2018</a:t>
            </a:r>
            <a:endParaRPr lang="en-US" sz="2315" dirty="0">
              <a:solidFill>
                <a:schemeClr val="bg1"/>
              </a:solidFill>
            </a:endParaRPr>
          </a:p>
        </p:txBody>
      </p:sp>
      <p:sp>
        <p:nvSpPr>
          <p:cNvPr id="665" name="Stern mit 8 Zacken 664"/>
          <p:cNvSpPr/>
          <p:nvPr/>
        </p:nvSpPr>
        <p:spPr>
          <a:xfrm rot="20689545">
            <a:off x="7289129" y="2001790"/>
            <a:ext cx="561310" cy="488798"/>
          </a:xfrm>
          <a:prstGeom prst="star8">
            <a:avLst>
              <a:gd name="adj" fmla="val 28846"/>
            </a:avLst>
          </a:prstGeom>
          <a:solidFill>
            <a:srgbClr val="00B0F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hangingPunct="0">
              <a:spcBef>
                <a:spcPts val="662"/>
              </a:spcBef>
            </a:pPr>
            <a:r>
              <a:rPr lang="en-US" sz="2315" b="1" dirty="0" smtClean="0">
                <a:solidFill>
                  <a:schemeClr val="bg1"/>
                </a:solidFill>
              </a:rPr>
              <a:t>1</a:t>
            </a:r>
            <a:endParaRPr lang="en-US" sz="2315" b="1" dirty="0">
              <a:solidFill>
                <a:schemeClr val="bg1"/>
              </a:solidFill>
            </a:endParaRPr>
          </a:p>
        </p:txBody>
      </p:sp>
      <p:sp>
        <p:nvSpPr>
          <p:cNvPr id="664" name="Rechteck 663"/>
          <p:cNvSpPr/>
          <p:nvPr/>
        </p:nvSpPr>
        <p:spPr>
          <a:xfrm>
            <a:off x="8468329" y="4083930"/>
            <a:ext cx="1019831" cy="297646"/>
          </a:xfrm>
          <a:prstGeom prst="rect">
            <a:avLst/>
          </a:prstGeom>
          <a:solidFill>
            <a:schemeClr val="accent3"/>
          </a:solidFill>
          <a:ln>
            <a:solidFill>
              <a:schemeClr val="accent1"/>
            </a:solidFill>
          </a:ln>
        </p:spPr>
        <p:txBody>
          <a:bodyPr wrap="none">
            <a:spAutoFit/>
          </a:bodyPr>
          <a:lstStyle/>
          <a:p>
            <a:pPr>
              <a:lnSpc>
                <a:spcPct val="110000"/>
              </a:lnSpc>
              <a:buClr>
                <a:schemeClr val="accent1"/>
              </a:buClr>
              <a:buSzPct val="150000"/>
            </a:pPr>
            <a:r>
              <a:rPr lang="en-US" sz="1213" b="1" i="1" dirty="0" smtClean="0"/>
              <a:t>Hong Kong</a:t>
            </a:r>
            <a:endParaRPr lang="en-US" sz="1213" b="1" i="1" dirty="0"/>
          </a:p>
        </p:txBody>
      </p:sp>
      <p:sp>
        <p:nvSpPr>
          <p:cNvPr id="671" name="Rectangle 226"/>
          <p:cNvSpPr>
            <a:spLocks noChangeArrowheads="1"/>
          </p:cNvSpPr>
          <p:nvPr/>
        </p:nvSpPr>
        <p:spPr bwMode="auto">
          <a:xfrm>
            <a:off x="8329903" y="4070285"/>
            <a:ext cx="59538" cy="59538"/>
          </a:xfrm>
          <a:prstGeom prst="ellipse">
            <a:avLst/>
          </a:prstGeom>
          <a:solidFill>
            <a:schemeClr val="accent1"/>
          </a:solidFill>
          <a:ln w="6">
            <a:noFill/>
            <a:miter lim="800000"/>
            <a:headEnd/>
            <a:tailEnd/>
          </a:ln>
          <a:effectLst>
            <a:outerShdw blurRad="50800" dist="12700" dir="2700000" algn="tl" rotWithShape="0">
              <a:schemeClr val="accent1">
                <a:lumMod val="50000"/>
                <a:alpha val="22000"/>
              </a:schemeClr>
            </a:outerShdw>
          </a:effectLst>
        </p:spPr>
        <p:txBody>
          <a:bodyPr/>
          <a:lstStyle/>
          <a:p>
            <a:pPr>
              <a:defRPr/>
            </a:pPr>
            <a:endParaRPr lang="en-US" sz="1213" b="1" i="1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668" name="Rectangle 226"/>
          <p:cNvSpPr>
            <a:spLocks noChangeArrowheads="1"/>
          </p:cNvSpPr>
          <p:nvPr/>
        </p:nvSpPr>
        <p:spPr bwMode="auto">
          <a:xfrm>
            <a:off x="3276024" y="3233142"/>
            <a:ext cx="59538" cy="59538"/>
          </a:xfrm>
          <a:prstGeom prst="ellipse">
            <a:avLst/>
          </a:prstGeom>
          <a:solidFill>
            <a:schemeClr val="accent1"/>
          </a:solidFill>
          <a:ln w="6">
            <a:noFill/>
            <a:miter lim="800000"/>
            <a:headEnd/>
            <a:tailEnd/>
          </a:ln>
          <a:effectLst>
            <a:outerShdw blurRad="50800" dist="12700" dir="2700000" algn="tl" rotWithShape="0">
              <a:schemeClr val="accent1">
                <a:lumMod val="50000"/>
                <a:alpha val="22000"/>
              </a:schemeClr>
            </a:outerShdw>
          </a:effectLst>
        </p:spPr>
        <p:txBody>
          <a:bodyPr/>
          <a:lstStyle/>
          <a:p>
            <a:pPr>
              <a:defRPr/>
            </a:pPr>
            <a:endParaRPr lang="en-US" sz="1213" b="1" i="1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669" name="Rectangle 226"/>
          <p:cNvSpPr>
            <a:spLocks noChangeArrowheads="1"/>
          </p:cNvSpPr>
          <p:nvPr/>
        </p:nvSpPr>
        <p:spPr bwMode="auto">
          <a:xfrm>
            <a:off x="7239988" y="4153803"/>
            <a:ext cx="59538" cy="59538"/>
          </a:xfrm>
          <a:prstGeom prst="ellipse">
            <a:avLst/>
          </a:prstGeom>
          <a:solidFill>
            <a:schemeClr val="accent1"/>
          </a:solidFill>
          <a:ln w="6">
            <a:noFill/>
            <a:miter lim="800000"/>
            <a:headEnd/>
            <a:tailEnd/>
          </a:ln>
          <a:effectLst>
            <a:outerShdw blurRad="50800" dist="12700" dir="2700000" algn="tl" rotWithShape="0">
              <a:schemeClr val="accent1">
                <a:lumMod val="50000"/>
                <a:alpha val="22000"/>
              </a:schemeClr>
            </a:outerShdw>
          </a:effectLst>
        </p:spPr>
        <p:txBody>
          <a:bodyPr/>
          <a:lstStyle/>
          <a:p>
            <a:pPr>
              <a:defRPr/>
            </a:pPr>
            <a:endParaRPr lang="en-US" sz="1213" b="1" i="1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676" name="Titel 1"/>
          <p:cNvSpPr txBox="1">
            <a:spLocks/>
          </p:cNvSpPr>
          <p:nvPr/>
        </p:nvSpPr>
        <p:spPr bwMode="gray">
          <a:xfrm>
            <a:off x="414337" y="324176"/>
            <a:ext cx="9241264" cy="86416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1043056" rtl="0" eaLnBrk="1" latinLnBrk="0" hangingPunct="1">
              <a:spcBef>
                <a:spcPct val="0"/>
              </a:spcBef>
              <a:buNone/>
              <a:defRPr sz="2600" b="0" kern="1200">
                <a:solidFill>
                  <a:srgbClr val="C20D2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 dirty="0" smtClean="0">
                <a:solidFill>
                  <a:schemeClr val="accent1"/>
                </a:solidFill>
              </a:rPr>
              <a:t>IUMI – </a:t>
            </a:r>
            <a:r>
              <a:rPr lang="en-US" sz="2800" dirty="0" smtClean="0">
                <a:solidFill>
                  <a:schemeClr val="accent1"/>
                </a:solidFill>
              </a:rPr>
              <a:t>GROW THE GLOBAL FOOTPRINT</a:t>
            </a:r>
            <a:r>
              <a:rPr lang="en-US" dirty="0" smtClean="0">
                <a:solidFill>
                  <a:schemeClr val="accent1"/>
                </a:solidFill>
              </a:rPr>
              <a:t/>
            </a:r>
            <a:br>
              <a:rPr lang="en-US" dirty="0" smtClean="0">
                <a:solidFill>
                  <a:schemeClr val="accent1"/>
                </a:solidFill>
              </a:rPr>
            </a:br>
            <a:r>
              <a:rPr lang="en-US" sz="2200" dirty="0" smtClean="0">
                <a:solidFill>
                  <a:schemeClr val="tx1"/>
                </a:solidFill>
              </a:rPr>
              <a:t>… the </a:t>
            </a:r>
            <a:r>
              <a:rPr lang="en-US" sz="2200" dirty="0">
                <a:solidFill>
                  <a:schemeClr val="tx1"/>
                </a:solidFill>
              </a:rPr>
              <a:t>l</a:t>
            </a:r>
            <a:r>
              <a:rPr lang="en-US" sz="2200" dirty="0" smtClean="0">
                <a:solidFill>
                  <a:schemeClr val="tx1"/>
                </a:solidFill>
              </a:rPr>
              <a:t>ast 12 months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649" name="Rectangle 226"/>
          <p:cNvSpPr>
            <a:spLocks noChangeArrowheads="1"/>
          </p:cNvSpPr>
          <p:nvPr/>
        </p:nvSpPr>
        <p:spPr bwMode="auto">
          <a:xfrm>
            <a:off x="8530663" y="3780514"/>
            <a:ext cx="59538" cy="59538"/>
          </a:xfrm>
          <a:prstGeom prst="ellipse">
            <a:avLst/>
          </a:prstGeom>
          <a:solidFill>
            <a:schemeClr val="accent1"/>
          </a:solidFill>
          <a:ln w="6">
            <a:noFill/>
            <a:miter lim="800000"/>
            <a:headEnd/>
            <a:tailEnd/>
          </a:ln>
          <a:effectLst>
            <a:outerShdw blurRad="50800" dist="12700" dir="2700000" algn="tl" rotWithShape="0">
              <a:schemeClr val="accent1">
                <a:lumMod val="50000"/>
                <a:alpha val="22000"/>
              </a:schemeClr>
            </a:outerShdw>
          </a:effectLst>
        </p:spPr>
        <p:txBody>
          <a:bodyPr/>
          <a:lstStyle/>
          <a:p>
            <a:pPr>
              <a:defRPr/>
            </a:pPr>
            <a:endParaRPr lang="en-US" sz="1213" b="1" i="1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651" name="Rechteck 650"/>
          <p:cNvSpPr/>
          <p:nvPr/>
        </p:nvSpPr>
        <p:spPr>
          <a:xfrm>
            <a:off x="7559076" y="3654648"/>
            <a:ext cx="883575" cy="297646"/>
          </a:xfrm>
          <a:prstGeom prst="rect">
            <a:avLst/>
          </a:prstGeom>
          <a:solidFill>
            <a:schemeClr val="accent3"/>
          </a:solidFill>
          <a:ln>
            <a:solidFill>
              <a:schemeClr val="accent1"/>
            </a:solidFill>
          </a:ln>
        </p:spPr>
        <p:txBody>
          <a:bodyPr wrap="none">
            <a:spAutoFit/>
          </a:bodyPr>
          <a:lstStyle/>
          <a:p>
            <a:pPr>
              <a:lnSpc>
                <a:spcPct val="110000"/>
              </a:lnSpc>
              <a:buClr>
                <a:schemeClr val="accent1"/>
              </a:buClr>
              <a:buSzPct val="150000"/>
            </a:pPr>
            <a:r>
              <a:rPr lang="en-US" sz="1213" b="1" i="1" dirty="0"/>
              <a:t>Shanghai</a:t>
            </a:r>
          </a:p>
        </p:txBody>
      </p:sp>
      <p:sp>
        <p:nvSpPr>
          <p:cNvPr id="652" name="Rechteck 651"/>
          <p:cNvSpPr/>
          <p:nvPr/>
        </p:nvSpPr>
        <p:spPr>
          <a:xfrm>
            <a:off x="9195057" y="3606172"/>
            <a:ext cx="635751" cy="297646"/>
          </a:xfrm>
          <a:prstGeom prst="rect">
            <a:avLst/>
          </a:prstGeom>
          <a:solidFill>
            <a:schemeClr val="accent3"/>
          </a:solidFill>
          <a:ln>
            <a:solidFill>
              <a:schemeClr val="accent1"/>
            </a:solidFill>
          </a:ln>
        </p:spPr>
        <p:txBody>
          <a:bodyPr wrap="none">
            <a:spAutoFit/>
          </a:bodyPr>
          <a:lstStyle/>
          <a:p>
            <a:pPr>
              <a:lnSpc>
                <a:spcPct val="110000"/>
              </a:lnSpc>
              <a:buClr>
                <a:schemeClr val="accent1"/>
              </a:buClr>
              <a:buSzPct val="150000"/>
            </a:pPr>
            <a:r>
              <a:rPr lang="en-US" sz="1213" b="1" i="1" dirty="0"/>
              <a:t>Tokyo</a:t>
            </a:r>
          </a:p>
        </p:txBody>
      </p:sp>
      <p:sp>
        <p:nvSpPr>
          <p:cNvPr id="653" name="Rechteck 652"/>
          <p:cNvSpPr/>
          <p:nvPr/>
        </p:nvSpPr>
        <p:spPr>
          <a:xfrm>
            <a:off x="8184138" y="4831733"/>
            <a:ext cx="944489" cy="297646"/>
          </a:xfrm>
          <a:prstGeom prst="rect">
            <a:avLst/>
          </a:prstGeom>
          <a:solidFill>
            <a:schemeClr val="accent3"/>
          </a:solidFill>
          <a:ln>
            <a:solidFill>
              <a:schemeClr val="accent1"/>
            </a:solidFill>
          </a:ln>
        </p:spPr>
        <p:txBody>
          <a:bodyPr wrap="none">
            <a:spAutoFit/>
          </a:bodyPr>
          <a:lstStyle/>
          <a:p>
            <a:pPr>
              <a:lnSpc>
                <a:spcPct val="110000"/>
              </a:lnSpc>
              <a:buClr>
                <a:schemeClr val="accent1"/>
              </a:buClr>
              <a:buSzPct val="150000"/>
            </a:pPr>
            <a:r>
              <a:rPr lang="en-US" sz="1213" b="1" i="1" dirty="0"/>
              <a:t>Singapore</a:t>
            </a:r>
          </a:p>
        </p:txBody>
      </p:sp>
      <p:sp>
        <p:nvSpPr>
          <p:cNvPr id="655" name="Rechteck 654"/>
          <p:cNvSpPr/>
          <p:nvPr/>
        </p:nvSpPr>
        <p:spPr>
          <a:xfrm>
            <a:off x="6385650" y="4181153"/>
            <a:ext cx="771365" cy="297646"/>
          </a:xfrm>
          <a:prstGeom prst="rect">
            <a:avLst/>
          </a:prstGeom>
          <a:solidFill>
            <a:schemeClr val="accent3"/>
          </a:solidFill>
          <a:ln>
            <a:solidFill>
              <a:schemeClr val="accent1"/>
            </a:solidFill>
          </a:ln>
        </p:spPr>
        <p:txBody>
          <a:bodyPr wrap="none">
            <a:spAutoFit/>
          </a:bodyPr>
          <a:lstStyle/>
          <a:p>
            <a:pPr>
              <a:lnSpc>
                <a:spcPct val="110000"/>
              </a:lnSpc>
              <a:buClr>
                <a:schemeClr val="accent1"/>
              </a:buClr>
              <a:buSzPct val="150000"/>
            </a:pPr>
            <a:r>
              <a:rPr lang="en-US" sz="1213" b="1" i="1" dirty="0"/>
              <a:t>Mumbai</a:t>
            </a:r>
          </a:p>
        </p:txBody>
      </p:sp>
      <p:sp>
        <p:nvSpPr>
          <p:cNvPr id="650" name="Rectangle 226"/>
          <p:cNvSpPr>
            <a:spLocks noChangeArrowheads="1"/>
          </p:cNvSpPr>
          <p:nvPr/>
        </p:nvSpPr>
        <p:spPr bwMode="auto">
          <a:xfrm>
            <a:off x="5522202" y="2687238"/>
            <a:ext cx="59538" cy="59538"/>
          </a:xfrm>
          <a:prstGeom prst="ellipse">
            <a:avLst/>
          </a:prstGeom>
          <a:solidFill>
            <a:schemeClr val="accent1"/>
          </a:solidFill>
          <a:ln w="6">
            <a:noFill/>
            <a:miter lim="800000"/>
            <a:headEnd/>
            <a:tailEnd/>
          </a:ln>
          <a:effectLst>
            <a:outerShdw blurRad="50800" dist="12700" dir="2700000" algn="tl" rotWithShape="0">
              <a:schemeClr val="accent1">
                <a:lumMod val="50000"/>
                <a:alpha val="22000"/>
              </a:schemeClr>
            </a:outerShdw>
          </a:effectLst>
        </p:spPr>
        <p:txBody>
          <a:bodyPr/>
          <a:lstStyle/>
          <a:p>
            <a:pPr>
              <a:defRPr/>
            </a:pPr>
            <a:endParaRPr lang="en-US" sz="1213" b="1" i="1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654" name="Rectangle 226"/>
          <p:cNvSpPr>
            <a:spLocks noChangeArrowheads="1"/>
          </p:cNvSpPr>
          <p:nvPr/>
        </p:nvSpPr>
        <p:spPr bwMode="auto">
          <a:xfrm>
            <a:off x="5565065" y="2858688"/>
            <a:ext cx="59538" cy="59538"/>
          </a:xfrm>
          <a:prstGeom prst="ellipse">
            <a:avLst/>
          </a:prstGeom>
          <a:solidFill>
            <a:schemeClr val="accent1"/>
          </a:solidFill>
          <a:ln w="6">
            <a:noFill/>
            <a:miter lim="800000"/>
            <a:headEnd/>
            <a:tailEnd/>
          </a:ln>
          <a:effectLst>
            <a:outerShdw blurRad="50800" dist="12700" dir="2700000" algn="tl" rotWithShape="0">
              <a:schemeClr val="accent1">
                <a:lumMod val="50000"/>
                <a:alpha val="22000"/>
              </a:schemeClr>
            </a:outerShdw>
          </a:effectLst>
        </p:spPr>
        <p:txBody>
          <a:bodyPr/>
          <a:lstStyle/>
          <a:p>
            <a:pPr>
              <a:defRPr/>
            </a:pPr>
            <a:endParaRPr lang="en-US" sz="1213" b="1" i="1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656" name="Rechteck 655"/>
          <p:cNvSpPr/>
          <p:nvPr/>
        </p:nvSpPr>
        <p:spPr>
          <a:xfrm>
            <a:off x="1096468" y="6127931"/>
            <a:ext cx="9101367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600" b="1" dirty="0" smtClean="0"/>
              <a:t>Strengthen the close cooperation with IUMI members</a:t>
            </a:r>
          </a:p>
          <a:p>
            <a:r>
              <a:rPr lang="en-US" sz="2600" b="1" dirty="0" smtClean="0"/>
              <a:t>and Affiliate members</a:t>
            </a:r>
            <a:endParaRPr lang="en-US" sz="2600" dirty="0"/>
          </a:p>
        </p:txBody>
      </p:sp>
      <p:sp>
        <p:nvSpPr>
          <p:cNvPr id="657" name="Pfeil nach rechts 656"/>
          <p:cNvSpPr/>
          <p:nvPr/>
        </p:nvSpPr>
        <p:spPr>
          <a:xfrm>
            <a:off x="692143" y="6243817"/>
            <a:ext cx="266117" cy="262204"/>
          </a:xfrm>
          <a:prstGeom prst="rightArrow">
            <a:avLst/>
          </a:prstGeom>
          <a:gradFill flip="none" rotWithShape="1">
            <a:gsLst>
              <a:gs pos="0">
                <a:srgbClr val="14335F">
                  <a:tint val="66000"/>
                  <a:satMod val="160000"/>
                </a:srgbClr>
              </a:gs>
              <a:gs pos="50000">
                <a:srgbClr val="14335F">
                  <a:tint val="44500"/>
                  <a:satMod val="160000"/>
                </a:srgbClr>
              </a:gs>
              <a:gs pos="100000">
                <a:srgbClr val="14335F">
                  <a:tint val="23500"/>
                  <a:satMod val="160000"/>
                </a:srgbClr>
              </a:gs>
            </a:gsLst>
            <a:lin ang="13500000" scaled="1"/>
            <a:tileRect/>
          </a:gradFill>
          <a:ln w="9525" cap="flat" cmpd="sng" algn="ctr">
            <a:solidFill>
              <a:srgbClr val="14335F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algn="ctr" defTabSz="504063">
              <a:defRPr/>
            </a:pPr>
            <a:endParaRPr lang="en-US" sz="1985" kern="0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658" name="Rectangle 226"/>
          <p:cNvSpPr>
            <a:spLocks noChangeArrowheads="1"/>
          </p:cNvSpPr>
          <p:nvPr/>
        </p:nvSpPr>
        <p:spPr bwMode="auto">
          <a:xfrm>
            <a:off x="8744728" y="3631613"/>
            <a:ext cx="59538" cy="59538"/>
          </a:xfrm>
          <a:prstGeom prst="ellipse">
            <a:avLst/>
          </a:prstGeom>
          <a:solidFill>
            <a:schemeClr val="accent1"/>
          </a:solidFill>
          <a:ln w="6">
            <a:noFill/>
            <a:miter lim="800000"/>
            <a:headEnd/>
            <a:tailEnd/>
          </a:ln>
          <a:effectLst>
            <a:outerShdw blurRad="50800" dist="12700" dir="2700000" algn="tl" rotWithShape="0">
              <a:schemeClr val="accent1">
                <a:lumMod val="50000"/>
                <a:alpha val="22000"/>
              </a:schemeClr>
            </a:outerShdw>
          </a:effectLst>
        </p:spPr>
        <p:txBody>
          <a:bodyPr/>
          <a:lstStyle/>
          <a:p>
            <a:pPr>
              <a:defRPr/>
            </a:pPr>
            <a:endParaRPr lang="en-US" sz="1213" b="1" i="1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660" name="Rechteck 659"/>
          <p:cNvSpPr/>
          <p:nvPr/>
        </p:nvSpPr>
        <p:spPr>
          <a:xfrm>
            <a:off x="8857089" y="3229058"/>
            <a:ext cx="607859" cy="297646"/>
          </a:xfrm>
          <a:prstGeom prst="rect">
            <a:avLst/>
          </a:prstGeom>
          <a:solidFill>
            <a:schemeClr val="accent3"/>
          </a:solidFill>
          <a:ln>
            <a:solidFill>
              <a:schemeClr val="accent1"/>
            </a:solidFill>
          </a:ln>
        </p:spPr>
        <p:txBody>
          <a:bodyPr wrap="none">
            <a:spAutoFit/>
          </a:bodyPr>
          <a:lstStyle/>
          <a:p>
            <a:pPr>
              <a:lnSpc>
                <a:spcPct val="110000"/>
              </a:lnSpc>
              <a:buClr>
                <a:schemeClr val="accent1"/>
              </a:buClr>
              <a:buSzPct val="150000"/>
            </a:pPr>
            <a:r>
              <a:rPr lang="de-DE" sz="1213" b="1" i="1" dirty="0" smtClean="0"/>
              <a:t>Seoul</a:t>
            </a:r>
            <a:endParaRPr lang="en-US" sz="1213" b="1" i="1" dirty="0"/>
          </a:p>
        </p:txBody>
      </p:sp>
      <p:sp>
        <p:nvSpPr>
          <p:cNvPr id="661" name="Rectangle 226"/>
          <p:cNvSpPr>
            <a:spLocks noChangeArrowheads="1"/>
          </p:cNvSpPr>
          <p:nvPr/>
        </p:nvSpPr>
        <p:spPr bwMode="auto">
          <a:xfrm>
            <a:off x="7925962" y="4422025"/>
            <a:ext cx="59538" cy="59538"/>
          </a:xfrm>
          <a:prstGeom prst="ellipse">
            <a:avLst/>
          </a:prstGeom>
          <a:solidFill>
            <a:schemeClr val="accent1"/>
          </a:solidFill>
          <a:ln w="6">
            <a:noFill/>
            <a:miter lim="800000"/>
            <a:headEnd/>
            <a:tailEnd/>
          </a:ln>
          <a:effectLst>
            <a:outerShdw blurRad="50800" dist="12700" dir="2700000" algn="tl" rotWithShape="0">
              <a:schemeClr val="accent1">
                <a:lumMod val="50000"/>
                <a:alpha val="22000"/>
              </a:schemeClr>
            </a:outerShdw>
          </a:effectLst>
        </p:spPr>
        <p:txBody>
          <a:bodyPr/>
          <a:lstStyle/>
          <a:p>
            <a:pPr>
              <a:defRPr/>
            </a:pPr>
            <a:endParaRPr lang="en-US" sz="1213" b="1" i="1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666" name="Rechteck 665"/>
          <p:cNvSpPr/>
          <p:nvPr/>
        </p:nvSpPr>
        <p:spPr>
          <a:xfrm>
            <a:off x="6691393" y="4512480"/>
            <a:ext cx="1228221" cy="297646"/>
          </a:xfrm>
          <a:prstGeom prst="rect">
            <a:avLst/>
          </a:prstGeom>
          <a:solidFill>
            <a:schemeClr val="accent3"/>
          </a:solidFill>
          <a:ln>
            <a:solidFill>
              <a:schemeClr val="accent1"/>
            </a:solidFill>
          </a:ln>
        </p:spPr>
        <p:txBody>
          <a:bodyPr wrap="none">
            <a:spAutoFit/>
          </a:bodyPr>
          <a:lstStyle/>
          <a:p>
            <a:pPr>
              <a:lnSpc>
                <a:spcPct val="110000"/>
              </a:lnSpc>
              <a:buClr>
                <a:schemeClr val="accent1"/>
              </a:buClr>
              <a:buSzPct val="150000"/>
            </a:pPr>
            <a:r>
              <a:rPr lang="de-DE" sz="1213" b="1" i="1" dirty="0" smtClean="0"/>
              <a:t>Kuala Lumpur</a:t>
            </a:r>
            <a:endParaRPr lang="en-US" sz="1213" b="1" i="1" dirty="0"/>
          </a:p>
        </p:txBody>
      </p:sp>
      <p:sp>
        <p:nvSpPr>
          <p:cNvPr id="670" name="Rectangle 226"/>
          <p:cNvSpPr>
            <a:spLocks noChangeArrowheads="1"/>
          </p:cNvSpPr>
          <p:nvPr/>
        </p:nvSpPr>
        <p:spPr bwMode="auto">
          <a:xfrm>
            <a:off x="8400567" y="3573994"/>
            <a:ext cx="59538" cy="59538"/>
          </a:xfrm>
          <a:prstGeom prst="ellipse">
            <a:avLst/>
          </a:prstGeom>
          <a:solidFill>
            <a:schemeClr val="accent1"/>
          </a:solidFill>
          <a:ln w="6">
            <a:noFill/>
            <a:miter lim="800000"/>
            <a:headEnd/>
            <a:tailEnd/>
          </a:ln>
          <a:effectLst>
            <a:outerShdw blurRad="50800" dist="12700" dir="2700000" algn="tl" rotWithShape="0">
              <a:schemeClr val="accent1">
                <a:lumMod val="50000"/>
                <a:alpha val="22000"/>
              </a:schemeClr>
            </a:outerShdw>
          </a:effectLst>
        </p:spPr>
        <p:txBody>
          <a:bodyPr/>
          <a:lstStyle/>
          <a:p>
            <a:pPr>
              <a:defRPr/>
            </a:pPr>
            <a:endParaRPr lang="en-US" sz="1213" b="1" i="1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672" name="Rechteck 671"/>
          <p:cNvSpPr/>
          <p:nvPr/>
        </p:nvSpPr>
        <p:spPr>
          <a:xfrm>
            <a:off x="7675555" y="3220741"/>
            <a:ext cx="702436" cy="281744"/>
          </a:xfrm>
          <a:prstGeom prst="rect">
            <a:avLst/>
          </a:prstGeom>
          <a:solidFill>
            <a:schemeClr val="accent3"/>
          </a:solidFill>
          <a:ln>
            <a:solidFill>
              <a:schemeClr val="accent1"/>
            </a:solidFill>
          </a:ln>
        </p:spPr>
        <p:txBody>
          <a:bodyPr wrap="none">
            <a:spAutoFit/>
          </a:bodyPr>
          <a:lstStyle/>
          <a:p>
            <a:pPr>
              <a:lnSpc>
                <a:spcPct val="110000"/>
              </a:lnSpc>
              <a:buClr>
                <a:schemeClr val="accent1"/>
              </a:buClr>
              <a:buSzPct val="150000"/>
            </a:pPr>
            <a:r>
              <a:rPr lang="de-DE" sz="1213" b="1" i="1" dirty="0" smtClean="0"/>
              <a:t>Beijing</a:t>
            </a:r>
            <a:endParaRPr lang="en-US" sz="1213" b="1" i="1" dirty="0"/>
          </a:p>
        </p:txBody>
      </p:sp>
      <p:sp>
        <p:nvSpPr>
          <p:cNvPr id="674" name="Rechteck 673"/>
          <p:cNvSpPr/>
          <p:nvPr/>
        </p:nvSpPr>
        <p:spPr>
          <a:xfrm>
            <a:off x="538800" y="3496960"/>
            <a:ext cx="1247457" cy="297646"/>
          </a:xfrm>
          <a:prstGeom prst="rect">
            <a:avLst/>
          </a:prstGeom>
          <a:solidFill>
            <a:schemeClr val="accent3"/>
          </a:solidFill>
          <a:ln>
            <a:solidFill>
              <a:schemeClr val="accent1"/>
            </a:solidFill>
          </a:ln>
        </p:spPr>
        <p:txBody>
          <a:bodyPr wrap="none">
            <a:spAutoFit/>
          </a:bodyPr>
          <a:lstStyle/>
          <a:p>
            <a:pPr>
              <a:lnSpc>
                <a:spcPct val="110000"/>
              </a:lnSpc>
              <a:buClr>
                <a:schemeClr val="accent1"/>
              </a:buClr>
              <a:buSzPct val="150000"/>
            </a:pPr>
            <a:r>
              <a:rPr lang="de-DE" sz="1213" b="1" i="1" dirty="0" smtClean="0"/>
              <a:t>San Francisco</a:t>
            </a:r>
            <a:endParaRPr lang="en-US" sz="1213" b="1" i="1" dirty="0"/>
          </a:p>
        </p:txBody>
      </p:sp>
      <p:sp>
        <p:nvSpPr>
          <p:cNvPr id="675" name="Rectangle 226"/>
          <p:cNvSpPr>
            <a:spLocks noChangeArrowheads="1"/>
          </p:cNvSpPr>
          <p:nvPr/>
        </p:nvSpPr>
        <p:spPr bwMode="auto">
          <a:xfrm>
            <a:off x="1885032" y="3470767"/>
            <a:ext cx="59538" cy="59538"/>
          </a:xfrm>
          <a:prstGeom prst="ellipse">
            <a:avLst/>
          </a:prstGeom>
          <a:solidFill>
            <a:schemeClr val="accent1"/>
          </a:solidFill>
          <a:ln w="6">
            <a:noFill/>
            <a:miter lim="800000"/>
            <a:headEnd/>
            <a:tailEnd/>
          </a:ln>
          <a:effectLst>
            <a:outerShdw blurRad="50800" dist="12700" dir="2700000" algn="tl" rotWithShape="0">
              <a:schemeClr val="accent1">
                <a:lumMod val="50000"/>
                <a:alpha val="22000"/>
              </a:schemeClr>
            </a:outerShdw>
          </a:effectLst>
        </p:spPr>
        <p:txBody>
          <a:bodyPr/>
          <a:lstStyle/>
          <a:p>
            <a:pPr>
              <a:defRPr/>
            </a:pPr>
            <a:endParaRPr lang="en-US" sz="1213" b="1" i="1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667" name="Rectangle 226"/>
          <p:cNvSpPr>
            <a:spLocks noChangeArrowheads="1"/>
          </p:cNvSpPr>
          <p:nvPr/>
        </p:nvSpPr>
        <p:spPr bwMode="auto">
          <a:xfrm>
            <a:off x="6739409" y="4001992"/>
            <a:ext cx="59538" cy="59538"/>
          </a:xfrm>
          <a:prstGeom prst="ellipse">
            <a:avLst/>
          </a:prstGeom>
          <a:solidFill>
            <a:schemeClr val="accent1"/>
          </a:solidFill>
          <a:ln w="6">
            <a:noFill/>
            <a:miter lim="800000"/>
            <a:headEnd/>
            <a:tailEnd/>
          </a:ln>
          <a:effectLst>
            <a:outerShdw blurRad="50800" dist="12700" dir="2700000" algn="tl" rotWithShape="0">
              <a:schemeClr val="accent1">
                <a:lumMod val="50000"/>
                <a:alpha val="22000"/>
              </a:schemeClr>
            </a:outerShdw>
          </a:effectLst>
        </p:spPr>
        <p:txBody>
          <a:bodyPr/>
          <a:lstStyle/>
          <a:p>
            <a:pPr>
              <a:defRPr/>
            </a:pPr>
            <a:endParaRPr lang="en-US" sz="1213" b="1" i="1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673" name="Rechteck 672"/>
          <p:cNvSpPr/>
          <p:nvPr/>
        </p:nvSpPr>
        <p:spPr>
          <a:xfrm>
            <a:off x="6095794" y="3653411"/>
            <a:ext cx="615874" cy="297646"/>
          </a:xfrm>
          <a:prstGeom prst="rect">
            <a:avLst/>
          </a:prstGeom>
          <a:solidFill>
            <a:schemeClr val="accent3"/>
          </a:solidFill>
          <a:ln>
            <a:solidFill>
              <a:schemeClr val="accent1"/>
            </a:solidFill>
          </a:ln>
        </p:spPr>
        <p:txBody>
          <a:bodyPr wrap="none">
            <a:spAutoFit/>
          </a:bodyPr>
          <a:lstStyle/>
          <a:p>
            <a:pPr>
              <a:lnSpc>
                <a:spcPct val="110000"/>
              </a:lnSpc>
              <a:buClr>
                <a:schemeClr val="accent1"/>
              </a:buClr>
              <a:buSzPct val="150000"/>
            </a:pPr>
            <a:r>
              <a:rPr lang="de-DE" sz="1213" b="1" i="1" dirty="0" smtClean="0"/>
              <a:t>Dubai</a:t>
            </a:r>
            <a:endParaRPr lang="en-US" sz="1213" b="1" i="1" dirty="0"/>
          </a:p>
        </p:txBody>
      </p:sp>
    </p:spTree>
    <p:extLst>
      <p:ext uri="{BB962C8B-B14F-4D97-AF65-F5344CB8AC3E}">
        <p14:creationId xmlns:p14="http://schemas.microsoft.com/office/powerpoint/2010/main" val="8486779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 smtClean="0">
                <a:solidFill>
                  <a:srgbClr val="0000A0"/>
                </a:solidFill>
              </a:rPr>
              <a:t>IUMI – GROW THE GLOBAL FOOTPRINT</a:t>
            </a:r>
            <a:endParaRPr lang="de-DE" sz="280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B53FF6-FF3D-4151-807B-E12E15B22EBF}" type="slidenum">
              <a:rPr lang="en-US" noProof="0" smtClean="0"/>
              <a:t>9</a:t>
            </a:fld>
            <a:endParaRPr lang="en-US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4"/>
          </p:nvPr>
        </p:nvSpPr>
        <p:spPr>
          <a:xfrm>
            <a:off x="414337" y="733129"/>
            <a:ext cx="7237413" cy="512817"/>
          </a:xfrm>
        </p:spPr>
        <p:txBody>
          <a:bodyPr/>
          <a:lstStyle/>
          <a:p>
            <a:r>
              <a:rPr lang="en-US" sz="2600" dirty="0">
                <a:solidFill>
                  <a:srgbClr val="505050"/>
                </a:solidFill>
              </a:rPr>
              <a:t>Focus on Asia !</a:t>
            </a:r>
            <a:endParaRPr lang="de-DE" sz="2600" dirty="0"/>
          </a:p>
        </p:txBody>
      </p:sp>
      <p:sp>
        <p:nvSpPr>
          <p:cNvPr id="665" name="Rechteck 664"/>
          <p:cNvSpPr/>
          <p:nvPr/>
        </p:nvSpPr>
        <p:spPr>
          <a:xfrm>
            <a:off x="392362" y="1325186"/>
            <a:ext cx="6535710" cy="3904037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46038" defTabSz="1043056">
              <a:lnSpc>
                <a:spcPct val="150000"/>
              </a:lnSpc>
            </a:pPr>
            <a:r>
              <a:rPr kumimoji="0" lang="en-US" sz="2200" b="1" i="0" u="none" strike="noStrike" kern="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ast 18 months´ activities</a:t>
            </a:r>
          </a:p>
          <a:p>
            <a:pPr marL="361902" indent="-315039" defTabSz="1043056">
              <a:buFont typeface="Arial" panose="020B0604020202020204" pitchFamily="34" charset="0"/>
              <a:buChar char="−"/>
            </a:pPr>
            <a:r>
              <a:rPr kumimoji="0" lang="en-US" sz="2200" b="0" i="0" u="none" strike="noStrike" kern="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sia Roadshow 2016:</a:t>
            </a:r>
            <a:br>
              <a:rPr kumimoji="0" lang="en-US" sz="2200" b="0" i="0" u="none" strike="noStrike" kern="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2200" b="0" i="0" u="none" strike="noStrike" kern="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ailand, Malaysia, Singapore, Indonesia</a:t>
            </a:r>
          </a:p>
          <a:p>
            <a:pPr marL="361902" indent="-315039" defTabSz="1043056">
              <a:buFont typeface="Arial" panose="020B0604020202020204" pitchFamily="34" charset="0"/>
              <a:buChar char="−"/>
            </a:pPr>
            <a:r>
              <a:rPr kumimoji="0" lang="en-US" sz="2200" b="0" i="0" u="none" strike="noStrike" kern="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xCo market meeting Dubai</a:t>
            </a:r>
          </a:p>
          <a:p>
            <a:pPr marL="361902" indent="-315039" defTabSz="1043056">
              <a:buFont typeface="Arial" panose="020B0604020202020204" pitchFamily="34" charset="0"/>
              <a:buChar char="−"/>
            </a:pPr>
            <a:r>
              <a:rPr kumimoji="0" lang="en-US" sz="2200" b="0" i="0" u="none" strike="noStrike" kern="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ong Kong market meetings and conference</a:t>
            </a:r>
          </a:p>
          <a:p>
            <a:pPr marL="361902" indent="-315039" defTabSz="1043056">
              <a:buFont typeface="Arial" panose="020B0604020202020204" pitchFamily="34" charset="0"/>
              <a:buChar char="−"/>
            </a:pPr>
            <a:r>
              <a:rPr kumimoji="0" lang="en-US" sz="2200" b="0" i="0" u="none" strike="noStrike" kern="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K Port and Maritime Board Hamburg</a:t>
            </a:r>
          </a:p>
          <a:p>
            <a:pPr marL="361902" indent="-315039" defTabSz="1043056">
              <a:buFont typeface="Arial" panose="020B0604020202020204" pitchFamily="34" charset="0"/>
              <a:buChar char="−"/>
            </a:pPr>
            <a:r>
              <a:rPr kumimoji="0" lang="en-US" sz="2200" b="0" i="0" u="none" strike="noStrike" kern="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xCo market meeting and conference Mumbai</a:t>
            </a:r>
          </a:p>
          <a:p>
            <a:pPr marL="361902" indent="-315039" defTabSz="1043056">
              <a:buFont typeface="Arial" panose="020B0604020202020204" pitchFamily="34" charset="0"/>
              <a:buChar char="−"/>
            </a:pPr>
            <a:r>
              <a:rPr kumimoji="0" lang="en-US" sz="2200" b="0" i="0" u="none" strike="noStrike" kern="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UMI Conference Tokyo 2017</a:t>
            </a:r>
          </a:p>
          <a:p>
            <a:pPr marL="361902" indent="-315039" defTabSz="1043056">
              <a:buFont typeface="Arial" panose="020B0604020202020204" pitchFamily="34" charset="0"/>
              <a:buChar char="−"/>
            </a:pPr>
            <a:r>
              <a:rPr lang="de-DE" sz="2200" kern="0" dirty="0" smtClean="0">
                <a:solidFill>
                  <a:srgbClr val="505050"/>
                </a:solidFill>
                <a:latin typeface="Arial"/>
              </a:rPr>
              <a:t>Hong Kong Maritime </a:t>
            </a:r>
            <a:r>
              <a:rPr lang="de-DE" sz="2200" kern="0" dirty="0" err="1" smtClean="0">
                <a:solidFill>
                  <a:srgbClr val="505050"/>
                </a:solidFill>
                <a:latin typeface="Arial"/>
              </a:rPr>
              <a:t>Week</a:t>
            </a:r>
            <a:r>
              <a:rPr lang="de-DE" sz="2200" kern="0" dirty="0" smtClean="0">
                <a:solidFill>
                  <a:srgbClr val="505050"/>
                </a:solidFill>
                <a:latin typeface="Arial"/>
              </a:rPr>
              <a:t> </a:t>
            </a:r>
            <a:endParaRPr kumimoji="0" lang="en-US" sz="2200" b="0" i="0" u="none" strike="noStrike" kern="0" cap="none" spc="0" normalizeH="0" baseline="0" noProof="0" dirty="0" smtClean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361902" indent="-315039" defTabSz="1043056">
              <a:buFont typeface="Arial" panose="020B0604020202020204" pitchFamily="34" charset="0"/>
              <a:buChar char="−"/>
            </a:pPr>
            <a:r>
              <a:rPr kumimoji="0" lang="en-US" sz="2200" b="0" i="0" u="none" strike="noStrike" kern="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IA – 1</a:t>
            </a:r>
            <a:r>
              <a:rPr kumimoji="0" lang="en-US" sz="2200" b="0" i="0" u="none" strike="noStrike" kern="0" cap="none" spc="0" normalizeH="0" baseline="3000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</a:t>
            </a:r>
            <a:r>
              <a:rPr kumimoji="0" lang="en-US" sz="2200" b="0" i="0" u="none" strike="noStrike" kern="0" cap="none" spc="0" normalizeH="0" baseline="0" noProof="0" dirty="0" smtClean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IUMI Asia Forum 2018 Singapore</a:t>
            </a:r>
          </a:p>
        </p:txBody>
      </p:sp>
      <p:sp>
        <p:nvSpPr>
          <p:cNvPr id="666" name="Rechteck 665"/>
          <p:cNvSpPr/>
          <p:nvPr/>
        </p:nvSpPr>
        <p:spPr>
          <a:xfrm>
            <a:off x="1201242" y="2794937"/>
            <a:ext cx="7427308" cy="25486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04305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315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67" name="Gleichschenkliges Dreieck 666"/>
          <p:cNvSpPr/>
          <p:nvPr/>
        </p:nvSpPr>
        <p:spPr>
          <a:xfrm rot="5400000">
            <a:off x="168358" y="1697688"/>
            <a:ext cx="279354" cy="157525"/>
          </a:xfrm>
          <a:prstGeom prst="triangle">
            <a:avLst/>
          </a:prstGeom>
          <a:gradFill rotWithShape="1">
            <a:gsLst>
              <a:gs pos="0">
                <a:srgbClr val="6E7898"/>
              </a:gs>
              <a:gs pos="100000">
                <a:srgbClr val="14335F">
                  <a:tint val="50000"/>
                  <a:shade val="100000"/>
                  <a:satMod val="350000"/>
                </a:srgbClr>
              </a:gs>
            </a:gsLst>
            <a:lin ang="16200000" scaled="0"/>
          </a:gradFill>
          <a:ln w="9525" cap="flat" cmpd="sng" algn="ctr">
            <a:solidFill>
              <a:srgbClr val="14335F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algn="ctr" defTabSz="504063">
              <a:defRPr/>
            </a:pPr>
            <a:endParaRPr kumimoji="0" lang="en-US" sz="1985" kern="0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668" name="Rechteck 667"/>
          <p:cNvSpPr/>
          <p:nvPr/>
        </p:nvSpPr>
        <p:spPr>
          <a:xfrm>
            <a:off x="1467637" y="5723043"/>
            <a:ext cx="101181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819102" lvl="1" indent="-315039" defTabSz="1043056">
              <a:buFont typeface="Arial" panose="020B0604020202020204" pitchFamily="34" charset="0"/>
              <a:buChar char="−"/>
            </a:pPr>
            <a:endParaRPr kumimoji="0" lang="en-US" dirty="0">
              <a:solidFill>
                <a:srgbClr val="505050"/>
              </a:solidFill>
              <a:latin typeface="Arial"/>
            </a:endParaRPr>
          </a:p>
        </p:txBody>
      </p:sp>
      <p:sp>
        <p:nvSpPr>
          <p:cNvPr id="669" name="Rechteck 668"/>
          <p:cNvSpPr/>
          <p:nvPr/>
        </p:nvSpPr>
        <p:spPr>
          <a:xfrm>
            <a:off x="386798" y="5266259"/>
            <a:ext cx="8100715" cy="18466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6863" defTabSz="1043056">
              <a:lnSpc>
                <a:spcPct val="200000"/>
              </a:lnSpc>
            </a:pPr>
            <a:r>
              <a:rPr kumimoji="0" lang="en-US" sz="2400" b="1" dirty="0" smtClean="0">
                <a:solidFill>
                  <a:srgbClr val="505050"/>
                </a:solidFill>
                <a:latin typeface="Arial"/>
              </a:rPr>
              <a:t>IUMI </a:t>
            </a:r>
            <a:r>
              <a:rPr kumimoji="0" lang="en-US" sz="2400" b="1" dirty="0">
                <a:solidFill>
                  <a:srgbClr val="505050"/>
                </a:solidFill>
                <a:latin typeface="Arial"/>
              </a:rPr>
              <a:t>officers</a:t>
            </a:r>
          </a:p>
          <a:p>
            <a:pPr marL="361902" indent="-315039" defTabSz="1043056">
              <a:buFont typeface="Arial" panose="020B0604020202020204" pitchFamily="34" charset="0"/>
              <a:buChar char="−"/>
            </a:pPr>
            <a:r>
              <a:rPr kumimoji="0" lang="en-US" sz="2200" dirty="0">
                <a:solidFill>
                  <a:srgbClr val="505050"/>
                </a:solidFill>
                <a:latin typeface="Arial"/>
              </a:rPr>
              <a:t>27 Asian Committee members, 2 ExCo members</a:t>
            </a:r>
          </a:p>
          <a:p>
            <a:pPr marL="361902" indent="-315039" defTabSz="1043056">
              <a:buFont typeface="Arial" panose="020B0604020202020204" pitchFamily="34" charset="0"/>
              <a:buChar char="−"/>
            </a:pPr>
            <a:r>
              <a:rPr kumimoji="0" lang="en-US" sz="2200" dirty="0">
                <a:solidFill>
                  <a:srgbClr val="505050"/>
                </a:solidFill>
                <a:latin typeface="Arial"/>
              </a:rPr>
              <a:t>Special envoy to Asia:  </a:t>
            </a:r>
            <a:r>
              <a:rPr kumimoji="0" lang="en-US" sz="2200" dirty="0" smtClean="0">
                <a:solidFill>
                  <a:srgbClr val="505050"/>
                </a:solidFill>
                <a:latin typeface="Arial"/>
              </a:rPr>
              <a:t>Mike </a:t>
            </a:r>
            <a:r>
              <a:rPr kumimoji="0" lang="en-US" sz="2200" dirty="0">
                <a:solidFill>
                  <a:srgbClr val="505050"/>
                </a:solidFill>
                <a:latin typeface="Arial"/>
              </a:rPr>
              <a:t>Davies (XL Catlin Singapore)</a:t>
            </a:r>
          </a:p>
          <a:p>
            <a:pPr marL="361902" indent="-315039" defTabSz="1043056">
              <a:buFont typeface="Arial" panose="020B0604020202020204" pitchFamily="34" charset="0"/>
              <a:buChar char="−"/>
            </a:pPr>
            <a:r>
              <a:rPr kumimoji="0" lang="en-US" sz="2200" dirty="0">
                <a:solidFill>
                  <a:srgbClr val="505050"/>
                </a:solidFill>
                <a:latin typeface="Arial"/>
              </a:rPr>
              <a:t>Special mandate of ExCo: </a:t>
            </a:r>
            <a:r>
              <a:rPr kumimoji="0" lang="en-US" sz="2200" dirty="0" smtClean="0">
                <a:solidFill>
                  <a:srgbClr val="505050"/>
                </a:solidFill>
                <a:latin typeface="Arial"/>
              </a:rPr>
              <a:t> Agnes </a:t>
            </a:r>
            <a:r>
              <a:rPr kumimoji="0" lang="en-US" sz="2200" dirty="0">
                <a:solidFill>
                  <a:srgbClr val="505050"/>
                </a:solidFill>
                <a:latin typeface="Arial"/>
              </a:rPr>
              <a:t>Choi </a:t>
            </a:r>
            <a:r>
              <a:rPr kumimoji="0" lang="en-US" sz="2200" dirty="0" smtClean="0">
                <a:solidFill>
                  <a:srgbClr val="505050"/>
                </a:solidFill>
                <a:latin typeface="Arial"/>
              </a:rPr>
              <a:t>(Hong </a:t>
            </a:r>
            <a:r>
              <a:rPr kumimoji="0" lang="en-US" sz="2200" dirty="0">
                <a:solidFill>
                  <a:srgbClr val="505050"/>
                </a:solidFill>
                <a:latin typeface="Arial"/>
              </a:rPr>
              <a:t>Kong)</a:t>
            </a:r>
          </a:p>
        </p:txBody>
      </p:sp>
      <p:sp>
        <p:nvSpPr>
          <p:cNvPr id="670" name="Gleichschenkliges Dreieck 669"/>
          <p:cNvSpPr/>
          <p:nvPr/>
        </p:nvSpPr>
        <p:spPr>
          <a:xfrm rot="5400000">
            <a:off x="195897" y="5649276"/>
            <a:ext cx="279354" cy="157525"/>
          </a:xfrm>
          <a:prstGeom prst="triangle">
            <a:avLst/>
          </a:prstGeom>
          <a:gradFill rotWithShape="1">
            <a:gsLst>
              <a:gs pos="0">
                <a:srgbClr val="6E7898"/>
              </a:gs>
              <a:gs pos="100000">
                <a:srgbClr val="14335F">
                  <a:tint val="50000"/>
                  <a:shade val="100000"/>
                  <a:satMod val="350000"/>
                </a:srgbClr>
              </a:gs>
            </a:gsLst>
            <a:lin ang="16200000" scaled="0"/>
          </a:gradFill>
          <a:ln w="9525" cap="flat" cmpd="sng" algn="ctr">
            <a:solidFill>
              <a:srgbClr val="14335F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algn="ctr" defTabSz="504063">
              <a:defRPr/>
            </a:pPr>
            <a:endParaRPr kumimoji="0" lang="en-US" sz="1985" kern="0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671" name="Textfeld 670"/>
          <p:cNvSpPr txBox="1"/>
          <p:nvPr/>
        </p:nvSpPr>
        <p:spPr>
          <a:xfrm>
            <a:off x="7142766" y="5019388"/>
            <a:ext cx="1802178" cy="161583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algn="r" defTabSz="1043056"/>
            <a:r>
              <a:rPr kumimoji="0" lang="en-US" sz="450" b="1" dirty="0" smtClean="0">
                <a:solidFill>
                  <a:prstClr val="white">
                    <a:lumMod val="95000"/>
                  </a:prstClr>
                </a:solidFill>
                <a:latin typeface="Arial"/>
              </a:rPr>
              <a:t>Image</a:t>
            </a:r>
            <a:r>
              <a:rPr kumimoji="0" lang="en-US" sz="450" b="1" dirty="0">
                <a:solidFill>
                  <a:prstClr val="white">
                    <a:lumMod val="95000"/>
                  </a:prstClr>
                </a:solidFill>
                <a:latin typeface="Arial"/>
              </a:rPr>
              <a:t>: used under license from shutterstock.com</a:t>
            </a:r>
          </a:p>
        </p:txBody>
      </p:sp>
      <p:grpSp>
        <p:nvGrpSpPr>
          <p:cNvPr id="672" name="Gruppieren 671"/>
          <p:cNvGrpSpPr/>
          <p:nvPr/>
        </p:nvGrpSpPr>
        <p:grpSpPr>
          <a:xfrm>
            <a:off x="6839415" y="1877673"/>
            <a:ext cx="3724663" cy="3133322"/>
            <a:chOff x="5765379" y="1872434"/>
            <a:chExt cx="3268231" cy="2656075"/>
          </a:xfrm>
        </p:grpSpPr>
        <p:pic>
          <p:nvPicPr>
            <p:cNvPr id="673" name="Grafik 672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65379" y="1872434"/>
              <a:ext cx="3268231" cy="2656075"/>
            </a:xfrm>
            <a:prstGeom prst="rect">
              <a:avLst/>
            </a:prstGeom>
          </p:spPr>
        </p:pic>
        <p:sp>
          <p:nvSpPr>
            <p:cNvPr id="674" name="Rechteck 673"/>
            <p:cNvSpPr/>
            <p:nvPr/>
          </p:nvSpPr>
          <p:spPr>
            <a:xfrm>
              <a:off x="6999852" y="4373255"/>
              <a:ext cx="611724" cy="141716"/>
            </a:xfrm>
            <a:prstGeom prst="rect">
              <a:avLst/>
            </a:prstGeom>
            <a:solidFill>
              <a:srgbClr val="9CCEC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75" name="Rechteck 674"/>
            <p:cNvSpPr/>
            <p:nvPr/>
          </p:nvSpPr>
          <p:spPr>
            <a:xfrm rot="5400000">
              <a:off x="8608385" y="2622311"/>
              <a:ext cx="611724" cy="141716"/>
            </a:xfrm>
            <a:prstGeom prst="rect">
              <a:avLst/>
            </a:prstGeom>
            <a:solidFill>
              <a:srgbClr val="9CCEC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76" name="Rechteck 675"/>
            <p:cNvSpPr/>
            <p:nvPr/>
          </p:nvSpPr>
          <p:spPr>
            <a:xfrm>
              <a:off x="8421886" y="1873163"/>
              <a:ext cx="611724" cy="255675"/>
            </a:xfrm>
            <a:prstGeom prst="rect">
              <a:avLst/>
            </a:prstGeom>
            <a:solidFill>
              <a:srgbClr val="9CCEC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77" name="Textfeld 676"/>
          <p:cNvSpPr txBox="1"/>
          <p:nvPr/>
        </p:nvSpPr>
        <p:spPr>
          <a:xfrm>
            <a:off x="6944285" y="5036441"/>
            <a:ext cx="2175798" cy="168636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algn="r" defTabSz="1043056"/>
            <a:r>
              <a:rPr kumimoji="0" lang="en-US" sz="496" b="1" dirty="0" smtClean="0">
                <a:solidFill>
                  <a:schemeClr val="bg1"/>
                </a:solidFill>
                <a:latin typeface="Arial"/>
              </a:rPr>
              <a:t>Image</a:t>
            </a:r>
            <a:r>
              <a:rPr kumimoji="0" lang="en-US" sz="496" b="1" dirty="0">
                <a:solidFill>
                  <a:schemeClr val="bg1"/>
                </a:solidFill>
                <a:latin typeface="Arial"/>
              </a:rPr>
              <a:t>: </a:t>
            </a:r>
            <a:r>
              <a:rPr kumimoji="0" lang="en-US" sz="496" b="1" dirty="0" smtClean="0">
                <a:solidFill>
                  <a:schemeClr val="bg1"/>
                </a:solidFill>
                <a:latin typeface="Arial"/>
              </a:rPr>
              <a:t>Nick Roux / Wikimedia Commons / Image modified</a:t>
            </a:r>
            <a:endParaRPr kumimoji="0" lang="en-US" sz="496" b="1" dirty="0">
              <a:solidFill>
                <a:schemeClr val="bg1"/>
              </a:solidFill>
              <a:latin typeface="Arial"/>
            </a:endParaRPr>
          </a:p>
        </p:txBody>
      </p:sp>
      <p:sp>
        <p:nvSpPr>
          <p:cNvPr id="678" name="Rechteck 677"/>
          <p:cNvSpPr/>
          <p:nvPr/>
        </p:nvSpPr>
        <p:spPr>
          <a:xfrm rot="20852415">
            <a:off x="5136585" y="1267430"/>
            <a:ext cx="2323027" cy="304561"/>
          </a:xfrm>
          <a:prstGeom prst="rect">
            <a:avLst/>
          </a:prstGeom>
          <a:solidFill>
            <a:srgbClr val="009999"/>
          </a:solidFill>
          <a:ln w="9525" cap="flat" cmpd="sng" algn="ctr">
            <a:solidFill>
              <a:srgbClr val="0000A0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algn="ctr"/>
            <a:r>
              <a:rPr lang="en-US" sz="1800" b="1" kern="0" dirty="0">
                <a:solidFill>
                  <a:prstClr val="white"/>
                </a:solidFill>
                <a:latin typeface="Arial"/>
              </a:rPr>
              <a:t>Top Priorities  </a:t>
            </a:r>
            <a:r>
              <a:rPr lang="en-US" sz="1800" b="1" kern="0" dirty="0" smtClean="0">
                <a:solidFill>
                  <a:prstClr val="white"/>
                </a:solidFill>
                <a:latin typeface="Arial"/>
              </a:rPr>
              <a:t>2018</a:t>
            </a:r>
            <a:endParaRPr lang="en-US" sz="1800" b="1" kern="0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679" name="Stern mit 8 Zacken 678"/>
          <p:cNvSpPr/>
          <p:nvPr/>
        </p:nvSpPr>
        <p:spPr>
          <a:xfrm rot="20689545">
            <a:off x="4916813" y="1214008"/>
            <a:ext cx="428545" cy="373184"/>
          </a:xfrm>
          <a:prstGeom prst="star8">
            <a:avLst>
              <a:gd name="adj" fmla="val 28846"/>
            </a:avLst>
          </a:prstGeom>
          <a:solidFill>
            <a:srgbClr val="00B0F0"/>
          </a:solidFill>
          <a:ln w="9525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eaLnBrk="0" hangingPunct="0">
              <a:spcBef>
                <a:spcPts val="662"/>
              </a:spcBef>
            </a:pPr>
            <a:r>
              <a:rPr lang="en-US" b="1" kern="0" dirty="0">
                <a:solidFill>
                  <a:prstClr val="white"/>
                </a:solidFill>
                <a:latin typeface="Arial"/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7098142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UMI">
  <a:themeElements>
    <a:clrScheme name="Benutzerdefiniert 1">
      <a:dk1>
        <a:srgbClr val="505050"/>
      </a:dk1>
      <a:lt1>
        <a:sysClr val="window" lastClr="FFFFFF"/>
      </a:lt1>
      <a:dk2>
        <a:srgbClr val="000000"/>
      </a:dk2>
      <a:lt2>
        <a:srgbClr val="E6E6E6"/>
      </a:lt2>
      <a:accent1>
        <a:srgbClr val="0000A0"/>
      </a:accent1>
      <a:accent2>
        <a:srgbClr val="505050"/>
      </a:accent2>
      <a:accent3>
        <a:srgbClr val="969696"/>
      </a:accent3>
      <a:accent4>
        <a:srgbClr val="E6E6E6"/>
      </a:accent4>
      <a:accent5>
        <a:srgbClr val="505050"/>
      </a:accent5>
      <a:accent6>
        <a:srgbClr val="969696"/>
      </a:accent6>
      <a:hlink>
        <a:srgbClr val="505050"/>
      </a:hlink>
      <a:folHlink>
        <a:srgbClr val="50505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12700">
          <a:solidFill>
            <a:schemeClr val="tx1"/>
          </a:solidFill>
        </a:ln>
      </a:spPr>
      <a:bodyPr rtlCol="0" anchor="ctr"/>
      <a:lstStyle>
        <a:defPPr algn="ctr">
          <a:lnSpc>
            <a:spcPct val="105000"/>
          </a:lnSpc>
          <a:defRPr sz="18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lnSpc>
            <a:spcPct val="105000"/>
          </a:lnSpc>
          <a:defRPr sz="18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Larissa">
  <a:themeElements>
    <a:clrScheme name="Benutzerdefiniert 1">
      <a:dk1>
        <a:srgbClr val="505050"/>
      </a:dk1>
      <a:lt1>
        <a:sysClr val="window" lastClr="FFFFFF"/>
      </a:lt1>
      <a:dk2>
        <a:srgbClr val="000000"/>
      </a:dk2>
      <a:lt2>
        <a:srgbClr val="E6E6E6"/>
      </a:lt2>
      <a:accent1>
        <a:srgbClr val="0000A0"/>
      </a:accent1>
      <a:accent2>
        <a:srgbClr val="505050"/>
      </a:accent2>
      <a:accent3>
        <a:srgbClr val="969696"/>
      </a:accent3>
      <a:accent4>
        <a:srgbClr val="E6E6E6"/>
      </a:accent4>
      <a:accent5>
        <a:srgbClr val="505050"/>
      </a:accent5>
      <a:accent6>
        <a:srgbClr val="969696"/>
      </a:accent6>
      <a:hlink>
        <a:srgbClr val="505050"/>
      </a:hlink>
      <a:folHlink>
        <a:srgbClr val="50505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Benutzerdefiniert 1">
      <a:dk1>
        <a:srgbClr val="505050"/>
      </a:dk1>
      <a:lt1>
        <a:sysClr val="window" lastClr="FFFFFF"/>
      </a:lt1>
      <a:dk2>
        <a:srgbClr val="000000"/>
      </a:dk2>
      <a:lt2>
        <a:srgbClr val="E6E6E6"/>
      </a:lt2>
      <a:accent1>
        <a:srgbClr val="0000A0"/>
      </a:accent1>
      <a:accent2>
        <a:srgbClr val="505050"/>
      </a:accent2>
      <a:accent3>
        <a:srgbClr val="969696"/>
      </a:accent3>
      <a:accent4>
        <a:srgbClr val="E6E6E6"/>
      </a:accent4>
      <a:accent5>
        <a:srgbClr val="505050"/>
      </a:accent5>
      <a:accent6>
        <a:srgbClr val="969696"/>
      </a:accent6>
      <a:hlink>
        <a:srgbClr val="505050"/>
      </a:hlink>
      <a:folHlink>
        <a:srgbClr val="50505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IUMI_PowerPoint</Template>
  <TotalTime>0</TotalTime>
  <Words>534</Words>
  <Application>Microsoft Office PowerPoint</Application>
  <PresentationFormat>Benutzerdefiniert</PresentationFormat>
  <Paragraphs>184</Paragraphs>
  <Slides>15</Slides>
  <Notes>6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5</vt:i4>
      </vt:variant>
    </vt:vector>
  </HeadingPairs>
  <TitlesOfParts>
    <vt:vector size="20" baseType="lpstr">
      <vt:lpstr>Arial</vt:lpstr>
      <vt:lpstr>Arial (Kopfzeilen)</vt:lpstr>
      <vt:lpstr>Wingdings</vt:lpstr>
      <vt:lpstr>IUMI</vt:lpstr>
      <vt:lpstr>think-cell Folie</vt:lpstr>
      <vt:lpstr>IUMI Update 2018 -  Disruptive Forces in Marine Insurance</vt:lpstr>
      <vt:lpstr>International Union of Marine Insurance </vt:lpstr>
      <vt:lpstr>International Union of Marine Insurance </vt:lpstr>
      <vt:lpstr>International Union of Marine Insurance </vt:lpstr>
      <vt:lpstr>AIMU AT IUMI</vt:lpstr>
      <vt:lpstr>AGENDA</vt:lpstr>
      <vt:lpstr>IUMI – STRATEGIC TARGETS</vt:lpstr>
      <vt:lpstr>PowerPoint-Präsentation</vt:lpstr>
      <vt:lpstr>IUMI – GROW THE GLOBAL FOOTPRINT</vt:lpstr>
      <vt:lpstr>IUMI – GROW THE GLOBAL FOOTPRINT Focus on Asia ! </vt:lpstr>
      <vt:lpstr>COMMUNICATION STRATEGY</vt:lpstr>
      <vt:lpstr>IUMI EDUCATION</vt:lpstr>
      <vt:lpstr>The President’s View </vt:lpstr>
      <vt:lpstr>IUMI CAPE TOWN CONFERENCE 2018 Save the date </vt:lpstr>
      <vt:lpstr>Thank you !</vt:lpstr>
    </vt:vector>
  </TitlesOfParts>
  <Company>Munich Re Group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presentation</dc:title>
  <dc:creator>Weiglein Jakob - Munich-MR</dc:creator>
  <cp:lastModifiedBy>Berg Dieter - Munich-MR</cp:lastModifiedBy>
  <cp:revision>329</cp:revision>
  <cp:lastPrinted>2018-04-11T12:14:49Z</cp:lastPrinted>
  <dcterms:created xsi:type="dcterms:W3CDTF">2017-03-22T08:40:55Z</dcterms:created>
  <dcterms:modified xsi:type="dcterms:W3CDTF">2018-05-07T14:35:51Z</dcterms:modified>
</cp:coreProperties>
</file>